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Ex1.xml" ContentType="application/vnd.ms-office.chartex+xml"/>
  <Override PartName="/ppt/charts/style1.xml" ContentType="application/vnd.ms-office.chartstyle+xml"/>
  <Override PartName="/ppt/charts/colors1.xml" ContentType="application/vnd.ms-office.chartcolorstyle+xml"/>
  <Override PartName="/ppt/tags/tag5.xml" ContentType="application/vnd.openxmlformats-officedocument.presentationml.tags+xml"/>
  <Override PartName="/ppt/notesSlides/notesSlide7.xml" ContentType="application/vnd.openxmlformats-officedocument.presentationml.notesSlide+xml"/>
  <Override PartName="/ppt/tags/tag6.xml" ContentType="application/vnd.openxmlformats-officedocument.presentationml.tags+xml"/>
  <Override PartName="/ppt/notesSlides/notesSlide8.xml" ContentType="application/vnd.openxmlformats-officedocument.presentationml.notesSlide+xml"/>
  <Override PartName="/ppt/tags/tag7.xml" ContentType="application/vnd.openxmlformats-officedocument.presentationml.tags+xml"/>
  <Override PartName="/ppt/notesSlides/notesSlide9.xml" ContentType="application/vnd.openxmlformats-officedocument.presentationml.notesSlide+xml"/>
  <Override PartName="/ppt/tags/tag8.xml" ContentType="application/vnd.openxmlformats-officedocument.presentationml.tags+xml"/>
  <Override PartName="/ppt/notesSlides/notesSlide10.xml" ContentType="application/vnd.openxmlformats-officedocument.presentationml.notesSlide+xml"/>
  <Override PartName="/ppt/tags/tag9.xml" ContentType="application/vnd.openxmlformats-officedocument.presentationml.tags+xml"/>
  <Override PartName="/ppt/notesSlides/notesSlide11.xml" ContentType="application/vnd.openxmlformats-officedocument.presentationml.notesSlide+xml"/>
  <Override PartName="/ppt/tags/tag10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11.xml" ContentType="application/vnd.openxmlformats-officedocument.presentationml.tags+xml"/>
  <Override PartName="/ppt/notesSlides/notesSlide14.xml" ContentType="application/vnd.openxmlformats-officedocument.presentationml.notesSlide+xml"/>
  <Override PartName="/ppt/tags/tag12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89" r:id="rId5"/>
  </p:sldMasterIdLst>
  <p:notesMasterIdLst>
    <p:notesMasterId r:id="rId23"/>
  </p:notesMasterIdLst>
  <p:sldIdLst>
    <p:sldId id="256" r:id="rId6"/>
    <p:sldId id="554" r:id="rId7"/>
    <p:sldId id="555" r:id="rId8"/>
    <p:sldId id="276" r:id="rId9"/>
    <p:sldId id="559" r:id="rId10"/>
    <p:sldId id="515" r:id="rId11"/>
    <p:sldId id="560" r:id="rId12"/>
    <p:sldId id="410" r:id="rId13"/>
    <p:sldId id="413" r:id="rId14"/>
    <p:sldId id="562" r:id="rId15"/>
    <p:sldId id="412" r:id="rId16"/>
    <p:sldId id="563" r:id="rId17"/>
    <p:sldId id="291" r:id="rId18"/>
    <p:sldId id="564" r:id="rId19"/>
    <p:sldId id="557" r:id="rId20"/>
    <p:sldId id="561" r:id="rId21"/>
    <p:sldId id="261" r:id="rId22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5443">
          <p15:clr>
            <a:srgbClr val="A4A3A4"/>
          </p15:clr>
        </p15:guide>
        <p15:guide id="3" pos="317" userDrawn="1">
          <p15:clr>
            <a:srgbClr val="A4A3A4"/>
          </p15:clr>
        </p15:guide>
        <p15:guide id="4" pos="5624" userDrawn="1">
          <p15:clr>
            <a:srgbClr val="A4A3A4"/>
          </p15:clr>
        </p15:guide>
        <p15:guide id="5" pos="136" userDrawn="1">
          <p15:clr>
            <a:srgbClr val="A4A3A4"/>
          </p15:clr>
        </p15:guide>
        <p15:guide id="6" pos="612" userDrawn="1">
          <p15:clr>
            <a:srgbClr val="A4A3A4"/>
          </p15:clr>
        </p15:guide>
        <p15:guide id="7" pos="2767" userDrawn="1">
          <p15:clr>
            <a:srgbClr val="A4A3A4"/>
          </p15:clr>
        </p15:guide>
        <p15:guide id="8" pos="2880" userDrawn="1">
          <p15:clr>
            <a:srgbClr val="A4A3A4"/>
          </p15:clr>
        </p15:guide>
        <p15:guide id="9" pos="2993" userDrawn="1">
          <p15:clr>
            <a:srgbClr val="A4A3A4"/>
          </p15:clr>
        </p15:guide>
        <p15:guide id="10" orient="horz" pos="958" userDrawn="1">
          <p15:clr>
            <a:srgbClr val="A4A3A4"/>
          </p15:clr>
        </p15:guide>
        <p15:guide id="11" orient="horz" pos="1049" userDrawn="1">
          <p15:clr>
            <a:srgbClr val="A4A3A4"/>
          </p15:clr>
        </p15:guide>
        <p15:guide id="12" orient="horz" pos="1457" userDrawn="1">
          <p15:clr>
            <a:srgbClr val="A4A3A4"/>
          </p15:clr>
        </p15:guide>
        <p15:guide id="13" orient="horz" pos="2614" userDrawn="1">
          <p15:clr>
            <a:srgbClr val="A4A3A4"/>
          </p15:clr>
        </p15:guide>
        <p15:guide id="14" orient="horz" pos="3929" userDrawn="1">
          <p15:clr>
            <a:srgbClr val="A4A3A4"/>
          </p15:clr>
        </p15:guide>
        <p15:guide id="15" orient="horz" pos="3680" userDrawn="1">
          <p15:clr>
            <a:srgbClr val="A4A3A4"/>
          </p15:clr>
        </p15:guide>
        <p15:guide id="16" orient="horz" pos="6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F738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3F4A4F9-197B-B2C2-48FB-A3822C9CA073}" v="155" dt="2021-03-17T11:27:04.37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000" autoAdjust="0"/>
    <p:restoredTop sz="63822" autoAdjust="0"/>
  </p:normalViewPr>
  <p:slideViewPr>
    <p:cSldViewPr snapToGrid="0" showGuides="1">
      <p:cViewPr varScale="1">
        <p:scale>
          <a:sx n="72" d="100"/>
          <a:sy n="72" d="100"/>
        </p:scale>
        <p:origin x="2472" y="78"/>
      </p:cViewPr>
      <p:guideLst>
        <p:guide orient="horz" pos="2160"/>
        <p:guide pos="5443"/>
        <p:guide pos="317"/>
        <p:guide pos="5624"/>
        <p:guide pos="136"/>
        <p:guide pos="612"/>
        <p:guide pos="2767"/>
        <p:guide pos="2880"/>
        <p:guide pos="2993"/>
        <p:guide orient="horz" pos="958"/>
        <p:guide orient="horz" pos="1049"/>
        <p:guide orient="horz" pos="1457"/>
        <p:guide orient="horz" pos="2614"/>
        <p:guide orient="horz" pos="3929"/>
        <p:guide orient="horz" pos="3680"/>
        <p:guide orient="horz" pos="6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3948"/>
    </p:cViewPr>
  </p:sorterViewPr>
  <p:notesViewPr>
    <p:cSldViewPr snapToGrid="0" showGuides="1">
      <p:cViewPr varScale="1">
        <p:scale>
          <a:sx n="55" d="100"/>
          <a:sy n="55" d="100"/>
        </p:scale>
        <p:origin x="2880" y="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notesMaster" Target="notesMasters/notesMaster1.xml"/><Relationship Id="rId28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tableStyles" Target="tableStyles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package" Target="../embeddings/Microsoft_Excel_Worksheet.xlsx"/></Relationships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54</cx:f>
        <cx:lvl ptCount="53">
          <cx:pt idx="0">Côte d'Ivoire</cx:pt>
          <cx:pt idx="1">Egypt</cx:pt>
          <cx:pt idx="2">Ghana</cx:pt>
          <cx:pt idx="3">Kenya</cx:pt>
          <cx:pt idx="4">Morocco</cx:pt>
          <cx:pt idx="5">Nigeria</cx:pt>
          <cx:pt idx="6">Rwanda</cx:pt>
          <cx:pt idx="7">Senegal</cx:pt>
          <cx:pt idx="8">South Africa</cx:pt>
          <cx:pt idx="9">Tanzania</cx:pt>
          <cx:pt idx="10">Zambia</cx:pt>
          <cx:pt idx="11">Zimbabwe</cx:pt>
          <cx:pt idx="12">Bangladesh</cx:pt>
          <cx:pt idx="13">India</cx:pt>
          <cx:pt idx="14">Indonesia</cx:pt>
          <cx:pt idx="15">Nepal</cx:pt>
          <cx:pt idx="16">Pakistan</cx:pt>
          <cx:pt idx="17">Philippines</cx:pt>
          <cx:pt idx="18">Sri Lanka</cx:pt>
          <cx:pt idx="19">Thailand</cx:pt>
          <cx:pt idx="20">Vietnam</cx:pt>
          <cx:pt idx="21">Cambodia</cx:pt>
          <cx:pt idx="22">Argentina</cx:pt>
          <cx:pt idx="23">Bolivia</cx:pt>
          <cx:pt idx="24">Brazil</cx:pt>
          <cx:pt idx="25">Chile</cx:pt>
          <cx:pt idx="26">Colombia</cx:pt>
          <cx:pt idx="27">Jamaica</cx:pt>
          <cx:pt idx="28">Mexico</cx:pt>
          <cx:pt idx="29">Peru</cx:pt>
          <cx:pt idx="30">Benin</cx:pt>
          <cx:pt idx="31">Botswana</cx:pt>
          <cx:pt idx="32">Burkina Faso</cx:pt>
          <cx:pt idx="33">Ethiopia</cx:pt>
          <cx:pt idx="34">Malawi</cx:pt>
          <cx:pt idx="35">Mozambique</cx:pt>
          <cx:pt idx="36">Namibia</cx:pt>
          <cx:pt idx="37">Togo</cx:pt>
          <cx:pt idx="38">Tunisia</cx:pt>
          <cx:pt idx="39">Uganda</cx:pt>
          <cx:pt idx="40">Malaysia</cx:pt>
          <cx:pt idx="41">Mongolia</cx:pt>
          <cx:pt idx="42">Costa Rica</cx:pt>
          <cx:pt idx="43">Dominican Rep.</cx:pt>
          <cx:pt idx="44">Ecuador</cx:pt>
          <cx:pt idx="45">El Salvador</cx:pt>
          <cx:pt idx="46">Guatemala</cx:pt>
          <cx:pt idx="47">Haiti</cx:pt>
          <cx:pt idx="48">Honduras</cx:pt>
          <cx:pt idx="49">Nicaragua</cx:pt>
          <cx:pt idx="50">Panama</cx:pt>
          <cx:pt idx="51">Paraguay</cx:pt>
          <cx:pt idx="52">Uruguay</cx:pt>
        </cx:lvl>
      </cx:strDim>
      <cx:numDim type="colorVal">
        <cx:f>Sheet1!$B$2:$B$54</cx:f>
        <cx:lvl ptCount="53" formatCode="General">
          <cx:pt idx="0">1</cx:pt>
          <cx:pt idx="1">1</cx:pt>
          <cx:pt idx="2">1</cx:pt>
          <cx:pt idx="3">1</cx:pt>
          <cx:pt idx="4">1</cx:pt>
          <cx:pt idx="5">1</cx:pt>
          <cx:pt idx="6">1</cx:pt>
          <cx:pt idx="7">1</cx:pt>
          <cx:pt idx="8">1</cx:pt>
          <cx:pt idx="9">1</cx:pt>
          <cx:pt idx="10">1</cx:pt>
          <cx:pt idx="11">1</cx:pt>
          <cx:pt idx="12">1</cx:pt>
          <cx:pt idx="13">1</cx:pt>
          <cx:pt idx="14">1</cx:pt>
          <cx:pt idx="15">1</cx:pt>
          <cx:pt idx="16">1</cx:pt>
          <cx:pt idx="17">1</cx:pt>
          <cx:pt idx="18">1</cx:pt>
          <cx:pt idx="19">1</cx:pt>
          <cx:pt idx="20">1</cx:pt>
          <cx:pt idx="21">1</cx:pt>
          <cx:pt idx="22">1</cx:pt>
          <cx:pt idx="23">1</cx:pt>
          <cx:pt idx="24">1</cx:pt>
          <cx:pt idx="25">1</cx:pt>
          <cx:pt idx="26">1</cx:pt>
          <cx:pt idx="27">1</cx:pt>
          <cx:pt idx="28">1</cx:pt>
          <cx:pt idx="29">1</cx:pt>
          <cx:pt idx="30">2</cx:pt>
          <cx:pt idx="31">2</cx:pt>
          <cx:pt idx="32">2</cx:pt>
          <cx:pt idx="33">2</cx:pt>
          <cx:pt idx="34">2</cx:pt>
          <cx:pt idx="35">2</cx:pt>
          <cx:pt idx="36">2</cx:pt>
          <cx:pt idx="37">2</cx:pt>
          <cx:pt idx="38">2</cx:pt>
          <cx:pt idx="39">2</cx:pt>
          <cx:pt idx="40">2</cx:pt>
          <cx:pt idx="41">2</cx:pt>
          <cx:pt idx="42">2</cx:pt>
          <cx:pt idx="43">2</cx:pt>
          <cx:pt idx="44">2</cx:pt>
          <cx:pt idx="45">2</cx:pt>
          <cx:pt idx="46">2</cx:pt>
          <cx:pt idx="47">2</cx:pt>
          <cx:pt idx="48">2</cx:pt>
          <cx:pt idx="49">2</cx:pt>
          <cx:pt idx="50">2</cx:pt>
          <cx:pt idx="51">2</cx:pt>
          <cx:pt idx="52">2</cx:pt>
        </cx:lvl>
      </cx:numDim>
    </cx:data>
  </cx:chartData>
  <cx:chart>
    <cx:plotArea>
      <cx:plotAreaRegion>
        <cx:series layoutId="regionMap" uniqueId="{1B78C3FF-6BC1-44DF-A657-0AABD971ED5B}" formatIdx="0">
          <cx:tx>
            <cx:txData>
              <cx:f>Sheet1!$B$1</cx:f>
              <cx:v>Series1</cx:v>
            </cx:txData>
          </cx:tx>
          <cx:dataId val="0"/>
          <cx:layoutPr>
            <cx:geography cultureLanguage="en-US" cultureRegion="GB" attribution="Powered by Bing">
              <cx:geoCache provider="{E9337A44-BEBE-4D9F-B70C-5C5E7DAFC167}">
                <cx:binary>7H1Zctw61uZWHPelX5q6BAgQQEXdiiiQzFGzZMvyCyMty5zBeXzqbfQ+ege9k15JH2rMpNMl/XHV
IT10xS1ZCSQyD78DnPlA/7zp/nET326KT10Sq/IfN91ff/hVlf3jzz/LG/822ZQHSXBTpGX6szq4
SZM/058/g5vbP38UmzZQ3p9YR+TPG39TVLfdH//6J3yad5sepjebKkjVWX1b9Oe3ZR1X5X+Y2zv1
6SatVTUu9+CT/vrD+t//q7r99OO/LZs0KG7/+HSrqqDqL/vs9q8/dt76x6c/px/4y5d/ioG+qv4B
a9mBiZnJMdYFPAoX2PzjU5wq72FaoweUUsx1rHPKmUlM+vjdx5sE1j/Q9X/+x/98mbI7ujY/fhS3
Zfnp4d99n7DzPPveEJSpdQ+PlY4PYS3vnvrPXfj/9c/JAOAwGdni0BS0l6amDDpKi/TmJn1E5+9z
xkAHnBhIRxQYYxJOyC5nzAPMBDUpRwhRhrEJnLvfFfeceQVB+xnytHDCh6fxKfxH/35/+Of+Rm0e
Afj74LMDYRKAFyFs6oKbhrELPjrAOhVwXgjnpo5MPjkWL5KzH/qHZRPgH0ansM8X7w/7t03yPXhD
3DVkHBDKdAAWE2QYho52gMfsYOSKYVChm4Jjgh95fr/pX6ZnP/CP6ybIPw5Pof929P7QO16fVY9P
//d3PDYPqE4xNU0Q9wbWjQnw4gDEPwgiA92/4fGb73F/kZj9sD8sm6D+MDoF3Zm/P+iyLqJAbT7N
NuUbinqEDzAH5Ef1yqjAjO1seg0dMIKQMHUDBBHnujnZ9a+laj8TdldPeLE7OWWJnL0/S9a3qn9D
CaQfUMMwiaHrDDNQutjgO8ww2AEH4QNMQpjo2BjV8rbafZGc/Ux4WDZB/2F0CvvaeX/YjwPvtnhL
0S8OKMcmNYQQBuYmyPgd3PmBLkD6CMY4MhjW4Yhsw/4KcvYD/7RwAv3T+BT84w8ghs7bjfrxhpse
JAzAbupcNwSnVNBdAYTFgcDAHTCHwEuAN0ysnZfJ2Y/947oJ9I/DU+TPr95/238uaq/e9I+b7+/r
Xc3AYNKYmILOJcZo++zue42aB4A5vGM0NHVG8ET4v4Ki/eg/LZzA/zQ+xf/z9fvjv1Q/3lLoYHxg
UAQSh5o6E+Bs7bq/TBwYADw4yAIcYHHng21LnRep2Y/8w7IJ7g+jU9SXx++P+sWtuvU28dvtekQA
dwECHVNdIIgw7AocDeYJ0xkYoqMyxpSBEt4G/hUE7Yf+aeEE/KfxKfwXHwD+S38TxCDxHzH4+1IH
0QNkoNG+MYTOTYF2gwtwEEahYzAEUh9cATwR+K8haD/+zysnDHiemHLg8gP4uRdpXfmf/v2zCG7e
Uu1iDnrXNAhIdWaYHJm7bMD0QOcMgdUDqnd0iqen4JVU7WfF7jNN2LE7OWXJt3+/v0y63Khho95S
GWgQUgMfDEPwgRHCmaHDtt8KhhrkgCMdghLADUH3nIpXULSfFc/PMmHD88SUBZff3p8F34Lk++Z7
e/t2cklD4kDXdUo5B4CJIBPBBJYoZ9gEF9gk4AZPxNJr6NnPgOeVEwY8T0wZ8O0DWKNWWlabT+dv
KpTA1mcC/AAkMBhGoIR3zoDGyQFsfoQgOkdBbCE+kUmvI2k/F7bXTviwPTXlhHX+/kdBbpQXb37c
lv7bHQZsHMABMMejAFEhZtJd41ToEDUyKYE4teA6gfc9fvV9TO51JO3nxPbaCSe2p6ackPb7c+J0
U2ze2EUDRkCsB0KfIP0pondyZ0svaJQfgIqGNAEGLu1x0V5D0n4+PK+ccOF5YsqD04/hpaXqtnxT
5ayD3BGmyXTdZJAWAzW86yiDSALVMZpTArw18BjQ7nEA9+plmvZzYWvphA1bM1M+LD/AWTi+zd7S
awNzdUyHIV03CIKgxShxts4BB3llmCakIiFWDVaUPslIvkjNfvQflk2Qfxidon58+hEkUBSAXlaP
++/vu2tg9kBc1AR3jBJI+ZLdnW9ysEuJAE8BAqgIfk4UwenmZXr2Q/+8coL+88SUAafrD8AAP4iD
LAtABL0dD6BSAjK+IOIhHsSQgOzAzuaHbMABxxDLIHAuRjZMwnSnr6PpN3zYXjxlxfbcL9xYvD83
5K0K3vAsCOADuGlcUAzWEfhqu04aBPQMCokZYT6fle3I0YvU7OfAw7IJ9g+jU9Tl6v1RvyiCT4cb
Fb1huGKsFUKmTsA1IGMGfpIZ4/oB0xEzTRBUjBlknN5G/lUU7Ud/a+mEA1szUy4cfgBJ9CW4rdQm
eQTi72uCsT4CnC6ITUCpFhRCmBMppIOKppAjEyZCYzxpYgS9gp79HHhaOMH/aXyK/pcPEDc9vS3q
t4NeEwcg1cHrhQQZ5Gp+SRZobAxqQxIN7FMdUmh3JRTbB+AlcvYjf79qAvv94BTzU+f95Y4FFUHp
m+ZooDqCQYkbVEAwyiH9NdZabVmdSCcHAqYgZ/+QpHlk+b0b/BqC9iP/vHKC/vPElAPrD6Bv/114
4657y3I4zYB8Adj9jEBKwDBAvIBc2eKBZsI8oRAUghzlvX+8vfFfRdF+HmwtnTBha2bKhX9/gICQ
U/lBmr2lB8wPTCiMIFCG+5gJ3uGBAYaRgQkUUCB406/S5zUE7efB88oJC54nphxwLt9fEsk0Dpq3
ZICGTJBEgDCIIAyqAH7ucEAzCdimzMQG+AH7zsErKNrPgaeFEwY8jU/xlycfAP9iMwRvmDPWEBiY
FOqxwPQHQYPpmA7bFkLUgHQZGq0jMFDH2tCJCyZfJOg36D+sm4L/MPwL9h9A+ljgFN4+6sG/b3Xe
y3+TEAoVipCS/EX+MyiIRmiM/QhMxmC0ePzyByX8Ej37kX94jAnwD6NT3K3D99/zdpoECtIx6tP5
bXbwiMHvGPD/rhvBSuP0bSuzIbYHgVdmCh3KhAXEm3atMI2Nh8+AyCv0koBn8ktu7jUU/WYTPD3L
dB88TfyyFT6A+Ftsgip4aQfsdqz8p0YdBKUCoFegOJtDK46AjNCu8GP4AOKDJrjf+/NyL5KzH/yH
ZRPkH0ansC8+gNZfbZLNm+ZDAXhsmJCU1s2H9M8EeAY1YhCd5ZARvePMJOzxCoL2Q/+0cAL+0/gU
/tUH6Eo4uu2Ct+yCGnOg0HIAddZQEgD/TEoywCbA0LcANpcwIBL4a03Gy/TsB/9x3QT7x+Ep9Edf
31/3yLQqoS74DQN+GpRHjtYUg5iHzsC5GC2qLYsLmAOKYEw50PtmnKnB9QqK9sP//CwTBjxPTFkg
P0A9xtEmhr7QtxP6YzsUHgv1BOz+sV6P7frdUJEEHVJQtQ3TEHb6JfPzMj374X9cNwH/cXgK/dFH
gD4dxl60vH5LsxcxSHhCINsAEaQTSHuCWbu1/yEqAkkG6EmgfOwXAd/jkfX3Vu/Rq2j6DQu21k7Z
sDX1Cys+QFkYPHzwtl2BoxwCLkCZKpTmQcXwpEFqZBN0MEPI+64RFozPXT68gqD9THhaOOHA0/gU
/uN/v78euEy9N+xN42M/FHh8BhyE++jezhHQoVoMskJYx2MB0q99OS8Rsx/3+1UT0O8Hp4hfzj8A
4rUK3rTYBeQ6dB5DNZEO7d06ON27cgdapdhdI+BYEzBmIib7/fJlen6D++PCKfSP47+g/wGyPJ+9
t22GglAGRFj52BUydt2Lqc6FDLPQIRTCIAUHMcCxZWQ72P0yOfuxf1w3gf5xeIr85w+w70d7oH/T
jQ8lXJBewAQ6EwDZsZRuR9qM1j5Yo+NlFRCKus/AbWP/GoL2o/+8coL/88SUA0fX7y95juCqDghz
v6HNT8wDbhBILpvQDQ5CXd8VPeACH0AciFIdqmHGGjCY3uHAKwj6DQeeVk458DTxCwc+gPRxburN
j7R4ROF3ob7XB3qgF3NsPoDLPaAZFqqJIJa9cwY0BtWmEOaBfhCD7etAfgVF+znwtHDCgKfxKf6O
9f4nwIk/XWzi5m15AG4XuLvQkA/7G4MemLQFahwq7kwGlyVAhQUchV9qTV9J1G/YsP1EU1Zsz03Z
cfHl/dlxCgGI5A3FEZifY60dKOL98R8oOtKhQJ7BeYHA9K8u2Mv07GfC47oJ/o/DU+hPP4DdP683
FdxYFb8h+tAmaAq47eD+Uor7kq4t/1eDFgSINkO7zt52nFcRtB/+raUTDmzNTJkw/wDh50WqftTF
5g3rTqGsHVIqxngrhaFD+cVEIWscLm4ZO3YgOPFrR9RryNnPgeeVEwY8T0zxX3wAdXwMsf+7/o+3
U8hQfzT2yUKPMobyx3uTZ/sQcOjSNMaeKDBKoeyUj5mZbZPoVSTtZ8LW0gkXtmambDhevr8a+K9c
C/f/L6x7uC/wl+vpXriw7vfp46dEor2pNs7dVYFb99n959m7nQi3GE6WPmzpvfbt/W5f/vjrj9Ed
eLp/cPyEnZPg5KCiUrg1Jv40r6E6/0lTPS693ZTVX38gNNZwQywJ5BmGVlAKH9rejjOgjqDHAcEd
JRja3iAQCLk2lRaV/9cfYLHBKNwpYMJNDXAUBXiO5dgf/dcfo0UN9VDmeM0DhMpBX5lPdzWepnHv
peoJkofXn1SdnKaBqkogh4OHn92/byQUqjvhc+C862Ml0Ch0gb7sZnMOF0KOb//vOfNqwdLeGgg/
TEoUzQTjmmUY6rxsKDlsVGaRlcvT0pNNo9lhdBhWKLumVbdq9OqiTnS2aDw/nLsiW7E0zazGD5VT
nJZpEi8hE9nKvmNiWQs/lVlEWpnXeTAvqyiRA1+mkRkeuigSDi09qy5IusxV/NNvYrKKjCaVBe6R
09XdItZ5MkM8pOcYzyGDxk81XMg4xmzG2xbNWKL4HDpt7dDN2zXJ0JwGRTSP3S6yG5OdcMM1zrvE
bWWAjW6mkEJOkWiFVaSD4BLy0enS11Qxiztfpqbu+KjElpYZah4MveNVfuIohJTTI5HPcek7KE7p
OiuqYI4T8XkwqKVpnrfyaDJIX7OG1M0kNvJg6fqyjJNbrVXKEjU7bzrzROVVIIPxKxq/vtL0WreA
rFamiZEuWeG1so4wkkaclDLp62Eeo/RsGNiXjDT+PMv0dNnHQSsN1CtHK5NKQnJLHXak+sza+gqb
beQwWLPGoWv5PPQXNIu9BWHaUZuTWdXU7jrWzVAOw+Xdp2XKNuu4n7t0SKxioHRdBbi2ATFPhlEe
rULexTL0vC9VnWVXXdgBbzBdh0kZzLNz4GN5UiAMWyf62bTGMRF59dls9UGGpl7JO5w00/2ua6Sd
YeRJM/GGhY+KQCbkvIiw/5UUZ0MkyEzUWu2Q+DB2uXGc5eLU7DJj3eDSsNwoTKyo8Y6yZLhUtPyM
h7qbNf5F0il+VginED5fFDX9FkG7hdXmcWnVYeTZOc7IgvO+lYoSPg963Nsia+lamWVq1zE55CHS
ZZhGupOYzTALVdtYnOXfQsNTTuK3t1UihlOtzxaZGbs2HOHSCpAbSJYlM+F26VLwL7go8H1b170X
ve+MoukRBc4ZFIrxxn8hPA0+9PYRHSBXoGqDyztyA1b480rnX4Im5GdlCV+rRXzV5Jluq7yrPht5
ji0vbIL7oNtvyYCw7C90QPoUbncAYqBkEBzKXTp4V8cpYpHlZtVhRNPvPGKhRbrqvHXDL76HA1nV
QSxRbrQy87HTdqiQXSOU5TPNyrruaxOxQmqxftMPwfeQpouEurkVEV5aBQvO/dBdxWlolSlemXFw
kpalYybHOe7SlZaZ6UqMPyrdS2TbJSck4a7V+eTWM+tsZvrCwglxnShlX3gWyQwb8aquOmzFJEus
1kuLVYHaYlWNP2KtrGLpRrcR8w2rLQpXxtxsYukhAbN5Uq7ufiujuJ3zMll3ab/RUXPhQ/m25dEo
XRkxV6tg/O35ZTuwcNWd3I2qyvBieffr3VubodHhqGbfsruJuzEDW9ztBytsg8picW2udBbM0oSH
C6PQ8lU9Un332/NLbFQz3w3EnFtiiAtLp2c6j+CFHwXSL7ubLseGjFGlzftYrUTVFnBwSyOSsUuo
0+jRPNXrL0ZVBTMU1YOd+FEmXd47VawiK2n5ZZR3wE2vyBZR1i5E6Ocr0pBshViTrZ5fxt0xiXSy
YEx1VpuobNWPP+5+E1RZrdb5y9ij+ipQLfxITdjFkP61VG+UK6K8anX32/OPiBgOzhJ90UbhrWry
1uG8Lld3P1IhzsIIx/OsYGvcqk6addtbSWp+dWkSzESm6lXNEqFbni+Y0zbNRml96cRpHMnBrHgk
o35Qqz7PfZuUPpFuMaCVMkNkN6THMmy/pp5OlklUDasqc13LDZgre+UaKxzJu2FaRMOqEIGyQPQe
EtxXUgs8Jv2B6bZIo37taQ1sPr9d5m7mK6lwQFZUlF+DBISFGUY/iyI+vHuibISBFqKN5d3rmae0
Br4TRbarQAKXMV/3LDbn2DPQ3EUJcDNt1IoPSkRStk39MzZptmR9Me9owOdlUcfSaDQJzR3+cYWv
M889rMf9zrgHm/vu127cU6LIPRv3miHNss9Xlc/y1d1viCoJO4r4Xr1sKuBar2F9qeFvoZ76sI/G
/X73oy2rh99iijo7IWYuyXgknie8uOpk2mrKbmPmOp5Gvrig9/1hoCuCWtcOhzSV3lBnyGrrcJGQ
bpjXWq5Wzcgn4WnAsrvXhHZzUbdsJjrQUx6hK7BO4oVrunOIwZdrlpmyTQPXKd3g890KrfTdSBI/
ShZljJ0QwRdhpH3pjVuhXOIgARpMiOy4G2wtZ5IPxVUrPEn6Zsb9L0l7YcbiM1aVto6r86jGmyEK
vg2ceVYSmpc8hSNDKUiiUPkzBGfb1lWZWE0fL+pcN+xeMal8HQRKl7Uy7DfUw55NAjORYfXdJ27u
4CiKZT74vozAHFgkXVfJMiod2mRKti1YAygIaouGCZojL6FWW8GY13PXJqDteGUnPMLS492xF2gX
Lk48OyV86emljRIGG5ZkEi7rhG/Kw1Iaavjs1nwu2HCjRGBFZRBZXtSeioBgmyUaSA+OLVarkyRM
XKc1h2XbaKmTXTQFCFRuxvV5H/JEGh5Idg0uPZE00q7rTkRzMKEGI+M27Role68Dy8isnaAbMhss
A1CUYOnEEB47M9c8AinUJwZd+ShaDKgkx6zSbY/15aoWNJB39khZh9lc8+Le0puaOspMqplKCmRH
0D3vuLIbigDmTQvnvDg0eDivWEzXvt5INw7IsR4Uh2D59T46wkNPnNDTsG34CTktvuFSgOHDcL8o
Ct2UlGnZdVv0Vhc2IYCWnyECRg3omZsW57kV51iz/Z50azEsMY2DeTdon7VSNbOhSH/ckQuPhtZl
zmaR8q95EAqgxLTRgNNl7HufFRgITj/UpcyF6mUjWC2LXFVr7lXh0qsWiGR8lqthACWqDTZDMQgw
UirplUTYiRbDmoyuNbDBtKBIFkyE126i2JGXRN9yzU2c3A8Gu0mpso2kMb+q3OrLhREo/7isM1B1
PjfnEYkiacYJPE7adPNS71Z5EkeHKhEXOBChjTrPsF0vie1SGWIFh0VLS+RUaRnZuEpCyZEWXJlf
s96cJ4WbrokLhmblF4PVKMUs02yDeY7Mzg4LvL7D6m5Ij2nnlE31k/gbaP2AfeRVbBGEh3HZhess
Avu145aXpMY69PzabrW8XhWxf0b9dhGLNp3TVmGw3RBbiA6lTgO6H8H+LJLuCilfdsYVVH5VC6++
yruSrUqwMtwe/BXe2Fpq0HUbgRlXrj0RGGduXVuGEv6qGwc5SfAqq33HHbLWjmgB+44Xl3d2X6AZ
ucx1jJe5BiwzC37FgZwjv/iGvIXyO7qgIh4WkZffUHIBlPmnlb+qhwoB7MWpnoT5CffyzxnFpQxC
M7cz3MquMy9QhgK76K6Y31a27/XgFNWffRo2YKbmQpLUuCa+Gy76HlyAsjGPdNItu4Ec0S7LFz34
j5JpBLR3mlaHQ1c4rCwi6Xq0kK3GtNki95LGquF+nEsWrtMqNB0vNiMna5XNC1rZQ2v4Vkf873Wo
e7MalMqyjZAdh5U6DfRk7uddONeQElacmT9TSjqp+cHMp3lkl3CELJ4aptR+CBDLURu1x3rFHTis
xcqM2G1clodlXq1yr3C2HO09BjHeNUQ53GY7VqjqOlw0CZ0rEC/fNUQjoyNDlv8oqVYeUfSTdlo3
I8GRX+p03TSnQcZrJybBceBmppOy9KeeZqWs/U3LO7vNE1dWWo0tGuhfw8CgdmSki9wHGyEvvAx2
i2ptDdyP7dDUA9n3vvdNmvVF4PkPfyrh6eW/LtME/ru7uf95cPxLC8+vjh7/RMN/fNf8NoW6ndty
+qYxjPL0WUDMQ1hljF7svPgljvKbSMn9X3z4zeTrwiiIbXH3lzCK3PjF5rmlfoxJjAvugydUh3Dx
eCmQPt7XOl5T9hQ8gWA9dAYTaE0dMyZ3xZwPwRO4/BtK3KC+EG7/RuAajVerPARP4A668c4JSAM8
Rvn/K7GTsUNqJ3QCfeFwp5cB6X2CIYWJxm26FTrRy0Y3oprnNmqrRtJEncZi05vpsecWhmzATTDd
rJERBlvaCJpZ97UNw5uwoPPcU1exWnO/BR2tq2UYJxtdB0+YNFiaqDkqW75i/UXX5EtcakiSjh3n
uVrEXvIt7tN5QYidtMGSKLDg49PQo2dKlbMqKY8wdk+TsoVYhDEHY3jBaO0o0nw1SAY6T+vXqlIy
ZuFPEvdO5FFrAN1Rl+WViZJMQsPES37jPpQgnQV3L44tl1TfRUkEceu6Ccg9UkZnqlOHxlCCmNKI
3No3e6SCMX7QdiRrZAeGy+6gvRbKe+G6r90vajoagysVFLYWXhceuJ/xqT/4Ti5Tr7UwyNrc7Gas
+FmZYNGXhRXk7XFaiETmfTUzjfjac7+7wAxtGBy3aaxCu/LL2OqN6JCQ76koZ2nlQL2ajJAL4aLm
rMleeAQ09fTHRxgfAnJ/ADRc/LD7CEXeBEmZGrmd4vQIPDoINZ3XgwdOFrlNTG0WCXDNuGnXEDTL
0/D+0oDfevhjQ/0vCBK4EASaYuF/kJ7Z/fo2hMtjmepzO0+9mUvCn0x8D3B6Y/b1MkfgymQpM6yi
ID7sZ9/JRKIkLKnAggfbJ/K4VYR4JZFReNaAwuvSzJyUB7IsaSYRcs/dWkmwrK4yOCOYDFZsiEYW
8ywFaayaE7M44m6x8Elod34fQSShB/u4baUPGmqRF/WJoZFl7+eJLFCZvKBW4NqNX59fgEQZxQZE
auFI7z5/XaV1Hqogt5MBuGwYpYwa1Tlh3WZW3vjnPBRzaBxDEGdYhppCFlhk4PLovoR4lq2oceIR
t5FNUG5imh/levRl6NFF4am5KeJlkmZHIjxx+yK2XD08Kxpwh+PItaIOfR4UlSry5nGWnTCaLBRE
qkb73O3ESYX5lxDHC5yJGc/UIDlxC4mqZaM3J/oAdpFvJprsSHiqg2sJodZBmk2T2T1aVqj4Qj16
lGrxYabpulX7uZUEInGqgByRRpwF56LnpYwD7DsRS+c6KECrbVOwM2swOl1HaehKE+dt5i58rfra
dfikkX4B5hI5g/bGcz2wajpc1C3YcKo/bRtvqQUY7FElaSVOcJ9K1pahLBEoVwWBSBOv3cqwsaE5
SX7YRGehcI9AcM7KoV5W8K1F4juKNj96Y64nMfhYSJzULoDDBhuiB/ySRIMcSHFSFbHNiDrWTWIz
r12SPAHHUpNFoV37tDrsvfxCkHwGGuSs4Pw4qNNj4terXjXXqCPwrP5R0OcLhtSln/d233Q/mxKY
6prXmGeXKvfmuTHu0HwW1poDQW4nb5DjMc/xFVt1pTbzNXGl4uSYtpVFmnjtK30N+mJW6JUtKqCr
yeZl1J/0QRlZcRh/I1QMknh4VUTsazEcdhBiF+ALseVQxw5PBwhWlPmSB/w49Iyz3g+vRWmsSZg4
ZdDYsEPmlds6hXuKPQKmZHKYBPSw8+giIM3R4GpKDomywCqKIXTcXkVtYzimHp2QvLFCH0d2bMBU
5GYLFrunQ+qvRUznPGzsQoscw8/nWgV7GmsrCJDOFfwekHye0ItGGTarzFmrnXf4e16cgxm0bgz9
S27QpWvWdly6DoMAAnz2qqi/IhcOtCcDLYLgtnDqXOV22/jUMTBEHHxPKlecxnk58zR/3bT4rC7i
bx27ZT4/GZLwp2aA/xy2Qro4/R7F6YWG8yVIFrsNdDWPXCEpMJcSK9WaVZ1/AQu4lgiIt5Isaa20
J6dGYS760pwJCCN3A1tCbnpu1OANYzHDmjhFAwiaQpUrHHsz3eOHGSmPjKI8xXl/VuJ2GUflZwbb
zTMHXQbZcJwNxnkJ+RbJG+5JiotFHoIfoyXXcc8u2y6M5xoDElyBAX9Q2KEOTrwuinWq9K+ViIlN
PfA6RcWEpY2O+aiFwWJ38rRdCo3HEDKJQ3BQ9FCS1ihkoUGCpmxSJYGwWcJU6hR6XEgvEI2dMnel
QxQA0xRBKIAe8b4+Qqy2QwX8SypbgR8dg/pzNR3CPjFZagLLzID/Z8UoyBur4WkoM50v45YuotJc
6nU1YziDyLyKfKlHbBmYsQOuMQbVROmh3xqWMsk5GoIvaWt8LkvPybv20IUcDYiN5JpBRNSOqviw
oYETZuYJddqKnkWid8o8nYNxDlH8nneSqPKmIgxccOOLLkInSEHxZvFxGFSrPsyXAvXrEEFMjJqH
Ud9aQZvAzizSReOTO/OGF8Wy6tK5EuYyEfWRyzJDGka+rJp0YURg0tQum8UJX2L21QtBbHbgTvvK
k4IOjlbVK+FrztCEl+ZQzeIWYteeo3vhKgWcZR6QM18Na63VpSIXkFaXqOerNqiPwoLMqz6zQ1Fv
tDi4bDhdBeDawaGeRb5/xsDOy7L6SuVkoXTwkRPkYHLOyCwp9TF60gWOYlk9i9Pyhg1pNjc8Mud6
aEPF3BLyfMAWc5liOCQQ4Qs1OC1m1thl+J2FX42QHtcmtUMOYVSE542pOT3IpzZuLC0AudYiWZd0
IeBMmrxzjLQMLC+DlEfVHiZEg5BPWYA3yw4hsmDR3lxWfnqRXREv/JIqYJKfLxnE55G3DCp4o/FF
JXD6r5CuFpnvOiFprMToT7LQKTWhJJT4SZxCxCkKyOeBJV9jrBa5my6Eqzm8G657sjRreDyIFkjT
p2BkVSsT4g28qmZRk67dQoedVTmZ+VXwi9SonJIi2ejfK/DtU41AsLWWcV7N+jabJ8qFfIArB5A0
tU6XJb5SZWWj/Lug6TVUmx8XbnZhdNl1oKULvdUuSKDmcwOOu+/GmYUL4BONUxB/bFYDC0aEdYg6
VHo6b5E5A7vj0KjTRZhrTti6Ttpc+iy+ogpkRQCWolnQ46gOL70stKG6Hfb9cRAEEI+AgCNDsi8o
hBR9OXLIM5Lr8TUdIDnXm7OIp7pd4wD8Y3xmeup09OOJ0ZxABf3MLNQ1SX2p4IQGuaQ1WSKjc6B4
D5QlHFY6HIUlV7KpYxNSn2kPwSIIKVWu/8OH9GWYGp/b2luPYgx7zWowIEkamOeGS2WK6WHlR7aH
wA3WtO9pTS2wM6x8FA1+DLkx3EHKs5bCZ1zqYXuuDf5cXYHFbQ2luuhJ7MTdMo3Rj7ijs7RAFx7E
PDnvTkKvOjdCc5Z1cATz+DBlR8CHDYcznivyOe0BDZ/aAYCJq9Yq82KlqhuIvC9AOYDor62AWDT9
GQX6SeSlyzIENvMOZGPp6IvOE/+XvS9rjhRH2/1FREjs3LLl4sx02k7b1XmjcC0WYhOLAMGv/x5c
PTO2u7sq5nw350Sci56o7hobEJJ432fTGPX6Seb1rhrMu5n0qdO329K94ZOd9Kp6NrJ7kw07R2ap
qXWC/n/rgGCagyBhk25CnhkYTMnSnqkQIDLmdNROJYpXPpPQVlVMi46HrUHMpGm8LMy8PEv9GjwT
hEpbRVFhmQWUUr54LdzvhNAyzW3vCYWSGU5lG5v+XIVQgo9hfj9IfOncwT+ylfkah+VbXxlJMVfY
GWu1YZz54WQLEtujEVWFfcxllmTN6MdUVZFPNRZBZ3/hs/FSt9ZXVYkODDo1dp5V3emBbCV59M0l
kq53FR7+kCvuxLMVRLTj2d5sij7OjC5ss6VGbYJvDLcxhXLgylmHHXeYx+88oKlvdBuQP2oLuD76
dSv2WVPgrdYmiAkQ9rtmwa8+1/eNcVAKYGdd38WDKH5UtUpN7mxsxW9s7aa/vtTa1H1o+nApH+lg
iFGFd9Bx1pbmXQ/OZo6ShdVd3Hdf8QmI/MwFCdPsBClBAsnfNGjWX57s7QBDy0J0BJJpEN798XJ9
5VlZsFYxRFE3rAc79avv6AhSLJG4HuSVCucJNoPj5FQHnLK460S7CbSdSm/eou82PG+bcf1AzCo2
ygpEg95mY7CbTDOd+Lx1S5J4anpwxnk7d/SxpOaTI0U0GlkRiXEKmajvqpI9ezNwZVkkVLe/6df/
9hHhT4NBGWekQZny8REb0SmvoZjUUtshNjDZ76x5CUGE/GaWrLT1h1e3juW7C6038u7V+RY3psnF
hTxdxZMLdBQL8dez4y8NHS6BAzlggEGcA/751NCxcZaFKP0mzlC+MN2dWFaAnOB79AwgSJcvlfU4
l/w3ffQ6CT49GCxkEOc4yHbHmSufgIjM0/7SqLGN1xfvAzi3pRsqQgCp51FubmzO/vt39uGKn6bl
egSYKfjUxmXrnGZt7vO+OswFSc28+s0SMP8CEjgAXgHJrRAbgXzpE0aRyUz6WuNaktLb2Vt0jIin
xOzOlmTYz9wnSeaESistuj6aav84CC8c2w319eP42HB3YwiSzDP4hGrYcDNPusn6za7wN1ML4DD2
BLjOcNjE6jp4P7W8oKdiAqcWB5DW2CpkrvmbYfjLvrOOAvKxASTiH0SpfrzCQLquaDKJERfL2bSG
cKb+fW5dpuWbePj1JP7bSwHXWqEJnJux+nbfP4zBof4wIZqKdZnKejMxJyroU9kViWZ6++trrYv7
L1P3P9eyPy0Y4KxUTZNqYz/vNpldhguZt2Nu/Wb0/u4yUGjBDgLBGUzfn3bt2WZep3LSxoKrCDeY
9oOKHJChv36av5kGwGfhelinq/N2sOn7kStIlpW+AzxnHMtEtmgNlyL59SXeQN5PI7bGaBEL0j6c
PeN8Wnp0nGsTG38bO7b30rExMRwRN+jCjCA0jHJbZCLKrCI1mzLpvOmcs+aaTfRn6uo/Qnf/cBs4
53X18sFV9mnXJsEgOXdxGzPNjqD00mVxo5HdGcF8Ryz1UuFbNMxkn5ffpalugrm/GfTvFsXfbHzr
qZr//jp+2vhMw/UUSEIsu4xeltk6Qf+xLWpoPl6H7Viwn5rrf3zov3u9sLJjTq4ORuQGfFwY0nX4
KHWH8kt9t8ECVv8n8+f9BT6tPId2xNLOzws0/WFwf7cOzN88gvtpvfl4KGCnuAK1yc0oy3iseRb6
RtMBWJAHly8XbvFjVhg8ZJomrnewGTBt42vLnJNd23nYkfnSz/MXvUQdeDndf1EOuaUZ3Rbexpfz
3W8mvL9ubZ9nvGciqhJ2IUhY3U+L12yc3jXsDPdsZSHt+iySzXKYCjWEEjvFXPYqqRcbaBRFm0as
R0NKL4H4EUo51MC03I62myIA4uB6VVSbzok13aYegtTK7lUx3ne9PNgi/7a4EnqZSdxUmXfsTBI7
hX6Y0XLOQbNZq6YmmM7UMW97yzpxKKmM0BZtB7gJioolk6iq5m1TknsFRjeza2hQJaCN+qpt5xT0
xmGZAUN1AApB8aNgB+G9YZPc1WxJ0P1tOiwjx1eRK+t4/XWOXhKTgwU29BOj3skxgs0ckLNjycNo
ksu61hbcmiqcU1YHx8r2jtTOj13rPDmQvlSo15TE+22LectDansHV5PbvsiOllHvaNls2iBPOX7N
YJtpS6vUNuitkpgIPYlbrzlgPt6zzD7ldgZJhRk7HjoZ2V3Lilz8Goqw2d9QJz8qlScEf9+R75Y1
h84Iydfa66o7PVtQlvaRx6F5soqk9bqXrlqSwS1T0Oy7xQ52dqG3qprPyoCwEQpJUV/HUt/lzDoZ
E/sy2+KZcfkaaPbFQ38bViPw48FdoOyppxe/8je6Z4C+7GhuauiRkqkzzmYFPMkBa9wYrcDrUTzM
chVNZf/D6kBjtdj+sRSMyOnlqcj9A0Cy74vfPCtVb+tCHstKxKbBbgdbPE6uupJ+BeLxS5XEvTWb
uqluesBOCnxZLdDYFUbbhmrOvgUD3/TOdQbPPg1u7BFXAwxRPqRPxT4b5LitBm4l8/TkWu0Pv5jv
ZOkbPz9GfzKs558r5P/zvz+4kPW/TCMrnQsC990O8xcC+N/xE/8R3r/9xE8GGIyt6aJ+xzFKb3ah
NYf7p3wewno4RgGVgy9Dnoa7igD+ZIDXbMv1JDKYvdBgBCgE8VP/0s+vx5S5iPteU6VxSmIAbf2/
6O0P7xCugT///b1+/mMhA5YO++CaKYEgcXRM3np77ysMQ3XAVtzh6jlGJJeLBrMzlt/fjcffXONj
E/N2jdW2hph4Au0vQgk/XoM5UJjZlXjx66YJwf5tXC4SjqaG2Pu66BIzy6A0c7vf1NDm+u35zz6P
61qrcwElGsJiYBt9cw68689sdyYmQLjXlutYWc+u+CK8Phb9l9wqQ+VnIWsec5pvWhc46RTEMyDL
yrhCqW3Jo2Pvp+5GqFQNv2vCP9bDb/dlE3goMfaoNZAi+3E8IAsTPDfMV25X0GzPApJEYG2iyVJO
IC8erPo3xdVfXjIqGpwUsp7ijlNz8BI+XlADHWs6Zr0yvwEp5utXgLRmCO2U/rlF/GNB89cLoZAE
/YiIJKTiIfzz44U8URdAWzkPpVOcXAmKCzslOJ7HX0+ot47h45uFGxvlKjAMeEnoerbJ+1mrlgYC
/XzAJ4i+4qsTdasqST+Lpko47+KFewlSVJKMedgml5e2mwxAwGbKCgvC7vFpBE5WgvlyFjMxRRnR
fHhqppcFgDlYBMBcrzm1b1Q97DrrSK15ozSLOucPz8lj15k2RbnEg8TuXQqQw9I4TMuyE9YSadAW
v37WvxlS4EM44wX7wZr3+GlIyTIHIHcIDytHojSRUNIa+GA0//Vl1g7DhyoJgAkSRf8yJ71JmTnW
hDkPIWlJbLKjR9hvEJO/PgyuglReauEob5yd8mkiun2jKkaDLJzbEwNd6rd/WOOU/HrEAJzh9X+Y
HoirgOkIlR3OR0YS3acxs5uFlBB6tSEbeb2UoTctDNCJsH2xsWhjTbE9EWaeWNBP7rEPbNLcBKjH
6rgsRq+PeJAxANe2wRuQVYFV3lRGbfIDtut2MjH6cl6tQ7RdIOZIICnvgvmhbimBxQcIWJfnXhy4
I2vZNygIZjbtVQB12otyhRxStki32LJ8hpQNvYZfH/0e4uKNJW0NtaTXQrph2L47J4L6LIgkaiJo
oA2rZhvGZu2ndWaSZzDotNkbs2lXqF97/l2rgWhoOwTN70rfGh8aQjKGl1mZ8mEaGQXzWxWODj0b
Vw3zLDNX7qjxu4SapXHTFs3q3MGxTyKdISgudoVLuwXV/OzlHE4eoAibirCsir3cmG30vjWUA3VL
pnrbsY4PoaZ6WLZ4mG5M+WSA81WawrDkVGRcwgJ+KHdr1e6EPztQ6oFRL/O+Te3cIgLxyvglIN3t
1nqyII3joXYC4T2ZeoKW11wKBwKWyYEjYNv6XuEreKtEXnn6B+9hGrBD3GUGvbCXKV3etI4sNnOu
5SOkrhgX5jDbugy2oWXEXJ7XW0XoPJyUW1D9uFa1Pji6OvjKDF4zCEKFMYF1xwx77bzWqBJRDDSI
2qAdvHRqnMY7GFleevsK89C4c8nkl189ITobCmxd98ZLX3HWXoZBUO8b/Eftj6WzV/PICKkp10uv
Xeh8GbPhLfJlWXlo7Xtn5OWtZxR4RqOTqHALYThZNI5C2m5iFYKq+85WEAi0tFHZE1k6ZaT4I+v2
DOdxhfgONM2We3IVdbjBklUDWBjtmqC0K5/zOICDKLtQXddu3AdmY9y3FG9wn7egEGJRFFW56Uxn
CH7UtWUMTzj1hbcgdyH77qKc9TMExgWQwwamqrFU5sXWk+HsRqu3IEdvKuSz3UyOguimbZjQZayD
quuRXEOqflN48zQ/UN5P+V3tLI54GMty1jvMFx+SYGFJV5EQJP3YpY09teDSJsX8ba3QSr0sWLQy
4qKk7LuuR5h2QtV1MxPR7E5m/qVX8IjsWxZUpYzqXEFI75OJmzuCKkN8IWWGqb6AIgY1PQDXcSMY
4fKsihbNOcw6EyKVoQVBCtTBaK02ePaoYdYNBO6WNrcBb4KNw7hg0RKMgRFxOeUv0pmNP0boPN1t
Uwi5h6YDzKVFCngVGMK6YCTyu96pYiXauo6dEUcMRlgmHRx2nKiLcBUW/Sx9ege7RgM9TY5G07qB
gySQd5bOPZ2MoIzdiDRd7aaECUWPvoNrtdEkrRqGO8bdJiXUqBjk7KQhYj8IWwXh6OvOj6FrJShw
smpqaaTHbBli7hhwJ8JEUI8JLzyIdpZM56+jzinfK3gCmttF5LUfN6wQq/HE88eLb8K+kVRL2fvb
LKgrb0MaavCkrH1yp+jkCvQfhl0d6y5z5mi0zW469yojNFY1bHCm0+og0oslgrg3bHlsG+EHe7uS
joxrHUwV9DWuvu9kBa2ry8YJ3ikXtPAKKl5hy/HbGzIvXeKThbkh9WSebaoxh+B8JlJYSTeQYEF5
x/PN6E0ONC5dJ75W41iQu6wq+Py8GGoakr4r+/YmGxdS3zJTQ14Nzhya6NDpNK1BjzZkaaIclZtn
oetmYIKwUrTnx0NXtS/g3aiKzUGY44HJTJO905vNCFclmfpU2x0dw5Y3Do1xdipIvbmw1LdpnnNY
YmZqg6vkM9wirXByFyInvggsq7HM4gWa7TmCMKj1EnClwQsSQUdv52Ujn64OAVkJGykOF0tXxsC/
YY70zVe/dAZ2ckahrBtM8iWAicFZnoRBWhiAhqIpH73FmPBugT8lQ21b39ucgR2uRDWbT0w4Q58S
GN7sY4MlGlwARsMAIls90kfL69HLo/BB2hyqAtdpjISODe8/JD7/2SH87zvL/5c0w2si9z97rw/i
x7dM/QCn/+OTdHj9uZ+d49sJEjhSC4JThImuDeK/OscADmoILNfGEUQlMS0Ua392jjbCF/Ei0Vci
++DPg8/+bBzxV+tRvg6qIqQzIsfO+2/6xvWMkXc11lrGIYAQXQzcbggjBID8sQQfyBS4pGvdsDEr
8KTuisd6VmqbIgpkfTf6QPYmpoZ0bqw+sQmPK6eCzs+BwEnZLbwUWtI4h3twSbysCqI58GEiBKdN
GritrSb2sHBikdM2RL1F0kX29qZYxshU/KvABzIYxsSveBeZtjhwy4YS2XVuA7eABQLG5VwVhxHV
Cw7RdbY8WKxYC3dfV9WzdmCFy8fCCbtF74vGayDEmI5wbZGbikzeFnR0DfV/KtZSlRcm9H0+sJbS
o7GhbNRf4+jfw+rx6jM7pRSLzhr7s12XbajBbUb9YiyRYva0G0YAnSW5AOYS94Xp7RoopUMwMi4+
onCmw5YeWwX8mX5p384tNIZZ4cqYSn0O9oYhxxBfMHxw6TRCE5SLjTScKQwG9ANsCVBN5IyEjbF1
DHkQtdbHuTKikmv6s3D/r7Cff1p+6A7/rdj/XxkE1rv592/6v0T7v4qw/3kd38GW0L3HisDX/Wv9
OhQntKGfQsH8lkLyZ2jCemwGuhJglyvn75voTf6j+39TAKwczM9Tzf8N+uA4Q5yhAdAHIAqECUiE
+2/WLv0IyHiQsSNHCFAAej0E2NtvvoB3wIjZtPngBqyP2YC6UID4dzHRu+ClIJ0VacX3dDS+2GdT
wfLjDZAN8gIk5DSThBqsjBpuRkyOkNPUT/g+9qFfD+d34/jnF+E9LrWm9b7fX1adPT4rcIwTpO2g
zv60vxSLTXNS2F3sz8ZlhvbAyl7z7BRox4kk83f5Yp+Ex4OwgrEwQumClIHf9MRrm/ifNhLDhFuA
YRz+CFT5UMat3ey7YbILNWpRky5uaR8Rw73k1L/0kC6FZsYu3aRJKDXqo18/+d9QKpgVASLnEPjn
ujAIfbxsk9s56Hcm47nsYEplaZBX6YByvdNO7E8Q0Rt2nFmwEApQ1x6Fqk5jX3kypR3ZeYbYBiPR
woncrniGfDipfbHVtnH1g/woPOgpczf73duyyfo+Pg4Wmm7LIiDwYHZB+P7Hu16w+ShbMZS4fttd
/AYO+yXgV2W1JFpwRsnZXpDeAM9qHc01dMRD3urTwkYaz+5cP2NBoIzOnR+jk8hym8EnB1RnORUj
KhoojQWyOJZyXMv3G6uvjtJ3DrmYTsasNvlcx9Bv31dCIt1AbhpHnNxAh6Zwrg1pdtINUrvXO2ic
U5TEqQlHZtWklFtbSFx3rvuoxjldYN+zWDgsMoF6Km1QP0Mdo7G5qpGHfj/sIFBNFlcj2CGLEBRy
oFMfuRmk8W2+ZcZy7LUFo8WwWzq2zwuyzaAbm197saS1y28bcz5RvZe5t1lmsimaAvUyTVidbejQ
pu0I+ucBney9DuoD2sIbi7PUbR0Q9CA2yulOLCx0/Ns2GLfZAG29P6Gqb9HEtPKywEkYNCSxlgzs
QH2BhjptoEHMO8jCtOALPA3SCPsH0umHVabiNO7OU+w60H7Xl3UETiI1BpUg4HYD/gO1q8a30NsN
E31oliJSZrb3yvY0t/4JRt7YEM2l8Zdt285foTXfSlh3YdGHOHIuGbyXbREafG9IdNUGhyF27CK0
1Ec22VFmQIm7fiDHIlpyvWtJuX5pU4+X0DH+UYJhGTt26usyhUw1QZO6AXB975AlCkozlEQlis1b
MTnxWGVRQG9NbW66fkqDjSfGXQ7RPRXzY0XHxB7Ec9taG52Nj1nbHNUkmiT3zhaTCiAQdg6OqRA6
QpxG3T+W9ozEE099g6pjA2HuNZNDkc5Ba8Z6BKYzLXdTZQFDFsKNlBQwChpQM5ZMPSAooXLgX2+M
EzqltKdOWpQ89OoKOvoyBSrUw+RAH4kKTmUzP/b4XVlXfhtID98jv7Vn974AR9X56KzXUZ5I9ewt
fVRAsm6JykaNIo4eSC5hu0fDuaJRTSSBe0Dbx3rGLy7+mKogtvhyLlnOoaReglgtg4IpEFpNJ55k
nfb9ExDnG8cpIldNW1e9GghTyLi/cbrqZqJ5VHlDYgl/2+Bss8S18e7GwfDDAWb1sFbywFzvAvPv
C3fMNjQW34ks0iT17MtUFl3oD8uBNxbsIkgy6FnqU70bnOnO6BGQg0aTBySeWg4f/wE25K3pZsBN
BSTvxbl3Lo7Vpn6xbP3eT1VfxqqFvRf5PO48hxncHYMFU4kDxHyBWlBWeufmQwJ3eWzBHL9ujcuk
d/2MpVcOd7Bw3w963jNVnkk23bQKsuJ8QS1IIl9MkW+cS+/Qq1MnxcGcgAwb5tZGv6OcMs7gewCq
sAv68WbJgrQNSphqXCSUDHcImdkZpb6B/XK7vt8KAAmSYXdCPNMsjzDP9l4uo2bxTnkz33Rq3LvA
pZpZPvMSaI9GmA9TdZwjiqRxn5T/HfqquBe49aqKfdjduqxK13c0U5YC8wlLCf3nAh2z1VSnfgNN
ZgrcChoXfce03q1ezzUrw/OgW4JQEU1u48HPHFjYPM5Mwstc2GmDZavmJ1iBLKl25mBvp4DdY9O9
XwOLSoFXOVj298mXd1Rlc1jATsE9Y06tCrOPO/4zs7sHS1l30A6OEZU9wAVe/FjIgPeI4AHO2ymG
A8aIaurELBAsFEUD54DEpWpyWHy9z+p8l1di6zXOl6zK4gK5qrD4un3UOMbLyNkDq/szsnbG2HKm
EUYDwwO8s5wcXb96tADfW1lHo7n1O/uba85ouPMtFdntvFhW2PEKhCmpHyCBhvpvU/DygRpBQiu6
zysdCatPa5vf0brceMg5sUVJwsoongUxHxsFpMjrES8yIH6mfuqN0ggNVZ4aYGirFHOi/Z1V6Jti
Qg/T1n1cW8OXjBTY+PnWz6dr68ViwH7Qmmxj1DlqF2BCuzno99PiK0CYPRI6hEciImwvQmzL9c29
x+HUjmWpYU3/QqpqT0Zwv8BiWDhh9FTZe4gIUNvCzZqEo0sC2gm7xbr0YC95NsoOLxH8dW/ArlFk
9QFRQNDqX0ZPvLKqvEozqKJc7rRqo7aT8Jg0V2sJUjHVD3VVfGk9yCRHB8Z+kq8fPeQTQW6G2Iei
qfDc5h+cS/RgLg2BDARQHwKkWn+Hk8NToAx5nZfq6o/ltSteZgh4QeWjQqrwDPkIUWRhQy9sOeLW
CPo7D5LkKCudrUGqs2sHSKHIX1mbJ3KGOnwW9bFjaoVFpvMs9mObvXoAThF0AxcLVN3MEK+DqaAB
hhNALeDKpetmCDz4o5PFjUCeVWxOIgjxYkjoNfW19iwdKjgkK3nqZQTF+WtRJ5Psm2gdqdpSWK8M
3hitMLbwREZlRUHIQfKTB3aBnrV8hTLcgQwawzJ2eH5tsWQ09QaWlmSQCEQZhblpPPip3JwnfEFX
Sx08JdqxR5QYt2W/dNEgjCezRfOKWIpnrJ6vwML6kCmUaU7dhsj5eqbQXYX9MN+7Y/7NUzAXzgHU
llA+pKZTwW1Sf6sBE4V6Fq9uhl+lDLx0JD/4IV2V6qODEQRVFDO5HP0cJqkJIQ4w48K8y8cevg6z
RCiUhVQFLIFw4GmG/IdQTfXZq/HMCM1yKWp5TrHTG6681nMOPUrQRsL0v1NhHHiBvx46/NJ8gI4c
4ycbNAhAmR9rv/4DEV4O1giMNcLbME9ve7e4R7rZd6RzIJSHVdeaVcfOD2CH9KozVKZfhixD3oa5
tQL9pebMjHvb/W4347np813dSoS6ZRcCfXuIuiT11mgGHfCjwV5bDQ4X1Ma1QvCDwNrhOBQEEHd1
DWaMiK99lMvGXefar81A4cHyWryF9tEy2XbNSxL2UsSr11DmBYqgAKry+tSNfhlVdXmwR9bFJTY7
F+acsfQ2dgVLvYfpNQ9IUZtQVsfl6Ka5RtCL4S6hleNbj2iOKVzm6auztFHeKDuq9LLg+ygxGQsz
WXz/VPKRozIbGezVYm/j6+JY4mVq3AJoSZe2Nu6gAWcf2s29N00v1H4sZPH6tj7zkV0Wcw7JJG8K
GzPA0HCxcNfaVkhvwaa7ljPrMIgB//M2m8cJAQm8voeU/pBlGBiTYdxaau0arR6ILc8TLV6h8z7b
4xh6crrRIFjCIWDrVAqtTI9AVfJ5s7Y+avqOI+nquO1aVHWd8zB6dzrvMuj+IZQyvcNIkC435TcV
Do2M0FptsSqxo1Dhxg2US62Q/cYd2hurhUPJAM3VGijv3VpfqHO1c3y+IB9HAdblLSgPZLFwCI46
iXnNVVlF0EffB72NGJyM4OFN/gpuIJ6UDSObHYQAjs/MhLjUanI3QlOwX2gk4cxNTNIhWW+EeQhe
fPRF5Wvv+18hkcEOjrmxrMuH9eaI/fYloP0SQTmwaYN5RHmPgbUmCZlX7ye25Gc6lo9zg6ss3dyF
yII9i0UXKFw9IxxKeoMReqAzwsvYWAOuIaAfFwwzOImrrOAe7pEXZtX+xRvxNyqXVSyhJnbXZTw5
1n6eu6/t5OEhqAPwR+cRA/YTUURaMRtURdUXV1KzHgYXt4x8Up+ZX71ydKgh7I88VMnYlhHOBCxR
LGszsed18guGYp+cSg+O72D0QpmBnrB6fE/MJkf0ooe1ZOBmvbMBh23Y4cObZ8Y3EJJHQF37ydhD
B7uljP0gjXiVfvbK6QQ7FxogXVsoRNwRU5zCkzm3d7LhXajoDAEl0kiobaKugPu1xH+tZ/di5u5Z
o8oq3OpMKD4hBccPC0QdYcSvhiEOJVax0t5F6upcVyCE1u6BmPplRAIeZP9l2HX4XEHf9wi75GkK
bucSzw+W1Mf3qDwbgLF9qzmT/CsOMN2ty6Zs8J8DG18j1u5IOSWl517IGm5kz/XVdusqpAWyWBAC
VGBvQ05eCZRu/N7VoAsXbDM5xbKo5izVsscf0BEkVSle+y64jIglIGqGL5kfTelsyZrLVjntwShx
lw6mCuvzKxY+geMJo2uWzqVi8Ie18B6u86Ps8btnbOvAkbbI3bpqA7gGdfPXdXGifLu2LbtdFyuz
8EH1OojQ+1OT+xdoFw6NAxxi/WkrEA/QqvRufl3fEnyaBw9fZXtEq9L1eKv0KIKvtRhSmv0cYCT3
XEHnXNbdoZitCzJg3nZ+hO+Z8L0b25aAitFfcbZyHsEWhOFrMPpStEmeYbgyA4EMGJx+7m+DKoNW
FyO8uhlCOla7mrTbau7xeS5eTGxwsUnEVcAw1U7LlrHy8W27ffsZrwlunTz4OdeZB6OZWZ4LjK9V
Y2jW9WPjHfrYG7rBuAwMH2Q6ynNJ5BkASB/W6wbWYz4V8tpp3Of6XowcZiHDACzQntzM/ZohZguE
c31toaA0cvy/6vZaAyewkNo3WEisUkNziwcD0lWXT6w2bpCHdRR1c4Q566WqHlA9mSGAugWxa/kB
g4q2ukUygD++BBZ341IhK8BmcZYHz02xPIOmT9+e4O1RymCzTO22dvK9VwBFW2de4+I2gsD+np+q
FtNixBRuly+QR38VCz4U6/R42ylASl8HGO0qy94v+YKR+k7K+dqivrSp+iIX69zxeRdICEUs1D2r
fPBtQUwO9pp1Zcq6+orMT2wyIwC04uAo3AM0PFu/Hg/lGpfUHZCuse0WC1FT6QrJ99COYr/Fc9n7
TFdDJEcKn1uV5ITsSgRg2J4bTZ66WdwaotLKQEzo0hwnYb3SFnZLw0zg3/xRz8vFytxEDS7kpRBM
ALRQ/WERWG2dRCHZtOc84K/4PpwpyiI6mwnwhQQRs+n6ieasuHIHiXOoFU3fSGynR+ibAzM5+pa1
wh3F/LrQce9UN+v6fyuMxPrVFBnur32SI79UBOZYJ3ieFV1AMfR3GsqEsOc6aVwNw1xgo9zuli24
Z+wBqG0y7JVVh91n/fRNMr9WRv7quB1k/u0dcgavTsVfAaNEsAAdCELxkJp3KyA/lefctGO+IN0I
y68v1w24W1+HhzUwAxcOy9MwDHtpmi8MpV3MR7QmXf+NgfqLPVrtMiHiotdfKpMmYOdfJgfrqhyi
NZsBYbHB8uIv/V3Z22lmTslYIqG0SMyxv657Kjjh64LbsTpyRhRq9LZnkJZdDGL8aDDE69pYV21R
dWbCe/y0Bq6DGcB0f+uV+n/IO5PlxpUty36Rm6FvpgTYi1TfTmAhKYTG0QOO7utrQa8yr9UrS0vL
cQ6uLCgyFFck4O7nnL3XfvBa1LHlR1sUNyr1n9bbpfTVuSjS+3VxKRfz4EwcUX5/MnPiu3XVAwnI
58AmJ+0DzRtLvBlu+SHFRZP1YRLDfvLEy+/1jaMWa1uL6rZqd1OiDlla11vNZ9IbsyCvn+Ciypvf
wyhW3q98djbrCWV9/xMukwq5a1XYH1ONHqPs5lvbpENdgb+a6/bTjrjWdcEadM0y568wOSIm8e73
fk8hAbKsV4E7UamWTfKxflqyzMO5MZJdxORpM3UdQmYfTVgyhE5BPZn3zo1ezed1AV7fj6mTP3br
XtmaQhQJ27lKnsck+am1/EOtvZJlXB4BdN3/dqaXkRXMGfF6VsPz+gb9XiDrbjLFr1E+wSox5jlw
puYbTZsMlcd7gJRnI3AY0Ztnz/dtTF/LErGhVGPYDwypfb9zNonGVYXe4zHR9Xsr5uqapgX+Mc+F
SAb+UG/LIytKUDYOqhxAIMKO832+ytyaKuFd9bR5M+Xlwi+aGPDLpnNlJvN+SJxjSRtxI5Tz0iKO
DpXk/6MWYptA4Qztsc/3II/3BSM2QdGkOlaLYirmrWAvCJS+vDC847NMSnnr9h6DKl+naPS6/YxA
2lx3+7y0etbQMQnXVbuX1byfaQUCifXTgyl6yd/O/9RSUObafh04TU8PcWJnMpQTpJHfnDKl3Td2
j/DHEIHVNgDQeppz71njAITss3KTNfhypnFsNwaj81UU1AQ6++XUuMMzFM1nO57aryRz3yGVOFE5
vWmtlrA6GfpT5zNLk8OdIQB8NFWe7zzOB5eCNvDBrIrkrKWd4MMu/yplm5fCLZx9UnbfiDasy7h+
a3JujDaPL7/faTz7rCFLCAe3BoaHuqb7bwSv+jqQ+LcePOK9VVPqguBhyPv/9uAj4blEo/lVuHZm
8yHf1ZUdWk6002ANQGWoWenZ20+Olu1aP0Le9A5MZS9G42J72uF3jvE/Ghn+r8SF2ahR/+uR4Rph
9U8q6S8ubP0L/5r5k2HpIwAyNA5JOkMUZvT/Vy1uronSps/ccKWIraOo/9CK+yQeuzRjLbShhrH+
6T/HhoIsxvW1/wN9+P8ntTUx0Zr4T3WQdUz8/90wHM+ucmMJkSWZababflU9AfgYkPFNZjCPXsn+
YA+Ip+zz75MpTWBzamcmV6nAQfIfX6hZxCW1nXIrbZjl/zwh15ckXu6cTASVB7fTrjPUmEPmSHFa
4uqqmmXfV/bIrWk5h66B9vX7MG9ED3FIb6560zlPTpLtlCimtwSU35GppQjbTv43ji0i5VZt8T83
mYcSg8GkhsYZTe46QP03T1UFwcU0xYLSshHPyKbSMzo4pIgdSO28c3qsq3zJu8TcpTMLh9VqGwUi
HZVRNZ7GPrtFyQg4dkiPYza8VmZNnedmfxsgs3GUF1t0H83GQBHe9n56lCNHeCmeMydlHym1x5mj
U+X6G68tfxrETpu8rYACzP69cjZDLo0Qg5O56VEk+1mOJjPWFY1k+x5F05vom/xmZMLQStPZ5bKi
3zFtmxZuSVvRtdOW0Bf63tcYG0zDRElbgyCYf/tFAw0ix4xooqnzJJb8YNsdOPi66KBp4B5Pe3Wc
jGS/LB5NVRlNFIPqCRD8Qm/74hto7xAfBnYOj6xWB1b+keZgj6/ZA3MJ+9dLLLYrfvEeCLZeiU9q
1nX+fG51rGRePqPMTrnoEm/cFig5oc8PsGgrF+ZUmYVlNOLTLYLOntptAis5RJ72DZGfV1Picjq4
wZ7wZlHr0V9ON22m5o0lKpxqaXTrROIrLczAWao/mbzVsuKU0dTZmrZE1p3fVhVXoj1fEU+dypEj
sNHdzX057VI5Q/7QQ2WKXSnzF9NhdS8ilSCiYpXXffCxsLm1tISyvTrodXxks1JHt4ge69ylwFLt
wVOevNEGoN95VAZp7euBLhebWUEGE9Vbdm7mful0CMXiZFuHIp+LxcMxp9vPYw3jhtpk2QyLDe1q
LOn9ReKsGVFMCxqHEviMGkXAlsHzhrHgsE/r6BJ3S8kgbsDQ5FewKqZ423o4MVgPMLsxjdAj/r3S
kmUQ9caDO4tbVGg45lKOopApMfhbydVk009rK1C98wDuzGOkp7+4dPZVlN9ko2kGBlfCpGqXo7UM
k7p98OPIPPp96W8ga1/IktK2KvKnvVXVSDnZXoPEiGHcWGeYpjlQcfoaauCY0Tbte5q4Rym7o2XO
ux5gmfA0ee+OzaWrZB3WWNhgXFUqqMcM5K41vK+qwwUysDV7BXMQuDfjnOEgy0CbLJtSB3Jr6wyb
y6W/SZfbaLHdwKuXOdQ789ZadPSXVf6dM3QOrUzUsN0hTqX6cYz9Bzz0wKH6YJm99lACYFo5yN9u
AUm+GdPl6JnNEwBfLjP/7Jf+jV53zcZDQgx+gcto4UaHBAiTtuOEMvmXBuzOKCX4Kzt9zif37Plc
TIMEhm779Cur+t4Z6x2DlyTt31yoTHqSn2fEWig77cPEShzIXj7HRZIEyqC3YvODbRu/TdVbIxxg
7VTVdUQJxWRxNfIjXzSEuCpTfgq3EkGUKJrUHv7FtmP26C7eQSjtRQc1DvM6hc00Pqopu41dr97Z
DtjICdRL5IpTbM1PUhjQC1e2Gay1HH4SNRTJHK7dMtFW20lqBUcv46tQ9dmItJ+xgEJlK+3SpgqJ
urfjZ8Un8CzWQUu53Ue6L5gwk5XN9wcsv38CfPM1oDLegz29L0Hi06wqUzTy6EE3WW1CES7innlD
HZ07FUdnvPXlQR/KS56Z/rmaNHBU9n8+65SmgfCSQ/vvi/2yRKI9pWQ+QNDDJpDbUPUHmKrMvqub
wogrxpb8ybEyaxvbcCA1s3tHBFwe21HGiJMzfxfVrkJk/9k207LzU383iKc67tmn4rq9nc2lvf39
U5zNSF4ZywNAoipen/zni8v0weuFs6/oNtOciq9emvbA0UY6vobxpHUs96pgQPr70JgNxAlRou1+
H8KBfa5yE0qyV5oY1BvjqeqKFpRB/fn7qM1c8WCh/iH4Vn/qB1oZeFywfWQUS0OqfZIg4UE/8IkL
WYHtyGTAzq9/+uehvuLc045iV0Is23B+CEzhtOc6N3KEas1j23EJahjMTgvWqrjq7L9eElN4DtaL
6wFOmJgZXIA5OqEjaV1pud8eKIkmOpYWG2ayXGHHYcqtnKBwcFJGvf/mObL66VRo5/ezSotvg0HL
Bhi09zhpdrUz0sY5z6VT3miVTb0y6uPe5E5Z3afdxlLS/7bVder14qcfta8uqUZ8rUmyRUZdn7Ip
OuZdrk4Rt8leRbN8KBM/tGrza+mATSFYYjCK2+9gFeZxmFlXRjeuH/Q0/hvLSNBVQQTPnKGYB+Mp
iZjgRFkN9q21za3FUOcCID/eSde4OjJOjl4u0qvPUHnrz4b72Pudz66WGh8J/+pEr9+rp2dWw+Zj
Ag3louIo1Dd2jNeyWh6muJY0M+k5JZn4Gofuq538/J7ej7vrR3fFvs8WfXmIFU6e+JtK19R+cjsn
sPKCdyqKl22ZOncYn7dID6s/w6zMII8WfTdJLuYpNqLTygfZism13wBao6+Iuy8+TOYTutHd1yke
LJeeHFguD73kVKzqMevqWdeKtJa9CRnWHWc+ft4oXfRxOLU2zWTsHad8GcnUqGhYqUnTL4Wwa/Cv
sXc3Km8kA6eQ+15gSXCYoYYiN9D36BkjgQ/PKZe7Ze3F2kZiXBk/07BL6x885l5IOdyEyWse03rG
OJIF+TQbBPV0TIDFnAcqdxESZY55IsvAIqyjZRKoxteiE+84GIo1fICYiMROD1LKbF/n+g1UZuch
MQKEJM6lktXzOJY16KzpOLOQl6K91nV/BR8XbbLpx/byZ8Ehko6EEHS+JU17ljLE4OM5+Yq7XtxW
NKb25ki3wXcj6+AMNe6ztIe3E7CIIJvBKLIEXSRxYedTkBQphwTIfefJr5YjxADGVydSwLM9Gi+a
rVWzbMfG6km9GW9HvE97XQvzaFguC0qVa2lVjylygoPKv72FGnywurfciT0OFX0aGKOxPOpeux8w
CiL0yLVdRyjNdS7kqzc0HY63hrQfZ95FBnE7o3ulp2Hetrn3p6+d9lBJQSEQy22OYxXZbTttyzg1
MJnjmmnuJ4PLQ7dq9RSPs3XofPngs4X6UVHf5UXO2lDEj3quxbcFY4FdB59oMzurAObigf89L3n0
GAsrY7dh3uv1OOYnDmeVZ71JZxqIdkrS+76MXuGQqfD38BzT+7r9/UIK08Vv6/iYW5+1vtCIICXj
qdcwusUZg2LNS+sTH9xrXVQFQwjTpqMLjV8tRo72KbuRPZ9X7XkD01KUCKaDsIn5uzqbizE8Dnau
h6CO3+N5HVbWkXr8/ZIyUve89DwOvX+hBWVd89F4xP30SqfCvIttFFbTUvR7a0m3tZz6u8K1msc8
sd2tNuXNtrWK8WFBqDOL/j6Z9U0xVNlNXCB9KVmsr05Wf1qJWGc8/V2E+XibFMoPZTZybBVr0ofZ
uPeAeN17Eyb/LvOdOERFg2y4E9mBC3q8RIIOQecx5CepoAGtPpxBgl9zy+2fsY+Bwk2Tt5h36Gw7
FYkkkxa/JfrQEgEBsu73WYHbKzUwv5GsNN3p7fT2+yqnLmAbCs7cMWbUgMwvezfUQ3WNhKyuabMD
Wm/x7/PAiuBFlVzOQ2TnFy0d84soivwC0blKsouxfuP3u6D69XHz+6rGQlylexjz/3k9nAee/n38
r9dUYAL8UTe2v9/719O/P/mfv5NG+kZPao1GDv+KG83GGXA9FwYHr7Z33HO9fvl9aJnYtjjctWg6
OuRwv8/8vibJFgXIcv07lpl5/3o5ISYr/a2fYFbyS2qLB1Ivnm98mSc6Kga+Vyx2dfWI2Ph9on+0
9Si+a8wBBjegkXNilDfM8Et6yXwRPekVk1klx7FkFht7/XPBHOExTavg99EgDfPJm7Ey9+YU+MXF
XNLhiXaXenZ1JHeEZeiJ6z6gW/MeYy0OZtuz7n8f6QVsTjFE4+H3IZQzSIcl89R4fe0wDFgbe7CI
lE8T/zAn0by/cKekYcnA7dOITx7Chgd3oW8G4S7WNVTwrhFMXA1VzZBA+n220f3io50rBCjmY6Ws
+yRh5cli+tqmwYyj1tVuirVP1Eg9VXSg29qVwc6HZscXCn6QjQZ8EBi5Q59cs7HFJ7lBiRv2nvN3
tkifSZqVw9WVrLhRdOoNiKpVpmHp8bujF7l48jAubhwG9AOHhpNKRqiD/F9qjGL2i8yOQwWlr1JI
fkiTOTaC4YASs7OFaQee0zC3vU4TslTC3U26ZQOKuEammPd4LG/L9Gmo4C9gj7ODBgPWJlu0Nz/r
fgicYsVU0clVDZFTA1TSzMKB2cVnlzPDBjTsY+6twMSCJSHux2M0Nh76t/3YGhgj+t7ZtrF+Z6eD
vRlG7bEvT1rfPbDrrLK6V7fQvulIfIINgfKc4qIw8Ab2U3ycKm9bK+wXphbdaA1I1x48u3RIgoNM
fUpMvaBiT28QeeDVjBS90aIKWwY60UJPVmRGdG4xYMQS+maqZX9+jz76ghvR0LpnmecfXsOobMjI
oyuE4kcLFOFxm8GFxZ5V269LxSECEsytUkwNm1qqLSOOqzsBYBRvQ0S9M9MiipaPaNK2ms1wirwp
BJ3vkGO/l2HepHcz3sZN5pHZtAZWELCybwvAy3L5a2TVX5EO307dPusdTf+0urV19dcgOaJvObf3
fvUcpe17XCfnpSIxbzYUlPumCAdHPYDeyQ9gtipA0CbzQXrihccNa83yWHgoFKNyRLc6Neuquh07
rmpTTR8Y4r5jrK1ctu4h05CYKf2kk4NCt3rOdkPb/OXEv9E194b/HpaYzgpO9qPS1NuydG8y0c9N
rK2Csvncy17nTkw8RDepfbQ50eNXvIM5eeeLtN8PWoqAxu4DzMpl0Pbl7ZJVoV9qn3FffSxOqu+x
ebFlRc6IMjl+zcgXQ3iBxCNVw654GixKTXAlHk53ADViOI+UNWdFt2FXKPghaRoxLal6Gxdz8lOs
JNSKBK1UcRvWytsUU/OXbhdDsKziZNqXzbamWa45SHnXoJvOcudAnx12RqmIvXtwxVK+AlAqdTPd
txg141y+pbO6a7uGiCVU3Dhdk8COnxK6VvU8KlQsbc6v2kQ7u104oYnuDFnXCRKZ3BrK7beu1qHu
XBG/gGc/jZ7jbT0FdTefRF85d5gCD41l8DlpDKUSaVy4ShlAtiBWETgZTtVuc5vMjLSjC1dhl+5N
4682bkclcPalYl+38qvWkFjOzc4Z3IUInHDhMLIFdh0Oi3abyzuwCoSWFe+cc38a3waXVfkPOUBx
z7Dua7DXfZbZ2wh2Nis64OKGAXfSLI+ky3tbqN203JoJdx/WiVmggPakavdqbp/azMrPwuxvl7I2
6ACIS97HaSAio3l1eb/NJXs2qzkK62peT+6Jc4V1qkvyynLne+b2c1gFg4ZWWmgvycEA+X3Oka0s
hXlQRXkLzVGFs1vHSNacG7sS57SB5am1vR6mHu5TV2l3eu+7+3Kqf7xYdewXnLfgu3Jwb1bIqPmC
fnOjW0QAFbmB+bgmOclHeMEajcMV42Rgke5Up4xAkMK9SDQ7j0i9cS1/+GAwTmD0knvQugyDOq6q
1KNxaGCqsKzqvi0o/RbRPchyIRprnhAhhFYheLqVRG72JZz98VRHtI3RBdxQqBk7q2wR3SA+2k3j
O86yh1wvq1d/AHI1sW14o/NCYs/jgGQ7VIW39fsF8xntWgQrI2Q4BOGc50mPIorhCHms2Rn+nU0j
e3ATN9RNZoK+RaBK3tY/TbbQOlnMHQNT71H2cWDoaJVrQYGcVQ/zaKRhrmhkFmP52uOCNhvJbQrX
OiAw6eQ6Rv1iRBiwUy86rSJ9Z3kTGeqCgjGYZ+OF8yc1Bn2ZXmk9fHR8ZyOagZAbTu+wtPC99S2q
7LGMuepzNk+XzlrHLT+M/a7rEfR0I3sk0ZMHn/Fv4Hcso0UhE/RL+XYSL5k7xCe4wFkoxHir2c0T
87wV2y0dWm/Ly9g9yslwN67rAzKqjU2reRD4O7aPRj+WK5TbcqgZZokGm0FmMGuEmvaYkBnL3U9L
YoWiTo2jKrIwG1HL6wP7FXAbNv41tYOswhNJInTXau0hw3DRKTMsuJR3U4kCd9bokeBo3BigG7aT
5lwm202uTOmfltR6pYPr7ltFTdN2GeczE7MSXUJ2d9WbIJd6SuPmdvG758rHMqN7GGG0CGgiM0uv
VwfhN0BKkShCL9WOcwP7pJfth5DLp7lAWfdWnLMyC1hYqNj1dGIVpmcX451iWUsESWbIJPX8rnPm
RygZ8VY6BsCmlIuJyM2zO4aO6swd0QsW5UPhH+DIPRXFbs764b6vjDPU20cAAfEhz45uliFeQza8
q/Rulzh8SsoikMJvk2sx+nSDDIjlZp2gF5yqm36JXxlEvvQZhITMaYJem15dtyMadGleS+F/0GSD
3SPTpynvyl2qHOuota+WGKwQJeZEOiXHAul80nHdiEE0Z1AjYWFm8oTH+sGFhImf294cbNW2V0QF
5CAmIKtrLoMZAetWZLS/dDvZmSjtspybxqESGppU22sKnXtUes96NpIqN1vvtkYhwI0XNbYfZipi
eu0bu7wZDlmt3eeRMreF6c5oU+pPZdj0Eg1q9IHwV9ny2tx5cxrje4gkQlStP2qFleydtcqvmuSi
2u6hIYKSHqgIxukMa86/SYrse9RYUetWv0e49+wbJeaTKhfBwJoc2BHABl3gym8dpgeOd2z9ybmf
iFgi5Y1LJw6q3H8pUgp9lzW+UvNd6n+InE0tMqdwHCwFSARKTLYSK4pl17iIJdjD74aKhoNGz6SE
Q0GvfzVkcukcHNN/7hMoF2sQIWOVfuq/fQAHG+xGtO+S6V2CdLks0v2DfPnLnCMcnufKWT7I5Ljv
5tYInDR7dQeKynrR92gbSMng9J/aXPBz196SzLnmQTlfVAZp4JyrxEq3whdz2HjOxp3Mb4b1GRlp
5L9MaIoqrn4WEfA/8Cbeu9Gn1aJ/tIOYQrPSUJ9AyM9aTZ0s5YClGCXI9yG7mLOr7aLYfKKlTR+a
pT4nFhV555d06j+D196bDKAIXA5kDfMtLQ5WLuTBw4EF6/y5nDhVCXAnyM/pLXYTGEVqd9w+Boef
gK1WnOyykgRpooRv9SBqHBF2QMlvZxCz9cBeoVGhhhbyeX6rVYPfA74ldvDWE6ESJIWpUrudC5o+
cFxNVMGvjBiZJon1uByz3TtoG4ud0cFDyB3xs6Bex53knCU9oJAwRELYDER5mI1NxDADdWpks60p
jkY+yms2sA6YyRq2ym3aaoElsosOPuNcD+nB4ky2LQ1X7RpiINNvx2nnC0ErfzFR9PdafK5Hy9t2
nc6nnq6fEDY26sKb5peBmK6/2efkv7Tp2joyupaFYzu1LYdcoCQIttVnUmlFWCOfDyxKgX6tp5J1
QAC4++oKOgVeharNaE6abMZgkunWRJsWKgIYg4TeYdn7f2hX2NDiaeFb2kOXWVyvxAQcUzqRG43D
kaQeYHbW7GUzM3qY++Xc5vKSDa29KRqQ8DJVya4Q0U0Vz2Xg1FDYzZm1S0uY+hlE7YxyxogFJwD5
DJFsaGhJheYQufHMaaYqvJkjYA0cKsjKVelHpCuyZMz0VOXJiRS7jcAofmrrlDQHDwuMtrB4uPUS
pEJx8VdMzqphCMkrKbYtaW5+m19zb7j8Xr+uAemEgTCnkoSUa2iJWa3/aDUZhvYzSK8BJY1HwrSp
Nfvc7p/R6CGC1eIjvPpPY4yearfxtnE2PlcL96pXFkjoJ+sBHLF+0REAQTw+mlU8bNuFQQw4Rnw5
ifaA++A+t5boAPGFHMvS/Yxn/znPBK1pm3QGubdSs9+XUtzMyPhYgkN08E+zdHVae50bRkv2lo3M
8HiP0gA4Cw2oOu03eoH6KEntP0XU/iUY5Srq/rOzKxOdlYM9t4XONFUAqTB1nYYBHuDkrG6bp9Qb
PeTX6D1bxz+M9gvQ1/yaQjpOzObHL9l3MjT2yVDsYy1la2apgLq8HPWxuXe1m6YhB7D2mnSH1+6p
aXruBkmuXhZ/CzI4r8nYbCff/KrbviPHeqmP+ieBYH/qfvlcBscizLdJg3bI3ikqrcAYmk3tOGo3
5C1vkCkqdlNOWCW9DEgcr9TYn2YDEjTN59Ax7AnDg2bu24rQ26ijoUnQqNU46ZW29cbGkXo0dFD/
vcXnF9lzE1gpDd2WiibADHApf/2R8CU3kzb4p98vA3tY5HhxoIMmt5bmBNO33y3ZC1u+CMVIOUg0
6eNY0p4umXi6nnL2Y4UBSCocm4n2BvuEYXwr9661fKpo0zjZZY41eUrz/gMC+LkZPe1UjHuLVt2u
q+P3DMOGS7hD2KHGW8euX+XcXbJiFsd2wTNnZiZOy+4+Rtq6g5QCwIV10596L0hdE4wY47uFtE8x
RYeKWFrVztwW5ILRLvHpLPjx25xM5AphNTy48cEvyPRgxybEXfFlHKpH30QlSCb9XnnaN22Cg0XL
Z1Ma/XOsT+zGwBg8d7IDrV8/pl6ELLu3HtUdOzvtA1tfLppu1ySwOTde15LUYO1dR6d49LyDv2CA
KGNk1IJkHsZRvsXvMBbWh6mjKPWy8lky34FdEe+TvrCA+zjvxHe0p3EYduhd061Xr61vK3lrp2dB
W+cWrnhylyZM8/yc9FnKPyrEgkBcc3wYcGdzaI+WQDsWzvCwLOMP2ql3RU2+HePxu3UHwitQQMY1
qVc+5UlZMT6XrjXuq5a6D1/wuFWGc1c6nDVcVoqxQDxPdvwcelQYHfX7TiVVzTjCZ97IlRURDBqT
C7RxbbZxUbhHTJ30djFI+vpwmPT6y7EX7YA9GcM1QDESGqgMjL+tTyoxg4KQYs0+FLpGpI3dpuHU
NR8KjfDGnvo09PidFz3Hy5sTedKjliHtmcMa1KPeMTaqiY7ZJPj/VD6NFZ8lRXrXpMumMJmsMmx9
/bJkBYX/ADSq1OmhOpG7WVi/MXgs5Z8RcX56SwRW+2auOhQ2U4eGAgdZb9hqQh3qKotDcym1bd6M
+BUYMEuMuL08tyJ3A71xcUN6vJtDq4cRjbKQiTydLBAXweDdStLaN/gIR8wVdpn9SSWbysp1ekmp
TI/MSecQGg9dOiaSN6X+M7BXbG1yrvPCCefVjAtBaQMwtW1B/jQxu3ODMSslgU3Uiv3PXt4QB1iY
hvXs1DNccCZkEyiCz5quvpzRbsPY+BytmHDVxoZRllrxvlALO+PY/WnQ1h/yTj+zmHygwH9eaq0k
BLQ8RxOle944asO6wc5WUKqzJT57XnF2+49xwQoEh56wJDS5tKfCDIFD0Nie3KFKuZFJrCGOSBpc
MXQPfQp1eIIqWPFANwXNl2lClITkNQoMf9hXLgbdVOoc8wdEpkNOxogGYA9owtU3/OS4QO5N8urB
KOP8pqv6d38i3cwsfGLUY46xGtmjk4HzNS/IvU3JmcOtchj0rjoLOXQBPS5wInWcvFUd6yFBf16N
aCBP9qAKq00z1Ac+m/hUZnRPbDEhdWHU2XHeCFyyxqlss4AmjLcxNUBXNHnv8nZMbzLO65QW1ibV
RkUIEWd+XNXYEK3hqXNlHC75Gr7RC1qUq0elGcsLXEKMXVn2OHd6v/U9e+swTyMEIn2RXVbsnTr/
TAv8dgOakGmema6r9EItfB+nCzlqfk7paTIu0FTDhG1XCWACg60L5iryIn3A0Sgz8Cm+NpQiNSf5
yqVNYzhFMHfLAXT4M47lqihaJC60MSFTc2QtCvOUVdOz5gG7tMmrC2fPnzlUiB1Cb5Srq+tu9pN9
i7o4E/6DEHJ+NGu5K5IeQ4JrogJmjF/kTbqNhL+wxvfVFoABUjNz1TtxJqXjFwyFanCADf0lxndY
UIUhzaU+XpxmZP0cYgK0IuJd1sBk3OvxoF0IMnlVZXMfNT5+Ua3qyIL5m4+EzM0DtrqJ4acvHhzp
cf0ymJwo4iDG6Rsis8uzPep9UBnS4jDhbH1SfonZXl2lA53tXPduq9T5xC9IoyorvJ1i0sjZhsie
nLqReUUMlMcTZ8NcxAHA3TmH7ZRjqAvQ6D2RrkbwwyQZDDjEr7j8lNFvBQebbDc6FIFLfiZzfgVK
13tKAZqtOqpZontO3sLhQDDwSUWefHaxukGVvemoja8oa86JL8QhzlxKZ6Q4M3HO2HwsNCIM6vFu
OgzdZUZSnPtgOua41bTsMatZEru4UUECAVAnTPWWO+3DTUklj0yDjzsuu2CADJZrCOtqi8HzixcR
mGGM/eqwFkxyaCycrYUprPLAint7kggHOqXIlgf4fXu/JMLLrN4RzJLeUzKFy42fUWhBxTE0pH0i
g1bZaMHxrO6kB+WMFot5kKN+O6SACoB80UgmfBF7cYa6kREd9oBv8tpI2JbeYRRrPM9UoesX8Wui
Wx+SQgOfRa6FqWCQbBgh2DMZuiktCCBDP+Vcjjtiv5F5c8UFsArP0hgK1P74XRzT/i4QJE8pXSQG
ipqxpIdCAg/ozBuEkFtEv/3eLHTUcIvUN4npyyt32bcyl1NGDPxmjckOytrmGCoV9Z+rA5dkCWHW
yzHMkecolrdjRk90KuxdadqYqEldCuF5/0Vuf0sHkYxLd2VHTjgnYqayTsN+1QP1xPRNJwf72kQo
tuaZ86qfIGx56euz0h6QP6H7swqEA92pJrpt09aMtNFc3U1ONeBOisFiCFjiI4mSTkwRAlUx6FF7
wcyjB4peh4DEit5C0TjOyRYY+c3djNI7TySW5Dly7gYLb/6koadv6Gtmmgg57tfhNM5TYOK2JWig
sQa6Rxr/NEAtNqO26IgSau+x23Vpi76zpHZAxoCykHV8Q6WXZ7SuzYGEsVG7lB4wHJhsab54ED2s
9N4W9UEXoETw+GETmZP6MQIiybxsv0QMo+ZoHjbaYLzBHn/ARcCpTjZbHLJPapEFR/iPbokxUKVE
CtpqOdFBqixy4CRB57lFNrnruFYQ2/GfbNJYm41n6Si5QQge0e/ojmJKd3CY5WkZ8Kjhu6YkMjj9
W0pcMoekvXkZcEwvHdgaTCn/h70z6Y0jybb0X2m8vSd8MjezxdvEHMF5kihtHKTI9NndfB5+fX+R
idelZDclvEIvetEFVKGQCTGocHOza/ee8x0S0cEI9HDZY0UypdDPy3TM4QDW9fIFn+e471ASGOzx
nMvcjIIyhWmY6W2c4Cb3qvQhDutqW/aTdSys7qItELq2g3NYyoGKNcrvrXQoV2UftnsP9Okmjv1v
kacoPgkLKrJXL3OWDYXhLYL2etXL3OcY0lx3x2oNtfrCaurHsa9xabYvYna/+f1zUKUs7jOQhQhE
7vwKeDt3tPt6tt115DInsFLqxnCor/TyvaW82hSDTegpqjmH3tchnOSbcae72VVrJ8ALV3n5w+CZ
lxLFnFWbI9tPRxfHqXeN7LmDO7YHNSG77WPJ9BFxxFYOJe0P0nQb6j44j9AVOkKqloHwQ9crd540
qAty54tnXUqTjPsEfuJaie5Ph9IT52B6bCexbxCFzF1YrYSh89A4P8LFHg6wXuLzEFph1WL9pQfJ
JW7tDPZLMeUP5aizgzvRrLbpxRVjrrZUNtOace2RVxnCo7UNYhZwY+9TXbQPcW2hBJkI5C1KHnnk
VuGpgNdAHVhzCJ4UfXTWx8AQBQ1Jn6iBgeZtiwl+04Y0VFQQri06j7bCC+kjZeGLQcF9E1Y55tZl
2mdnDGVHqzHOrgt3MRv3TGmtlu+T5Hxq/IeOkytHTkG6LGWGREROhCpWW01s9Mryhb0J4O20X1Gy
UEsJPLNtyVGm8mzXMxTOKXwA8dfLKl+W7z1QFLAcMdoe9KqrGXsTViG1i4pyXiFVIZEWY26O3Bjv
62UPW7zx+oocRrQCqqwFb7Aj1lhL+MQnUkWZSmbDvSPKJxeIzwqkzkl2l96AoiUB539SXvfctEl+
XcvgIXWbXQzjdxONutr5MQOLH+0C81FyiV9VxTgeuJZeOjkGeQdCS0hA/V+W/5a93ZbAhoLi3sZr
Ju1oP4u8JZsW3XAo3e8Ecu1ik847MZEoYOL4al7IeMTqUlPaGI6fVXuyhMfLHjcufWoDVYJcUmhY
xYUWnI90cC9bHF4nbZyGpmEFqQ6ieem8l/1GTRQxSvZ7Y5V3CdLPvWUWcXTRS4FjJjUvN/fgkrnN
0ODyBtSLYI2OMiOfe+wW0AC6Nyhl51OFVxmBoTh0Ln0zp3hIFTUfYocTOgpACcpbM6sjGwOZzn4m
v5U7yVjeB6V12Q802B1lfa0VA56YOf966rmDJM28srIR3/Jir5miLNs2R0oWGJeCleOytcS2QyPP
AIb/asRLIXiluuPwbGCuaIsCDPsnYmf3+5whA599wlqzCXHZqMeH2LS31lI/kG/MAMvzf7TMGtyi
TTYaNAucvfsCA2fhJcz2Vc9RoPvv/cwlM/S23MsRh3XiRxO2jyRff5k1MTwM5rbCHRh4ceXiDo8U
0GwWrt6UgO7ZXXSIgW8eK+KVVqoDhR50d0sMFceZoVNMebfFisiuyC+fe+oVivM6ON8SZwMzZaL1
EITJlT9x4sUTr1Ci5AquMRAUdpth1o+Z0zhbkiH2nZcd51zJNVNNKh+UhjRV/JIs4AnZlGUc+zDG
uOWdhhjWSdfdavG0uwkILKE0N8fAoIJKk2rYJIPCpj9OJId6Wboiw6Nh+js+pv2zR34naU2i20de
9T55qt1afXKMVH1Yssa99huM8E23ZaxcbNp4XuczrSQeVaFQcHpPfo/jPp+SQ+qfQ6/JGoU8ccsw
Y2ArocCX3YKsVrQXBcE+loZ+4EXnu6VzzjljPAbOHd6Z+9oOx6jDAbGyQw7kbATAUYBDm+vmdXbH
rwg4+4tzvzdhjB2Goj91Q/djRgq3akKwVn4asF10ybiqZ/fZC4Z97kbjNqu44wRkEfPLOM3uvNdM
f00FLQJGNKlHp9x2L4dQcmMfU/K+PLN2rHKhXmQU4DZQQGLx1gh9R0/0Lof7vSJwYF+X6U65+KwT
vB/ok62/wXT/31r1OJv3//yPH1Vf0vO4/9+SOBzvlzTGi5flJYvb7uUf8R1//aG/7VVK/uGReAG1
1BO4pUDD/5e9yg/+AKooQP0xjfb59//CMgrxB6BVEWjpuUHAq4ghqK36Lv7P//DtP87/nKgDALg6
4M/9d6xWfPhPxiKLz5V4x4X+wPtrAncYR3T3O+m4JM75NfZFKhhTPv7kM7v926L0P8oeh29Sdi2/
3Sc//0PcUV2GMRTmYdn54RjF61h1IcWm6/bZ35DQT9MfPvuAD7bDYoxDRksJV/bFAbNVewlWMP93
6fb/pDH+r6/no9+KmhXdTc5PbxTbMXLECUYPcvVgonBY7PdRklBJKJL9Gw7jP82U//q8DyDDocO5
mswAZyninTs+veMQ6uIjCK/p7tdP5J9Wsn99BKv6Z7Bk4aLBnBlg74ozdkgjAY4Yf29QzN3Ugfvv
PZWP6Sez0/lpGobAB+f8LXEa+Hxa9owof/13OP+u/7LD/evv8AGOidNC1j58gh2vRvta1JlzXYuz
6YjCfO/qJjppFQ2/+bt89kzOK+8nEqdO1ex5bbfsmrGowHBMzGr96nmk2PkbRf3pGv7sE854y58+
oWW0D/SKT5AtjrZ14/kGu5T0q2bvClX+LgLmk1dFfXjXab34AXf+koHk3P+QVUDLOyp1+7uQy89+
/od3PcxCsMflUO6MFaq7SLnzTW0pX/3moX/2LX140y34WSnOOuapWVkdKtPFpOI1wbpnOrX79br6
5CPkB3slc8jYydyl2E2oOzaGJ8DwtY+Zemfl/a8/4pMd5Ryu9POzFlONaR3y5M7psxsPkhujF+a/
NwoW3TbPUVcPv+GjfvZJH170htZOEOph2i2y7y7iyRJw+2xutVaUrgmRsSm7z8IOQxdy++u/3Ccr
QJ73nJ8WchpaZaWyeNp1Q0jdR+k64Wpp7e+//vGfPZ7zP//px/Pci7wo03GnAl3tpy71iXADiEJB
92+uYfnhZZ8SXzfgVMYdHfopAotl/BuXK9lvFthnz+TDm65VaBVRlBf70olnz6z8kXfxO2DFsr5v
I3f+M3cpqFs9jihPJ3Lb6ug3u9gn27788PILXeOTKxELqCVscYjJcByvsClgvOQ6jflD5ktX/ybL
97MH9WEn0GLk8UfQS1uJCEPqbCYCqYTSQ7dNxZe/Xg2fLbYP+0E3tlHbzgasrg8QxSKWgNh3Mkz8
33xjnxwywYfNQOWApcbJgWmRJ6L5NjHhp0eEAqs4DmU4vJPAWqNwnmrxm2Pgk8Xx0e2+4K73xqbI
djRLzwq2wm/k/ZCGcX1r0n6MDugBcnLpc62GBy9trPHLr7/JTx7XGfb/83vlDE63NEuT7zou69BX
O2pOwnJrQm7O0e7Rv7eBBx92h6wPIrjTaM8CnRQPyrZo6xRDhixntH+XDfrJogg+bBFTL0fj+hFF
WRIhca/zZtlqWsm/O4QosPlS/g+1x1///KdNKOJrB2Dj4TGJPWiaY9kTFsr0y+p3orfSYEtSCa9W
OVa+vLKcou835BUxfB0aknkwR2nkzdqDPg3biyrmrh3avtqGjd8pjAuj63RXnVZxfpQh+P0Nel+a
LVGOIfHoih5fVWy08L+ViQWg3Appg36VkEpQ9uNozKBKYX2qX0pTZXOzJb1o1m+JQIiMSjzKz4OM
QGkaZ6V0i7dQh4Y5aBuN1d0UjU1wYKiXyAfwB0ELyjdP4EYFlXDuXB+W9InOcEQ7JzG0IWC5ka6U
jJU3vGY0jxM0KuPkb5R1zs4uptaId/QSYXi/kPuu3Ls+nCq6SNkAGLDbdMZpi+0Un3FTJBQ5isHX
FOkLhJOV+zblfdReydLU81WV1gjoCkcvM11+uxqmK3sg3uKBVJYJLie/pfuSotcaN/GYz2XMyIvc
o2aFm2Em64asq8Ramba5apo4QVvZpINHxm9K+AIz6NgwDphM75ckX2Z1lb3CPY/spyErbPWS6lio
H1UonOmtK4WtXvPOEf1Z++E344H5WBpEtG8ssGnbdGoSktmqYBicZ9mhzAY2BMAPCIBpk3cnDw0Q
cauhYViHoftsBTjrTpW/2HwvAWUtZisnBgn/ELSL19GmUOHSvKCKacVdjSyie2oUapS7Er60ufJG
AAG7RCfN8EhCRQ4ZttVRn7ebqTSlb6/aISJhplMlQKjN0ErU9bGsUFwNHiKkg4pdmV1NeSgLBNdp
yw+b/EQibjUBkUEVE8x8kK/0kfvqTbt9AwZzaFT6VOJ09N7Ckn39FIxZzmSY+J0wxEipq+nCQscM
rMx2NNDPZlIx0qVFNqN76/dNXF1NUITcJzriQfBAP9bQHWNuMzK3F0nWIjeTEdIJqG6RbK5KTBgH
X7YZ7v4y5mQ2tZ0sD3C2HLtYqTxOUbog8wjnXYrWoGLSiggNAZ8sFH2somrJWpp9hvVIOkIB9wSm
G3ZSrBKRAYJcMkjOIDMVbUtrDAdvxxcnYaEnCz99qhdOzMqUlyiyQXnt5tgf6XFHfj7230uF0uRL
aNdDd4L+TRVigiWxN5Em9e/ZbgVCOMtvSXPilUyT26xl/HNyvDEjjXyiXVQcG0drsniKzvfVQ2vK
eb72cIeoB+VXQ/seeLBy/vTdQiNTHQNFic3qHhOSToLexaDLUAQP4qsKYju917OJy2CV1HNWbfsm
y84qinZ0kJihdGRKV1k+qm5QUzWzmzyOl+SIXaoOXpNM5+GTtAA57Tps6i2kDR8B4UpkwujnEQw5
OZYNsPirPqqtZc8rgpgYWFTXDdeiZiBKBBDjY9Kc7NHdVHGO3Bnsvu62yCMUvIXJm634VMORcL5m
JaOO687Ei/MYWB0Vd0roEsCQDokdTHrbJ5/EsrsRa7RE7HIJibHxb+M59sBZFHOKYmbVUh6RpIbe
5hS76JSIp0J8XRIOIZ7lNIzlVs0J3cSijhROhKFv5xVhN1gV7Fjp4nYMYkgPDY7xbDsUFec40oQ5
ONTazhvalzUjc8tLpvFJDXOqCrxHOSAIJ/N4WbZpxWzpKkFmXh/PBnv+hjOe9hBJRJ/mGuwC9zrv
oVvmMr3vhiGJUFRITDGkKzeVj3LW2FF1p32vc44m0P6XYJjUq2x6lR9sJwGnwOQ6j4c9zrIleR89
t7CcdQeNHRyp1COeM8c/hzOGS7/YexH5CKTioJDtWgU5Mo5V7GeOurZHW8snkbnFjMwXP87lgBmA
VIlcnUMdqm7pwssubz3e2HZmimKHM8B0PGEQBwK4y0HtMVV34qrQF2OBTrm+mKc5JyWn1SRgKVRJ
7jg+6qgNpbpOKzt28wOziaGN9+WCHI/uJ6pLCY7FS5a1cRy7pd3aF96X0dUJMGWAYB0rIBkt4IEp
9s+hEh0KCjdxluXgzoh338uoUfhBfEYcdCrkGNXlYz7FoXtCdx2/xDkQgnGb6sQbUA1b5L6tSJwf
cS0O2o32XlK6yxF+fmM9I/WTwGZRlZhtHzGHfknMmT8mI9vqrnpkeuMOtPkMWyOqYtb6aEhfgKwQ
hhDs89LZ2ZMfu2iAE7+5dJYJmKsFvw/LA9Hw8FHdREPh9hwvBUKoylB9K2vFSYirwW+dbR7Q5WF+
Xxtoam7NNAk8P5txCsmocQtgMa6T7GSS2/7GD0VXXVWFPTwj2qnRSLXeFIDwwrxNHl0ZG5S5WTnh
HxRWO7abcaphAuTwxZavA/NvDyazH2bPOQ58Il87PWS3s6/Js07Z+YZrskzS5jJuFmSj0zwFglAW
Gs89Lqq5mk5ep7u/+J0CVLSVRiDUvblIgwt3CGp7q6VkMJ+HqAt3DFEC+0ujO3e212EPf/jIAQU6
Lj9H6D3l+Eihq6RAoX8kgz2o75HjgrUDOujG6yK3vGg/jD05R6gdzslKmajH94ypDKa5zJ7zO4Vt
X0PcaxirV9GCo3MUBCf9mUBlaO5R0g36pl3sFNZTlcThoeAuBzOmz9y2fupjAJrvDOxk8AUMY99c
DMRfgMYX/kyehOrt2lyOGpUKCFvDLoTYvWjRKSkVqOWH4Hh2OAqKKWaskjX+cGaY58Pz0vWJYDa5
YDOiHPKj/mhVY2Sd5rIBa+xPELeQss7Lfev1xbyLmtk1h3wxEbOfpM9UT70ftXqTO01AKhSUo/Et
YPLM59SyacYLTAmMZ/EixUv0aPVpVe1bpjfl23kfsec39ts42BOEjsclIlcDeZdhiMpIWTSw7QFV
TOl+8buMVkzEJuJfT4GTC+ZBnfD3XpwU6Z1k/DZslqoq5LY62w9e0QS5+V1WsHzfxyGhZ7sVSGOg
a9u90oe50NEVKshAPTFdY8K/9p3GNCCczYJBxjfN44IOo9pEvVdiqB7dupg3dj8EKbphg1lgTrxl
uhdLVIxflmHBOOZNQxiOG6W6khyU3Jsx2KeJK5/NGDLnmiremLXENeNQ51RkRQogeM4xlnGXww1x
OJGzM8Tkq5zmkVmhKa3wAg3inGxTNXTLhlBJFW9rTD7NQ2hY11dyrvAqD7JIl46ZtptX26403Ljq
zsWBRebtmMarQQWJvIwzARaIK1hB8CCdAaBP2q3vgXkLc/Dyvhgf7Shtm/tqNjnto1Ln1feB3cd8
7c5Jmk9tBj/+yViDOz4btLvuBdaAduannR/xsR2I/bxB3ZqhbYUu/WfQDlN1nQo7xunOtxzSgpzC
6Wppyg78KqCEaSeGpRIXiXEk2e9hvUwHVQ1ZfmwspsrOaqbixlJIul53IRDtDntCOapuay2N4NC1
DSQRrHXS3ATIps0FYhXPPwyxqbXPfLYK1DZv5qT7bsSSz+TlOON5PWAKAanQJ7gGegMga42XKQfR
Nth+714PmlIf3olvun5fcEb1ehfPeC/XxPNk9oOMHKuN9vZIfipIILjY32VNzsJlzYrFPZL7NWIF
W08jaZgxJCgPDpJX5/hsvQqbwTnF0PMegCB5+d0yjT6YzUy5w9GuE4d3URWVIy7iBiskknLddqvG
WhKoG8LqQ3JN5rJLt4ICZ3odh0wlp0AzpD+MXssYPeIgXLYIzMVw4IpQwAB1KdeuceVxI/Fi0WQ3
xqmkv8M5NOEJgCdJOKk32S74JC8P/4Q90Pv4XAMt9i7XtubHOC4+CaOqizVCyhwt4bYyox28KbRp
GsOsVDnTuhZuWYHoZQL8OtEaEheowSX6AA9K+K4XluBEWvo0fu5t4gB4j3h3d+CNl+TPpiotpzvg
ipgAQ1aRQm+CiRg1qRXXPLVtVYkC96ZUIqlWvYdaaaWdfOLuM5IIMV+5foPzdIYbPR2YOvFCh+Vi
zljXGIhqMtfCaVZ5wVuDqcGDevvOhgIweu3jA1e0suokI7/dEpPzhZRTK6C3HCJmKwshmH7bQR7d
hekwQzaaplTPl0HJVrdvCb7Lj3NjldOlEwBMWhWMcKfrCtyHd5l0wtIbh3dCUHmXeYDzjWii9dRq
eBtZomFdVLhdp43BWB7jM5/dhWujXAgJmwSSCmgYaAR2iyUdYhVae27uBB39ZM0+ZeZ92DdQMlfZ
3Of2A+TtKDhZbtUN3yGTxvp68WHbPeC4WLoXPKN2cMRR6zmXfSr1RNIf8IYNITzJsBlI4R584g1K
Fe3CTszO0U4Yyv4Zw1FqYXMHDgkwaISjO1wcYf9N6QRhgQmb8i1hW61PU+IVZPf4Pi66DbuO103r
pSgHDfE5zUdycFHVjwUytJ6EWn9w/f4k/Ib0zXUG3HT8AXVBgMyHohSAruOAlSOy3KBCATwvDYWw
rSurusuiMTVkHGaMtcJoxhoQze7QF6s5hpTjrWOntjN82YOKn500ceIdONaxBMAH+krFNxViCgTQ
FKp2tQrcZAgv/LIl0DyPvTE+EXw6dF+TkViJeE1kXQK2jKvf3LmHSWPsc0Cu5ln0wx6sEnEmQvlJ
JVe2RX/QZ014Yfms49qTl2KsFmpmMQwWWRPk9igFLA0uxOUE1aRrwMjWSj8NpTboJ6cxsZp8O4OZ
19dFZJPKuqOoRRquuN+G3bdq0RYoqSpt48cmcePkBud45B4ayzHjwa4pUV6cIQ6Ho/EhwOYrwV4b
78OGwQwt5sEbzC0EQz950gZP+YVylG+ZVYetBwIeO5HNDUEMafu9ACDDyVljI91pbnHWmjXT6E3V
pCbuVmBMEgN0zAbxplrDFqfbRjUXUihLHP2cm95VNZdGfXOKKcMTUAdnUVqy+EB24byRDMNdPhPe
LpKiTtBJLWH9NjuOx4vJL0BDFyIDFeK8VPM3CEUswlK4MnxIeqcrR9KJFTqBMExmFjLkzWHfmzhU
L1pHWXvh4sTB37cEQ0VstoETNh/S2NFiAoQ5D/6Dbgab62ecL1mG7Y7FvOrcJoxuIBsos/Xq2mme
mICfRc8S5AgZs6roPCT4tOlJYasNYK4qnLr8gkzpcMCKiLXhFuGU3R0oowkBw17vQA3UGGmvEt4I
967xSte+8ZokyXZemyfeFZRorHMlgbLVxYRLv95MHND6ogWyo3ALVNrKrmZh+Bcw+UhMwmsqSMCF
ky4N2gkpB4pcK3aQqa0rJ7MBsoxNetZI6XBx3Xf6DOc4rDZVnGXkNqXZF0CR1XLbWz3JoTSfzLqD
NvzEnQIju/Ist76OaCSaV6X7nBYRN1fHfovI1ljWwg1hnYk0D+sfaI8CcR/1oz7TL3yCGbDKVjiF
+qCkfbkRcdhW1IyilM0W/E0Q0qTpKarpP00lN+LWoCNSZWM3qxAJAhwjgUYzgE/IYfuthotAsH0f
u07zLDBmD48ppQsytpl3f8k3vWk18i5AYH6LlqzoPY0rIA+BsgmnDF5ohvHmbWg9F9aj1kT/QBTq
nIQOSrnYtmpPoigCg56Sci1C8R6VbnJX9vWU5xf88nPTHVpHzEI+5oAE+/KJbXkEeJjw0N2dERGo
wDBPMV3g+xT1HgdNUY1rOU9FL9FIh2ri+ZexZaLxZCNKsMKHOG0jr37poUwiBc3neUEfvIwqQPuS
JdjLSFHuxQswOC/fh7C6yVEHIVjvokUCfoQmEaBpH+22YK6Dqy2fr91ZOQbwgm0oqjqBwfWai6ie
/0TX33mbOYzC6C0vfKd+wiQIKAKixZKc5oqePOl7Ij/jCkjHq7DdC8XLfZpBUPTvgSyK9ltIxFty
aIYzo8HN56W94ISNndcKA0h98LPKkInm6151J5MVfXtKPGSKtA8GGXjAYZbaCW4q3jbrCF9exF/d
3mhyf2S0eM5hSmnobDjcouYgsKuhFmd0hVI2zINU7epQsUofEAtGeHb8aC5gMfZRl/U24nBjAA94
OSL/6XtegZLZIH6MLaDMeQWpu2d7LcB49v1IYkJA/Ex/YUEEixGaugSQpfjIuNWD3GnJOZ/2NcY0
+2gZcBM2GnOCrPFNE3ID9qyTaQ1XIcwGebkgBlH1Ufh+b27DsvHRtEuiKZCJDbLWxRUb5zTdl3gk
ilXlzzZBAGgMKWItjrybhE15vG9tSTzlaUHcX3/9a/zxf1vZ9FkU7f+LCbLnGf/nOOjr5MdL8xL1
L/9IkT3/mb8lS5Zy/5AeUaSSVq0NxeQ8A/s7Shaa9x+oNl2fK/1faqafREuO+MNGSkSt5p4zZs8Q
6P8SLTkk0NqSQRZh0D41n//f4kO756Hlv2Ywgv8wq7BxtBMpi0BKfhhcSfoUtGVrQsRNsOfKuRk0
lqVQrmsLsEEyX4TFaxRxX6AZNmT1Ld7py1GdTVJKgUsZvyWyPMKtPVWhewGW8HoGI70q+uIx7Nvf
TL3O48IPv6u2he/4gR+gtLI/zERxzxoB9a3ZjZI0oqKjks1gFN7WfnTDyQSN7baT1uGn53n794//
WXbl/HOWeP6GeHa0UdzAt7VGYfbP0V5mbKCpjC8hjPRbyyFOwyJJw7uMBtSSWXBqwS+67ffOKTcm
O7n9VZZ7D+oYeBmG2mTb2QEzwKAsf/NlOOfh7D+/DX4vFpQdkDULdfzD7zU0rWjmnt8rIGVw7qNt
EVnXmOzGFpvvUG+pZY+W8Fej8q9+/ZX8tSg+frR7DjN2WIn874cZvDDUYSWDoV1LoJkxcB4gFAdD
coNhFad0iFWd5hVNuJCzl6iEOuxq3NPpXkwMsPUYv6t5ElsLgUPWtHdqrm/Scbx3Jqxb9vKtel9E
/zRQ86cau0eU3BYtSlAEfo8eZTnKe6BDgJLZsTV21NJ2LgKXFQwtwi4IlEz6va2f0EyB+qSh2Ifb
kFbDsMgnNYt9J7lEDwyqgvrG95cLz5b7YgZ8Y9WbthJP/PF7o8Bo1Rdt08M6qsQb9/7jHJ9NF2o8
1Gzbi6z4CfZ4OQcN1Nf+nl/ui991x4AuhOhmBh/BDC3SnVaDqbFvEQahhgJbZgyyqvuNmoNb3MfF
gLTRpQnNKpWSJfFh0p66tkvqBQmsQ3APASsn1Cu6b0gni7ZOsoeTJMMNAw3yV1khiHjbJ/wS85cg
21Z663UnH0AglDiiS58wdSzZYzCuK7qwLw09+a8Jyn9uvBPGMBwVW85kB/02cugeys6NPmXxIS/u
iumYLXs4vcQYJ7CsKflqsGYlRi6zm4rnkMRnBsqQmxqzCuYbJ9kWwdpK4PEkDxmaf6AD4sYufkCH
ZXDXmfMnNuOus9YtrufyaLi5kbEmj748hvqku91cXoKhReyHHgTdvJWuO5yKEQztzZQeYgI/1HFK
j362s+y75mz2PPbVTYnv0N7riYnxFh9IWLPx0SXe1fYqkCtXPZrklHt7tznZBhQ6EaD5tta7qsbu
tEnndQuylXUmyWXm72MiQNoX6cjl8t6ht5fcTePahX5U7+vkhkWXmGsXjI++b5bnYvoyxQ8ROTN8
S9hgEoecjCTcLND5KhKEGSUPzORkcnLGO6Tu2XA9NxfBsPOYI0Xr9i02617+biv5kNZ9PgRYPtp1
OYrg9Gj7fEr8NJGforh3yVPLdth2Mv1Vjg/4oHF8UZPTWvGQnnCBy9TALf9KFIQNuS6xgsuViNr7
GLD44mb7obagP7HvTNG69r1V3z0FYFSt6aG0hg3Y6B2+UnXeEdtzINpXEhTWefBeY/lwPfug+1vQ
z+ABqnVW2Zu59Q4Vo2kr9ElUsrYe63XKyS/z0YGnW52/SxTxIN+wKGQbLh46xrLg1CD0S0T/m7zd
YXwa3H3RPIrwFkSB7R8sBtt0D9Ludakwyly75d1UPFjyVjNLVAc3v8qynYmY+63BzBE/1Z173/lN
XHAPw7wNPsRnNk0utFu6u9FbNp6+9fT1EN6q9kCKTkEzrSYj+MGfv/rZTRNm3FpGXOhfveQHabjr
SaebURpc18up+osGtK0TgeWg3Yvmmdp9ZZAq/Hq79v6ps/jr6UqtXGmTenAOofhwxicqTiGTYkdj
6vgyFW2zlcaV26T0gFmWQlyEps5PfmKx/gr7xmbb20yI6l27SLbOPF/ikr2zu+lK9/pVYs4ifmD8
MxRufwg8Oiht+CMfwkvhooHyGogbgfwxYkrYwtdI911M9J7yDj5+HS7Oc7TvS+fVAgADtDf+XcCD
0B/Pa2oqD+o1f23leRzbH9ZyytbMhFYnO9XhdkebOax6iw5hw72GgEp4AFH/Bg+nXTFCYZyJqxMu
KfxKGZB/HJgTYfQFfXy2fiPeVJdl66r2X7nmXtnteKlD+TqNOWqvYjlzvrp+TUjNCtbxMY7krQXs
akWRRD6ORYADRnWEKntymxzuqRrjsYJj+K2MfLkHy9pts/K6Jr6ON8oq1nnqU84Xhzp1tqJuL4Pr
PKfUKgdM0XlkHTAcHWwZPS6M1gkarreDWSzoGSnsDv/STLxRGbnLWOUIPbAr9mw7VChfSIKKx5nn
UTTXIPRXnhwe7SIjBCELVyZTIQ7TaVeC/6d176W0BMCd0V5Njkx9Ehor1TJYgNBYmrSXQ/hq2rpu
/EOWxua1csEoW3RhIIIZTUc0ix/scrxzLds9gaf11w0U/IuucsBh01x+nBOuj1FvlRfSfS2CWdwi
+U/vaXhCXWjiS6UVTvXEvQ1z4d4KVz0FzNSZKceGOdgwbGVBtmVPa3zTpZgOW6vhuPYVaauW4GsV
47GjGXZiE9oFi6/uUqvob8d+/tI73mW5jM1xFg3IhGDp4CcgOjHemTdcM0Lj7bjD1/rVK1om815/
3Y2eQS9RdRBS627tcrnlssZUNiNlInbtp8jLnVfGveKSJ0RqZwSEKTtUjtccoaUNTOsMQJrz/5t6
l8yLZIwvLTpoa/Qh7+WU9jsLuNJrl6XzEb4WhhM4/Qh0Hf8yVQ2W5TJ6H9IevalJMLABNlhLd4RB
FDpfFA9jl/bIj2UVv8yorK/mIih3eQ9KpxMBJE3l12ulyW/VxVOjpTohuUlJsGwQUDb6LawHeeTS
i+0XqaFJsVqGNtol5+QXoKOLuA1PTvtAEQfTyG14x5lxi4keZdC2PK6c01e8LrmPJKRID14XPzFP
mzexQ6GHB/peDNmwkZjZV5lsNNRsz8OUGx1FKSYsaBwJha7uchNq+oD62hPRq9RExEejS9jyOHUb
zkO9/5/Uncdu5My6ZZ+IB/QGuLiD9F5KKVNuQsgGvWcEyafvxf/cyWmgBw30pCdCVaGqZJIZ8Zm9
19ZiKMhzKSlnZlE271bDoVoM4dUegLaZ3AOx3b+2YbAvdPK/sYe/KFxOa18DqAfZaC2xuEZMClXG
/RkSipGkYbeMcCCtIEZpGMUJAQfKF01BsAFeTIhu8gtQRjFgxqpaKGuTVL81yP5FYiEoN9NmB+q9
XpmZ8Tfq0tgmsj/1+VxWZAM2uNJiTc3DdohLpyEUwXw0sy7mjurzo2FaOcski/cGZnRu/1Q8DN6c
C4HmDHOHQyWv51+M7JpjEE3DIYMWQfillj+zumR31F0CyfGTNqw4tZnd6MbjD1nawDsGTy44Fg6l
1I8plo512gXaUh+9a1gS4WaCRbWIxFo5vb2UCZcnSsySWaZ8qpqRBPJ8Ru1TCZUoM3GKNdO0DXPI
3qLnysAssotQcG6ysO0IyGGzF83hpU2TDlsrtdcNqpRdmct6ievz1Xe0EBemfeS8JiLBZ6qIwm4F
LYNr07olE8dPWL+ym6YyFmeQsHYaOWszDN+xc+u7UtlHK1/2AuonYyFB+Kv1EhJWRDE9RDjkWzyX
KY4F1T2lcepup2KELNGV3rKbsmGLPQ352D82bVK9lqod8Wc3VIBJVREvs3HwtB/qWXBvkneRYI1j
R1zheAuVXIEl1nJcpFGi8zIZyWaoGGba9BSrpGYokOnuAnFdtnRBILNHBzhiVUgdWlhikd40y7Fm
CxX0ZNVgkJsApq/MepQrWBYSZoVZUc2yT47d9sdPuGBFdwskeSGG1zmc41SjidvsSxhBdqC9jzhb
EKVRojeqpUqOOEqqPUEL8/+AYa+HTycVkBfu8XsR3YeZY6yxGVh7nnrl2Cb5JcItHKOpWNHabUzZ
jTstGcgaamCH5eDp5v2PGPo7JQnIgiEDdGgDmgq7qly54GaWztSvSRMnT9suR0LhvaNlQYkxgbRB
xyUodjSvgQ+mciphDQ4cyUSt7lsm9YvG9LyVa5vPQ68gUY7OziMysFJtuNdSsSaticKqKfYtaxUC
vEkvyTvjFkoyJDUZ8Wz+OKOALudNV6a5IbIJngkEhO/jFKCWr23AxE9aFH1PerENHUrHyFV0FBot
pALgseJHtpuR30vynnpWsh6dY4znXaSeXCGYJEMkP6c53OSMeltvoGz3nh6vCWtlqselESjoW5mE
4AaJZjmQMWItTMNzTzGj+3Xt1xenR06qxbPyK2UxlacO3KI7VMhuL5Eibyy/2hYCjiNY+HAfSeme
oxiku26dbUJ1Zhyls/IGxOVKWD0DwH1L42knwj0ZeTlt+szwFsRA61vfDsH/MWJA4BrsrNigRvvV
jUx7TjSah4wfKxtM7ZDSLz5kjvQeXDcgWCMj7sq3gJLWwx7NjXFgsG4cWN0by7xgfpxJIzp2/k8w
2imB4VN47H5capCTZpX96Z9fUWcnU6Q9ojKETKF3Hqf+2soC/Ry6VXIgm+UQSL1ay9EdiYzSnsIw
bI5Fqd9g+5I7Wjbe5Z8PKeXqRdRs4gyDhStCgYEZC5tO9kX5uZs//POrfz7UyXgbgHVvremltltw
PEU5/rmjNPQlE3AUPE1mHlUjSMCqWSPVKdieTi+aBXXQjvG0vw/HJD4VzbsKBvtixti67WL0V/4M
em3ZqGzIfuY4G4uctFSa31RO4YHF0ISNO0/3RBPAOkvLc9V4wcaJ0DZAjUO/C7GgOEfzh0xvt2ZK
yEyUNyaGdiG3rqpxlboVe2hoAFFQ+kshkuaBb/QhTAK5k8CTlloD4b0l1WdHTNPsRE5g0/XNOi69
AHy70M5ACY6JRtyjXqaffYCvv2ojdnYMpnaJgquG+gizscpuBUpimDa1fPdFdTUQaAEJNh9LUfhH
FWTwa4QAblOrD13I5iqgsizY3xlnGafdhdMIOAMwGWKxkmtJzXOreHb5Dgp1sHrvK+NncEbbEK4H
zLMow0GehYk4YOEfmIk5P0MbqV1QNtODl4Og7gAMLsw2Bp2RwqlJSSALRpFSLWXc304WnNqQJpPg
ajhwHgZwZyrUZRq1Ex3dBIFhDuRF/rROm+kCorQ5iMhkFdXBdGuM5srC6uTXHuWX0r5yPZ92/SiI
eaxa75wSgrlLEgtL+LsDgzKmteQhqaojPyT7qdES56kwhhYCBFdk2/cPKevgW9+NPONY72IH/nY+
VvK5r61bW9hLN4PZ6HVMTPpQ2JuEqyCOAF8RhnsprOYJDIPYF4zEKPtDuJltO4s44hfLU8OWcKF0
FUimYyOJ5UNP1zvonC0EubCC119gVbg7O/pI01rspybeaSP5WIwZB8PYIugZ4XyaW6ctT2bm3UUw
BiuEOJ9tTF2sj6/TUDTrnuRRXT0GnRXsUCFeVGkQghYelR37M29jE2UoZk0L0E0I7nRQGwNq+8JX
erWg/Jz5+i7iBMDAIgKSo7fMEecuqTVQe0PuVh02c0gIv4g+gIesQTtcW+MR4nS1mlHYVKI43imy
T2ybNqNXnpDRvZuRA81KIZUs4Z3TpL7COKkYRwFamUpysEKW+fIaVgMc1gxt95RXDKBGA6IyKa3S
ilag/at1KyvOS7v7G+TGaZEj2NLftp3/ZTXju2e+CVS7S+H3VNys0wKdjtMQ3q9UNr5cnPBamp9M
kiAIdW1WRTTuWou/YhnqpHftbhojuY58eegQpbEwBigx55+l6qUyXIe/3z0KflZNRYzHDPekQG0k
l6LevVPyHXhQCI/V5QG7Fqb/16xID5zVMN1M87vouxdhjqeiIJ2msL50IrnjwUHwKsiQcOsrryYz
r0E/IS7Bsp+bNBWbvCTj1xziYaUJ/blP1LVX9fNklFz6afiLeIjEOcUVbEEnxRVw+udTe6OIVl6+
9cAYgmqM64VRzF9RkpF0nhbvVMonQ9owE83qb/qNLAOaXhLQxNbOQVHlTzCDkIQbnc5gmSe41bKr
a+G+zzPghsNbMtqvroCZ6+NvwTq/DxAWxA71VKL99tZAu5F/Uv9ebMO/o3sgyhfYWhjeTceBLjsu
TdL9UtLBdpaabnAH32I/++7Q5aDE9deWo/2GXajBjBBqmUzfLFlX7Fi+MAw8o45b9U0BybdqXhDv
XyvHIF7KAVielXA4pfqy9eLUw44/tGG+B5lMAkH8E3rxlU3vI3lLO6tqyqXvT5Km4Rs5rLGMUwIR
3ah9jaHML5SZgDYotF/HhJNuueReCGdN070bCvGlp+GT8lpGn9guLD6LQxOu5XLv1nwhz2QvXQ1V
EtYX+gsXYkcZAB/29G5c6AndOBOLHWCRr2wsQ6J2n4OgPLO/6wJKlixHNxs4/rF1uYnsfI8592Ga
njLNYcLF56vGEZ8jpZrZ7PQUiDeoue8y165O+VIrXImdLB60MfB4YJINhoGTXxHEYHbB3XHjB821
Hx0R3eAQQ4qd7AZTgXkAAbSwhXVJwKIVuX3vW96GFcj3RatHR/bP8Rol4zPygX2UwwqHRHrDBnI1
Zg685SL5d72L0aB/qczspXKrjelSNiOHYvgNH6Q13GPV2SsL3TfjNMqbyHZf6sz9tolsWJZm15NQ
zHayzSDT1SfdhGyb6+oT7NCqG0m+QSmsJlLdFkgWQDaNzFjj/I2pOhHB7ZeBRw7JI8fGSD7fqNfj
Jp31O9ynW2rbfuk4+M6CfuDbsINFWkb+srLUIchneJzlbIO0fM6y+Ma1Vm5gPbE6NZ+UUTMq172T
zKNXMcgXyvk/jCvAWqXi++/EWim1V2F+H1j5EE+QoBJMNgl8wRWo9UeQI3T5dkF8r3txs1Yt8zZF
hg+5PWuST488b6LC2pXQGGLoQe8uBWsJLU63WBR4CIseAQLlZhKB+zej/BQ7AEWCMgUKRuolOcGC
tK4lDfsSlDCAJ03kzFXMi5oapE5DVHB2jdvZyECIFnMa8J5jRuBUWUZbPPEekI+XvAibbVZOX//8
0EOr3idt9ejP2Os+Fed2ROeiB3s65wzeGqzgWLjBJqnbIz0UnHYxEIouxgsIM32J3uzqG1iM+Hpw
kZs+6TEgtyY0F0u0AYdCFymnLPGgRd08jOC0cq/4HVv7M+dowgEEnlfbuCnDDs17c9X44QX9DyaG
LWabj8KOPxx54ak/5JP+bJdQ6NTwEROqmhTymhbxA7KNkyv9TwclH8Y7FvYsdww5bkVa18sQjRCq
HEpuK8suKeE1vlV/I+Tj3IpoP5L2kHrhazHtmtY9C5sHmlEtzSrs/yn66cAeVc5ItRZUL30Y/yYt
Y7KemrFN21Nboafyw+gPt/kbb9OF5dafcuJ7jFTxZkbNUo+SQ9XYH26r/Vld9eioCBepjCOWHBPJ
Mpq1I/3sNzc2iRkdtCn4aH1e/k0RNwyKeEtYVQy9KBi+5NAhQWBEYVoIDgfZBssBP8QCPevZqpmZ
zQsYkeNGCIErY1LZNE3+CjGKaYHZId/tzRHuj3kXVfuTeNk9MepDHDdLOOlIAsUJ89azN1Q8adCa
lszvXzWlnSrt5mXttLJtOmL6r52rQ1FDsv7pSq6zNJ7om8grrz1CsYqPNmPAUmAlpCW1vhSSYH7u
TDlxOWwcr/6IEXQ1g1k92LWOtChfgzaqsOnVPm1IuG6IXyCwwg9tANt84wg/zmY3K+gppFUKMhxJ
1krFbGr8xHpErvw05jSIdnzrVHgacDqt08pl1Bg0Fq0X2tkg2edtuy1RDdZRwPrWp/Jqank0xmie
7w0biWWEA8DfEY1kj7mxjKzeXrfNtHf76Y+45IfMVe8VpLjCjeMldjq8fB51DWNEChNsTaMgDMBo
SQ4xvTPSNtimNdsG33Mek3j8Cqpi15jlPmqzEXcFFFV0zdkSVvpZ53GIQtBy4/Dj0tly84inEMgZ
qJwZd/eSEfLwYNPy4Fphn+E1r2nmEnQaj3cTrwDJpEjIw3AHrFQD0mbcBFf+UsvUZ9ubQCa7LCFg
SLLSRGSueYiyw3YnbTR2dTz8wvB9svWO2FidrhnGYJfUzFIKzVxMRbFpe+w5U32p60OLVWjdk4mq
ZpGfXoYvRHqgNmY3jmDyloa0uk6r1FJ51gfCJlBIGb/DYAkkIxSHCtnmo9N2BMhkB94EYinlKBZu
rV7Kvn31dDvBD6EJ5PXFVlNQ710NlvlEBYKyvtnhknqQlf5odcgnfThSS/FaNQBQXT16LR3/7NN/
s6OQz95Uvs4vWCgZFgImWwSxRu7nJhmMb89LCMxNVrkonuJQYaCrPUaJoEPtWa1W+zMiC5AxfNxA
VX8juNEtau+VDLGqQZziQZ7mIGF42aH4Jv8ALX/jrGrN7jZmt+2GtlzXAnUvC1tWHhtmWDBTY/GE
JI3URc1rD7KkarOJqsLXgcRx0siiILeqR+k3lczG2qHGXJb+yXAgkbax8pWTy36R/6CTfU2DbV76
zHJ0BtcDOV5aGt1wNnzp9Q4x2LMLNK1x0x8vrA+OSCoMdxH3SEYOUJyTEQTZOw0g7qmMDZVt/2ot
EHg/r0HLtuOdzHsUgAzWPWoBzfXjK/DmHxJhJZHRwTPeS38RVOM9QkSaluCVGxKha8b/HixApI54
ydh+s0NeNYoKID4Orfgj4nk9ptAAHXGalXGg5X9ya3zEQ5miLpmjN1Gay7p/aKD3LVOXHFuvvaEE
/JuIBbCH5NZX1lckQfrz4yT5gaRiqudT1lv3zinYtHnRVhHm6zKg8HLLOFg+c772fQTYbqF0gdg9
hx07WPga9sHKMfeZkoy0NetLy7tzMBD1rAefGg3ISoGLDgHGTYE8GK7xhwda4n86uaiCw562bMAp
KJIVsOpxyvDuVgaE0ndCq6wzprWNymKCC8HVFaG46g1QZqfkYlASdnfhdk++759SAkjI6PyRRkgj
YXwgP4b6oFW3KGDZjCGA9CHNoHlGzU5N5H6JoTnJyPl0mgTCY8jgXY+tN4qJexIYqPMoEmaS4lZG
DNGR+i8AG9J7MTxFk+FPW+IpHtN+fM6nilmSC44nTfNvn/zIrkv++qYqWG6SEhjE7r7t9HPA8gRO
ayDXkL0O7cgkX8OcxWiRyw+L4DIUoDDDVZN36x52KWeE/SNtca0h1DpNQYReIVYlVSG4O3K2KlEt
rHFCdGubh1H3jrOmbY0MHozZpA4JPJLF1HoMl3mIUXUaCyTZYCgtXbEilc8qDd9dCkQsc8PT2DY/
/cAN7Njd65BtUcx8TFCKefDDaMXo9NxAkmXcj1LfYp6MwShbWQ2pzwY9+obJFEvRKZ9DTcIDeixj
yxfbPyYk2vAo5eXZt9p6CbDgihCezwJL2lTGWsX8p3hTHwno0y5gWu5uY3AlSHaAJudlZlGphMkz
Jtq3QsviRY/vBiIyM+Ewiza+Y9nz1ufUzuEJPeaA7SQtLJAhQl5uFbd0w1Vhd0Tf8K5Zc2BrZZ2z
/ycJJUqxrCtE4qhNP90GBemkOo4Yeelq7cIRey8CdR0ipjszhh0aPWw8ALOhuyLwi6ZCh1vJgOIx
MsRro8jrKggRGsX0Vs+63VEzfnqo74vR54VGLR8fFXhUpzpQZq1rrBbHtIWL2sRiwxoHlnHdH5Kw
Orh9i93ejNotKE9y0RE65mXxGGv1Izazau2lAwn2+UnPwLSnvcdamAvIbbnQRZON65YkSfam8UYH
CHVOnKQBU5x8G3qzYVrhnwvBNWCy2orNAfOpfm3rnMVOVPIqzwHnAo5fQM1fdyOy3Kw4Fd57Hkfx
hn34cUwRU5Ck0Vphu2KVuZFB+lWMLLtyQ2wGtBVdkK081kQrL6FOKCLehEZCx4b3UixV4/grN/si
4clZYA7TV7RP+Zo1HITw+FBX1BPl8ObqyqLY8N5It9aJbc4Tbd3rxZ9jKIN4aYMe1ox/ENre3V6M
m1GzPJ5TccUanqzaCfy2lAgmGNTyUM7UY+kwQgom3mP6VK3JK0q3zC1+bCf48601SlfGBxMrixIQ
CQDCSax9f4eK/UwNle25HdP10OBJ9Buu2ym7kLKD2sV4zOuHEbvWooz0/MmJ7W1pWysEILxtpPGk
TO2tCtW07M3oGnQKYCdBYgI1MUL2az+AznWAhKaith6bqmkOQ6k9ldH4mZjNMXUydTQmbNxmJJZe
xLNf6czPCaHwT7HFyGiqOvKbTCQekjZl1cchrjUOW4Tpzx4UDcYd1rhIFtKmWQQDgVnbQPsjtM+k
GZDraoGL/q+hWg/nYrH9KGWorSdruDlBpy8JlrLOZuqfPDmQK+75YA9sCQOzpQ4FgLAq7eFTl+VD
nHTyQfbhChXmiCD5IRvcmNKVgtawPzEV/UGI/iLni5si7s0vgENvrK/SvEoe+4EFYGxnTGodUqRA
f74j+p7NU4gaOvNzRCLhE5BIq6mMXVgwjoybx5YX8GRn1lVPChp1aiqlyy/fiy/A6QSJRHlJRRp+
grqcli4OH9Q2hDiKmmL1yyIKZReDgVtqIxF0MYMJh6CuEcfqsvkNkuHeqSRex553LsP41mrgjS3U
CoW9ao32rSRtIGl+Js+7FSWEXcPt7mkyPJdD6fL84DMhKeOZpJUvPwGwaEGhjBByIJmA1GYiBzUS
r9tq2ngwPLR+Jjo+dkC3yWXyi89342vTPWoXSTU+BcR9aLit1rA69jh6tqYW37DWg2gO/zy7eyIe
r92Sw8PmcgyfWPrKCLQmBxN5PLLc1bl31YHD2VLPmDzhlfJF9+AxULeMcZ9mDiFZhdauByepoOk3
tOFG2h2MCdEh0vxD5+j2EVkeIuyWEbM0O3msKpOn5Z9fxk0/8TYqH6rEzSjoSKpq27R7r/SzzMk7
xBBGYLBsoU43f9UAXncmeJgC0peBqDryOgUQgITQqDxBGv9Ipqbdq7YyHkFcxQs0gMyOy/iReG5g
wdZwCabO3Ye9UNvQ78x1V+d/dLXDpU/tVZlWcodexVilBcMCRPvtaY5M95tIu3VccjTS4oh/9EVm
poGcXKRLy4/FocvZ6dup9hCIUp2SIPj0hSp2IkKtELT6STXsJaWTvhBqaz7d43wCNBuTBu+VWb1N
uu63VXX+3RvZfRoq99hXM+40FvYhFBEbYHC6767Kx0UwQaWONZ/UvzENbmQcrDFoNW8xY4iMAApy
3J38yTdmXXvREaTmQItB1rxy8EDq0QEOCy9liXPCNpxin8sk2dWEikjIbJ1yOPPiv8RF7udnT4G7
0pzxIHL9GI4R9CZP3xlWtjcifUF4WbpTBKJvqtiN1/bIu8B1GmPX585rl5jDrgw4FfyKGGF8Jcaj
VtKRkAtY55V9n1rc4sFww9k9rF2u5b2XsfBvq+YRZbyF9cn6ceaIBjPH1MdSgpS/RPeXli6qnaz9
ibI+y15kTlhCkne3Mqmc3SA074Yg9Lls2npb1JZ/GCkSChRtd1aCVNal+eY7iX7hgD77U5JCkT4y
z0dOB4B5JYr6q8hGCjCWPmsHEyAL4fqDRevTiKGHITpJjpX3WvaufTR6VoMtdq9t506XCosCFnmG
WXZVENhqBSew8KtK2urIw8Wsl+XiUk+PpkMB5aoOErovX/w4N/dp47D2c6d+idJnkLuR7u7G4CxB
P114XI9AWHJ92Fh6QwwFYQWnXDirFFnkCIL7A4wi2/fETx40VHbEHrO/4fg2pqD6QkDHWn54adr0
LCf4/6Iz3a2YKvnaafg2Zdv7K6gH6WpqreCp1bqrkWvyva/JqTO0QGxb4a1MXTfvo4yfyjmgWNZw
KnBdochSI/qQQV1qjRgN2QJ0jbRsR9a7fYOU6CC1c56yirCo2sNvUvR9Q2xgVqwsgVTI5lU/+nF9
ba2x2BAW3dNLxvopS5CFWiRbWdbQPNhKg1CtrD/PlfZLAUA8TcTWqy2mXJELiAvv7kuiFaAC+v7D
o0ZljOreaurKO6ZVUMRYhh80jJyk7/TPuhU0D/DZGQ9PFbY/m3qrzC+oP+Z2byw3wAIA9tqFuW79
qtxNHicEw454RyPs8oB34jQkL7OH4xv408aarJ9xMNOPOJ4ecHipBeSE6RoXyEgHrY2fLJ5hsqa8
5cRt8uQN/V+oufFBigo+BRm12NM7LgTgHGCQAt6YpK7G7ZsbDW+qJtQxSDiQojBjGtYMPMFFoR81
3CvIaZ117sh2ZbR8b2PJexV3JFOmIbJOE1o1YI7Fsm6KeF8N/UpqlvPg1mQctHxpGhnVHCw+lTM1
MIix6hvMdXj4U52/xho97fKcD7FAKzr43/BewoPeU15KDwEdXOeH1Nat4wgSbYmkI1wrmxsjR4p3
4YlCD8Y3FWAvfOz1ZFjoR3Az2gXpABgPkAirptO9SyH2pOUiVXf8cFvkswC8Rj1VsC3caLamIwEq
fgLb/+pyKW+VC/aC/fgiVa6BEVQ38GYa7TpEEOcRr7XIzT6569Bp1lrOFMLochDnVRM+484l9L5/
b1gfBrpagcTP9iB9JEiEtjhlHYzthspQMxiXmE646dquRwPIwLKIYuNdhegHUGptebkIfjTG99bv
GcH04sfS+yvrtQdiTPIzsvSOVWfwapL65ZTTybJgSDMJqy6MzHZm3OmriEkdXajFmDGbaDQsPLZx
8mTnffI0wrTYaQATUI3wZ3lWhLsizH61yi0PNs7aA3qHV8Mru63r1zdslNp9Mrz0opr0x3+ayCm6
SSA/z/RLvqFyIrf8dl/LX29kRYWDZBUq+6K5GCLsUZwc4DRbaY6/RRs7YJfRMWteEVxrNQXXCagi
IihG5XA4xu3M11s6qRZccT0ygy/C/lA7dXjNAnQXnj1cMh6xtiA5k5E5Y24X8UpopZtQT000v0b4
2rUhaRNhKM7//FZcjMx9FY3bPY5xUJ3NoXptS2PbZ7715ibatIo65eLZsOy3ICsXgyjObSLk1bFz
RG9JXy4ltkGrtHYNPIUVa0OxDvLGf20le+smDK2j3vjuqswLfaNjMb1m5inokRhFY5OBKUvJFUwI
wtU0c05GBks6DtOj7t9KRkRQqzNvhjB8W/5Y7WEA2Se8H+5mPEYFf5DXzYKMM53pTfWpFeRemAcB
/GHJvvvUk+CxJD73LxDoaYzEPhQuU8++F1Tsdk7JXPWH1pgO9vzeqxpnA0sgHglWry3rqmr1VDg8
YIbL4CaP8pcSlNkySfSrnXralohFl7EtQXhinrQwzq6JSVnqGtM7M5l2UWxSYdcGy0PgBsvRC7Zg
QF7K5IEx6tWA7EXpHcfrvnpVA4MWUmmYiKZzOnAvdk58jCaPaE4BTz5WCGrstn8k8ugMKQZlF9Ih
9RDm0wNGkBs4C7x5uviuwzsIYWqJ4Zlshs9ap5ODJ1As3Cd9FJ8idFjBYhaox/oVye5Oac4105NX
IjVyRm3li+qadcd2mUA7/83zg5uWocVXbvLdOQy9NW3YEIrm0wymu8wqT7Xn3SWZQMtcU9fM+h0J
uORrwdrP4Mo4hmYHV9zp0LCU4aeaTbMJuWSJRep3INsfLrSf0Mb+zahiL9iDZGgSi4H5FfMHczH4
6bPWBk+T5u8SDFCLOs5grQsuTN1vl0kdI9WMWAgRamIxIaeP2NUDZxQzCUz78i8ptZtjZ0jFCAki
7QmbSm399VL/qmtg/TpPU2c0F42BeNd6TNQplZPEZh1OsbqsTWztadExbU+eme8RCp69OJ15nqhd
YNujRI7/hw36/9oneI6/m7It/7r/+g9n4H//Fzzg77Iie0pE3X//f+Qm9HBK/Z/NhOsuissq/g8v
4fwv/m0ltL1/USsbXmA5hq+7ro397d9OQsv8V4AzzdQ9HQ8HznOwkEXZzIhzw/6XH+ASDGzDNC3D
nt1r/0M/t/5l66ZtBL7uOCxoOdr+b+jnYNj/k4vKNtMLsGPbVuBiQIKt/L/RRIfGQWdBPTAnSkws
XO51Ez06MYu3prQUmpcq3mRwJU1Zd3vHTS429KxH9F9vaV9LxI6KhIuhewOz4RGl3CCQKMTdcX4s
Kp5vo/OZ6pbaX23jkDWifxbkf70rCZqwD0AYac6H4K6rLo+pr8k9SdPoSg8/LBIWzGvTyLtNkQ3G
jQo33RuVS89BuNItHmrtbAbV6z+/6ypLXoIk3oueToqdx1fPhmER5sUmypUDUfJOW9WjMyBTdcLo
hezQee8S6d8zUjtciutjofxfN4v9u1RldtbMPlvQRPp3q2nlCbl4i+nAef/nHwd96h6JDtP//Tdw
N4/M4jn7yGk51n9E2aF0LvNwj2HBOwwmZ4yiSkBLUwSPUSyvOqWa8vtuaxK8qiwNsGNG/JJhdpSb
vXd2MAWjlzaehrI2nry4eAVE9FfUwGP8UqhnnXp+o7XEzyGgm5MkwN31ec5qovsz+X/XysG2gmfk
GQ2Wi11fxH+5Rm5V53j9s4v1YZcQGLQsNWsgs6zbNfOf58VvHTfi6d9/ibkqM+UY9GFaHrywUpcg
NTeOtNRWhzcFeTBAOSCtdRpMpFOBXZpEQAmDdHZdOWwJCG/fZirxL4BfTrIJPwKkCotYDfFD5psI
nA2kMm7srg1DSxakk9G++eyDLMUYw0KZU4l4i4jouTKcs5INPhCPXBRvBlWlslubWk6zQdVtYqWn
h9S+sbpHB6WP+0TtiomQPhlf8myMGXCpNyTR7TpJaH6Rz7pzbtuqCIKOADXChlhFH4TSvz2RdkRx
RkRps56VydEYML4Hk//godIjgWPhOopdji0++tI7Z0QZLotfX7CDspIX1h7ZsQkYM2mmaFnvBAg8
o3qDZuMhD2ttS2LYueiGitAXEzEEMnXhxk+AvfBXWtjTMuZl5DORxFH8iDHad5qLtGog6Wx8tDVu
ZUk5oxZDmhPORwuFyPcxjVFjNOyE130A+MhOoldmZ2+804211Y/4BBOWEQGkx6jrN9hPaVhLfsy+
S8iwwuYakq1EjUJQm+3qPlvQfMkhvu683lgSwMHAR2l/Zr12QXOh9DEfErd4LKZAP5Ttnwu1hUOg
vZVudm8d9TwIClH2Syy46nWe69Mqzvsf7Mw7hlGPppTPjO5XoOYw29Dst3pGY+I9J0Fxstzib5rJ
PobbHJJkRCmuaVg6O4YLvPqepT037UNQMLz0mbvaVX0AUIRRtQYHWVn+Hoomrb3DRDRw+G5CazOE
JKvNMJ+8fG96buUFxu3b/C8BOhxZtu1CA7Ehdat7K0sVrB0AGKKmwUJdg8hk1WneC129E36DKdkZ
znfVeT5B98rY1I3GQ5CjWuWcWfsyeA7i1Wz5XaT1tGo1MNc0mMWyKmqmE7l+b/X6rZvNgl2mv7gC
NEOdsDWHrIdyju64R80sWuNDoOkEmlI85A2K7kKW0Bsr/QG4NIo9b59nTbwp4AOsR3gcjSfXpqWf
jACjW6ONi+p/MXZeu60zQZd9IgKM3eStcrIsOds3hCNzJpvh6f9FHQw+zGCAmRvBsmVZlkh2ddXe
axNAsJJRz45Fed5aBEgMihjylU5ZXZGD2UbqrUe+uDAmzG4qeOhwVxHbc4Ehc9cO8U9JWK5Lks+o
1K5D2FLW7m812Y/UsTTl26ORV1t39L4C/U4Augq0aIXagt67wSYz7t3vrIoe2FM+t3J8NDUFNdH/
BqmKDQS70TD7E8VES5m/3Hq4KZ3h0lNbp8FXM0xfIvAuIPbkjOj/iiAu0bx/LslML8r0z8zGlx7A
4ta3xi2iECyizGjIq4PTgMBVhsckLPe6y8TSVocahiYlsD1RcouP0PkrJ+cptt3ucRz6j8jYF1mF
d0snxTRvcsKFQoKAavIImirw781yftgjh9ra0PUaBFdUEQTXk8/I4JTWF/IPzx0/yo4yVDPL4dft
n4deW5Gppt68IV1PcvzIgRwv+0IDnOm7c5hZuwb0u8CRxBBO0u1OYbFGDtfY2B+nnU2vuLRb6tR+
5GzufQKtWmHlx9Suy0NZvSGoyo7dVGVHl2HAFHb5Dm4bTw5/ZoHKoGQCA1HfEslwkgNXZd+UOFTQ
BFS6sxXMtkp6nydGW2unbXlpU0wMuojXKlbTbixMUHzIyVao3th/zBAZO23RjlZvsUvsLinymAyi
7tUKecdUG70GZQkXgx3FQ9tXJijgZlhH1Xcbhe5DGT5oDd/UfQJ6a71d4sJmLbQJDKSD8TgIGqrF
d+UWDHfYHxKyho1lJHXeccuDmerlQcvsGJ5JZfJWYAjv0I3nfbMPimzvBHg+etqJywim0LKewzS7
tmvR7/YBY+ByWPlgPXbB2KLkK2P/nBc5Tbg6WpsxbXKvdJN1A6+JV6bipdExDfZqio7ACY09rA5I
lNmPl/XtsSS8pXSjcYfkgs2I6T33Sb9sipT8Sg1rXiaaclk9oBGaznkn6mOYpNuEpCWPrEZnst6w
n9CSnx8P7ZWOGqQ1r47NRZKAEDbTeWO56Pxi+qPbQSNvsg4u7jNQgWT96aETH7TWFTvHlzXNWnBQ
ttTfBrvJ9rqt75OGBHDTsupXKFPRir2a3DP8Quw14a1uiunHZYB5TrXCe/bz7hUGlHYuraY55XNZ
Yyr5REYPjDR7Kp9p+mJ6h4d5ut11/f6alfLsAcFa9yL6NpzKvQoC1RddM5U722TfbSnrvmTadZ06
N9t7oFkWI57iiO3cmZOGpMjG0C6hE/wKx00PXFOSC3+9Y+x2n2l4S9seUkABBZ5nnb8pcKMhM1f2
dvBy976018yd/TPaxO4ewthp7BRnBDp7ZMm92d2DjNs4qdacbvfsgusAOaonb6jOZVmIddXSCYqz
XHDWyuAo5pvbV7cb4MMBj0/CI0thvPIyDW0HpKxjF2rcIOs73u46DYA9tL/Gtc4mXHq3h8w/vT3u
v7u5NiriOf6P37v9fAZw/Xuy24//PeN/v3n7ymglNvOW3el/T3H76t/LSdEntxScQaeTCZ1Ow7qF
jnyN/NxbTUHOpKaAm9AYBgzeGhVPmZnxM3UoDQ8l+5fUHcTC7kTwpiKrpSiIh3fl4TpichJ/IjL8
KBPT/MqVds3SoP0Z/PZY9F38NzAwSiNfIvlpsARTHTAlTE4KgyA1fEgZ6xB3PIjZ5GmTHQKJbN37
hfEXCGvfy8r/iTzjPjK1/FvV+WuAfewzMqu/yPcophKW5mhK+zdauSjgGN6/zofJkhSl8ZlqFmes
hk2iHFAu0qsTD+UoSfhz0uHqKhyDha8Vl6EEVJ3FUXyf2wIbKaG/d/lQ9dsZ+wpkcax2DN+doyrb
bA8FxDnYinMLAZDYp/jmjvhPfCzPeXxqZA+pNp/Su4Z/YptFXnHm6Og3MYRi8GWBWGfIVS9+A0R5
jJV39R0uOIzss8e+QxcUinp86izRLalOtec+EPhMo7J77dNpXESt771B/EWlE0zqA8/ON7ry6IsV
+yn1Botqw76THO6/upMjMLRTOjK0HjF0BBFqwK84z0S88Oi1zm+/IOEPVTmWaIH+OnGQKhWD2Low
wX7TJL9jpwnLfUqfgELmX61vfM355R8UfQhGtSJ6x+46LJpCja9mMSJmGpr4pU6wzpZFZD0l7kQg
sW5Vj8RcqhUN3fAhCTygAJ1hX3IE9+sgcYb7UafCHKukOWOozrZ9bBaQyNJgp1qVnVKzkThlhvQo
RWvvk1hlBy/uGVMrv9ijgzGPAxlluziS1omFddw6iorEZGu9kX2rnQ3RRZtwctPLNHjNGoVme9WK
EYlyJs0H5BfpytGK8InT31h6VYglDu7W3BiSLyHXqIWhdfWbAPvLHiNy3wU6jQW9IPWJTIQFm6tb
nNeXSQTOT+NkB/pg6q+pcHXjekHyAR8ErhsKq9RZ/3vfo2SvNJOGeiTR9sO8DBfSTzd6R3vE07yD
zuTjpwtLav3S/Yq19B2ff/7pGFa4yBjbv3MWNQuCEdM3NygQy+WO8RIqVlYtN/Jnq0OQYJe9fAT3
WyBDK4cH2kxyZXR5cUX8rdaNEwYXozTSTVUpLuFdisvJjs07jhhza1nTjBCXhGTGznCciNfehymZ
kkbeVwdZF/qeGrM8OpFv4VH3qlPfd+52SOv2Lh5waE5k6Z490IYbq5XmPdEjBpd130MiQl9KMaB8
iOygRd9K6a9ZNSNnNbpPdQkalBl49cLsGzdR6divemDj6e/z8j0cKIgnxlYfbd18kuytvuosffTT
Lv7J6vZEZSWQ6ebbwREoDJEZkjOQ0FNuo4fEE7QMik9rckbCAMkP5apIL3ZiExdGtv83dxzA4Ga/
ZgjxK/D7bxqiz0Hfyc/BkD9xX5cfHNSHwMwonR9DR2xEP2Sbfu6n50qaIDMrjCuF8nZ9jz4zVV50
KexVhH9r21UTLLgKfpHrXk0obFcWOYolmjXr212lV/jn6+arUdA0ErfZ1iZKhzhhfEAphoo+jem4
x4MprtJP0K7VfBCJ/d6yxRhaRkoZKe0cevRmkVWf/MyaTq62d2AP3peqyLeuyotlOzfW0dBg/Eaq
jcT0DS1VspyATO+0ih2qk9z1tencN8mXrvnhtdWAqsTSCLGLVNE1RBA9jZPc2nEPY9K38UeBhl+b
KlAXPCrsRhHH6NVZJYVzDYXhbXpb+TgDBpSDSXuSRXxE3NNuyaH79R1tn7g6MadYWqMsixjLgHgf
Q5tRNK2TTUPxJfSNHfHSXY8FWRtq6sCcXFoCbn8J6QHKUvunbqjPZIjnp6ZN8CrON7JG0BP1Zr9r
3W48sl69VMbor/V8ZJLJ/pSKwV5paJ52Ud5SgxlG+WA0tMbt6hOPbbOXWjdpC1UPpwFJCX/dPoIz
NAjq4satyahgTHUeURbsE7/+Zuy1SyB+3sVTz8VHDMQ2iHuCA6qT48n06ozTsihd/xz2pn5GJsM0
A95N2ZJe6bLZhg4T5nx2RJjQPEC/6YlzlfXVNWGwtxJ7xaewjjjrroadVFfH78UKQGO1vt0thr68
Z+jAoJHY0z6etNXtsWEBsDYfO4idc9Xl1c3W7WAQEpLdXCtXhavBHAH2YLVCFoMHQjZlc9UCbVia
FeIGaeG3oVa+dm6PPOn2ltTUolAGh58R+RuE3ArVJ6hArZlPghblXlUKxORMfpd9XBGH3XXJVSc8
dh+WJK8baZpeNTba9BjdO8PEJYB4zVmo3ZDq4TUnPApBX7mcUIpvsBCjvfA2bTvhPxhcG7UIN6Lh
U4zbAa17uYZCal0YD+VXwzJxchMIvb7dTcmhO8rBepZMOtfT/I45nbgHgKOfXKoN9OskWeh9esp7
iUC7R7ZoAuNb8oj4GlpWfM1reuptOXxU1K6AXP7X6WsKGvbMu5aamchtYJvqghDCv+tdVM+kx27y
+WpgaIl7HSXOZqC3B7ybbuNvC2t47Yr6rilEiMjaxU2Ci6DcZgHdrCRVVzYB6moEyt2bsn8oSJ2n
PcnpWnONPDBrO3v2XW1wMqMlu8QVAQmVU4pzkatdqsQnlrL6LYzYvQ+znqlIgDQKwLDBFTUIdmui
VKOMUXaA4QYtLWINKfo7x0nzjWDF2jcDvSxFWfOGzgUJXOBPLygTmG50mFmkNYG0cElWSEl/e+pQ
92GgX7XMlLUM+FHbQRlp8qh4Aa5Pwm7ihc9W5h36WfEQobh65I0h0hImzmXAoK9UcHQwD1Kv0C5J
6s8eQu62zfg85u7soQ1AkFTKZx2lwSQubtFZj35S4LSAa7OD4S63yNxP8BsfWVLrZQ7Lcz84SKTD
zn6XbvkT1yX2VJtZP4scWirt1cjgM1ghlI7WZ4+kLlU3JI/YeI11baHPYYdALWnGhynB5x2046pK
c5BAHdBxTwdeSdvsHPr9duA9ng8PNjNGiD10QFNhJoa58eJ0LaL4M+/x+I+d9pcAuthaKA3LFKFx
hOF2DsRszyNm5FXrZS5uHerjcpIoaaPcvhPzze2rXEdJx7DT4ZKFFnd0gfYVDtnYHKqfIFdw5XG9
uoPCsYUzGO+yLjFeAJ/58JzgWcVDEd9FM+HWcpjJjZhDwYt47SqsaIt6RnMtMvengYJK78BeJ4Hx
DI5zZ8/eT2ra3wSC+EJYaBX0cEDg1ff4thLYbd+eNJyHxC+dB8I6/obUOFVGxwhq4LXdvg1HOd5p
E/M/Bbf1Aaa081Ba4as9v1YPfQ14OCRpWijJJSECMW4ImnZNmnhTdhgoOF37lBHltRXYos/BoZMD
c98K6UPAxHsJ91x7jQaLzUaUbpnZVjvIsh8JuonEkDD8qg6NBt8+dm0yEvrOuJyL1GxR8fx9Ar98
4QVIs283rRj3dWHGMMpi+AHWVN9j1ZpWfWB3G8juQIS7stxpkWk+0JHblmVGdDsupbCFNKvVZXsv
0pKWUYdkYZzMU6j8+6ACP9Pk1lY1wU7YkFYLtFqILM+m33D9HlHqFaF1tjgQr11OlsikmbROGAET
I5YEYoRTBfIh1bc1AG2Xw3BfRylceT+c87plfInp4C2guGfvmh55qwCOzi6V31mdBE+9TqXa17MV
rKvoy7BpsaTABheTao4PCStLib+GY7DaphCG92iuWaUKqieS90A7oc48mfQaWzEsOnY7Ck7qmu5Y
v0B63h65Rmlro7W7e5WGXx2efI7V/D2JfRqrfk7IuK8d/CZs79h6tkumoQwlZqNMkvP2+9Zd509L
P9GcXUcuxaEIL9gto+WgRT+h73y2o/USz2VQEyYX1TkWVnROJ4d9quaUZ/A9WNXzaaLH0jbYAaW5
DlAnFTT98fJl/l1aYaEus6ZYjqRu0NyMgfPIaOPKL+rLaWmOTrCKTXvnoNWK0QDsMbdfouwrigWp
Om7Tr+qKkVM30mtVbf6BgfgFSQolVNUvCtMg3dpmUq97TgaezF33RU1DzqTWhyCrGM/Cq1GKnmnm
FLCbYEteBpqvVnPyJiO9r2zPvQ819TEjY7cRNDk+q5UbZP63RdbPQmstly1DiGosdfbKLF1qxL3B
Ab6oSoph5EDRDsPRJq4tdud18QpinVwDgpc3bCY1+sMMwdEafcgwiYEf6HxkTIy46n3nIYVHNHfZ
jCDc2oVLV78SERMsNSyKltFdOLbtgYDgWVOLHYHEh209jBsrbGMqxnelFViAtIKxMX5/DIKgt33h
0hBrUbhDPxS005dFd7XSDKPh7Ewu6w16cyYcojwVVYrCRtsgc8x20mDCN9jZfdU6yVJJCGlapBgb
eJODozD0DwG+qzCMf/wROhLR3tuSS0SPkX6ZN/j2uuKEjxfWTM9lUdP7RUkLeIkE+HncdIar1nqG
e5K4kudOZQRjeRbMwoEYkhYHfJkOqIgrnwSMftU2f2wv3EPd/GWDF511ORn3lVegRg2CB6/P3B1Z
KZvCVqfSYOeeVDvomR3M4CrB2/cy9ClNxS687wnR09DkII6O7urUfUOSb7IdZo6SMQSRcjSOg4dU
qB882qz9WBwRDh0CZRU7B7dJtSBEYzhijAhZ9c1Fo7rx4Bl+si9Jgx41ST3W6+yXTLs7BOxU8DQg
nNNLhZ2wkaesENjofHF0cQpu6WshaBuGM580qzH0m3uShrr7rB32Ttk3uJjG+0RE5ZpqF/YAYSDH
OMneJR1QDhzCvaBqnCC4Q/I28ssYtC7umOA1kXl0qCNYmN3s4AjSYN91nbOyCr9ZC13VVxFlqyKy
ta3SshcTGeCuZoVP8tJH0IxUscZn6niYFHBwbtIRHXBH63hZ7mVre3el0K6ESrF7cr4tPZ6epJ/d
CQU0B30KqYtCDac61HccrLADDWFtSzKZ1p2hDysmav4xM7dcck2SlUuxEm1/NrwSrohrsrCntGtd
65CYeOniGsUg6t9Hc5o5RxgT72X53ku7Okx4jncZ3PCNiCXeX+yZJOdF3dELcMLJ3t0N2fhIfmB3
waP3Kya6NzFktylBfpX3fw4hMgtJeBwGSSQZNhUgkS9WvSBwyVgV/rnVJ3mfFOlfqcQr9Wj8Tvf4
3XEz1Io5ObRxbU/7lnQT6lc8UBPc80OJnh9Dd5vv2eoYC6vOIVAHjbeNXbd/0CoLc0GOR91kV7DQ
jZxNORcrFhbH9/O9aXj9voqDz7yWG5c9Lb0efZErigAOJXmnZBqdUx1P5Misb8XgpTgIs8QnzznT
9NtEK6bt1BJ2UCmvhGEi49VYCHdlEp1wYeIdYEn1SsSeuOQMcjz2EJPDd+uVHX717nXxtFeOo63q
+W44qh/bkOSVcf3898u37+eC1B0hS2/vhnn4nnyYRee95Fn3XpXeCXH2cL7dZAUqMb+Nh7OeBmJF
pAF9tPmntx8A92mhibZUTlF0NCT2UXr56lnU+rXxJ8VImnvUfe/YpMuzSpV6jpm4EpJH2t/tbiHA
CnCQhKdMk+qZtiYNZzw1x9tPbR11sVStBR0NuEkwFS28PD+GuqHpl8qIXZSWbvjIP+wsQ2qfZ7Rw
LnMh0b6lloOXO8Y9bPbxczgy86wHf5dMCQ4GA/yYrAWrSVzsywktAPwFex2gLP+1uLoz7t1oYmz+
IJcRpYBTHqDHObJryJfulLK3ZvYMP8tlLKnCPXkFjCMGt3pBPuFv+rK21/0EWCEWdrK2JgxRt5/q
CFNAKbL/cAyzfskshqYxbTGYg/xuJIZXgHLlfTego1X5CEWN3s3WbIyMsV9QIf8Xn90ksu8grN60
epJPjOncLVlC/x8PQG6JHU5on9ZY/1+foZ//BIyy/x5g2pl8+u81cDH79xr+92f4fz7g9iL9Mcn/
+y9aOy+OTSwyujhuu9GHWqxMCxlkqOvpg2U83+7cbqQD2lQf6PXc7jq6Su46p//3CEs2zWOfU3lm
UWMdb4/QYEbuCNpIlvr8jP9+ywV/o2Hgud0zFG2dqNEw4016jfzCE5cmDYBj8Gy3R8AXBKDaDdbu
9ogaG+3Jtdyf2w9vN5PhvealyVSm49AErt8dW0GuPBoQmkCdJF5U57OLKLBcs/UfEdOmq3CU01bM
d61pGA+dNdCPCYT/6DWh/2h3K0dOjM8Dtz8GgWyXVmbPOZ1ESUYo13dFnDUQXCAaebJjUtY/4XbX
Ngb4jLWWVE+V1z4aActmqH3pyn/ps6lFMwFv3/5NMmcE/dcWe3ltFZEeQ1+w3cDkF8QM/+zsk3CT
uzyc3ttA6ouwQfdYcSYuJrvs8EBQ83vjmqn4ZZRE/VVe9az8alGQq4gbunnA0uAsyMlk0SdH65hH
4YrUtHKdaLTsJsNPd8hb2VonuK18OnEdyt1F3gHYapIXy8u9jRsgtGib6NJN3ao2h2uUoT6VlvrE
CvDAoMY6Mi42Fl2q7yNWGTx+jwPfVCFm3KAbiBGtXbl1Sc5qOgLrLBglrJa9t5+cbD/Aggh12nVl
wcYot7MnbYKsNXR6yP4b5DRn8jnWkl/dhnChiBtmm79VE0UqOxN0llwjiOPDh1xP1r6A9HRuaXgf
0lSeb/dk5lZHd6Q2kQxMIBP8BloSfygrWqe+qcGwWcHzXOHVsMGTvA+OQTup4XPWvsK5MqxRNzCt
4RCagEtLlCynpg5N5sFimRYmkpiaT1bXkWRJgHghVJKVGcsK4aP6JBJRxwQAJzeIiblNrl2xyfXq
l0IaJQtkhj7606fkxXeK93IGRldq2UDdyIIQxf7MD4yGP4rDXTaoZxycAJptxg50EGu8NfD56Ffk
NMVNhAsLexjB/oymtWNP4+HQmKS20JCNtG5gLjzPH5bxmH6C9ry0CXFBFsIMgp4WxKS0i6Y2GXKR
W4k7B++vjzsj9wg+8vvuXIrZoCC8Pc1MrLGWfNETprNgN5pVFJj85w5vvbnKpffNaYMhWsNNqmHU
gJ5q71uUqhS2p7Dz/ihQYB+8z5wOxibd1zTPplMZ5/zbxTGyeLgbsq1p55TUpCJCLWrdo+NNQK8n
sIfAD9eDB0QCld2dxnxs0YfDu47z5UqwzT1NXua0RSOXZcesJfNrEAc659EsPLUB36E2ADbbhf2i
iumJa1DzjKB/lwXVg5+PhyzStr1BkzoI1pGaBxmV1NYtG8Y1wxN/EaDDRZ3XUn4YAWPEbkMp84Te
e12iPx/iJNwUrmDakpFWEloMmfBh67mOnp8NWevZPW97NZPZt41XIu4w4u8SSpTn6St3qp+RtUi0
E1iCnEPmDvGpHbO3lnSWK75nHfVWxF6wr8JkKZQOZ5EInmWXDk+FTr9ddPo2TcOticyarhddjCrW
H6QVY7CGxiMNBGFlDzNjoC3/WHqgVBIQ6XnAiZW5Bz83oCLVHDCw16429YOFlOZgaT5pP3GNI14Z
a9eLHxC1cn30S4ggGhCRmn8qamEgJVqlAR3wPjvlfuRWGcDrccUCkp62rWBliQEogSXbeIUc7Wsc
GO6AIUq2OC43Q8z0oolluasUW7ShzU6tyWE0mM1FN6p0WTW0ZzQHw4SgZ9ZVx7QetEVaxSBdxvFK
AOuhNRtnpewSB1IUQ2HhXF3HHAsTyFSmZocmq0Z6DNTNehFcKtGRHYQDI7Oq98QcC9Q/+dZW7M4G
27vUmrFzrOhOknXF6J09ryw4+PMZkZUQDNB02WPjd/nSyPqIOYf5a2csG+FgZqwd8PEcvKlO6Gbb
Fl993QczuswiFNyjk5fUNpUN18cu/cqiVq46fTr5BWqWKJwVPW1lLRpYIGiiM9Kjq0n/o8GGWCwk
2TMqOqYfptwUUM1wCs2GKwrRtBEXCjgTfqF6VeWhdge6AogbjOgcTSHxR7VEsI9xeiHpYdojn3b8
qMqxA6U1fPjo1VUBHMNINMgxmINUbc9iOD79XtEo12QCLkxgu4zHE2Lzo9ZGJZhw/yWUXFqqlCgq
Ghqpa/8Ix//TT6pjpcsmZrHDJptGNtnhgzMV4co0jbu6BeFoYjV0B2fAIiov9Ceis0ebF06uFMnR
7eHJpSPqLF1bhwEdaQm8ipXF3XGJ4Pqb3gddkmFnpqxOteq1Ses/KxiAD7CkwuJfZ4YJu9UiEKBu
tVOjxa+k9BBlI2JIl+T6sAZNK3LgYfuT9CHAUE/ptLWk/kWR+TY5YHzzvWF4R+K6SJkN1IePQD10
k1/CadxlSBum/JkJQ1jEvvz0ewQqzEniuEthDbuasLPFODQ/VlqvVXfJjChGXwQxbRwBFyjDdgBL
EFpparTMs/6Btr/a1Z2MiChuAnq/BsZnc3TNvRdI9QAAo7xwbVtinwuz5Sx/3hgZstZ/9/Vk+ig1
2jq3B5vYfO8EBIZ/TzWYZrGuzVqtbz+9/bmxQscRJAljS559sHp1ZOjw3c8v5fYtr7c1dJdtsP33
FwyMQUwAjcvtIbJE54xKVAesN7/aRmb+whnpLd2e3YqM8QpSiGXDxTDAQeQEWbgJEJSMLqbfOhY/
uVQ/oJEfozS5YPBbeOOqK8cfctonBncY6AON0zOw5MFjSr2AEdguCt32tjLyerzKJuO7IHCWrcwf
gjx59fPoPRA1LhpdECiuL5M++YiFPBkGn3iZaV9dSw98yrAmedj0UFPHRyDfJMRH6X1LepqTp+/M
8N/waj2wx1j5Ys8EBFekDtshTsBYqoGQCSzyEv2GzqTmpZTl0QYE+mxrSPuIIriCIdTb4sdCJ52X
Trsq9OytLFCexO1DGUVPXkIk6pjpOPeCd6wcuzmqMbQBZE2esSnj+qH0xoc2hGfj1P1n27wWg0Ev
jerLUnMajbMADoheSkOKqidiT2oy+FZACWHuUzD3ZH7P5kkRd8QNttl6/kKC4N54OjNCoG0zSwln
LsOD0EjeA+S0dPR43whO47retku3c9CeSuaFJJAEDnDqqEBQXroPNOM/zMZ8JT2qXoIQXTcDaW10
W7/trj65Qf2D45SBQV5/TD6Eejt36Q73/hOOPH/r0XwW0IRHU7yIFK4t6Kxmii/NJO1HyQRi1XQm
+/soXRdDVAGWUc+l435pzowMG8H666Jch7FT37dB8qWBv100Xv0Z5T1xykVE9LdtnBLL6na+zq7C
CR6JAND2dW58xKnDWYcBeuG7JZjuJhw3thhp2LXjUlqRQlcO27ea3stB+/F70MFS1y0uri65fbOQ
q4CQMstAsG+FDGtlaL+jIVQcHSNTJ1Iw6FNQZ8Vyq1nVSc7DKCyk93WWwxGnOxoGMwgro0nAskwj
B7cR4B4dThuxhB68l74jey3LtcUwJf3RERllChMG2KnGeRIQUwJMkVhXyxAtLfAoZt1LNUb3HMxy
wTNAHThatAXXEdegKJt7vf2H67FzTsLkqTNqglvM/Mm2QOEU87qcAn4ApjWShLrKdP81xtu6Atn0
KgiPoCOkM+sJU5wdztG5c9ryYY6KMbMORVEMcNCbjpOVPOfmtinRTJbY5Cwj3eLaJEzAS0+d2cBN
aKuL1vebznJyQvkwF8qkufhqLB+oYGJHRJcZVKWJuL4Qgl6cqHtPtHY3ytLkvXTy7BGRR8rB327T
Ed5xZ9t/Mfupq6QhRFYkiSd4iSb+SiiBivTFryvIcB97jECs0skTBmcdv6le11TU1aOZx9MxmLA0
sNHwBMEQMkBdiJXcJEmUCV0AJQmXNfEvo/sInyScOatBUjKXz5p1ytZkb4NmbQdtM4y5Q+PTe+lL
+R2X8XdcmMXRcbF+ND2JOnhXkn2Ab+RiG8pbeqJQGxWDD0kY624y063uWFH3RZO8FRMY2DLQNhm+
y2M0qqs2AMw0nPSJsUdyJv2xemIgzSIi8KEN0QjhvKpsYHd3RgLlrB7rXTRVq6y58yPXu4Lx8K+E
E+bH2vI/NbZw26AkPVszGWJwJWStQuW4aGIkTSkxSDsyFx/JvyYXE7sx1yBr7lmPK0xgAvO1zvKe
VqhyA2L1ksC9LzAEbAvET2wJ/OKcJZ812dOYN6x4Vzq+eTFGQD4Ycxl95N2u7LOPhJ504yHCAdY1
0IyPSTGvSXHye7Ib4DFvC8V1prZ1DZhN2jxFwOn8iHVHjHm69Ck8l4jOJj6IUuzKZDxGjW4jXIrs
Ve+8MD+lMRAn72VnowG+3eA12hgdsQe0jZZ1OhQrp671VTbUGSHy7KcQj+17jx1tWxnBLsOZvYQl
TXvfYt4mgEZ5Tj5Cf5MDeuQRhkYAm6ImzWYYNLIzomTG5hEiKIsHL2KghUB7oGl5Jtz1aOao69k5
RoqhgTuwdEDbfJ5SGpSKNWNhyo7trHA5nGDOgT8nWXxM9m1rJETydIiuZlQLWqc/ymB2IA46ul7R
+w1xlTqRS+AI4xOUwNSlcXIU1XCXmXW2F0DgkRvnDxXhj2szYHPTm96hq6virp/AWjYqjzejUKCL
etGg1hlLTg+bpEDfu5sgeSwri5wKS01Hc7AE3DWDa4iTbDszIW22hQzsyfCsY2jJRH/q6vo1yqSz
xvNBlLV1B9n0kHoGI8RUkDHUMAdx/OHea+RzxRVolWea9zZgV1oEeoAIpFHlKlNIgwDXveqDfuwr
XV92vm/uBgJ+D0NGOceGjeM2KsxtIsSEHYpOdqC/BrSXyeCyw1PhFR/z4OI6ULTcpy22KyOZDcOo
rwTM9LXKLdRP6XjfKK95qoRFNsy7QrvyWqTMAJgjk7JU93KVBCQe5VQAfNTES4WTjVAeDNwy9jzF
4l/8+IrzJ7ed+2Ty3LX9ZGl1gUAmY5wKs4OszXaTjGp483t8p1E9vbCZFadpza4e8EtjScK+cwIj
PWpysnAvZDtqy8jquPYXbMfZCzZHA/FIMTyO2tBR9yba2iWgyAcYswBZFG3qGQcukkAjeDdnJw4K
bsU46SUJXZMMgJQhqJG9GH2LpkgK0FrtHooKO+aSjoOKZo/HVLxFhkfLb6juhpCTd3B1wugHiaRW
IfxBW2hDx1h7SbAxPJUBRJY6+0uZrD0cO9u+6b9pUVz8BFwVlbKB6tzHv9k2vxnAnKVTVf7/sHce
y5Er2Zb9lbIaN8og3CEGbxKB0IxgMCiTExiTTEIrh8bo/Ub/Xn9JL2S23aoadLe9+ZvkFUkRUI7j
5+y99i6SjLlMCfgqDYPjED6DqB830Io4qnC5iQtjYrMG2wxO1X1v6d/NkDY+pIgGc3b6ZUfdCCpi
em1CnqCji6mHXWZdrg2ne3XSydo2uWMfzdEd1rzoiV0uNAIi5uTJKMaYusy40/OEJpAIdm7caUcr
VRF7TdHsWiNjwk0Yhx+gfSJGIqrvRDE/5FqqvxQpIKAO3gDofHYwbfs9mJFvSbIeihFvTkf7/BwI
71lsBS3H15nC8tB0pAW0eXJv1tVeaQMDalstITaur1VT9IIMkRZkIH/yhdT9yLXyUdcwc8Nf11q5
TR0mzw26OzUEZADT5nItrd5pHekgks3WPetYcO9R/x0dSDetk9/r9ELWxshLC98YxgBgEb45AD/S
GTtF46wfhyw7UGU8R73SaWNFkIELYx146qc9zlCQaBfJy1TUD3Pkzgc31UFWK3Wr3cXdqGmnXJsr
8k8ZUjnQGGXXw8iJyoBalccyyoWDVF67ckF/tSaXuCzQekU0b+qOWApcIxZouGE3zyRlOW7jUkiW
UBXA2jraa6TJkOyOeFeyC0kpyaTFjZ7D9DD5RT5hHhVRHYjLZsNaS0dpV6PjccbxnyXZciDQiCJ6
uF7ogawJHtqxy/dGHsx+QRYHr9DvPC8+O+WoZyXG72kw7bOlW4EfpycrSMSbt5C+tKz0W9WLaxLV
z9NU3ubRddaKws4bK6KARGSS7oWNewAZX5seKDwSaJ76wnh08/HPbiUH8OmH6dRsiTJPXiOVXVy7
iZCzXjWuArzDKTqno8HhZSXoiDw+WnX5A/G5vGZGdFFmyoma5/YHRSyM7P6hgTdzzRYGMQMmexMa
WgnHPTLvAor4VTIMF7eKXwQ66HurEfOLmbsroMbA1FLPfNSr+DvrXPleusU36o0Yij3zK5oFYJf0
S6h79tvanqa72G4PrvL6nTWBE2NfB5I4zR9g5vqqo4sRGS5T8KUu7az2Cm/kW9jVWeUT5Wnl1oee
MZMnEMLAOKAgjYa3xqjPpCqxVAaMWw1XLqzEsiJVjwFOlZCKHeJ7cOtinUlmSdKZ5K6wi/AGEztC
RBeSZt8TGoMsAcHgeNNFxgApNtPi2rYQmNxWkRVVgrwfbTeiUhxRtg+Gt5JVeLRirV+nSttbqtZo
lnvJDnks20Qz+YoBdG0gHV69ZXPS63a0SdPRIk4970+x3sP20HFghqN+9EwS73o1nVq95VVIgkBH
u9qUzjFzs+SCLq3b6jWKjFzNxqqpJ8YWjdadEpPuseFQTv3oOH07Li375qaPj81QvApnQHcNt7Gf
u9q3SJ5BfdZf4nzQdkZtVEBqKYxnNw93uc47cAqR1BJ7Fm9YPvDs1/zWPFQXERrtHaka9DbbSNvh
3n2cpdXfSW7wGxSvdSDttZWV+ZkOUbOJSRvwBa6XVQYxZdfeGivP7kQbVHeYGqo7h2R7PHzUSOTT
56c/f4QjuwTC6Unaos9Wb+oaeMRUZsWfv0eC2WznKXsNKqSSAwPAtema82nhnJ2sBAvSGPfOOqIY
QF/niBP7XWdnI3Y49jV9QYHU3NddYq3NQrh+iYmHn2IT0mrm4V3fzIDWQwIVwrFXxrpip3UcaBdk
oEzZwNADpYpeyE9CyyDwTdxVY192G6Voo/EQyOOU2CZ4S0R3JBX3RxS2/fH3j7HIEfMnNTorUs5I
h9GcHSjjkglufBxVb/sIJtG3SOHxZCfNrSWtAH3+D0LKtU2xsC9Fsyq7+gzPsiCiBUdbfaagzk91
FP1ICuuJF61HhWIgdkCruG54owEGzA+N+HRjE2x1VTwlufGO53LXxN60MmL90wrqhdPMhVAnM+K1
bJTx+xiQljSlD3kPSFdYNTlqiiuswxAbFfIKAL6dNX1zt7ZU3bJYk2xo5y9sX/ZdzSd0ys/Q5kAM
CIFT3T2kXH8cm8O0qom7D0qPPhx2F0HMBc6q9G6wxPdUasE6jsxL4lnFvsQYkcbqAZDGQTMwIlKR
r7s8+0ycgTl8FGzQJTU05SLMNpgs2nLeID5RXI7oRp8Aop1X0r7KH0w+tFQ3hAFPlUUOpYu7NgKy
78XyYUjcnxiKH4rSpH+R03/0Cvi7Q13zzkB2PvULqPHTEwTwVh6jmNkm5SBfXKIOYZyEYT8S8LAh
LnbJg9YhCRc/KxnjlYafswICGxINQ2c7vJZKXUYrbneJglALuh6UmXXflCh3e+R2qURHrTAj2joS
oT4Rxt4ymwcYGkcssw77H/eS2A9dBsw2behZWZIZSp3wkLsGLpj2Ha8FK5FZ/lIxKqVViBuf67tM
j8xF/9FBrQnHfYWNcqMhXBJouFZ0T0oogS8m6bu9k24HdNvQ3+3boixao/hPIb96Jzco6CBARmr1
HhS1GF4QnO4Mz3yZKPY2wrsnHK/ep138DE1rjTrtPkrjp6buYp+y/qym6kEnk35VWogYLT5YQSTf
wvt5DBdUby1mwrZzAcmSU1FkkbVBEP2mURu7CCoSgQxFGJ/ubO7qUHvAN711HFgrInh2HU9uYHpD
pg/sK7Kl+BjVWrvWSIrPCxrzVfmciumuSbT2TF/c2I3GRzLPT5re78vS+QwFpVbapTspa+HbufNZ
6smwskV0sAKz9vWcOofycJ/CfM4SCj3WYQow9xKmGbqXDiS+hZ6de3SVgKmuhWBx1uLHTFJu9N2m
NsVBhOA+2KiR+cybFhwlrZtiOMQNl4LVqPRyZhkjMaEcRjX0j+R7sMtesRAGBbkh4+S8BLjlUs0S
cApJ8+no989yvMVO+2hjhHbN7FlppOUM8ubK2V7ecrAOG2LpMkLhlaT6GpW4zyoeDFOgVu/6RRFq
vmiZd4hJRW1ZNrZl474NMtV9kcNjsEy98xH7PCLRPrqG/VoPApV9hP+gO3U670EPDGXUai/aRKPG
BhAta/1gT3SQVX5N7PiHJnR3mzjNM0PLNTr7l6yALZS0AGsmLzWYDsgJD436adDP00YE7B6bU6Yp
6COtTy3paqr5Hgp1MryAiiD+mdHuqolUeuoD+1It8E0Mw1oH+i+E1q3jmFeakzMynh+THnhw3Fab
eGAepLHb1Az0nOTHI9ppsaWopvCh/JB+l1Pst5WOsalh5qf9MpHxNyNRRZxjSq6B4SeCukELiP5d
wiud5NKTYxV4WPiCEZAFIQXRGD7PcxefkGzDWWbv6oxslGmWl+vK+JEnOJEkCm/cxe2TdO86aziR
soRtQ7v0PdV1DMI4TRhya/ZF1ckjMLJV5zosaaFxtV3kRwSi+2FJRNQyso3q6Sc9kOE+zWtry1TA
2Jgi28eTlp+zxtp5pvPK+/4w0Jr1mDKv9JorbDxjav1RhumBxD2yriCkJXD7UKI2+3Jm843OVQhU
hJrmfLbESK/l+FDGSyh1WOzdpP72ggj8TrGTROetvZAZUBj41ew91bpx7ykJB6R5krK/Dpr20ikU
6yg0fH+057dJgX5W1PU8KtkXb3gU8jSyzDsTabJVtAc4DnKvKw2/HbpLxyUxoD5yi55xPTOGmXDo
BK51Drzq0MXaOSuT5zDKfgaiOaEgfuk891imZ24Zm7A6TPsekwAIathBo7hmNJtgF8u6oxGPhw5m
qknC5co28PGHuPbiEruEO2LS1/DyD3hYUYYYJvd6TNR4ZKeg4DYdNFWBqCzWqMtUg8MIKiBS3Ie2
pqURB2e2Su9exXa8n9t7fYpv8YRko3fd82xO6wjQHLCMn7mm3lqIDZVtvYGjwFll3alenfEv0iMl
H1fXkL/JCiapculYIhEipwqYXKs/92iYiso7Y127NEWwMkIC+WBABqq/gzB3AJl/YuSwLyxtT+zk
1TOb97x9x+W2byP1LOvwFpv2r76WL5NH9khasjSz2N/At/Pus+jpB+70Kpl0IVEbRbDKBJ9jNMIv
bSq+U0N7kbWDgMF8NiYt2fVBZa0ByEGULcvHWrLXJh8d7fu7m7WnNGOaIrtjC1GAjv290f0IEODM
xJ6swkij8VMcTUEYAVMcthdderGm7IBWnd5pwTTfLuv72h6v+fxZhgnYj9p4qc2pWMOWYain30F9
tddLB61X8dPQptcURoxvCT7UlJr51qISTzxoYyJ/DmnArycVeD7c3vU4LDJI7lAYkwykAj9rvfPy
GIeJcUcM2SnJyGjMeIvnyZdVloepW1S7NQ9DmEifFrcvqdL1SBBmgs0exlXb0CTivXK2IoOmh4mX
Qw/m1xYkCH41AtDYYYHv/ZH0zSkxkK9DTylKWaxiPb7ZOqxIZCBByX06J+HNCf2KJopmRz/piycb
LE7ffXzONcbD5FYtBZH2Q1cm0GNsTitz7g/Cg9/JGxhyCl6EChq9P5TXaLIY0bVAMOULIuCvPuqO
MTkqwPzGh5FbbmzqQ2sCEgqLG+vZ4DsyQhAXOj9CB0h4QRVD07LwJ0N7gGz4mLXil+F178VQoCEh
9gBXAa2CtDvXyvKFPt8YNusNj3UU4YIhIePSdfm3B16uBpk2ULJBGzfuNJ2ItTEWKLnN98yxPhoO
jYZttUMguSIqJbjyOiFEud+7QQc6rWEGx8sMLxPT8N4mBTul9kpBKPCSw5Awr12nBltW4vGfggev
Lw9IYQoSYdDJzLBsdjkFK+WRWCO0od+DjyXruL2zxfnj7Z2hRUM1oWAMjd3UzX7fk/7rzQVafwSv
zi+Xt5BhpvaRWFEOLIU7/oyjujiDWNwTC/sFgJYhYCbheVwnWrCJZG5KllmZg/dAchhvaRn6WohU
kOXCRKaleOVu7ZjJvIvOphnQBNJwu5vb/t0CZLDUSkYzMnQhA1mpDiI3z0Mn3W+Ln7boFx2wuIzl
SSooGIyaG2kF412fpvq6ssOdDSYViYD3lt67TuausKd+tVr1XiIm5qbdZxEZ9oxd36YZoYs98vxL
43WM0wvaja/QM5KNaeIiLXhQJoyesBIr+rITHUvrIw+cAd++vp+J4FgJs0YpxnxqnVf6xh1dyw+/
hlbQoJTlwRozXgNXN22+5yVdx2Elko3nD3g/htagxW1hmgfJUycEp5CoAEUN81c+AWuBLRf4o1Y+
jT3TdsKuGM0lExUf95nbJafedN/brAKG4flB5PwKIuPR9MJvuolMSov72Mu/SxU9kyt5wWSHtZBG
eo0obTeJmbSLCu4ed/yQ6/Ko4/zWm5A4cZaTdddggJMT8cvCNGffEaWxYXSS+tqkTRuwsYzCUJiI
QYcnXvlu79mHsh6yjehzNux1fJJZiWubeJ6ejMWx4+6jL7IqY9xoTX+vwexa9d781iIdZTeU0Twk
YaGY3oJy2GLfuU90760z0uPcQLEumkTurOo7IWKXth6RyGxCaIxth0h/zjqG2OkLweW3iC4ob7IZ
svZ0GmJBDLX3ISCZdOF4CmMq7k4497LGDGTGaJ/K8HlSBET3010e3U0azVB6R3cTC0PWjNcI2GoF
uRyj3GsX9n5Voi0eTKbi38pIXrrUkpsspXcqFsuM981remvFrAw1Aa6g8QzyvFJiP7z6J9ARbkxN
P+UM2qt+cpimViT8yXPnaYwvkBmmbbAPGOQT5rrRW2WcMlDtq6Cie4uyjpa/ZqttGWDfL9xpFYxg
DRyh+aODG7I0c2+j8GoRe2iuTSKJoTCP7iEsApzadJesOLnrbPtXJOgaAlDtyxudu/q7lHie5+nc
DzAmXUfn2CX3du6cKVVRYDneqhUwLfLiy9BN2Bn4R2h7Tb3OWyqi3xKaT1oSN8dgCrNNZRbwdojQ
oitJeF4fAdTJm8ehH5j6SUANojMeDY9QNOMw2/2MiK97KxKKwGQALjHHEZ7l+oiS8oX8rt7It2mb
wpLSmUii7Uz9PmZ9hxpCstaybbSDTeRhcVdJ/yg7/d1iALimB+KRzFhOhZ+itZbtdHTbDztjd1d6
4xX1YrXLaADSQMy2A7+ObSHx0S0cIxfhGVtok0TO6EXH97wm/RfNlnmua/lsKVZllx3SOjHzdZ6W
byFRb6uBThrTUQkc0T6wk6nYSovbMBCfyS6WOMQs+PRMkCJe6jxUa06MeyiXlnSs7gZSkQ1BtxYD
zofVmU92at0bMZhg3EQPRCf5tQ36JsxLupqEy5sV+Q99vu+RnRxC0KU7KYqfVox7vXI/DfR8lofx
q9M7jUcVzWKDsX9fFDHENc16DCdPXy9MEz0cvDWQJrK2YnvYDY4FhYnZLtkjq2hOeoKuIl4JAuKB
8s5UqVv6Eu8WlhK7nk9tZt8ZDlRH8hVQJ+rtrxGJ8uwUX6qtDrYR+W1eRpe+kld2V2fN67dV13qb
LiRsqZ/vQkX00MAaxuD9YA7aXgsIexwjB2noWyAJRBeUj9ZLEdtvc2zMuz4Mm13tsoUTP2d7Ec9F
CQraip12++iF1nNBf3cN4PPdMbODqRsuFUjc/EglZa7lZS0SKWjfblOkO04oMixd/QiJ9N7ldhpg
1uVrnTA8TGNiPrlNapNTC5y56S37ra6IPVyQpzoz72DWJEk/9Y8sPsaDE244jLesr8WlispLMwFz
Nkeo5fnQWUfb4nsBHUYnGervCdJ4kFemOg4jcZU6EXJ3LsqQAzfpLSIFO1IcWNsROOmW9pfnwloq
xLbOn4tCu0UhSXudgm6agcRlXL4CQXIcrfZ1ditQJzW5FaGAppcugdRetIMZwLo5msx9KyVPNYxp
PxSLUKLPH1sz9rZRU1m+VOleJdfCNW0/0pCMBtBndeSok1le7FgNC2CIBQuprByHHaR90sghjmoz
urRQkm1UhKUf4NNv1LQLyJGUVWk9EuaFlrdwyBxoXWfb6fbN9rKbSqLTkLV7dBXFViTiJ/Knxo8S
jVbIwDKOzIw+qOY8WA3NcrHcQuW9WwUN1n/8QRrYdJEb0Oer5NbbJjNiVASQoBqmdnFD5Ze+YyTN
eR/GvJPEk9mw8JihDjG97d/S+VZECsGa1Mn8egSU8qDHfAFTy2AdaB45N805rnR7PwCosgPiYuzx
J83y3I9G/d4Oz3lDe6KnNFjC3x3djrcW7UajScqN14GChukh1q0iPSwImYHPjwoI8twnFIYsfrnB
O713DnNLnv2cPLdG8Slr++Al7EVy3Rs2KanDgMbjtLiv8+jmUMmdouAW9E6+N6twb+bq3srsl7FH
aRGPhoMDjyWpKfday89gUN37NaG4gz4cZc9TrAbhj43GAj430+JLY6oPla11FWG1gfYch4a5lhZS
B9swEd3+CMYq2Koie/eywQalQHRAxRZM1wl20yEb0o3p1vs8ZNuaM9QPeyQ7I/LapqVnM5s5b9zU
OjQpYVzkWVYbJayDq9NLzXPrIcEsiyEe/0lUD9wfqfXcgmBcpUaZwn1ILqjazKOR629I0G0A5oY3
rbsWB6SKSdgu7Pwtl8SHIU+jc1zUfmayvlpWsKQGQNDrNbs+5rAHeHKSwWeJso5Tq5EdFFWMNxLP
BP4yzRu9S6zHwWvw7SBu1cz3ZFRn0DpziDbhuRus6Nt2wg92RekbA2ywyOMDnvpTkESfU1W9gzMp
EKTgItTbjLxPgw5EgUyNkNmV1qPPtqELYZUl+JN8tjUO1BtSfPDEUq6QGvJwoV15SyICWiM4Ec86
NFcsiL906oAHWubQJeIlN366qtx7mxX09Y7l0tac5oiAhg0ck6rJb1ExMUf21llktsfff9hs47zs
lI1v0MbqU8n6IXLUj4u4gmFgWhGqEDl0CdXoNzy4IL+oAQ2rOU5axx912B5//+c//wAY+6WwbGz+
+b/05ct+fy1D4H3TmDrOg0IigB0IJlj+DUVsuo9MNi15QShINoTRhvnhJ23f+ZjrbZNTTDtkNNTt
fISgNB+LQb1ybZLt7/8iCDk9AE2h1ByBFCQmubY4ZCxmTFu3pkbuEhmcu346EOMX7GnF0imJxTUO
CJuHm8LMNe6/IkKa25Fn3faOVgYIwukeMtncxrYPMYYSCcVQe9+L7g1dLiSYX1SIwb41g3QbC5sT
DkavyhRbnNL+0Epo0aiFKxTeFGtJ8MoYBsFbXXq7iN4xscUI49iRSEd6h5G6iAWkP+pexH4tVsk2
tMgAUqFFhGh/1vPeeQZ2uknQPrzHmuDfcJgfis7tXnW8I7xrEBwgGoCxXwjD3jQ5TFHVFzTRnOqi
JZ722NCwuZsWtXCQp9F7wiuZLvMwXd1igX4n+Dw0icXKU1P0HlhBunaQ4dk2BAOs3ZuKH3YQNGVp
mjoHzxn3mo5EuA6zXzD9oD+m9YtJUM46bOiu1wKLVhrQ4SsN603U0XQwi/6rlPiAVcgwMatVtunM
ceN0kOyLFJAs+Y/2ZRC0Xbt4MN9JN0Yun4TdVfIUXNKhQbKvgfWAj1HvxmXTnNpu9kA3sj/nE2/J
39+mWdGXU1hIrKbKXUl7Kjdoz4w/f9na1VsflfhjPBv2Vwyf067M6pLNHdyAD/pHCDEz0KlAoXZO
hNehmSMqZDSffZrp24gsS8+CIMHy0G5F1NVb02wes+ou9Rgb4IgX4GL7+8Qco1d7EJSkaSqIYrPx
JgYJvmwnuJc5gbxFN/jJgteMFay4FjjHqqVLboa8YsYxhpCt5C+nse6JyoqQm9B7ce56lCYnO4Yj
I4iJo+7vPiJa5FFTRsAS9Q05FAnSqaWNirkwYOrpJFV/+v1v//zDLLtn/B7VVlaS0I65v9OlPEa6
2iSDdapd+scV5/TOUtq9SrLW19FjYBh0iP2zIrUpJqSHwv2VB6Hy2xlSu81YZhbLMMcMYpSTC6Hd
AfXKZsNnH4sheCDQKLFwbOC7UPqGR2YcfXpmOziN1f2QlI9TRNKfyUJvdLSD54jGA4h5t3T9IGAm
EbKDYXGmtG5RrAzGnT3n/ZE5PvCqAi5+rht7llcWqgVVWPfdEy9OmKhgU+IwDJCz1kfXJJQVrb7+
KrV9uK1JeGdoaQCqnzrlZ27jMSiphqPlhfAaYCoU69wNzmXOIKvL45vu6eBxJjZL5RdvKUJLx25v
1Z7xODSjOE7SaVdFqLY66reD3mU1AVKvDDZ20jOvUWorSlfAfSEbcsTWGwye3UZ03med09mZGY1w
Q4HL1MG9zIuVA+/aqmQnKZN33fK+tGp2t11xdLvo7GqmczQmDE/6JH+pQN03RHbaIX64ngrZ7QzS
WLR8S5COPGDIRB1GhvHgEdZYOOPZHubpeS7ptiSWb9rDYxgTZKc6GsIZ7TQCYoo96i99l8dk3QZz
cKLdUu+9FEnWNMhjHoWd3y4Sj35iJW+YXZp2dTLIkRskjOu826T1tFGBs40j+YPMrx9DhnAuQeNX
NkGwDYpEx9nCHxBvBJSOzl03Bi+dWS1I+AONzNAXjDmOFqyDla7N6bZ36utcszBrHT4uVDfFGpB1
T2RNyjA0x7ZlxdM2kgRyYyf9dCpuOlpzwCPOvwHp/w2Sf5qqX//x988STJ2abr/CuCwAwRdt3E6H
r//4u/3/BMkTM8F87vPfQPLLd/wByWu28Q+TWZZwpTBM2rA2JPc/JPnlr8C4L/9LCl2aDlD4v1Dy
8h+25RFX4rqWYTgI4v5CyRvyH8DnhclfSZTDpnT/Syh5x/v736oyQ6hRLMcmpWdIQwBy5scJi6Go
w99/ftzAvTcg7f9HgRktcGyEupPXYf/QT1U27jp9OvXQzD1JZOCQHDN233B48CFOJ/zIOx1Un+ic
SxZpr4ubndBnPf02os43kg8oYcfZkntb04GLNxsrHdi+tFuUobvlhy2JdnXM+EW8RbS/9Yk+Mrz4
CQw5qAmqS/3k1ONuokFnIgzgDbvuvXGH/+xoG/rVFg2bVOey/HP5zALtW/gGpG2jEo1cYNrWwJco
KHTPAY/lXNBz74qiO1lMUe3YuEo7XSopHt1mA7BxX4SfCDD5eO02kwoLwUzCs36Ky2bTWtfY1anL
mw2mSvLA8TfinDLG3cAnGiihlu9q2JguZ2T5NCWjUW9mDMR3gxHcFRFtAQ8otnEZ6B90ebdd/lcZ
thtIHjUdn3EXucPOM1CvT8AFwDJ75s8qkkgYOOETyZlWtyAzv7tiOmGcslxauMm4M4126+ISWg5P
n7IzXLP1cgWAWB0TC9woHzfbFkX/FHAVaVPCyfrz+cyOg9bcC26qFZ5IEnQ4Fhs2edxu6vlpQMWA
495PQi50Mn62miAsqdlmhJYsh5knS7QJ13ZWSON630sJEO0RB5HPvNwgy+GqFmGT8y1z0kQ51Yj7
SOLk/orGHT6oPZpq4sybDVro7XIGULGffp9BxqxMAI5or+EM8SmsfYXEVTHONQp9HWa9v1zZ5YNG
E2eIw1+u4HIKUC//vn0DzMJ28+dAlwvU6M6lEpzgGspVrV9H7C3LLbxcNMfiNIYtsLRjAxcfyepu
OdhF6bR82e8f07XbgWJj+fZFYVQWYr/c0EOPjAmzgqu99MCRq4lTyJctF8VQCpnlZw9WS5bgwjle
OH4+SLKN03fbzBEw+fmpk3NRGsff8LwF9TbGUVfbFPLaRS+TY42DHVYIbml9DQ6wGHq/sHXACkif
84/lo408MAZEieXsLLfb7yPPJwjG40mYzJWYfzQ02DK3pfcxActWBPmpVVQ12ybr/JSJhqpx7hgL
tW1P5MDK4WVksmWVhE+9L19bVpxNbpPl2qrxZ4d1FtTycs6Jh9tX6DaXOyVP9CtAkVVadeSFdr5r
IS9LeboYdthzQSR1e5VNs/VEerSF/H09lpO8SHT7UgGerrce19KL1UZU6RkYyOr3J4Qcs+h8Pa97
shyEjzFTdxPtpoL8S75XEFBDerTtuv60yeLWx6P5sZwW0NLI5Yfd8qGGihM4YVfK5zWQ081yHZar
55ANgyh4Du9wZyPwmHYQTeDNxMflxCwHDJJpmy9B8hymkasNPqHLcpJJADsGkPtLdzxFQHv7mJEX
YmN+IVSn0/IJEwpGjFQf3TRfNc/aa870IicFEZXH0ESLgihQD6HLxR9aLfawx769WT5U4VPdj6fB
659mD6k2F73nsV6+k1iIzZKzt/wTft3GkK/tmK+jRFxqbj5NTifNqDfLU7WcieUGyfVmu/z035eF
J01xFvIA4Hqjo0WQ+3Ho/IwpbsMHdlhsXNagY1W1O+FtE2hMBo9U4vKhTUTxweTPbvpR8vHy8JKj
5xMNGk4rOYc8iYleb8TIp4oEPbafy52KthHwBQFhDFTT6XEajHVc1qsi+6wI8wxHJO2slYLbQmOB
G7PplHNeG53Pw+pmcQPrfObKXjtpdjJ4rgTrNubso4vbTGNBWV4WHpeh5h7uQmsdBRNJn7w0GnQO
XLZoWcCFBaEpPaqREMusW5ti3lR4iSAIscKarANwZhdEz9aL8uPyYeblvuTAa4unpUVtbz0w6dss
X0Zb9wXuy3X55/ILzFLu57Yhq+1+EvmuJzXaycZbl+UfpRSX5aeoKj/WaHA7HnTI6GtCJc/LYety
PkW9eKuz/qnM8rMBpKxF87d8H3EseADtt14bSWJpNsvpEGH0LXDkJL21j8L4VO3wvGJXmKH0O2+1
MZxSPT8vZyj19pU77W1lvUnqxeWbjdHet5DCl8M0Mc5oARORnsF9dIxTCLJueqz5fMudtvz3cjlg
Kz2Jpn8CrI22fT+P4xO9y6vRk7gyji8lNUKoivNiqYzTo2sn5+UMZyAr1dg+4S6iscTNRYackWDq
tluf8Lfd8gHUsu6iDs8XOA7PdBsMt98nN5d7jywUVM2hTM7LfcuIDOArbwzeynQv1hFAinTeLm/j
ZYWgrKLkl77eBbjw56upZWfX6G4mBcV/V76/y9v/T+Xr6K5tCWrP/3uO0vkj+5g+/nbqcEH+r//8
n026/Nct/gp//WsJ/dcP+lMVU3ASiITOGnsCFadu/RWvhM34H1S1hmc7DgWx5ZCh9H/ilYT1D1su
dbJHKa0b0jb/qon5K8uGme86rulJatn/UrzSv1fEjofDxhDuUpiDETUJifj3ihj9mcrMQlfPdlDv
EK6dcoHjrCFwjgeXb96SS0zs7HT/L+ft+qfk/lvR5dcSou1SWwuO7V9K8T+/2PMM23SF8CwiTf79
F4OjAvraWu1zpB2HCPsIpmOXpX+sI/IN0w3SlIUlldPZadBhFZhVsoZeNs6iuEdmXDasHLkl18KT
uwEgFULYoxgR9kU52bnTBizpvjD7G/vRTZaw6AbtusNUWo3Rhj0AgpCfRi53E/E40LQhyRPMUv2M
XDwEdX4nUNI2uf2UTP25N+o7zTF2dI42KdIiu2AigloxCum7JvaPoVHvDhk5wnvSW8agVk0UR+AN
dKSTu0hUO73JSOtF7Sfijz7Cj2CWxmfdWfe9cp/wAG9CVf2Iw/ak0LTTjcIoYvsCb0SRv9r9Ndej
V/zFqyktN1OKPlONDDu6FIZWtcDE3MuQIeuVkJR4OS6/sGkVc2koG402HFLl3vOSDVbOBDe0gXcj
mO1ogaCUuXPouDHl3na2ZCivARQUfmvaYjOyaWHTxnsr+MwrJoQFs831OB8Qu1BQJ1964eB9cfDF
Zc296WV0jobqzWNiNM/pe4ZesyXPtUZqZGXji45jE2XOhryPZ138b+bOazlyJM3ST4Q2wOFQN3OB
CIQOapW8gSXJTGitHHj6/cDu2amq3Z6e3qs1K6NVZrEoIgDHL875TnXHtM6pWW85TKA263nNxOxc
t5dE609lm21hz63ae6SLjb1tn7VSHWugalBqLgYeSrtCjB3eZBjS2ZTn9rD9F9enwQ321+uT1pOt
lOVKbg6PLvePrWLTNcghDa19nsD8kWehK+sc08x5zDwaRNNyyn7bKjDt6VakydNIvkvsIXfAy50B
wElwYAjgF2UGX6dnRNLgi5Lz65J0bxGvB9KhbQ+JFw/OAf34Fmm730W/Yh4mxM4eAObcp56DlKT2
SR84zg1qjKLKgZAdh266LLXFv34UFGgQUOhcwOt2E+MpQMDhsDURSK8Kh6YE0z4BvFF9BvCkCCoS
4StrvO0gCJQ9TkoeITrArk1kWqB2Tdxd4bZNmrsct36eW/ss5kqM83cHpRFynkuDMGdTsP6N8+ow
wTcs8KujChi2w1z/oKVku5XdoLY+9K3l5zBZPbu4A5lxSXN1G5nqtm6ax2+ZWa6dQyO5g4pGet3B
9MTz2OJ1A4c/h8Wdwy2sYnmTCWoyqa5j9ClxxdtFcReBCWxR0OZQKhojJJuy3wF+PLrlcOJuuMRL
ePp/uRwMphRsiFA22tZfLocxa/GSY9h8bnXvqba9p1TPA9a9/VyTcdS+gdj8qkaOMkPdEpMQ1H16
7aea3rFiW7evUJmFlrpN52aPqvWCSTiAhMIKqvJFLa41aLaprO/sUHuSVK4JYRD10hwHk5dfL7eu
TB7pxM9t0xwtZe2lwzyc7cBsjTAYpiBvkIWVdhByehObDHpH7kvu8NSZz2H8nrm3pK/uw7wlVD1F
7J5+iJ3E7DmwKVRqeNPjdNuU00vLcLkeTH4+FVQJ/AIq66wnRGiu9mbE4aqizayL3TiMLHILFrDr
21HfjSM+7Xm64sll+2dfSj3jVq+OVV8iKe6ukTneFpRaKanrBaRJ0S5BmjMMjIHKTtfCE7QvMbId
g6wqEtlDFpBV5d3EzQvsoNtwqhn/sQJ3EHyXaKQRLLifLRROE44U781pAOZgKO3aYryPITb3FdIL
dB3sNO/++2thLQn+j5PBsBhV8bwEOyzWJ9sfhkipYxe2ldTdsx3lh8p+Y4e5NSJrT2uw6SQS3rXP
ZXDp0XVoKe9F1+1zJ7yrHS/Q0pque8Acx+u6XkGqCgRxpDU2G2cEXnFS5PPIVgTr/VUv9m4x210r
qQ9tuXHo9oz2dYzua1LnVTW8di4TKdN8bkKCIbjBBIdBxCOsZUAbzt6RzdDRMV9bz/P/+1dhnZT9
1yTt+/GNGoSyxdWlMG2KkD+9CJL5CKSYpYdAIJ/X89DkO09iwNszIVoO0391IP9fv6G0LJNbUFqk
Sv75G45aa2r1RL0gq/5kFdWOffvWJIEGrEmPFgcF3nkerUvbYhXgmaCyVw/Ipz1YN8aK9HbCMvgX
L8FfSxiTISK/uUu/a+nSdNfa6g8XgmllkWMiZXpeI+qWtDmuEXYJh89iy0NT2uxy7E1dU1Plct9S
/qdijVp/nCCKIr9cVW3bhR+1115bx0EmhSBF885lGPSruDb64hQI4sG5VMANVVnepWV0bjjBxVge
K2+gI6nu3C7nQeLCnWhf0fCdxwYBfSKeJUwHYMx2j9QWKP8r0cw0st4JSzBCBHTWjb1jAP9VFM1+
JIfdnQcSHq0tENzUcn92VCbCVreAis8N5WCeEWu+GEE2t7Azopn5RUm4lypBAoXzC5nCpC5g6Y7Y
6ks+CVsnTxuhPXW6fQE3xaS1mP7FNbFeY3+8Bk3KYuniGEW/Y1hwe//8+tdGKJM45vVfR2cIG/Zm
Hv79Pf631gD/s7DYf/pZ6/f6rP6RKdv9x3fibPSr2v7sf/7pD8F3k3I//FrH8t2Q999ptP/4zP/p
f/zHJP9ftDprsf3Puxz/V5n8aSewfvrfexnzb65l2GskLNmvBi8/t8TfB/z63xxHsjZntC4s3eEh
SUH1n1mx4m/ScE3pCdumpxHridrBdiFG1v4bpxM4Vt0i3NVwbUv8OwN+Wqq/XBMCMg5HhGmQBONY
a4f052siLcK4JcmOUTPDWQspAIWsxM2Iu/pGht2P1LS1A/Jq8ybNbXEzEFqUglkeZeodpSOemmyg
xDXwiaJ9w6dalXBuLCWf7SaKroDFBp7B6Aa0obgqvZMXYDDIREA3rB+6SWNTahPyEOreFbPHXuNf
TrM+MUUKl19Z5lWYsXvnZDkS49BiXSJRWxd3Gt8IuDUYl/Gn778HWlz6vSuJSR4w+rSF9YPnERlh
eJBYDWs8c3TnbXInUHIISUD5nDwSkxp/RMYULMS9BbpQz/GSQflOMU3GFfSC0AMwYGXtleMiQhHV
Iu3Oe+echgn3NylVCGvc6gzapT4PvXfssJAeYpUmZ2dEC9R6xBoS1nWN9bpCF5Lt3fVPE2oDVH92
uudHl4FVVavJx14V37G2hb5lbFrc7svKqXLTAVGADlWmp73GJniC7neqSXA/jZQLu6TwYshgk7qk
Qj9ps3wgcUbz+2Iog5jj3awZjo3ZnTUzEASR4yGocF4RNcckYCsaCjRrT6TQMkxb4ARbLbN8F2hG
OMNWa3dGXoSPVZ7+ssIeXSnSqvwbGjR+WmUcdCTc+xz6ZK/SXm6s2vvoPWFuHC3CR2vG+6RJf9dz
dKhcme4Km+J49i5RwruhgR5BFtfdjpYx/VhmpH1YRbLG/l1V0z2sGvh35SdKM1IWG0axeUmZU4ZJ
GQwu+19XsfkxmginBPJ1Fwze0UOASgBq4tsLYoKsL/aGMPG5DtV0GtnGdgU9QRwipYpnktg1/K+6
mJ/agk29qrr8mDTFURJqFtb5XYZqZevVqFOp0Q+Vyq5xHSd7y70HfyHOqCS2Y2Q8OnPU7NrEPs1x
be7nPL52doerrdkUot+rJpz8PHYlVsdVw3ewF8KWrIkCsXJ6ce7G/NxYSjsI6Kj6NFrX7w+a5/0Q
xPWhdekJDATJ6Pdn6WQhJuPidohKyVd3Z6DBn7LLjJ1wojcRTylbEj5UiwKlyi7BavvqhPQv2Sqr
s3yQedA4mvLFxkC7y+voi9xYLLBF8VGSo9VBMiMBEV1lM9snJ9KBOw4Sjcvqhe/j05iZv4Weuyei
vKLNAr0GZfam4hHoFymGA/rKGQ0gELyJYXA0BCZFRsmk2C9r6G9l88xmddqi4m6OJr9VGulnqgTM
O9aksz6gpdKs+KpKrAAQVU5lFKUXoRPmmZnEcDSr19vseWHNBYJIbLcsBi37a0HmG+gWfPckQuFV
oCTCvWoJYj/bWr4QJvvGTx0yspj4GyWfePDoAbwMlnWQdEeDR7iOYAnwGo1RQkyXzm6T9rKyoGbk
94uiS+g8gdKaUMjegL3SNlRrcoQN9t3PFaSgJmokMncu48vyNNTs2vU0ujbaMNxiljVgRyBydK0u
sNiU9Vb5VCJiHRohdg0wVmH9IJkBhT1K5kGv97Y3H/RuhXE6a50xVhC0yKLEjA5utyZqFb816/8a
zAbpYXfA+HFzhRBaQlH+mKTxYFp8knKq9z6F8qMN5OgQVLrBVoQBSOsb5vcFGT45R0FN29r1jHTc
b6hkijhMuTmyA6dijzsQUIbouwmhSi1dcqw6/BngvmM/x2zjOzUW4GaOkAZBFNORaR/gL/1WsvW2
tuQ7jhXj57q0iJaNE67Z0c8jfglT9qDMBrT9NgD1qjaIvs0w8GD0x8pF0H0yi42McdbmmUDEnmcH
ZTRHR4b36LVWt5vhC7d+K1z4y7pcVyHG3VjBlClZDWasEbOswUyCR3yL1PYDvdbqWxD2aSXNo/hr
FpSiZvHIeon/gOuqdsCVjo8Qmflx9Js8IgIqk7YXeFCgdFZ5GxhoaKswXGyQdPqAeIA7r0zawkCv
NmRvmekk27wCF0hJ7ieFugW9KXdhQoyiM6MaVgbWtWZ0MUWPJsqp7D0CEwZygC0XuVfg7TQQmX3x
kUGWH8Ip3lalW29Emx96ZORHm1ORjWIy/ibU/VxzjQJiwPqeqe3UgzaMM2s5Vqb5iBsI407vbJQF
9jQnJwKe0YV52Att0ndO72PlpzyO1ij1tMLx0hn23nEh9LmKCGe1doy81rgZhg+ytGgfreShkjUr
Vzt6wB2Hqhcx5AxoU9cRKsXEoBhG8lCskLbMGc6ks5GIBFzGpkOFz4DHII9uUr06RKYtmFpWR+jY
E2kUMU+2+tlsjBIruTsRvjL5BnugNqUXN4sWHdWgplMCuQltKmZ0mZEB2Y2rEIpAZzAMvLh3NR4E
JjNEySijPMZyfEAoCAMrNPHhyEG/oLVjCwtEZ5qq6NgV2m6e2AsVmcKYlzW3MJC/KkcYzIFqtkKf
Yd8y93S6cV8m1gU1HtfMYvGuzQqOgqBvy+0ra/RLo+qHLAZPRC/JlG9sUrzjM5sle3qiDxpxiDo9
UMMsf7Wicc+IdqvFxZfeqyGYxxJwYRp5KNxHTFyiMQNCnpBoJlyNblztU8FqBP9IFUvywqOVCFeb
x143nL3RR9wrUfEyOonYpcVtzaThHA2wUjSuevaDCggkYdBpLgOoH+59/AlcoNwVOuA//FzlfoHt
De0hvURGnx2WBldG63yiEoNvRXp0RbD0ufCIuiH/KPTotQx2dQO6g4eC5IWNRzR7Ye4SXX4mUW0f
of0+tVV1cTTnJx4C6CRQUs52ja7f/Qnr5JrWYgpCxlQ71FAQetUAHZpRWQC8cyd6qjdmq3KjRHqP
hXve9Q5K4qy/i/ti2YkUEXymi+faWRHAmXrVOx4NYkEMynkJEiwZmiBLf5kiQfMrzY1h4dIqeNat
OQa/PILndwZ+et0b3ZsVzjYSTXqQ4ZIGnHVMmA0ME14efQKZtRHu5fk+H1Eju7FO7NZ8S/VjXSRU
M7Pz0vslxV27YMDZza67x5iQo/oqqkCaaP1M5F0cJ8Wbs8AaGbqcJGf21xY4wz4buFvTaY/Dh3kG
mkUDab2dcJTP7fKBNuQZaikzysz6EedJtpNTY2ylRjJkaLrXtNSAlFj6C8zmxyIkKKgI5UdVGNHe
wq8twYkHTmGCgpgtPxWVOC7Out50o71k/N3lrNYUnUeQRMWZK/oAzx5GsNvcw2m/b5vkVaLo9LXw
nS0wZp94JlTMCuwGsITK6vdMtdtpnkCbtRn+Cd3aFJUJDIh6Zsn0k+zBqQ+IbO0q2hPs7G3HZiJ0
HAVcKYBPkoIWP8W9e4NgLfWlThLdUpM24VWlDsdiuQhRKupQEK14L4i6bMpj1w4fxtJSGxs9W3mI
Hm0a3RspPINkyqerA/LNIL871C1o03XUQiCedvxulwpXPfwFioaOxp0fmrBUZ2VoAAkYr5Oib7Gj
+Tnh8L1HyXgXavUdZ4+4DYf+poqw4tUhwA+zkb+Qk3hMx8iH1lJ5H7ZEOkwA6Jn6wEZOoSx53JsD
F8CWKsq+NxvkebDwQ7QH0TV24FS6drNWF1srcx/AIl2LBr8a2W9Ha9cZmrifIrwoQzfv6jDkLGhf
SjIW7/Vi2xthf+8O4VcqHFSfCingPHzETCThWh3xTZgnb6gr1u4kEZVN85wn5VlAftdomwKTKYof
u8mDzJhHuCPL8QwfSyDRpca2GR7aWCNPauQ/xq7G40AlbtCqAozLsg/1hpqiLD+XYXLhWuAEwpzW
gFuXEl16SVW55Ub/1U3ybqqZKdY82Ly2hpPAD7Mn3RzDep+fNFgb2ZqPE7OFojXaiAEUiewbPEYJ
CVF2W7BtLmZyt1QaOItzTOwVKlBn2O0L76zUpzsQmzElSGeNYsB7Jl4TdyEOCQK5Bit4U2r9W+cQ
VR9X/MJ6/aCqzN5kaOcILwWrDWesDor4ODqAjhVCcA6+/NIsy93cZxXKywfojMY17ibMSZyGw1i3
j165PPcQIL4i+27gUZsJDWimFwo/WouFrtK3np5FgSCd0x9mHfVISpya4+Zgw1xbbTxRX9Fqt8+4
J3D8ibJ7byK2Z0hGrkmMP3dEw7lvaVpvsCz3Fy+et5EiaaYrxgMlgH0Tj459k35/6PFe5qFNWWPO
P0jGyW++P8yxgbFVg5lMszvfxOXCoLqIhC83i64hptLgRUIdSu9Rgx7cUTzwRies8KFrjpGzUMGU
7EHS5lLa0yvc4z0aD5yq6ETHniQRZb23FXkpdLjLodBsqr4kvGvJX/fDNPutNIuuzJ4+hqqOEOjv
4R89pYl7ybPmLIeQwDLcGAbca79t+psoLY1tbAlv46QVgojaebN1VR90C7KSlBg2FzKRwo77GWlV
TI3Q5HCuu1GDCa4+0zF5o8C4Dnlc7GxIvYzPNV9MIXnN0kLlReBZbd0ngjKmdUvfszJx5PfPQhIh
ecxNm3piw9POy8w6U1ESqx2sA7YjlXM0kBcbznhCSXdVs535ttDAU+JHIputIustJ1C7CLtjjsDY
rdnqRBS0WWFfXDmrLTcM+TksswxDbpvCO7CztDZegUCiG1Ytx3zr2NBGpT4dLcGarKdswvm3NWP5
wsRHPAAuIOMy705uhhYFTg0X1ZCwGVFIV6CZapzVJefXq6bzdN8Rxz7sXPj5NL5j4PbdJwmnzHaX
cAkIPoA3/cMtuX10q8QSZnVv6P/t5Gp3NWsuyFz4h3tFvkUH+AC3NHGn66izs0Ik6SnK+6njEk91
VmFISgYLfWRpdu9tdpvN0xZbfrNPIkqNTpPlzjVBvQK8PRtZGrhenu1iYwnpDdw9rDuoPwM0IcOR
2VaV2iXNqIe1woxQqbESriMeGSl7zb1u28QRGvpHaVXGpQmHcgv1kACLZmr3pFO3gT1M6XG09a+5
nIudqtB6zbhoMa5BAMinr465570XQjCURITbY31wGnk0IwV5pVs1gwXUBxROGRMIr8meqeNxzBqj
jplH2cd+dG4GwyuOYbvkQZcbUyAZRbkZnql8qHetYzbbZXwY82m6V0450e3Sa4UNu+RpBk5bSL74
zdBUJ5cytKiYSsQkE7mwNxoeclOUTT6A+cBqeUFYhNzOlf4jr6v+6FF4BHpHaxOXCBph2PoArKjk
MV+y43bOTue81+BbDklFuRvOjx6mo8kjU5RPbWoOXLeGh0HStC9SE9a5MAr2YGKnAaovLPDixrTs
skqd3DjiudYK0MTx++LyzK4+umQtLQwSQdKPOkVsZAoEBlMePhuhfcnS6ik35h+WQaCv1z6IQqFS
m8Bh1USKAu44LPOn2w/nPBuPUcaXN0D9+ckwgk+wMCWDL9Q2ZYQcryOqbAqbc1bI5lD1vPNRbFxG
RLwIwmrw1sQcz/lgsxww2IfrmodnslOXQi4/StWSHaJHNI0LxuTEGp17zJ93dnEdTFi7XUtht4SM
gBLSAykMmb0vnQU+1uWEVs0LAZeerzVU3+nC/K6JyKUwh9OEu9AngyZ9mDqTxHLcmEmoTibViR/h
3Gwy/ZkrRBM/iSbX2bOzxmn1kYgBgzTlQ56QuZ4tWBRmV6cVj6uNpZePcwinrEeCWchHT9oMAjc5
sAVIuFgmyFFLfcNEuT8xVlskYNr0XlUN9nEdlEcBZEX9shR8ElBlA3WYbQ3mBlcy9WU6ntcfYRx7
uGaoyGCThRLZMYq1fhu6QAKW5bcj69s0cpEozw8zqASgYK+NxTimYcMzlvk1yqrfaUw84Gy2H61q
HnPkEtj+7zzcjgTs1ueK7B6y/di+kZsHT5/AO/q4xjVuKD8ahJwbRyDAjJtfJjjjrRkC8bB6/Vc4
mWDA8CJXwLD9EYkd3iH2fHNqssMpDN/Suyvkm5MdO3t9nA5p+Tm31guPhL3snPAwme3DpOzHAqr0
az3BBpBtdxvJrr0l+hIPv8zI1G3vGSqSIR1TWxvRvT4TzNAlV1DO7aaQWnOUCm9si6gbwkwOipB3
G4VusaXxfgtj2d84c1Fs5town21ErRuNuNax8KqbOdFepR5SyOgDjI1mjHbVFMb0qLyZaf668EV9
VrTgceNyvIYATKAaPId2S0JQqFkb057rQ86sWe/xxxF6dvKiHyDGGUc09Xn2fmcxT8W0kpc5+cz1
xry1NMymifq5QGE5OC0JPJQuWJlPbZzfdN5AF06SizDObUpR47U2FANzfPAaEnjNttonKHcU41wt
I9ZerbMhb8IYK7WnNp9+4yU56CvqoDbeRc2xGnnJk4YNzy2719EcjqGxtjAuw4gwMs4W5WzYGw9G
L3C6FIUv5uyK9IoWUp1IyMZudR4qASK4ZINXm+7jAASEUfi8sSrmMSoOLziA7YPXQgh1Ya4BBCyX
/qFI14DbOd1kk3L9zFMBl8OBFQPEnKi8zsSseHN073WobDpCuACX1NdcLJo/54wF4uFgjAzeu7x/
cKqQYQbCS8Et0XCl+fNCr5261uMw4xuatOV9UXfONLgcRjx5xjP7Q4Z2v6JsPLHzvzHkj4FUjm1s
8P/1lXioWP3l8Wao+8eIeZWBJQR3DlZ4ZzXSdHjRZ5WUe/rzL916QJchaDKWW63NDCY3FQkCkBfJ
rplNOGW42Or0OevNT9uFc6KSGxxav9l1n4pJPDKQDTCTb1MkZlse4u9lI54hJeLRhcEYkxDjdZKk
RuKTAyUQu2KUGtW06ysn24ip+XKNZ/piSl37JzT1faevx6H9GOoaRyExnM5QWX6mCXgGhO16tFU1
sCErIkGliV41T76VedC4U7FPHfNRLtMHdvnEzT8SGTaoRvQzGOqrc0rdNzN7kY3b+60dPyyhx4Il
r64zCR1MZqEdhJDEtloyf+hGBpmKJATrK2IDY0Q0Kym4cDB8MUFUIuhqZkh6Pt44kOrItmEaKZoH
RL13Sw19h7MeJq3xPI3qY2qfB4y+5xASB5zJKsCGHTrhKn3yvtzEfZvd9JCk03PYEHcTZxhYwQ83
POn6cDwPaXuOeijV9Hbckab22Ibzu1a05BPkJitidcqW4SGdHUEXRai4wRjWZHZt5C5VuZ0/lHiM
iwi5lKeTvgKyhbq3vyxIhshgbzY5au/9ohdnO61ejSWmmGjD27aJDh3jCrKdORpmUDjgQXkwdF+I
YO7GtDgaynzVuuiSat79PLgKYBLY5F6Kpzw9RCNjkURzK6Kf1N0CtQKHbwkxAe0I9GnflZXD48Bk
4SLeh2F+HPMsDka34qzUuIiyW0yZa1+m27Bmyw+XMJ+FvYZfL1ECcQMPmIr6+8nSNuPgPRo4UfvU
Pi+SaetC11Uk2PE1Sz0nvQzw8iHJ7jExiKw3Ts00HccOHvUYHafWLoMMTOiuGLhhJYy7mJMbCGKT
EcMzZRz6ml09pLnYEmpJRlvvPOYaGODFth5bWW3TNgE+YUIFGobo3Cr9kGomNhZEPTg1sFqHJfT8
Nn9koPWwxEYAKSnfmOvTH4AvcCX9sXGjryYFyFp387bKgKBI2a+WaDijhGKvUOiDHEhjJopMPyoE
+hhgER7Hgw7GvtunafmOUxb9NLJ50NK34J7o+KP43Vh1e3mMSRKA6wngycEQP3vDbPeVRkJJY7uf
YuGySjR6C0Boi1Ser8/ZGIzd6zSsg/bYvhTGsO+7ie4erjTDQeEPYpMTQ8TIg4WBpZavxS4PHnlK
tbaFyLVFyW7A+hHPzCH7yWCfoNv93eKxu+hIS5M90wE8oxHPkBz+OjLVoECB6HtpAalnTZyKjKNX
6v29Dl9Rmp99WRD9aihIlVD6fawsyC40tBBMpZ3wLAbu+Ewkv8WU6MjIYGC1yrgORvlz6XMRjDSa
AYC3IzFuzMdiCQ3VCN/KMmxepzig4GbgkvIDtJFB7PhYvCOTwK1QluV+ygn480qxcI/mP3IPz4RV
Z7oPVK8/l1iFx1adujvDIw1hnOETyXw2oSqS+uOyGPCFCWWw73qolzpzZKCH2WYqpOvXxUQggXY/
geLxZVM+x9h7LwjniWgeLGpV2V3Ukl5Mh0KrXkglCTV2cHoS0tTOYKwgKBDvMZ14uwHCNF56E9YF
kW1U3wzcMWHBhC4fUlhLvgmU/DHqi9/pED3ApzzUcSbvoMBkTH5qHPQh2xynrDoaVfA6Sxjvhs5S
H6vWCRdmy8qc3JtthqCQXtrdC1oWhhjRLbtzfhDJjLNA6OenHhbeOD2wp6wDa2QqBtnozGP+bBAe
6Leg43zDJeuvHvv2oKez3MWp448dRvfJnYtTp1h5dTGYKp0JJ5zZ8EptEAGDm5zDYKv0bekwTLg5
leAy1PeGxoHYSdIoZtmcDZthHAgobrAc9Lucvow5bG9EEQsCMvjKg2jUuevDYz52FeA8JsGWoDp0
NX5KI3/rRJHuOs+ZA5ZsX7HwrmNv9Xt96dJ9JcCZxSvgeP1AxCDtdQqSPcolKa2EOgAKKzcCtMDJ
gSiGucS5dtKtT7GL0yinoMaJt6hr51gr+2rUg8XFvL7ikV3BGi6hNth0WrF1SNH2czM1dpBYg7Ee
Nd6yutwBPRrgsgCqAKvxWNdG4w/eAgAUKozGUGkBUGsx6I/djGzKOTmDK8WcDiyFv27e3bqwYC1V
qy+C7WSoaUtglfiup0VNtC9awBCeKAyZMAFQ2A9boobEjDAvyp+UFnsIoPur9Mpb3pb5xsQKDfKD
KVOmDfTOM8rpRXc/JgtyhleEu6W08KBMievLquXBQzbNZlTV61A3H3PO5anGKESsgRS1ruiAW4ug
2DLLeHRN5nSwIvDnPRVPvajuUreSs1TMzIQBkU9tU79EyqTPqqefBD3KlgC+fD15HUzvzF2ta2Lf
st0enqacLIdRY1Fr3RuKvjsJmYdaDtDt1GDXlAtth+n8o4EFxBrUBGmeVA9ymblkkubo0oOws2Ky
2GbsqlsHGwzSAs7nNutPyJiRYjsOJTY0WEGi6L5PzQsCwunktUjVlV1ZgdCzs+zwh5FeHm8SpBb7
qoJFOyfpubGde9xw025Z4npni/zRQo9xImWlCYSka7FA2x+aWmcjz/oUHgBBx8+zhi1nQKByzHMM
qyErpaxUJza0r2EIGtrR54926dpLlT91A+k2ia6CQXNDnxXr2RjMH2OeUzrVmNeXRtvVAlxwST6E
jucpniLLX4By4msjrLFK2L94hKrqzu+kI106NpKY31XuoCzMpxSxWySIEetLtW2SGAoCIyDfdLBF
hRXIG4arxCWG1UrnydNlS8iDeRg59227yLeTsRhEADbcBIwWSL6CSgrBoT3REk4BndNHlLDg+/6A
NUMcDEPftC60FNNhR5cIIz4Xk8ZcaFmIj8EH19kFMPsoI5GUfPXvD6IfWZzhIZiN7q0umXb2FtuW
qCxI3dDTM46u9OwkNbOC7z8Xw6ERA9GGhWLbqQy576lH/DSR1pncVhb9NfvnyVEmiUIlAhmTx0bL
7eZHUlE7J427VQLHfaisgzloYHlYaQHy9BsyBHt4XGhBwEWW6q5f1DNxVc2uzqsfKw5Ru2aZCcxo
FvluNgi7gHCju9w+Cv8hCr8T6V2AmyO5N7p4PJnrh0qQzf79AV8lFcCx08f5EJrGcgr1i6rG8qQb
BfGs+BQAe802QkPV7pme0t7aDANOGtuPk+SKCXLDHegTQ++AvoSQSKZLMrFftNZ4zGeyVKb1+6XM
GZEXbmQNmocosK21kmpqNaT3TQ28YfDsgFDBlD4KaGGh39UtiUYWTQiCluISs43SW4g2MtktLmdU
j+ZgiTTJfrC9rxkW+Qk5RJNEs7K49otjTwX1TsKLj1uWwTjL/Lk6CRN2RuGjwWGlAp02QiK90WuH
3ljxnPeaOxxVH0sfKUCk6oFtzMHQ5kfD5CmkhfiBTaZeKTB5up3koW5dMrQAn3ez/VPvebzx/IHf
OObmS17Zz02v7ThMfzFSMdn5R1hQ5C9Po6NnlYVUn6zP0BBfbsUaZ8qXO8ytdwZR3GZsMj5i4zAX
1e3AbodDAWR7oX12SXzMHczRlfB+hOwT2FUn/S6a9avjml+uxkLJ0rNnNbivHnt/V/uYsItyN1r7
pnJbykNWHtrJ0LKfuVkdM8Xr6STpb5Oqt8i8e6rGZ11V6NwifAZrKgUjmhDgXP0SJg13AfspvygS
4tOwbxr1bTlQ3Tnx8ACmep+67BEtNieMoFQQkROELhkDIjvhjMo3D8NDMhm3WNLeqHZhnX6qDPUM
eCZmiUnabrA9YQ1Y7kwzQz6TPxf1ASP8vUmV5Jud/aJrCpNpzBVScjcQdnpyV8MCOJwzkteDM0xv
YPReJk9/tJKEzZe37ePfVUnEC3cOIzgIOWhqPO+6oh0jg52DpbnnBoy69dK54J+qlN+AkjUQHt1L
7LwVDWbfhEz0g9Syj5ulrs9ZhlbLdlkAVTyU5urW9GjJ0xnIYhS7m4zfmUDZESkJhIQRBNoacbrm
QxGYPptr1HmmAvIiKYlzZFoqP6aD+eIk8Z49NhlJPWDIaZgJorsmLmjR8FEfiVJTEObIVQCWRLpD
yyvSxWwkGsnMkxHQe+hGVKo4dfbhfGePkB4NN3oiwwfuz5roSc5c0EKLdGBqmWx+eNmddNfz5hi2
ye+ScouRernNGwYv1YR9CiDa34Xg/5ZC9qkq+Odb2fq/la7f6tX/+tM/lcf+UR37H/tf1c3P4lf3
1y/1/6OGVkd6+s9FtA/Tz/LrT5wMsf4P/5DR6n9zPVsnWZjwY8eGwvifMlrhorC1HdZppvW/2DuT
5caRLIv+Sv8A0jDDseVMkaLmcQMTFRLgmOfp6/s4o9o6I6qrwmrfm7TMDA0M0uH+/L17zzUdy9eR
yv5DRasZf+lMkgwkthZ/jO75f2W0mvkXnW/D4c8IlIC8YXj/iY7WwOb0i7ZaGOrFWahpkdG6Qr2U
X3W0ThtivrK9hwB/IAcWm3EVRCcPPWStZgNyztcNgoEl2afbHnjTquAJJOj6QeAeiR1MZlhobRpZ
L2DK62Wt2xk40mhDvQfzOGLGAnLuNuosNrAwq3f01zkLO/MofNRUALveGriyfZ3tUEYChPPRzA9V
gcE/aBsmq8Paj5KDp6HbrGZtE7gdz2/OWSWQUDYg6Y9MdzYI1Q52KewlMaQQLcohfbMD8OPBVakT
2GJCx4sI0Fu27TYPc0QW9hiukZt68P08zmcMOPZA0m4TPY4eTPixT81N0hRPjt8+tPTVjNo6lBW5
Mp1LtSoaiG1PmkbGZWeRgmw0n1DXALCPqMuoCRdxGxIi680zkW9Ygr0wOBTMWQ11F42iHbTAfk2g
6bnx+gcUSyANMh+a29TuwY3eib5dwMZgFDIV4cmSXgtHbMBUAzRtMTUyvStHO1pFQ0HAatFwvLR3
NCf35WR9iT4iQIDomkVNFZjOWnQVGtzMMxStwH3lQy/H6oBwEjN2DQAArWuNAYSRY7SAxN1sEW2g
M/Rw2pEYafjl1pZs0/nIlDHNoH/7b2XMzbQybGMR6M0hKpJ3m7DtDUG12tqfExvYCVejecwgY9DR
S8aq3SYGIyF/gv8F52GonYxwsmJfFdMBwCx8SxGT6OuYT8TJQjasYAqPMcY1pGd+RH9rqFEUhFOy
oEde70mIjtbhmUaLfgjZ/JBYQCufyfmAPM4NyZ2uU4ZPrqZ7W8KLhpVu19uhFslD14EonXY297jb
VOLOi4L6aA3byYgfUlGh8KEVONtPTq3BOO3K8jbgwAxAVjOGsQQuk3qlSmyi+axii3dopWng/qdZ
D1bdyMpX0UNdtHXpkW+bIn3JyX6JWF5CpxlaBXdgmSaa1xbK8ZmRmUwrwNGdliL7Sci0ZNrS5/6m
kdz0JYQF2YM/NYT3GsTFfG001spNvjwLAVTavQbE+W310ui3XUVbPaZdvwBh+o3OVeyYkGxS6HRL
RF5Rjuhjtmk8EHNodEBr5z79YVfylc75q51zq3BpitMne7YpSrCR9EtPx0pGFJZnpStsuDdAsbRV
oD8JFOdQyMNHczLRy/Y6+t9g1xBjsgB4hx4zKbcj+D47rSeUNsNdEiOfaHpEzR3ufMOeTlXlhcvM
a9x9HyU0ZT+oHyH4nzq9zxfhTIiPnWxdYnyXs5/nV01tbdKwRrOjQbLMyIF3S4D4lckclg4qGO5x
vnLG4r2mVluhaZxXDWellmn7Oe3HG8aicpnq4qsym6s5k+bBm4tH9G3k3/UluQZV9lD1X0VsfXcI
Erh08gTVjL7HqHnue0iLVE7nrM4fDC+Sq7ZuIZE7E8kO9tFk74qd5BV8PHHkuoj2dePsMRtUD4ZK
cJuLp1GL3/OQMAKQJ1OOzdOQ/qqum4egfSsZ/oGSyYiUpOywRlpG9OCuSQwlCe7ZCYuMvFv2OaAU
NNdJq6QqQd+KYJi6II7XLbx7u7FvLQ2oJMkbfMjZk9c7W8Mih8+aUA7bI/5a70dVDNqxQAE5hJq3
BiBKwBfBwEGCmiOvvQMhYvlW+uJF2iQyymgy9iYJpaEZ3Q7+gM0PEX4c9C8SLdsiTdyCDiBQe6MQ
1F/rRMJqH2vaa6RAlPYH0JjuqHNPWTpCyXbrBGaQnLjLeTKjheWZz1GsrE/pM+zzdy1kEmgnAPbY
HMmEMcMFA9ZrgQgClxfMyu7eco0XyBhxRX6Nhf1q2YTMOLlKIRixhqP/yYQygaQJ1JR8xac8OmVl
yPI19Xj/boykiRBiyFBQuwoqbdsLgzBSPCO0aM6x5Xw2DPUwtBVbb8y3jRZspAa1rkmIThxNWNOz
xeW8g6vrzMi5qK6WwtSbJVOxfWmCVkdNqDbCh1YjtDgIh7s2LqHERNOnPWXLwB5LYEIzuBBvViNt
f027eE9S29bEV61HDBM6N9gM2XPlNj8m3WP+E1rVNVdKQjSaIVxXVpAfHNvbxdI3X+hz2RttYPGm
TTvvbIMfyxxnOtazxXTWd/oNo3yoM2yHJQ4ZVKAhWpW8uRkCZ59FCG1zX7RMvZ2XgNvSLgLWzZyE
0ABTnrwAtKzl0O21Xbta84VI/dJG7tA6NHsa0OUmFsNVATlgUQjzJAvvravxzbfO4NISdu6jQLwh
x75NZ6cnqLkbmK/0e9DzBQ96ffBUfh5K15fM5L6R2zVblYGzwvV2xowvDnMAWXj1Cz0PMkiDXD/M
DjBwAzcNCXkE3CD30PKvLqKfNRpQKEm4uxsS+WADNcfuelcyg1mUup9uy+gm1bhvRH7+6jUjtX3X
5qs5bdEsA6ReeR3t9indF4JIDdMtHomnv5/7k1GSIhBbnr4KLOeA3FAuHSBHpDt7k8xQBNKw042O
u2ZUXtUwNTdZfpzlTQgCOab3VVblSeqkgGeovAMGAtRREYcc56z+OsnpS5bpVtjpjRQ5FHrg5smE
RB3QzWYwCw9E+dlL+kdzzH00NGJlqgzXoSXp3jdo4dcojM0gJ5xrqO+CMBsJdXJfwo4ZxEgucuYM
nzLV3oKQNgjhrqBZDIszo/flIuE08nNuSPBqt7TzdYxT7KuxZBN1WPSY5eWpo4RaGM58rLpMJVuI
L0mVVQTFa+I8MbUBdAKg10D7uw8hKq1T8M9zxCrXw85Z4/6Jk2CtNcJ6zfzgNqAzukCMdQ0uMF6F
XnW2i00x2h5yiP6+yttu2dWo7qPsPpkZ2FUaRGMqDVp/2i3KkfuyxNSD1gk9ZtZ9ViCNFtrMnL4x
ZjTXU3wei+I89Dhgyx8DVd3C1+drX1B5ocLKVo7Q0GoXn1S4QY3WYzZ7Jmfmd52VGz+007XVfgw9
KGrgvLia0oHyJYkfnSC5m5yCpDprl0zZB6+C0VKdP8WEuhnOIyElXM8T1+LqJkhLocGp0+2iqj/7
k3tDAu3BT4o3gkR2dZk/SM09ZKZ0nqs6fwE1gbHAdj9N0rNWTcHwzJuQlZN286WJ+UgJVe9dObSL
zgPpn0jCK1D0MOChr1sU1bo1NHlLhAiIctnSwXwca4gxOjC0SZdviW6Lq1zTr/QkLtd4V0g36eT9
IFrMALlOIC8urMjMiLSJshXIT/MAUfzKyOdNb81fA2Ggw/SgIZj1QFpMNXVYhI59PYa1i1pzeO27
8KmgmnXN/t4kZ3ZJa5siVtYLA2T1tsqAvjP1ysnmvvILZoW48MhNsUyiB/vkI8IHu6rnhMq+bOcN
zbXVxISU+VF51UoQ4b2XftOFBmhcQEfQZk68oBJLemIbOUXeUmJ+4wxYzS0UZBM78Vpt9RsBGXnr
lx11UTdTDWk3Ts17FJn83qZYeAoE4tsxNYUb7WZideE95QQ5jlLeuJILT15YDEhspJm+R6/emioD
sXfSrjDs8gDgGlSKetJm8faucovxfxN8xyS20wjS9oGnP8uEIJYxL/fsOiQmty95Jdk6QQa7Xlxt
ULASgV4SmgUMmWAyoyxXo2eW+zIAkzBk6Oo6Fjupbs2RBvpbDaGzqDHrlnn3I57fNNSyU/peZ8Z9
EOUHgQUElVXnL4i1mZQeLFeNnFB50/UOdVA3jOmSzW2gkL42TPJsU7byLUxlf9NLJq78NnSDSTSc
cMW0tDMZjeOBwKvvIh/BkwgC0EKaaxnJrlHy3bm3jEOoen10skhF60vzAPlrk0u9WNMXvZ5069vQ
RXwvck0ldJH0Ugf2V8NcbY/GqbvVk+pzBoO7LyFALaMkMlZ6T54ArwxAhqZttcqygfnTPQuCpr8i
39xYao0DJMVBBJ40WbtFS6fM9f5LQbYPjTxmT+SbZRHdVCCUGSmKDQP2rETCpQf3lja+BdIZaft4
6Sqd8/KIUMM0IIoz7FwYbUTUBom5vkGTPLvtB8JAG9v77FPK4aFsqUvRNJL1wL/5EW9JqFVsDA7S
u1oB4zG1FOaDWxtnM2XC5sRZtAun8cVnI/P0Oy8kYgHAc7IEkPNcBf26C3z3ijsCeWzjo8ef+gQ3
eYSlEkY10zbKGJEMnH7MRPK1yzhQpSdwa52OZSDZc/VPml2mRRexiTnLaJCiISawKDYwF1B4rUvy
M6ETsOETwrCIOLgDl2FO4sRbzYvQsCT1Tgxjfd93Q7h0cEtZ7TsnjYlAhkIiCK3xaCFCj6W1KnNa
p6TMAptESFTqt72I8zX4hWFHT/HOYtJPNSndtZr48GKZ/ZmaxUAdoorQ+MDSu2CykBqJ3TQGx5Hl
iE2/Q54TK3hffu2743Svo8Coch9yn+vfPNhkcywxpD5HLUwaQsPlSCpPT3TI0m7TUx0gHHFKa0DA
wg0qn8Yli2c9Owpo4+GOactT4JC6E4+MA4fi3ii5htRBe9VUZrghWG8X+ZYkVtM01qhBQ56wsYc7
oucB0zJ5g1BsG/jccac5QdnBKKcwMdeI7DtIBnMZufe1BYiMMCUit+JV0hMckGtY3w0P6mDmEVih
Opu6EfCYLfSKznGsd7QjZ/E4c+It9IERquEGTMjT8OA0DSq7TAmBC641uFeXFnO0vDfNWxJXDvPo
WFBU5o/B7L9GN3LZ6pAhIL3/4XeNtzVrIjIYzN/OVCeay30vLPpHxzx57DArUmQ+Gjk+WLNAXxRN
cJQ4VFqzumkSVGjsIQQCJgdzrii/A1S5hsjspcXBkmJZWWNXfQdYimLJu1FUmH1pFd012a3zch6R
mFkfLtNhYQQcvAYTZcj2J0yb76ga7rymmkm97TcGvM7aw/GSArva6sP4WifByvDtz0v77f/7lH/w
+ivG7b9uUy4/yq//ev6qf3z9nWCmvudnpxJB1V+u6wKot2lW8i8+f/TT8a+Zzl+W4wv+CKivY3oW
/c1/9CoND26vy4iPPqJJ05LuYfPT8G/YfwndhzhmOoSuWIbu/CeNStRjv/Qp2SQd4ZFKY9u6DWjN
EL/xy3Jba8vYaBjN+qO2QC5UaimFQ0fUOdD0qEQvgGYpNbtX4YTfJRgLmNvVnr5Vw9iRu5+m3Zn4
2jkLEcDmbutjBPT2bTuaC7Ialr2w3j0LlBEafIKSWMVDUt51IxoyHwdlqxe0UGjcUFPA00TmN3kN
N5J8LzLQ25ZsxGoAXbJoHLqY7bGQ+gfYs3mjTTwx1Bg/huIwgDgSUnk7KnA+gYtHzfWMQ1v71Jo2
stw53xEGSp5oWUQbUdyibWZMWBzgc7Wgf/xpLfRpZ0wQ0zzbvRrsvN+APnicMH+jlLeVgQmHKUFE
4WzX+9ohvMHXObMLVT8mWecvrVw8Wim3PaZoFReVIpdnJgZPhUCyISaLFuzaSrVxpyHs5dqW7+tI
v6FSfSx1sR818RhNKvCiLa9Nges0oweaTPyjRC0SGx8695q8bKlLWwE7SfvoJ77S729jX2HKTApQ
f9LJaprhRhrR2ePttCIch6NpNwsWExIFJINzAgFo7tq17fTkfCHtdz2SZviLl2CVQGUxy5IeYVg2
by+xoYi7jIbuEp9A5gsKerwOXfuufsPlF6sv4TXHlLFPfmqs81G9Gt74y681Eo9ELu95JMiymdLz
FEdny3Rxz5bO/vJbu4oXfnl1NGhPl996Kn5UobWDiII+jc7HRra8lnDiTe76YsUNf2L6yium13xW
3S71YtRPNyJeh6fe6t7h36hrr5m8PtHrf3Rkci7L5lA3wdFHWEWe07HC+B878oy+42TPzKIMLhoz
DeAlizNVeVSNwHMdhE8R0HvgI2eSq8hFKZDsi8hfRYSeoKwGfhtp8oxCihdZ4PdgOgbb1n6m87xV
7wTcGxwZKLZrlJcwquARoHNahjYfd20gx/c4vi2AzrXK4xaPSL2a1d/2pNufSJf/+jst0Pmnx1wI
4EbCcAwDRiPqoN/GEekY9p20vsPy060cjds/b6BuSjIb+ASdT5+86EawOGy1ZswuOY8Zg0Crv0MS
xJOuHkH6+zNdQNaoaBZWxg8AX7BK4ha8b3oWQNvcsZ5hMPETJnWpVI9QFnNPLLO3hCTNxeV/FLxt
Rhq9+VrH8Nwl3I6fhFvUWqhniC7eHTDeu8tyTKFwoGcTT0UrFkhOUd9HfLwFspMiG/eanfGQ8BFe
dhFbBSnqhC+NrL7LXw+kd1TytIUjgIugZuSrFmfTitXlc1GRZRQLez9oblMcrgRnEIoYyfM80ply
k3MSlO/9OQs3vQM+ekaYzAssBuck4BOqDKjJ5qVr7oATkXV4WcbqJ5fqlcahu8yktdP98Hz5H+qJ
vHwDVTJDT0kz+PK0XP5efWCfyDF9tG+IpPz5aCSSJxggT+46RCvwKSWGs68mUtHA+5G8GC/UI6Ne
0mW5V722Vr+ihQE3e9Y+IFZp2tM5kui4AiYW8qx+iFZUHwqbOszOl5Zs1AfQUdCbBClBKye6kLmL
Z1Q87upJFoPxIJ3ghl6rXXHRjNWnqBapZMlfvj6J+AzUT/FLvgm/JHMN+xh5AQNPeetp+dp33JNW
lH9a046iE/1c6hcWPY1y1jTkTdf2IOJY9m9LOqwsM5NT+W0CZt6HItmFg0eEKXZapJh8iJ/uWIbI
XPGq5c6Ha3HaqK12Vq8eQDbbNMGdnZ7zUXAGaaX36HrROWd7nTnALlu2gsJzpW9/bmv7yNU+RhYM
hparDFpt0vGGXdZoavFm2bV9aKbiPuzck1TrtLL8x6x39nY1EvNmeTc8H90iGoKjBil6aQV8TZnd
T1KcQGb0S1n5B8/HEU/rAWkHMl+JewMaFb8mUMeGWlx/2hn++V30MVp5kPl823JU5fJ3BhdVMVlJ
dvgd9Hx8cdRh7yblQqj/kp7JkRsrY41ZbBgLnLWY/335h000twbxBVsY7/c0cOL94YWpX/zrx+sb
rmnQFjMgG6HT/e2FzeHQGCSl1q1/yk3nNKtnLY0DojvFZdWHDCgBCrPPTDnZe8PIQXV5bWqZtwlP
aZj88HILmaY8/+HF+b+OdymbhE/tBTyWObJHGq5anH9Dl2mhYw1ZWX4FfoSJcbjSYzZtHeHBwhXx
ucXsuzCNGVenu0ldblOBSTGjtsxqbCAjNTODIBLN1IZ4WZlBBVFQHfWd5GnnUoVPrb5jR1DNDmuf
O6wIRJHwlvh2J0+grXDXc1kTrRT7S+WSV9mZB3fZ19Oxa6JbWo3OIVMlg54ORIF22rdRV9uq6z4q
mZ5SOAEOy7H0Jp4al92ot9V8Krhv0Vlg6aWmQ2q2i2tnUxNxsySF5oTe8UM9XE0p3y3aRRg2maLY
uP1VCmyqFVe61ex/VoERjQJsowf10NU6P5L24v6yUjLtWKe0ZvtZfW7qaBFmfE6iCZteydEYQdkA
jYHjXu3/DU+l2pWdoQboBKhFsG9f3uFBuUcCte+kdI9XyO1ok1MMFAFbvNoYYRzheR69U+M2L5aI
2eNCfmJsIdFMTGfRpj1/zhdqjL9bkV6jL1V+FDY5uKKfWdA9XH5WQ4vOTPIf1aTDD0SFor6nNFLO
xPJliJNHqfZF9avDAY8XkivVSG9Wl/09HT7TCo3VpfDxh/iM2PoxxTIetMkpUUWE+tup3R4oi1y2
RDj3GF1pYD5f/m6X2i6K+ajVL7jUgGpfKrVRY7Q40Gnt7rXSuRIBm1pfM0MpmY+3pXd9+fVGwqJs
W2L2kpa8jriiNlXFZaAhZSvKjxLyAJ0XppGaOvkzmquhxWjf1dYWMu1AoPjttcSHOzSeypDJJzOV
aVlp9MuT3qAhBNxVrYke64M142MPQmruxMVuXmb0Dui4Mb4mF1NVPZNxDvviYZDoeUjmuU1VNaDq
J45U5k4MdfAM9CgNuEz84ZnVf0U188wiFmF+bLqKsWbzn78+s1yjJ/JVm08hykfm5iuijU5ay8NJ
i5ZbRmE/+mH+2flQ/zLLd9Z+DF/SNd8HruUHYWtPmboiSd8312BAlj4mmZ3jeWiaabirPRpauVh5
DT6TYvLX7ORQ05NBMqQf1q0PIj5m11jojnkMJvdZ5lh/EMUuJQHdHSgZ0PDpt6PL79Yj0amgjbnU
aNImegMZp2TYI7IkW0qtoDp13ia2hcLR3a2lFwRgW09BMNz4ASNvgb16ZzKrwsmyqLJxx6yhYbBZ
80oAbs2MI6EUSKTjpfyeyFbssqRfxRYGyLF0Fz1YgzBM2tNEnvSYurwJYhoWVslIx0h9jFtm/K3U
1XnePKFQlYS0FZ9ZCkK6jZLvIcrjFUQsrYDfAPPeL+NPMDbsVuqnTMzRCQiFRjE8DN6bCJD1OUEB
HASMMSZGf2352NDq2Hwe+dLc72k0VtgAR9yzBq0rkzl421SS5op+y4wtYpxCbnTKiBtzT3/tEgPw
h4Wj7uG/HkWwtH3d010HDLlhWb8dRSKNyqLXu7N056Mnc7TY6m8NJkNjkj6Wb05S+Udniq9F1cO7
qqJ7hnQzBsNrSTIwh1VvLepef9Ok+QC72GNLgj85jXS2OGD2trHN6k/4m9Sl+Uh/v47bBdbr0uGy
HQLSRgBqm+uKuXEHKYWMRqZwDWLfKi++AB3fZjbU46k/IkVY632CSK/r/PU4gEqooqfGNV9Ch4eU
T1kgLs7f5uZQJmhJEATgyUwQ5dVxfMfwVq5m1JqrIe+KAwYdCB16eCoHViOqOs1HQWtOAdg6dMeA
7bB7cj4tkcKQPbwmBtNZj98Y3OWWyoC/C7rbdTfdXgruOSb7U1oQAJtObpuk7xeekmoyj1hPmM0X
4WCQnz1lqH80urLcRC7r5bIuIv4qa2fqbgjapO3+EHXpt1odbWOddf0e1CaS7IKnhDsLfDVsZlCl
gs1lAaW7KXbHlTPpX3oxf1tMEdDj1M+ljwHZD80FvVcYX0Hlc0MV15zKGL2K6Fu4JbYoPAcjNQfT
xmLhsrkhmInoJ2omMRqYx3ydJ8z2/dtJvW1RIt8sJ2Ih1lwYbX28h0wlVuEUuKSphtfjV6AJb4kl
WqxaD4POH9bpP9UkPooVx1EdI8eBsfcbEZ4kSKIqsvkzUlflXJxLCw9rj6iKG794vBwGl6s69nZ/
yS3tuir7hY5Lml1l8Bi5OdofUL8GfarfnxyBPo+dztEtmPvqyfpbmeTmc24PpAIZqsMgRkpwg49/
ssiIDM2trMtvVdI6lEygXn4W4eo+Kulv/Ps3x/4/nmH84boJ8t926br9tvnzdvuTUbWfl1qIO/js
6o+MkcBAiVFSFLVvrVu8ZnrxVkyk/E0FG6kaSOg6Xrkqo2/MTvrceONnkpJY1AHeQACDR415mt8t
0V/c6WF7P4JfXEP2eGktufm58geCAel8f6d2VO9mVYpxtcKwZdLamtVPTwFIuIIFZLFkcoNUTmTr
y8tuF6u14tRkYIbp/NT8oYwV/7xiIKKwq+mOa7m2bv1WxdYuXiDcaucAzlLfZ/EOajnXmjoK1zDI
5NbAY0xLAC7XRqQ8g5GfbKXW2evGYwSA5BDZbEkIopb2P9+x2m3EYcqwDVqcgp5tgm1Bvr8gnBf7
25hzbY5MpVrAbBVOzS2ec46PNnKZtTVvou9PwYy6ZcpxtRat+63etynEGIqR8DQQ+74Dl0xwtDDQ
eIWqLSMz9is94adE5hUmjnRtFKfLBuZV6EFkWT7UGHIx8TJQgudGXHP1zNQEWZXGd1UFD36BmKyJ
gMtVzkaFQW7AtqzdKmUj8yXzLC0hNL55CUabzUG0OmM9DYkAw/P1UJmK5BdK0FKZhrjbWdhxj+ge
U4J6xLOul9vLZ0r7BkM5+8E4Vs7KDwDDZaG9H9WGMqhV8+8XvPF7Vhv1jWWihUWESruHJvNvnV3p
IGspJ/GRzXQ+sRTT/pyZSOkMlS/VRhvym1W50VFqIm/gv6r4McVUtiFVjbcm4PvIQ1JhpsxrhF+q
2IU7MsDuM8Fi6DvY3FbPNmmof1x+ABsm3Vwm79aozhFVOOla/IIH3d2iUBgHMOS2jxphxHoZdsek
5/MXc/UwuRJUs99x8HWc6RUYHXuKkn2g41tsHaIZWw8xnxHfmAZ0Wlna3W5CVoM7kHOMfKKjIpx1
oS3gveWbWqWOtsawm020CHUQVAzmeJTGNLXouiScYUSVTy5Hn1NNyPdNvC+5fBTDXK80U+cZbmRG
WJZ3Haccf9I/wsVkupfymaYlelt6vB+RazZLfZzQtnkuHlrej7EHQZn5tBomZATqC/24Mk5lMnyY
qYcbiq7kqplQcjhVCCxRuvhgkPZe1nEUUqUXw2GwPqQQ2GIjy1xWOnJ3W2P1AmUFcYq5exoKlE4J
0nkISzcaaINViENycfmqXtWvRpI/kJmKsshecK0rDm1HvSe6QlCIHEu9UTdS/paXM7bDCL2rkA0h
TKEynPj+3ka6ktgQWS8HXhmYz2F9rbfd1eU7EH+mnILlMbSDtzGVLAH7xXLziZD0/ugCBEYWoYUb
aUyXii+p6ghLuA7IbfoxpFh3Lrvb5Wepw1zzKCu9qNYXE3e0sKLOw6pBDEfU3eYDTsw8OZW4oVcV
vAziAT8Zn4PZRpW/iBzWRV7W1/Tj3YWMedxqLoyDZVMrOkyZqzn6Vp1xqo/m7vIYGAH003403hCy
DosYw+8yH/hcRWoX6xjy3B8O5ktz9ZdWhm85ugPl3KVPZfFc/noKRhmjDsIIP8bXrGWGMPsSrZ/N
QDHXUCQ3NtNsnKTeGsnKgxnot1Hhx2gtqQ9ZQWczQWqT6dI0GUviJZP0bJaXqwarco6deF+ZGXF3
mf1yeaQhJFE7xr1SavHBFqZJoEP3NojqLbT9AakdRxup5IuoSZJVljLhdYJPQLA1MCL/JteK+nJe
TZiZ9wxHMMBHqbcI1I6uCvrLEXf56C5HWI3so+iGT0JL+PN6sFZql1eLSF7eWR9dOqYlBFIzS//y
U/q1Fs24dyzjs73ceyLuTenUwDPRuKkYFDKH6MqLrE8nJIT9sgTt0D13lQTnVrNb5RTFJKqiOVb3
Cb1C6OSWG03ar2zR10nIl1y20/+ffv5h+nkZGP7r8efDV/4VfqR/n31evuMfw0/DYMLpCHplpm55
lmNRgPxj+MmE02HuiFODwYTl28og8T/DT/cv0otckyMLsSvSLmq1/5l+mn9ZumeCFhGMUrFy/Ee4
c0NVxH9/MCl6SCLx0NPRHdCF+1tR2BjVbGi4xx2jKE+GIZ8ozBCbD7iJBnqTa9j4eI8GcsfsUrFs
EWZWRsrSix3jaIpF6DvpNczk0YJVFugIEuLGM/5w/yQk5fcymhajQ6PRxE1CO5Sy6tcNRIOPlKAv
OEYEdPDQ3bZgZDdJFb/N2gTfg96hnyLD8jk5y1BDDGn65Qp75/CAzqxcGxLkahZaj0ZXu7uoTX/A
UyLbOTWfkDeAd6B5bQpwZh1pUWjmgI2Jb7dOb3tajkvfn8SVHXFvGp34NZ4olOKkebRTUC613E1J
Y6wRJg8LbN8HLKNbaRM7qU3WwdJJKPG5AqyVZ3WTP/k9fkDXrG+KhtjPAuvgwhi9TTvkzZYW3dIN
ZHKIy2xnGW54BXd+QupN+dyner8bAkE37jYcrPagC4x6TsqrsfMVeblsOte9NdzPA1CLJrTlnlY2
lpFu0NduV/7Qp9Y8ZnWtAlCzHLiLa65SMd9FVn5nJTGo1nz4kbpjeyQeOSULoqKXjASeMF9O+A6e
lDHaeH+DcDUM5bSSUf0e+MPdDFZq27pUnzY6K1EQNBgrvryhf5PnGMZFiK4ooZ5PPDzoE5gujUOu
xyi8CczxJhqSbOs1+nh1+Qd4XA0diR9vQLOSxo1JhABNGm4B/b428l8TYigTAY7JyiU3BAfWIAgH
mXUVHbj+MMzIdbIBx2gRuq8ScoZaJJ9wp9e6giZRSJMlK0+uHhWIfBqA7iX9flvDNqzmF2CdFnFR
/agCDw0WGNnG2tRWFy3cvEfqa5ffhGS/WxgYk2UqSaLpjZaxcpcic22iMxxDa23P0IQGUFBDemsE
hobLl+JCyjfZdt+G03+RK7sFj/mqzcFI39Y7abVGCFeb3+z1sdm5buWuu3g6y9Y/Drlmc5QRcT44
7wUu8bYCKSQmAc3OEMfRLLpNM/i38Dcgn04YjGUN3rRiFH3dV4XY6QHFollU1CMx5ljH3Gou8F4j
97KlVzP2GYBdL+c6qk9tAQqnA0KcQCNMw2Kkr20/Rx1zQRk+RplnLQO61G6BIzufnmyV4TSO3Q65
J70Mv34x8XrXRBgdaGGDCcpfRoPeVJ0zASdkzaSdDtgxXjsRptcibbcNRoEFalvKbqPeYzBse1S3
1kyya1H6HyhyNbwQwwP7AdrMOMLWbyD8716qAchSjqJ36yE/52BUkMHoNYGzj+RaW8yTdgiz+GRr
+QnjzBedpnszHOWyNBrjym3vr9UiMHTyXhLEnqonmE4VioFkkU0VN+IuwHbaEBtqWtV3lMJERAi2
FtJbSIMaVp/KjSELVCHduBGhSW5CfI1G0oV1lX5lSASSDh6y5Z31ttqFhvE++vo5a7EZxVOa4HSD
BNC3MKG1qYACBH7JTM9AbzeauJDAiTiK8pMI6nvnCbq+tkY79e3i0oiN8sU0xhenkqBzsa51LtQI
b90GbrFEgHMv6+nKA5SwBut7yJ0QGZs+HgeneWrdiQZ6E79VSjM4B/KFNtpm0oEu5iqMCSs3umB+
TILcRTTjtOgYXGx6iDjLLq8wnLtHZ+ixp2Qj7wMp9WwPfQdbtrb9hwoobO+A0e8Tw6c3Bq1m7k2i
7bnKxERkTNXAqM+MrjiIkus+dX9E6Z0/JOkaMvwzEolwW/ewdZKQENGKRhQ+W/pUSf5mw0Ee+u5b
N/NyW6TN0dVVGE9Mk7wifNXvfDpKbgfwItv4k5XcBA0qmcrfh4C6ZwWC1AkHo/mRIoc1No1Hx4qQ
BnotwbJU4kgaJrSuChgIUKu8hGtHpFX34wAlFZDrIkvmcjkEKtbB9l5yMnm7KrnzvdlZkC/FY27j
y+EkiFYyz9x1VOQ3QRaPV2MwH4Jxn7UsqMDz5nWW6a92uPdFTvOSWL2Fq72Tj9jdhsAt0tL39lUg
4Lh3uFRci6RWgjq+oDsuq2ja2KBbcd/52X/zdF7NkSrpFv1FRACJfS1H+SqZktR6ISR1Cw+JS8yv
n8W5EfelZ87M6W5JBWn2t/faO93l8E5sxloPdv7DyF3uptE+19E9ackKeVX5ZVs2R1I9+otVE8GA
u1aVDDdZsDbN2Z7L08SSWWFmiOENT1+e5XIX9zE8efy5Kzqyekr7CIg0RfSvKNMFecvxOsaIHZk5
uZRtzzN9IbCyGeiZ3GRNv9hzTx2FKpuJSp313BKhggaUNf5zOAD5ywjBQZxzEqyN2tiSkCdm2Ewj
rw/Bt8SDmB+rclyrYbpzlDiPKlEsFGG/G1RzwTMKR9W3jaNrPnBNxCezJvQ4Q/HBEdOuGXiUQT5v
yg6vYu2QD52jJg2y0txQiJTmS+ywx+YwT+GuZ/jAyxVvHKOlzpF5wcaS5LLIsBTQwLi4xj75Ix14
zV6waaxoYGrayDsMo8jusrPCTRvbFpDG8UVJ2JnplNIR1qgdkEeSjm3b3qSvAAdW9GYI9kvhetsm
88OHKMe9jo+z0qygThXkC9fnEjDir+xnCUKDRBU1LPYGe7p5o6eOl7f49Gt1h+XyHqbDsC3t8r2n
TH0rfWPTdDQtI9jLrSBPv8vKQl/1wqb3bLZBtFnax+RWPrNrPKNuwmJn8+IQaocIie0HSGWP8x8E
kaOlb3NVv2WpdbeGiUyCOYCUq8dngH0gcisbUMdA1NNJGEuCS25PDsGSK4LOd1N31oIVXsjl6VvW
zdi18/KfNhkz4EbzpLo53YmQ3hOttM+0DV7JaO56PTQ3oPmBaeviGSSZ/zzXsMLSuB7wtIlDYqYU
MXse1ecGPPLuzimuxfLJLyntg9verxHyx5saFoabiiRBQxBwRDxU3t9r72z7w3dnuQH1dvijly+o
34el5QdhApBheSd7n/Fs0UycRjrrQGYWLb6hWq0KvG78RjEB76pj1x1/p9JnzHXsU4zLOiDrIXsz
bY0iTRFUPl03jX+aUu3Xp1XgqCmYuf38CiTwS5MOhgeFJ7ZWwNQikG16sVaT+dHoaNLxWGGiAF/q
NR6W65pXavLEi2UGECZ1zqzhS0oMkWWgZNhhcJjEc1z323ACc2FK+96neXIHlt+MObWMA/t1J1YA
Io+RYCZv6XSEFB4h3ZhqIX4zHk0oOy59efkIKMQfmMRVM+Y3s7jl8bARVNIwdRm/qOTzV0Af7nYj
nkZUPeh3w74ANgRvsP3IonXseb+uGxXHtP9XFYSR0FexjvkLw6iIiT8KvCRH8gI326nfyRm/dSNo
Vt67Qzg7P36CV3sk3A1owF/NTXY2u2xXOrSDxUP7y0BOKXUbSrVXHpuqMTsRk1TnryAcNlcaRe9g
QkZrGNcDfSmbqYjuQ8QmM+LRn2n/fhJ9+5IkqUlkxllqzP293hDZ8EbH2BVEzSOj7ImEpLRBDoLZ
ZUdNaN6e8FJPZ7PxvpeQDBpogcHZj+PVEFoSUhIB5LmjVa3rnss4+vZwDEmGhmdZ1Wg+Mj0m/LHr
KSEeqJY0Qn2pdW7o9mRDaqE0JW8xiSSR/wVGJ9/41ueUl+bF092BM7UC4k/DK2ocvfaKLG9Y52xo
tVMdYHWJXVWFmA9KbPxLcisCl76lSxqWOVjOI51V1T5e6CD9gllUgpzUkKPa8alUjnURSfqiUZMD
dZRSaN0HKTNXAbH9gNoxSS8uFhc99ggwmJ25KQkGBSqkGVH+VONo7SuQqfhLSTAnmlxnZckPqB3Q
Zo7xxO8EwkEU0YQHbkQzWHSHwUGLVjLmA2W1mcaUvJt5dn9Y9C3UZ52dGBiXCNUHEdlp/d//7Nr6
31irEG6yW6FYU7lvuAQJvO8U+q9dqeIV2sxv1PbYCI0D3qCWkDM0Orx8jHERlVIXvD6KywZEVLe1
rWcC+dkGFDzLf0uFQh5yTNSWpGD+OlUU+QxJWe8MD5wM5xpoinFLpeSwKNm97621JPsxOr9fAcWw
vGrtOflR1rb3XkT8YHW5FhUDfmUa2PyyMFwC7C6vJa6zuXUCLztYcZJvzRLKkSQblrSYLqMq+UcD
1n6gw4pxIlRmJ08D4r0MfFXnIDunawtpccM4+1kx8FuB4puhBTn1kdsfTb3tp+toyckjfpL7xGJy
DIh2anzmkn+LS8JRzY3kvOamhzR0H0ahT/R5uWHgjmdrmodHw3nPaMNDq0X1xsfmvE5TfddJ/Tam
7XTBv6vFst5IyURkIpSSxAzG+MjpmHXfythjNYNQN+qXKA2vekqoWJ/K4hGXI/eEuDMObUsTigXr
B35LOVM83rtmymNd/fExnF6bkTuvGSFL+nm1M6KcA0HWpS9T/NuOl9iJraNvtTddg0powy8YDZMt
R316gz4EYvLOUiXvbNN0TJdEQYC9qbh8lbxwVFYx0lUkxLYkUkB1wmY5OhDig2Iq53sUjtB4OvFj
GAC0Cbu8m8n8WmpfGYU9TDzrX5nA/R5j7cmxqy024Ggbux5V7aiSi0PFW9HnQgMPBb10kFVEknBm
rZ36t4PVSR1b/sAPgYG595gaqOzSSQmtuyUGhwMLcNuqAplIYwFhnbBuxnUvoMH7oxLU1R9LL5k+
Ijt7Bh5+w8WI9bzFhkZBJGB+2zs2gjITF8sjpyC+69TEERrufCOlnRVEAErH0liKg0QHabx2FNd+
FrlpGz1YVcenRltOcK4ivtO+MJ/5bFJt046OGYBj/IUXv/bxRYJ2JkTu/SHnspmkPdy4spwh3fYr
m6IUXpk/PTwqUtpApZ3O6IBymAcy89G6bu1jkdju2WPJx5RBtQS2y9iy92GuNqENoThzOHJV7+Bt
hyCW5a0yIxx2djhdTNPERwTsoAPuJSLtM8M0WRZJRNrHmwJfo+JWARHm8lQ260yg43ce87a6DQBR
0dPtat3Gn8x6B+14U1kurPa++4GFcOKR+Kc5DBbhoq0HAY3YadNtqPNXY7UeocWBaNINDkiTsk59
A5SrhHnzlC7PpQ/EWp+GLcLMW8pZR+vtt6xelGZvpmzDRhiOTUkmKbM5GmVPEVO1NYtTMEC+Tqlg
2iVNuuF8Nm+9JjHXRUi0izWR8wVMit5A6ki1eNuNZBDbYRHh87pYORx5uOG7fxFD7oAb/rrAnbYW
CvZB2uYt663jqIC/coS7VhkbYRcXl9kO2QfD8g3di0IEEqx9yKGjAsK0qlymzkpD6HCL7LPr/N+i
LJhIcngtHfFWNepBnu6WcZDlKFTcZi3DriR/WknZaJGHG61k7OKDJ2kTmPKalXxWonwjLDitc+gF
xMKzEsdFcmhc6v/IIvIHk9XcJl52qqqRB6aiY8oFkHAmxfsdunJtIfxvevZLYIbTv06X9mp0qF5P
XZqtTOcvvJAx8DO8VKB1j/229jeY0k5tM85UsYcnH72MxsW9loTrUmTHxfpcOmyHRu5s5473IO7U
T2dzmQMWS2mSAs7Lhd6i+S8KXIAbIeswPfAh8yACDiCYls65ubm3y2RTJz/tzMTXTX+6co9qCkab
KTuxN2QHA9JdViEFWRJ2KacWOtOYPfmD+JV1WFGrYJ0IeJuUUNNQAdoQBTHzVx1VCPO8SE4JPT2l
WWdMwNStrL+7rvtr4ZfB2iMC3KgN1z/GU4RRqs6+hTKhyBBfXNy8sDup145Gp6gH/pgRmVDmt5bj
t7cg64MNGV48Kz4hlzI9bmh3aDzjuYJ6D6mHo6Hnf1dJxnPgCyJwcUR/4xSdwpZy8cXQ0TQ0yQ5I
X+zu7NMymuiqspjW+fK/IGC+0R1Ut8YY7/fJlv4ZLhl4qIHnIO1NsTEYceuUScAsQb9IIIeO/hVL
Mh9GPWZb7DSvxRzXe+zM53RMXq14T1yXXaJKjXUeun+Gsqv2U44juQeGsYaxDygCXO405QDMc2Pe
j24TQGVIIudNWrLaZoY5rTQ3oirGqjexx8grmX/L0WCYOVnvTjVqQVKX70Zn7GcDMoKyT5bDFUDP
mlNYAAnAvgsERzXxeiaiaKb9geLoUBt3bjj720Ei5IF9+dXsU5+kT90ImtWr6EyIkyLeIifvmrqH
HJCjHPapgu/jHGIA6pwZi3GTO3gEmx412DfZ2qVppZux3U1tfrNxNe60mja1jgD+5Bq3Oq/PTZdu
OsN+j82t73A2tvn5r710/OoijLBzYdJrNHN/Mx1x00HjlHn+GprWp1+Qz8H19q7V7soZom+Q3jRW
mvFXZFkcQxvebKC8Zj6wP1sTUQ9AJzM4dOHhYHb8hwP4Ll1GrpG9acgM8pFZAXPT3WzFF60DLNmE
+UficbrqQtxFSfjXUTqyJKUN7NtS4Iwy+SwKk0+6mKxtNou7nugc1Dx/hckCE4AyN0Ir8mtSQNgE
wcDVOvnyxPBe014EmKQEDxcy/kq16aiVm9prfiatfKK0ZVqLTvxavbiZdfvFRk4XxlT/sVr/mbn/
hlvcuG6B1myZ8WUsVRofkkLBKro5Xv0z3TFbmdn4mAtCzhBPbkONmFikDUdXtLDIsZ1V0canJpL2
LSaD7WufriGre+Ti7nVYAvLm0YAgIY/PlVsglc6bKTNOuCQn2BDPjAr8jd7oYjPOLGVqMBcx2Tpw
tD+VOF5Ws5lH+8StPpwZCJSwURWzKNumrfVVD1iw9PQRKu4TWun9VLn7WUzGPypR0aPsEl7DVsyv
yqDTa373NRLeA3Ugq3Dm4enFjFoaOpQW6EwXm+gPqki3MeV09BotojuEPSzFdDHNNG61dv8fCPrN
5owZlmER4KrBXSd88wmsr5f618m1ic+OiJvUkWbo6P5+Do2ANPtSUclTLoBBEFgSOJnakUXavDVO
rh1Ly+bLUw/MLtozQuwI929V6QLtcoxvPSMN5HZEMcLD1Zi8U2PkrFO9JuSq5QFv5DGxBQKVu8X0
p0Azk9lNFJ0CBXWByvKBazJ7KkkYHoom+ggd8zrW1MG7JvIJ02RtzNyNkYgLzLCfYjK5VnYOMKVZ
HZ2Fya2J6lLm/WIsrug5gXrjmPr3SO3WekjLAyCiYKqmK+C9NWdL3lQoXhh/d908vZpW/TSbWbQf
9aVrW3qvmLkSsq/cRSo4wlEhiFtP7AXC37scUczObU+zrwLXpe2+g4xujQWFQHUU5KK7ZW4gZPyE
2D1jOgLF13E4TJbwRETFGVX29RsGw6vfI9AonwXcySkwK4prHlbuFdWWaLMzcNEkcT729VeaMydp
ktcGsxkXWvK+jWneUt2VuHcnCuRmb+fnkvy23VFGA+2gn8WpSWLgjKrqVpSa/aoFhj/hba5JOrSa
y+7cL2wNF2BBNdr6phrETXS5uIZ9hNFX0++qj5NzE80/E2inbWnlX+ZQ1NAOeKP8cJ/q6pfV1its
tfYkaqlTWMm+ammr6OsBaTCkLgdq+HhSmfajIISg5iOeTBOLUJ9IgnfltwXSEMYioMo531AoCwAa
0Ad81ve+Pke4iVculRHR7NG5SkuRNKkPym2NkouxNjfwKF8o/fpJK2NLOXJ3yA3z0fUA0UKcvL3T
76ZO3Lx08rkL5y+x5iDoaC7VfzhpsvYnnodLrnA/cqTBl95FhyRXO+HxkaUw5DIsUSDjgIbq6GpM
zTxkPOw741NmCbkedTGv/PYvYywAFbM2UGyVZeusRdnHHzLnabM0P2ETqMyeE0O4cXWWJJgaiM4i
3WlV1G9mj6sSHD3q8Mw83LmSBstx6v+yQFQb2EvIGNz8ALacp7J8toyQMGkKare1enUb8yqodLvF
jMRrrGHdqz1sD51jT3sxWj9OpxlH4uJbnSYVr0uSF99X9cqIjJ1f/dVzTkgFJxEgCGh8jvUGqbME
YR8iYPKMDz/RHdXJOIHN7Veuxt7mF7iQ+zCHpOWl18EZXut2seRjDSepjSsiIjSkQUJtaeHDug8+
P59OoKpoRn6OIStsUKifRVMuENS/VUkF64zpRdopCnk2MP4TT2bLKTcBWBw7vbtTgI3UzX3LtJ7L
w2ylyTmBWYY5SIdrzet3KthX1n476GsDO9EJ7hhlxbqmgOtAqIoc9xjBieMKg4/sVqBE3yje2FB5
21ycMaz2yrw4CWJD68/jK/VP/j3T/R1r7/TqW0l0D+P8PKDXtFo/PKAgu7cqtT7TuJnfI1ZNEoN4
5lB8tJ1btBVmIagB0p6+6oKUehHr8aksI+PZ8LofOrg012DOV0mO7qV+caxY7ewOmkg4JHjp1NR8
lz0QmPoWK0s9VWM73THs/oSx435gs7a2saPLvUT6XuN3rM80CVhh4f6Boj4FiHRVMAgs0albHHMz
MHAZfGsegowry+JiG0V9ZUyhr6VbVHtda5yAMEZWuu2vaYd/Bnz576EBB80UoXVwlHzxcz3cG3VJ
t8yQwG/kc9hauN1e69glXlLbA4LGFJ2ZpJDeGmfzrcsofI2sd6RT6zZQLstJl0LAmrmacv1hl/a9
DXPKKvaZIjWdwDNCXAI96imtfBcNeJQpwx5Umflfk5bAh4mnaqPlA6sqcC9ItXAb0qVRUpK8zOzB
fzbSTD6LIuhIlfPdNMmWxZGwoBWm24LR086z7Yr6yKbB12qV677Jf8oIs6pVaDe/RStnmnZGqLsN
HkEBqnuP/eSpYxRxZ87Ci9vNoDOM2uFpNcC8C3EwgFxxEB6593ogDvhPJtaHgWP+EyxmLWZrLbu8
3LcvtvdraDaFQB1RKWWnT5XwunXSGl8epx8kIZyIUDRqQkHszB4fKgVCjJAKh7BJzIupZb9o+v7K
qZbBKffubdfIYHZAY8PIX9ee92IM3B8MQn29vljVMNSt6sjI1jzoSZwk9xaduDA1/QDzAhRuB3FD
swzvKF3chJPsX/oFDiXphaPWwThk5dKoZhdfkcO9q7Mq6kFkdtXjP03nWK9AoJxdL7zXxYa0jaPU
vbU2ESsd/75NedrVj6sHT20VZMpG3+Yhx93bdqes7xSdV9hLG2vYgm+5mNycztkMkrcP52PaCfk2
KZSQDg5y3IBykdzTvdYu76No/+IPPLWS/WPI4npX1xrSUekeXMLN5346Wz2Y+ZQsdYBdlTAZDPeu
v2Qm30zUeI/Ga5+HNKkvmqXOoCmBOsvxYeK/2JGgplTTsT7sLKRmz7YDyrcefiimwJinh8ttdg3Z
xQ+6LIcSvGRE3JzbFH1b6R/u2VVTXNvU034m79PSkZOmXqYH4OwP0ZcASqlops16KvedcRrGEOgJ
JZyrbCj9l0Ht0FOaHaluyolymn5hXbzMSNqNdOIgbqIhgGvwKikNCRoz/BSD0V5ZDhhb5Q7JptrP
zvnANEOr/X6bR0qcnDptd6l+5Mbxp42HnnymWQZFmtzNoT4nieFvmXkQm6XKz3Vzpi9UKPnxEs/o
O2PTuvORSYXBT4K6kYLvcTsginJFWEodIXYgFwlxLAxUsbwMN1lSxXuz1bq1UESoM6Exl+Gkw/WJ
6jdgJP8lQXRwt4SOK2CmDOmNOBq2Jj+3bT+2KABgsR0z3VZOF11KMyG5w/Rfa8cbhVob2K36c1ok
5WHi4JOUtN+UKX3RTr4MGekrhLMzMeJ9hhGKJDj2f/JR0q4BUZwlGfNq5t0EY5Zjj+BIPsPb1wQN
6DvsxaUol/yw9Ajr4eijhol/a/kldjsvI5JdjtjA22dmiHyEwCRXsqskFYJRdeTqpO0Gvz3Xyz+l
nij/7xeyADgNOJ2XzEiHhx7NF8eLGCzh122OFY3AOK659vgZx/cywRcam7y9XX1oFkdOpP8TRpGg
YjBazMKD5SfyOI+NBG9PkrDSmuVYSH8EVaKUSKSoFJ3gae5rePg2wyMG/lP8ZmbAdHNI+SxUy9/7
318+RFVz1D0VeMy3eU0WuqYIT5ZduUfm5F9+XcmdtL87R3D0L4eDNfv71gSyO5IyWcUa7MhBK+p1
UtCIkgxAKGDPnIpw5htmjzn6c0e5pU74zJXEP3uVX2vDrA4hM9eol/Elc+cmkHp96TtJsak2JE8m
SVOeka2Ws1S3Uz9sm15/I+wmj0YnCcbQttRyDaqRFVcRbq9iIu5NHAcqpDnse6/QH4V9IfjDd57i
c44Z+7LKTa98qTurNqxDYqeAmzQGuP40mjvHMH67kKUQtdp6Akr8LgvzpYoa7SYQNN98RvQqediG
Vuxbx/9qaIROojw5Z3q1xm1/jKt0vui2ypeB1rNrAObuIgOtvFiOs9GDUjMYPK4DXapw31z6Mjfw
PB6JzTUirFCLXJ8qywhPGbWL0GEd5jdNZl1QmqdAb+Y/lbK52Bl1fWA80jHDyxVjdlNuTbumKsI6
RAkazkA5WNBbNsE00/YOSeo9J/zITih8jPC+7SrbKVEn1y4sg9Azx41Twg5SdaMurtR/MbxzhvOI
N3j71s8YYnIL4Ou7TkXabTMr5ZRPQALqVXj0qd1eEc3BYF8Pr72g/5KKXeswxPGdmnW2dHR1OIdr
u7OAAmchu66OhWueIJzXaGQzok5A/lGAhqOczLTmI7Gx6KxpCfMtwboxI6wbTducFFOPXV6F1AJN
hrZLo9baptIjc9lHe2W79BgXoqd3EMOOITSFLFB6+9KigdZJjPDowIw24Stv4NE2QWj4wRT6LH7P
Vljx6Ff2P6k5NOK68JeYCsX3OqJ6rDRzASnZR2buobT6cKhXdWcUu6RPrK3lnJxY/psEIDjVdOxo
HEFKRh5PWjWdozyvr4pni65Cbe/HUBpGJ3lKR+1uZIO9i8zUuOXeuU7T/WQY0RHKXLxOqRvd9Gn2
SPCQHUGAUqvekL6jKx5vSoTtELS7ju7mEbiE80KRrzoagt0pa5znBJ1xPdHx6/ET35mkey5DTaqu
QJeY2FGl6sV9wuRk1x01dTFs0EJq55mb2cFQHh4DudCbRh4qdxk36mO48hPaWFIq590RS1ndZ/j9
5UPZHpDfiJrCyA4PoH6QdjwnPBrcxVGxrjWmGlTZkFu8pZGANda0Zcs3sx9evbzKL23yCOWTMpwC
PpR+De9luK0r+2qOTrvxF8HLa5rrlMMhs3QKG6Ge2bg7zTjoiqrgiOS+UYBnEWEhAZ9Opr3rFvDr
1KV0MuTp5xix3naFQeQmYlgNurOLI+6uhk111pI6jIE+rnQVs0kS5XaNpmPs4SU7ffRx7QtvPbrM
vhfzoyhr0G6TFsSGebJ0p9jF7RW3QnMsY7qdwnDeM661aOl4cnP92yqs7pyMUUB0EK9dPOo7htBb
bMF2kIrpOde42RWpnu9AEJWXUoqt5uTvFT/6jR7+tVpj3PsCQYQJfHWpOloPo6q7KW7BuwHLYUCj
wbQ1pn7ne6Z5lT2HhNY3d7QQ/uYO2PSkDLV9VnuBKeGXS5q/qCCxsPuDuHEK2e8LxpK+SxyfTjnm
8No+jGd5EA16os4Yb+3zyXNgxEfTwihudWNpGOoRwB2aS4FsraCeFVg7uyuwd2yQGEOCSLjuA4Ub
AcgtH61S2n4w9eW+7/jbfsg3FexhCo917dwa9nNVcDU0Cm4lwvNWml09qXoBARCj2PkM6DwwpqBL
RHaoiUialENl4xi/PUM8LTDM2DxSOtpRosgeubPRrsP4J1MtiOOw55NG5mmxgVkTlRnGGN1Cd/xW
5sPzNTIonm6z65N24p7B7dOMf6hrSr9h06Do11V7bmrrdWCEwDKhyxMRjdekYYH1BtiDYxtuaGG0
Dgw2GS1O4YaXEFwFeVB6SArnwrGdUdIIosDu30TZnWfqBh27YTO20k9XI6ruD/inIjTaOvmV4+Ru
OcTCWUuY7HM0OYayJHUd/tJw2+E5YiNMmOWh8nBH8PT5oDMmD1RivdNGseRi7X1aLUGXzPtoO8t4
GXsEzoZzamoqVAGAwesJxmuQ+tWT39u3ihFDoPuld5umTrJUpB9210EMaRbNie2fpibx6ssOs237
3FsxC7VL7D+CWJpZC5s75oO1tWgDi6TaOwnb69A/ETUxDqrVviDzthswDQvuRwZAsygcbLnaRbwt
NubIJmVWNofVW61musG9+FoWjKuc0bXXmkb6NEl0XBbo0WwaemufIsozsmh2r1E7f7iuWR2TTLzk
baHvrA5bVWo8NZ5eQeRJ/o7aWY/n8arREQTniS+CJXg+GbSSrzzDPLh5gaVs+WXGCTPu//uvDgj4
sCaVVHA9RO4k6ttzmtnnEX+Xw5d6LJMGdgNLe7xcQmHdax+q5DaBuWHKo5/Qq8O11Wg1pz3Yy0CX
71qcS24T76rBSep8J2PzJ2zFdLR1WuD/+wXXiQK82w2s914DvpPPoKHHZB9mkvy5qeCkGj4Hi+WX
qi7aYwg+O185lK+bBJ7lFth2SO10fEO1f/XnNA7qWq69XGMGq+nN8b9f/vvtqADL6GsYmXPwf2h1
S2XK//8r//1jVc0Itkm0E3NElWrtP+M6Y46F1qT57xT64iuJcswoLcYiORafvYbRysWiIKf5bLfq
ywXqzaZUPPxigkfV5WsrJMUmqMmdpMmRIvkR6J85iABmG2tzTAAoWm9ez5UCgLQogaQWeB7NGKCw
GX9MQANXTtJ3B0/dhSXmXZ4P5HQqWWPvyNFnyiY/C4taWISuvS68i+gZ7EWyZNua5m9mJ8Z+8vBU
IFd0O3dgv/TavNqGomGA1davmg/ElJ4XlxfNuiptoDczq4ed6CsaFSsXn40YMTexnm8aodM9WPZB
2f8JxcCJ3wGH3pGkBj0ETH/QOPmENjyN/E5SfecUv1KMzIrbajfidA2Ie7MXqPQQF33zTzGB8Ald
zNwZSEuqp1i3IaFghqiskR4+pwxw9viBYYY51xpBGsw1fn23iPah15ylAOA/2b52bORdLfm30ITH
yerGCQ7w8dowTYObAUV5zNmctRfZV5scnTFwoIZ1ukmLaN6Am3ybWx87OFODbbie1kXs/amlUz1S
g8opTkLJxrCzs4vZ7hFWAvtUndnIDFAhOkMCThnxCjgNDPDu1FJ/vqV896NMOPDpBMwOXiKDieTi
xZZP9pgWAUadR5kgXmZkSYBID6s40gXKp/sIc/NjUnevpKjRlmn/ZPlpSAUDHidu/l9GYbTPWY7+
0UuKaWQUNNnwHIsO9HqxnPoI2RLg/xPn6UT2nMXRxJx/KIridxFMGN4tm+ASrONt4MaZ9esoLbtN
P8z3Hhz/OnVZeLJS1eeSPkwjIZSrLz6a1C1JoPkd+WUl7w1fz7XWdEo195LUNZkFnQXOatad0Ra7
qMFFP2XDVTPZT20pkFw0fR/x/mEb/oikwc/fGgxGdtNb12vimPT+OU6t7DCprSxPskP59I3kVqfs
Mq5l4XqB0ayWgGHXptEm9STfAmkvu2rnXUQ+DuM0GBmGYeskQXmcMmrYRMIOO1QRJxaXgAu4Cb9e
erIV0jYYvR2eRD4rCRSl6rUgn7w5kM10Lwa6O7hy80ct3zDMZTyRVq2vIH8jRWXPVsPtPaWpnFa3
zrmPUfFnxkvRZtM7WYUqo66rgJnVoUlhRU2PyoEsnmAHWZlKuyB5x4EvRvKiuErs8K+uU13KSZwm
7aTbV9I85sZo79Dz+XPMWz/Qx0DW6gkr8bdDifZNZC5JAh27cqzdTQkbHhQ8CYHiq6KH/Qi0YL1A
JrKqNPcVFfUMZPv3Al8Cl9Tom0ZuKjFpR8PawqRZOtmTzoluhemwvLjxTMXh8KkU+SG9Z9/D9e5o
fkVrzbiPUTmIMJMjJDLCDdbDQiWKs/QS62DM2guY1q2mUnwwAChwerl3oSPgZnlbn6rJpeerhzJs
OX9mRjLQLUZGTiCgkKiLDzGg0fnGrRgpHgCweo5tIheTpsHB9rv0yPzt7Iw8WP087Sc3pJKP6c4O
eZpk0dg9JbV28ZGguF+SKhxyf0Q1HDZkz/JDzHUt8XGIdYmm70pT7QYmgcr/Cq2SF6LHhJIMXJ6b
HMfYLL58l+hSFuI/Uv4/q+eNVvp4gkQr0aIG6+pxNiOsAY0imZOAKYPYADB2SHZz8UxsNJEq7W/L
VQgoCkVvLY1fTbpLPIrPWcrY50Jn3IWZUV59c/Pf7zJjvqO8oV7YM0EDGFyl3MRFT+Spbg0a3NJ0
vomy/NRm0kzUaTIl7zj8awKhuKM3FqGhnzaoCvA+Zn/Xd7wAuK3pwYQ4OzshPlzngxBUfczs1li7
Ci5uO8f9mjjWwamLfkvKAqxeUbzXURQS8y0+Dauj8ASX7xr0eaVR0BGMgg0Lv75Rco3VO7oaMu6m
gFvwjEdLRCELx+i8lGwpuDPYyro1oGG5K3vxoqnouRySfw7Dsh3eRTUiAeEV3ffYBrZVj6jh9kx9
JSnPwcSaPKZsQcUM5prJGzjupaGtA1dTiacKw/smo6E08KySPqOu2oQ9l4JBsAxOH7EGgrJmyru1
4TqsQjpCsoj/OzXLbGuZFTufhIdfHxtNE4dhiMj3T9GzjF4m6PlGxP4OhTl/RuOS6QBW/fw/9s4k
t3ImzbJbScScATZmbIDKGuj1nfrWJ4TcXU4aexpJYzOqbdQ+age1k1pJnacIICMSSCATqGFNBJf/
kn6XxGfNd+891zgtjZBDfIDd+OZ5FbdwXLiMkr7qwqKfaSZbBYUovelsm2Y6RFwz5pAge48RjR6+
sFbHOwS1X6G2een1XGVojsHHZGUPMEpttGbYOl6LeTNkVp6m3pMC8uzZ7j3/L8/PpzMkHtyG4/yu
6MO8wakGydQJH3Au6QMlOoi0ffLotsQRQqZEq6DO03V7dWKqhErgVM1YH7OBVnfTMBTJfosrt3KG
qPw9iUzTvuda5z3Y5fVOXSDvxo3DGU9Vm3Cufnnavx+YjwLhzzbDPNTrapBPkHjQS3UJ+yWnntXt
Li6BZFo6kn1tu/CL3Jn8g3N3DXv5vkP1PBlCO0a2Duf8JUkHh+sZW01rYZ1N3PAMZxFvVUZioszt
ZlOqdSuQpovZpktxLu8TLDhbK0qvhFO8qa0lnz0RqLVLI/nqiqGyfbncX2s2d/i/z63HHse/MTm2
aSG4Vt8WNs9k7wH7AFmkVscO9PgpatQ+1pV3L2yb8477Ca/Hx9SLR22ioKuODePzWG1dQhdrntma
EbS+A87wFLqz3C9m2fISCqg44dmiYPSFhgtzZIjLTKBkc0wOFLoUEBfnBh8KC6Z3wnM+AZFkycwz
JjYBF3EeIKSVwKcf09hUxkQi+INBcaE/teJxEnyN2qOj1vwB/UAF76CgoqXqCVfJR9zUw96pN7MB
4MnKzIgPQP4Oi8eqJQGAgUFvvIQzWREvRIwKImDOdeOZW3rY44QFkp56TgN5cia+RSaU0xbKN3PF
hn05ayzWIo9E3pxmN14I/gfzVyAbzgA2UAh2EF5CEW6upWF8B1EbU1rZhhu7cwhJ1E7KK4FXlowx
XYrrhGJhg6XwKvzh6NFcGv9hZgfYUuFoALw6Pad3L1mB5/zoLbD7sVPcuxmo/1FRKeHdAjQsz5E+
c6+g1wqLU0VD2K6JppeZuOUalJk6UpPz6s8ot50feNSu6Oa5ty9Nvm+ctL7YWCsYbnv5tu3Aa0/j
woSXeds3Q6TGwkBtsmiRl6DDgmqeHiwLSZZK06a1Qq5+1G32arlQqeISF62y7WTRzTL6P+wQwGxf
th8aS8qpIq8S42/jFAGU0/FXSfsj6MDTLYH8KqLev6nLYlgT9RR7BCTCCVV9xmPERJ4YNW7PvFy3
0ErWftbA8LrKCRha7+rEYmjk6mcfS4QZUOP06RtSUU8GHyMZ00jnEAJst6XT8Fh4pEeapo+OZub8
mnvzO7E+/WAseQcaGDKIu1w9jNmpv542MCWh6SW8KocFfwm7KiUJaXP0EhlQEQF6Q9XX9mlBcj/1
KET3sP8ob2D51bQekaV2ZGWg3IRX2V6KrRRez89YbJKlTEBQmG6XIjLjKH0qEYV2nVceSuTpg+0l
y3Gs6j2Dm4RZSYF5P4bKmvTv1kDG0e+rq6WCn1OfVkRNqHZUYpdzjT3TciM2QUWXQpK+k0qH/7pE
+CX7gGAFBxy2+LKgBNUUp+8/eQKTNjsPPVE8V23HoUbNtz5r/7pKmFQ2qjQXLMurhr9WUqWPIo3u
s/7YOmrcxd2Z0BO7o9+fsFv5LyQjw1UKeVR6OtqPSwRVp8rtdVJ95QWhhMXHFhklwVtCXfiBK+9e
2Eu+lU71PP7pkK5302xeZvbQtXaRdv0h+lWrtkCJ78S5Ufe+kT8lYMR1jbDMECR96KRzz9Q6Pi1W
nD7IXtsH3/I+msTbLa0zbv00YK7QjCe7KmyOypgL09I4xyJgmNuH1iH1kvhs58Vr6zUP40iEcaGV
bGQussYM97OS/rZrkBZ8eD03Qd8VlxkHNX4D5k7EfRhWpYqGiT5dV7EdXTznPOToqqR3XznBenge
wnfFTAW7Ie7eLLHuswkYcmR7d34sljs8+AzKYrjdDNcAaEfU+S0zV50+ftf59YXQATFEDH3JKUez
YY+tbDDhDQcBCH7AvA7wVvVhCexnmcwsb764HcfrDBQv5M7KU75hRwEZallzW1Vv00lE0G6WN7so
nAsTXTzSxIgCJ+VYk/fNxiC6rkZ+6XOc2zt3Ke1HNNrTyPDkGCbx5TqCpkhefFS9E6xbzebutlzo
0961nibXVUzEWcLx8W/5FOBswbPBF7WhKGRXjU55JD9QHnsopSh52M6ndI8L5e1azbEQPjgHvJB6
ySfQS/PReRNZ41C+llXApaCf3aOhPnzDlTGnNsWbDgUCXe677hEK0ZPfeAAvH5JZ/6nH8ImsSc+r
3lSpu18mms+jLAlJCrN1rBbdUDnTSZbnz28JUMm8PhrY6MtqHIk7TMuCsFkwIP3+L99vYpfYVNZP
b/l1JjR1fc29O2Qm9P3HjOqztUgJXrigYa/lIwQPpo5FNgs+ZVu+jFhLj0PGgRvrZ7L6/qTvr/T9
Rl2/ZmURgZ9D1H3Vf+gqJWNUxsfJnR8mRl042TOGmZbW+2Zx91EmHttxiphp8Du8mRkLcEzyIiLf
7ZN3bQWP3WpA5L7+xMNIn/AVUEbCxW8/d5+z9JjNF5Kkr3ip8CLbG8KhPKPG30NU7Y7fb8Zg4Et/
/5FqdWS7+lTySCK+m2Q5fb9Z4uuKjE+gLgSTMF+/pz7Gps7ph9OsSdCwErHG4GA62V5D4i3rD3Wq
drzsoPsa7IItpioRaI4VzP9HWO69M9AWMehrtK3tViJYOibakKeC5tg2wctAP7WopnTbLmYfLzAL
6jZwt4md7vJoURt8aOcmJ+VuZZTx2DX9dxapQZ6idxwC9xM3XgiT3SM0SiIvndh2NtCygvOHoVKE
Ol/CZ9cF06dlkZGcCVcBwUKGTl8A4Z99W5gjlkqKd8lFhqR/0MDWvar2s8KsJ6mpdBmczoPLJuIQ
DOQwyp0r5Qh4Q1SEaKlu1MZtEaLyhmiCaRuCCmNwitqbqX1UUYztGr27o3c+A9wE1pTwgaLucDfR
kkQtH0BN8m/c516WIMRDlz+XqvigzX4ijAy3QmXr0dCMXI/XYnL3mcWHBFrxDk2c5GrKkbK43hqj
go9zuMzSxH4b4O9NndhGvl7CTWO4EXhLsxkk8IlJLndB670LhyRKr8xZstVuW1vae0vYr5T1QKJN
+2rTMmJuUvJl6EQPsghw21J7GOpPHUB3G+m4xP9m3y9L/EIN2y4vvWbPjUxzzgGMWGYYv7A6vCOB
G9S2ZJeNKCcqWMK1jWlPtOUaNhdLzEgZQ12+ZiZhvBU2L1GqfhHi+C1kT7KWHV+TI3Bk2t704As6
LAkbTZ8PU0HEbzesD3KqnuXo15s6TPyjE6rnRFOVhsKPRaYpILiSZsrRz+qmTg7wcKmh6rnbc3M8
DBPKPqKStXRnByl4e7X17HSSHGN/YSxtqERKITZy/VwyUp5+99JHXbK33JZsNf1VwrNey4Wdci74
WJN4v63UivbCAMv14/5sD1ofILnvWldzPKEbdaEI0y/8hyoJ44Ndtvd+QKaQqH2xlxqzBq7rVUMN
p1b+Okmy28kd+emOqNL/nwZEgQGS/9x8/etfftVD1ev58StRdfWPbB8ngKDzH9OAbr+af2YBfX/8
31hAYUijiYvy5TnwbSTO+r/8HQUU2n+1wQ/avssGBWXVA+T+dxKQZ/9VeB4FCT4fAPj8Sm3s6qFP
//Uvrv9XT9Dh/E2481zh/pdIQACE/gkFZLnIcwLP878nVJJynROisBr1Q+qHrmyhjKZxif0WswFc
/BosTtSbkkhDYJzXaQA9s3Z1Z7FwVx7JOJuBZKxLzKHprDatY/lbwAztmUZ4H//dnP8cvcEgSQV4
0ZMsM18FUdWN3Zd0oY8DN5l2QYqwg+AX4qq9b+MMA1NtcMiB0ngToqwvgoQNkv04XcIyTp6WomI7
Wxz7Kx9rptcCTQt/WR7sPQIuD5FdqqOWYX6bjRiOebW3WHBLLYv7yA+cXxX5akbeRfFzYQz94WY5
kp5P0dp67MvwZEHZs4Hh+aFiiYYSLStPHCuiVUc/b90TA+2BRlKneMEsHePsGCNiekIAVVnzDRB5
bGnMfXSBHBQrmhOtD7e8DoK7wuEfo+tF7RdcwlAgVO7cDnzaY7h4cropXZm8DCUy1EqQ5Zs5RXjL
D1NzeyKAxM4K2Ey9x0HeMnAlJ4pxolOPygTlmze52rkRTjKfoelRZY2T74ygjnaeWC4D3IRjYWFc
6x70oXPg5Be+1cJpf8x0BMC35wzBtceBDrCSDpfWm8ZjFE3IOpi2xpndDxHMODiHmiI1KHr2jyQK
cYy7Nd32kcJeadLJB5dkG02Ob8pdsoQu2Ty/LOgkmPJ+4tzcOnBbkGHof5b0zH22oYvraU4ikkrC
OCT03LF4E/DxHulDo39Syg6jtCO7nJpwr99oFak1WRuyU30+u7tMG8QPDDWcRafGkiuzRAOwg5rk
BHNEUChRjefeESNJWc+rnW0qh7RZJSrVaP3aFJAFHdde5VEUvZcAkFewoIIv+Hs1yM16ruEN0gyW
IOz6OR08Ib5UvNyT/afu+LlDcIuuyrDn3WEIH9ZTWEmJCCiXHF8cY65gsPXJpwwF8HczBj/bphbv
is+6ZGnU/czHGF0AU0V5IXOdB6t+dLuAUKtQJ09oZjhBbHDgZ243n/pEWZvGsR1KvQeJiF82U3Og
mCY46EYz0y2oAbiBxxqfplRgmOPczRhCjR5qTprP47bwWsOZlZj1tvV67CvKTnJYML6f/Fae026L
yAU80DPB22ZuwInL0q4g5TPb4o2KUvR92Ug/WuVJJlBetJdKZKshb0jV2+EmDs3wEfKb2HPxMctx
4Y8PtcgIOKWtbqgpClvnwYrYWwOq9e6oIKTsEsF6HVltqE69LiPaUIRoMBfpK4NiqnImnWHixLui
Gvs/gXbZwYFbcthyIto8C/pLxM4aQAKvmnGpwTolrkF5tCo+0g6r+ve4IMttxaSYAPfB9AxR2/8d
dYsrD7VKMMYqRhJvhQqp6s01yWyUHRk9+Eumxy3pJZ/g1uxa04bQujNyfKrJDyQwfKiKMR40Jr8u
7zw58KL0OVItxFqu9ZqGjvKvdihy+2bJPYCWVT6+VPmgP2rQHgcrktVt64MRvGmZ3z3KusmeynKQ
sJ8nmT43SVt/Jen1/EN2sz535cT5RMIxuAmwKLCc4d66o3AhTxi51+oOEBq6xqIXleITDBxOpFd+
4ZCDrFphOaiddcvN99mB9Pml7F6/99gtHhIv8U4Z54lfoijL154i3F9e4IAxjasBeAKFj6TdrNIs
p1aZtF5ja3GnrUKvZ7BbmunsS0pOdoKz2EQSSS04RCw/hcwSYg/h0TU0yyzJsvxySpwgBwBv4g0O
lHMyZdvQZOS7wR07h32hByF/150HssYrGNpXqanAk+qGlcKnQgcHJyaUwxxY02cCtKtfW8xlmd65
DhYdp1Co5zIAOAWP1iHXmONdWWUU8HZUQZplgbfWIelmpqPoNhHoPiWRXXQqK8jS9ZJkIMCSgh7j
vG4pzwQNnD2qsKg+cujt7T4mFnaWfhYhmFTkVW58uwVcT5wV5i6UcnyviXTUrsl9z9ohPiOUKdRd
7Cm4fAfIa5nAgzFJwUIKoqV9R5+uf0ivqTYmIPtAQguBHyrvWwshlFlb4m76PoUiVS3dZzJF3odf
M3D1Uzy+fOmR+zXSUPhZENt4chwtAig67BHrDFIK5sVojsRW5QuKrKs6+VGJugIrNrBWjGWHhjO3
Kv5Jqhq2cAsnZ75ZbD39xiHKK6jn/gngzF2+mHuCTmjrctqWZedv8wY1e4YdegmnsX5uvclj7Knm
PUqJrVgziolAbRxGPwLXmemarupP2YmFBK6v9NPSs8qsoy4V64UfyfpaWUAUzjIVG0Xj+7+YfgQh
4UDh3I8wTjgl2DFM3mIZ6sc2MQyOooF6TJtKJAfCHKYuf35Zsrb52VZL02Pc6EDyRJ7YWAPiK856
O+IyPFTEWGHgtnyETglIzGEcbtrAmTY1/bTHkseARth8CiBb+O3OJCK9s6bZf0rRO7c+3RfbaiFN
e0PFZvmZBW18CMZlOhHaDE+1l+CR6hcsNy7hMItvnWv1oM6iye1L2afWnTvaMOBTMLlrWVvN75l+
6nVeQfKpfI1eTWwZPLyv3ONYJPltgAL9GGQGEvQYygVySsUoz9SgC1b0ZbuavJbXbpiKj9vW0uU7
qnxxIAPHFDFs3EPPcGQvFTwYFfj+Lo0oEyGxH9vTxgrq6dIXCSCE2MWNgKlM8NudGPn+SsXc3Xqg
Ala2VOXdFWf3ItLKAHtsHP1ndBdqv/G7OJQ7dcvOw3wfr2RIbN92rOBtyNpxM7WiOJaVqyEx5TCy
yxYaGRuMv5e2JZZ1l0yCFAR+uAu4eMX1uBOMzHiYtykdVMyckmLrDqH6Mae99bVARyBoTIZml+Z4
YlxMwrt0imkQnf043cg8W25lQ1NaL7yACH+fux+ABqaH2hmKjah0fVsTfrnTSSBv624udnGiBkhn
80QKpMFLMjj5hTtcvfOisYMBY+xzXtLbojorXYuSyQkAE0AtXlrLrVOImUmubLZDPcgf9CtH57Bo
+DcNEZwtL1ZY7ZpOm5Mjed5Q1PCmcLozsn00nvI+dJrRFWZinPcc4RhIWtEjPXmYf71hkPdwLBY0
LIR8Hooo1RcBm+VudGrB1DbSHxiSwbzlnbSzvbIYF9+0dV09ZNq2qzefSO+rWoqWoKXdlH8SqyGe
mMXu3q7n2axTp8ljhsFOjkrkROkVY67NqyuhmsdRjK+rBOMEk2ocGF4w75f3Ixjt5eQ1OZuK67cq
3Rdl37D0ccxPbiBszBVoMSKeo3DLs+lp8MYfmGHFwVa0Z4TfneaCWik/NfmjSjvnti0g+XFITg5t
g1oW1ZNdU+zXQoRqMfK+NtALDlORjNtEUbK9JgPFlDc3LVSGuhfNDRnf4PqvKKjASLGxElmpd0QO
4+QszMimMKqJjGw4jj6TsspEh4I22VPrpUzMh0G3DkMdeIPofMGwHvoyeSSNivhfTW67Z2cKOCTa
1OoWuup/ak5o6rcUceBu+OV2JfWiST/d8JhE8CNcMgY0aY/ydWg6+cauPgLRDubxOAiGBD5EuoOx
re48+Dr+RP4RR6NhRQyVAwqA5bn7QjgU52XoGHPCIb9nPiFeSjHkj4GpGsDW2gXZn0SFeL+6wgnl
2NOlDVqxDxLARiNP6KmLB++FsV2ydZRmHsKKGHx4xu9hYgCbKG5oYI4ZLoCev3cqq7MfWy2Gxyir
eQyxLl1Rm+GREZDGyC3IAZJ8xBADOgMDVV4nT/nkN/G9U1T+8+KlC62AzFXGK5mRIramRhnxsZ8Y
Zm03RkOBYdRm1ZyD8+7FZRvDFzI1xXskPQHyq7begBDlG6B5CyMLPOytkMi9XkapfOn585sGU3Ee
RQQ7wgI2eKoDxj5l4dkrw0sDuhiItu0ghPcBuih6W0glEVborluyzv3HhFaa/hClPr5PTCmULkh0
XzLKbQ5Jr4iz53igSorS7mcnZynnKKEOUjqgcco+g0oTYLwCoY/qFGcwVSkquatipqpR5nDHyYv4
oXPH7nlOE+Z3RV+y0c0MkuAf5e9Ts9SH0uP5ANloQvDnLl7JiRJwIErVQrdPPnTDhdak8ZI4dnJp
lzoBDd86PFVeKsxpua5sgANxS7HMU6obpDJ77oZro4Ai+nsBAeDjdnYnAbI1b07VPGWXvGHOG6WS
E58d6KcknfM/Ic7UQwCg72dsERoN0sncwRtnT66xq4Flk8Xa0w72CuU0TOnrAk9qFPgsKwVbxKc/
LgHflljiTV127KHEx1CYPaMUMnBR529zqKOEVEVukEWM+ZRgGR4yvDuk45xQbH3SOO/kwQO6oNkp
NnTV6Ttkr7i8g+YzuCtjGcvCajnBT29wvrnI2rdBByYA9gGhESzG21wt3d6oaKGoKFjuXWl3ZzF5
ycHWrFxX9PL0N2z5/2vk9e6rvv0sv7r/dv3Cv+pm1gq7wn//53e7v72ffNXrz/7zn97ZfA+eHjA+
MHDqhoJP5Qv9/SP/s//xX77+U+Mrh/nRfzy+Wv3v/9V//cvv//M//ueB2gH99U+Tr+un/p1q7f5V
XAt4I2qkHDxnXvhvVOvwrxImdUSTnh0C2rlWsPx9lOXYfw08xlgRj460HeHzSX8fZQkg2YEd8PXc
gAO6H4r/SqWv4EX5T7MsGfh8MaTsAFRl5DFW+3fNiJTMy54UELwskuvfVGMdpvNxhPKFLTF7aCvr
xwCE7WpHbTdBSuVm5gEsS6p+zyQdJBlwI9L27avv2QfuN7gSoPvvDAt5OUz9YzjPW+MTACNTojZR
kGEjdavpMXG7TTz0812D7K9Kpc5Eou/xGDqbSJhhbSdBRvJufPNFC7Oos+fTwqHP6dR4mOMr71Ga
i+CedEm8eMDWA0sumzJ1Ugnu3syu8R1j+z8m1uKsunbVJkuP/xTerjvI7NPP39y2uMWchmbZEoZo
HXlnVN8cKfHRr619Gex5C+o/RUgOgO4DzitIPPSuuJqAMp9ONpbJtUngrzZw+Qpqrv72hl03O3//
XcdZJrFVvostyt2HNgFOCszSNqXcOLUzXaaKc11QlnvLbwiJzeWTzflu3YXmojzRorqWNsQ/B8XG
4UQ+S/9CKBJzx5iWlBaLac0Fv9wSeSYsHtvujlzbsHYsrn4CI4VvhcO+CqU+VyNMC8Tj4jAl6oXy
jPa2R7M7X0WNLkF/TVvj3dKC/rf3PKtT94QRF6rIRX/IJIJ1FkHXCQZsqbn9FvreruYxPVVh+wtv
bPvChAMVcpbrokjtzWAS+wG9Bpt1xa9ea/esGO/dENAoLziOLG9G1/WtPeOXBh5thrJ2/SoLLBY+
BGB6HpyHuDJPLIjuGpXo3TWM/xuyTPffb1IJv+gdBp2HsQA/CjdRcxvpWOx0g6+EU74hA3XXW8o6
t45/dnPfHFpIVCP+pmC42GHxHo7uazCYnoqJTF+IyiGfGWAV4K/T4E/hYTSyBv2ow3DEUlSb+AQN
JD7Ns4cvMxTLmW4C1DQrK8+0oJXnuEj5J2rCT0OxuCSzMK5rh+GWyQSW6DS1jsoOMMz/w/vVggUE
ArPr2dbp+43MYutUl945dhK9//6rAXrUgb1721mOoe8hBPDeGzc9e2EbbdmEvwYwxfs5Eb8Cy2ud
daIKtoXaQLd8XQIfI9K4/PhWg9WiDXPkBtYgkEVa1qLGbGqY51wjm+hEVusf30AjsXbDpO7+7e+T
wgtPusp+IGTbOxtx/vL9xiIUdOG+YWGDXOwbJ5zhVkfVLwgPTLEmTQUIEQCkpSaiLrof7WM1B6Br
Z26DffMBoO2yDMI5QMUEJ9eiN3pyfOlHLqdeDejIWEG5AE/Q8lJk3SZ0cnhD7YjIVfTgyVqJ6dGM
0SXmeKiRyTZWjV1RNZ67AA0y0cUuOH4USzyvjBi5XXC2F720TpZUHIWvfwo7Hz5ZjegYz4t9xkZu
0+Ui6pWddBAfQ7LnA454GOfyCUtqfvv9pk6L4tb10cKS5iplN25xGTPMrFhcsl0A6FDt3IzUZpl0
3mYeYjDxNr6TqmpBTc2uhB6ayoNXB+6FcYjvNaAFaDu4SWIFiTakiW8hg+bUFDAvPNp7k8vobnZ2
VTjs8sm6RVDvsb+JAYID+QZJM/vQmgH/JJadJNtHVpOvqAz3b+JRCxAdHEbBEUak3y1vo3pZbyuM
1hj33ygnwdQe83I2YBhCTGU+NTRgisypzEBFxVH7NAzLuRKOtUHN3Gihk51bFK9SToyeI4LKXRT/
iqT+SpLLYheQc6u8A26HOS+rIh4OLPDgV8EPg4KsRjArff0TvFN1pAlEr7r61QnvxiR7L4fXzCdo
NrnXyYQbfs5pfCmgG1yDzLAqOXt32aNd1zAKS1gbmsB1UOoTpmSEPhbOpuOlRlac+zsHxro/MkR9
EMWSrpn0XmAtPvZRdWiK+ElzQMcz6J4pnT+pAV9UCpUgkwlG4jB67HZczDwucfmbTAfiapcU51ih
N53prc0wFETF5GscgbGS6J7EGmhMSSLU2/JumMU9o5dp7UnrsqhuF0iRwIxdp+mw19X8hF9F31jJ
1fA+ifsgjuqVzL2TX8hxbUHmAdR9rnWHvAqSXw8tzv+yomOgMkfLydd+V8M1HHk5+/lLNOgY90X2
k9xRgDHj4KbzTcB9Ql0vECgQARj9hrxCNhK7X/xNFf9wRmflDIifkckvlpyghsppLTU1uiFBZURn
OkxFi/ku/iNmReDdS3NMyu47OgjxD54BALebNJ1wznRXGlHXbUSJ1TfhtLtNmY9cBl8OwH/GM803
49GJ2urQucm7SdOzRcXmOsunn2q0P00rO9S1iTPCBE6sqA9pYX3OUcske8DdjPmWfHVw0xQOrZeG
8RNtTDffNwbIKymFBg2zluljsletQZ23hua6BV01hTyfjldL/0pmgpMOVy0aDejjYHS6mebkLQzl
myYFxSXrGCqCIAGeAhTng5UlhNztjywGCsBRYZMMRPN1idGXX8TKZ3K1HnJWxPwpDGAQzJZHxqNd
MKsGeKOJS/YhRTNj4hQXitGSg5dfHXyy4/EJE9ArEv/3wH0L1YxzWLYHpPaqZ3SRISRnWxM5skOI
Vtotr99gvw/CaToVoVLrqY5SgC0XJqftKQr+5PNSHVU9BltoQD/q3NTPedh/stCwtoprV7Pf/CEH
dWuboN71EvMdQ7utK3obtzYc8XwM6vug67a6xxqcxnm/92vlXKKOx3MeQT35wZV/T/kHJA+Qo8mI
nRFL2I2ch2FXQpc9TjXBQSf3Xy32oJsR1sk2h16Mqc8ZXorefRAMFNOI9PTE3XXjuD3a4Qi8vcBn
Xudg8YB64qyxAeLb7exfU1/dapgBkQO7RYMx+e/ewB2taSfrG++Y+IRIktEn4DBRYUV6be2Ss4Zf
sYBrvr6xOVgxwcfeeX1PCVQIxrklfseB9XopW2BToMercMZeKv3kBB0nPdVpfJeG7gI0Ic6vPSAP
k11y2qzvZy/7CVPsXNNhD3aPtqVKs1w6EDOJRLDgJjgjc7CuVXjKFdEBxA4ch2W6i/M3LFdnz+QV
fuLoVQscjTNWMw5br8pmlJg84DejZWEE0j5I+0nO9ZNu/RP9B3s9jc0h64b8INXAcxj/cgJHnrvU
Mc+oJzvRKBwnwzDsSVDxo2WZe1ekROBulupUZxLr33W5aPlE8afWnCdcVW0todN9IMJkH3W+Rhjx
hreWow1Nj056TMnVLJUzkVnYhMab7pxG46Yeee2g4B5NM4rzyFja+LI/KkuoY9BW921QyifmZxJf
26hvpMzcR01Gpu+L4nMc7a9xYlgDbdgchGMTKR5d7xbr/zrgILeBfVKsnSHAkLHchiTC91aRtWck
v/ZsLPITfTMTGxj1+6D6kCxmUdIdT+NCsTgcyK4QDm1b/tHjNVH2oMzjpx4Bg/qGVdim1iHvmp/O
qGKk8GsLR2cL6/T9J0+Hn9od9lFQmH1kQu95imqxHSZZbNAcvGPYWuyuIxILIet+nemFJMycrmif
LZktd0dpGfmg4/ENIjnAxS5rge0AfLbJG/oWDDW2w5s4vXRVrG4EkgZGU/vY+ExVl4jqMbb55yrr
vjJu6Ux3cgtTKc0omN5v6sojU+OUzbkdY+IYFSmqPrHX4L/sHS7PFv2Z0F3q+qtgZGlyWASAKPmb
djCbliI+Ot4qLGVMV/HDToawnzswYGqWfezhgIT+TuNGhvqIGeaWC8GGNDHGTmttZWNL1izdOrHI
7rMo/eNOGFFjDcS5qO2Xev5hYoNXkjPGEJVqkzt3dhaQGp50tPZKeYOyvCvB+t3XkJJHOEf3WYUq
nme/sQDDu82hy5LX/bLh8Y/x/KunP+HItkNH7nW+Tl8bPI6Vi5fIa3o4JK654xKjNiojL5nchvMd
tpH6NVyw4nrdMmPxbR4XgjSURFhrKKCnBAsx9qLhvuyT+uQBeAhQynlihgffSpJVFKKN4y6NjlST
rBSVhkfBcgm7YN0X1rC168ScE/pCgFTmm6AIuCtYajUgF97ME5gFezTy0g3TAfThfDUys7b0BAG6
5QhQqL8EbbbvPCBdOZM8SIycN5N0RJV4bLr0tW664CJzxlXfbyAUkXzWVBsaP2PwiSlgUY3miFlu
mJyCKgh5vSdltFYJ9toagG+V+je9UzVbMr8xVclVZtbkuuD3TzB37PTOdNFPFUbtDof7ryAd8Nx7
E5Yr4T4xhu+a1oZxdG08yTsYFPpriCBBjc2tP3Jao/UI5dAJySkV00s0wqo0iYElE1DXveT3ixvv
feoJGAtT36lIjC/4No9AC5juDcxlbZwiMb8yEoLsrCFtKSfPD35MVnPKM3wOjtO9i4U1SYmYJGnG
MFN3wa94gMNO5NVv7R8kk+guetAt//REQ8Trg75ZxSF+c0bUxMjs33x7IGHMfQmmj3OpSY+dC5QA
IgSnRUizBPX+L0fnsdw4kkXRL0IEEgm7pfdiSSJlNgjKwXuTAL6+D3oxE9M93VUqEsh85t5zn3Xi
DfBA8NTlmKssB6ME/9CWXfJvhf99FxvE7gCbWPfFBHWRhynzPTzHSDPpSfy1U83+GuFQ+RkgPPNj
ghdZN+Zgm3EnEiaHJalGa1PTjlDe1KEa1YUvkBfBVFxSBURrqgF9NWUEqI7usHVaar0KXchieBcZ
LbmbWOai1GclT1gCPKigNpCkkeKnXkqk4GQTInHU3t0ELEkD+LRSUwJno0tWSezpK8PrN40jbnVU
4aehP1wEroGVTp9nkoXeH6BhLI0/ow34kPIk2NdeuTUGx1x6GdGjE7F8SdVy+oZEYNr4wJnJL5rM
8nlV7gHShPWU5b9wUoNDX+iYlyscwl1bob6HVxNjHcBkzJAmmfcE+ljwk+RrRWQA4UHEh0PSXpRC
zF5f2L06nspNqzNR6WLn22urN5ExuxjDb8vJR27V6m1k5blmEQJVBMwe5SKkRnO25ceC3nEyWSfX
6UbDaeFljrVBT5LiqoV126pyK9pE3zcgbK+5RRSlnzCK7+DZt4NIttLRSAAqLBIQkxLTsSOqm0Ho
zaKswYLM+DNoixklk+dnFKz5O9FR0dio51ZNtyorjWPfWW9qiqxlURArnTod8NFCqWPtua/IdL/H
yX1qJV1a2I170+5vIvHcLaAYg0I++ZBKvJvl6MBVz62NXfKqDGwbEa4Qj0aBuptU8uMYZCFVpvzG
NKIwIWroB1rvPIjZiajjN9YAbTm5t4Al5ILGIn+t4CULUFIP+RzsY0/PnfAOBShu3ITTc0rwF69l
SSTVSMv1yCewfDb7VaLanlnZ8+s7zKGscNiWjrc0qDnxqmbV2hjLW10nfOx9cZ/C+KWwiUvB2wpr
FBqzS7rQWH8MBNwBotRfCz18hLn4zBzskm2C2dfCzNv5sP8DIFeD5jPak0iLpuLJxAADebqgEerb
fZ6KcCWgUCz9Fzu2ANbK30CT1zgB3dv/EesUcbvuzNS62p7Tbp2owP4eHPsM7ElV9bwoUm2aCuiJ
bcYHrjYiq2z/2sDKDYYmXFMgIEO3wctFeRfuoqK/ZBw4W37h2QsM+4hLf5cgHSam1v7Nq9bZW6L2
V5bbkJVN5lEuQUwCuh9Xs7Gxj2zUUSEWhkIEwMllxlylsuaqFZ9IrJiwWBYEFS3yELJbZCe58psp
J2chm+iFlZj3vhnR4GYOLJYMs6nbqDXoEpLg0ux3RBrUaQHMAufJhMPBhx78EMEOEdnGY7VQvbK2
ibBfSmRIemHPAVEctqnjklrBLHk/u5aB3nPLscABMtqrbD2A7yZKNDlJuwqPiJL5xERHxiHHasJ6
jTA+g8zcYWBLODXFytSmPyDY6KtLhLe6jUo9h7KPKAwDaq0xIzHpVOPYAdjO+JgQJKRTACIVGqSA
ts1ko9E6bM+TH7+I14aFyi/q7UPuKFZ6n8007ZrAmpPIg31chGe9OmiKpIBYgdLp98Xg7jTOWPwI
SB7NCPiTKu7jZMVzdBx5dERt6CYP1hiIQ2+2qM4C4mP6EtTiKKmKinLPNecRFnKqVmZMszzE4TXV
2lcXemctH3ywK6u3xjWZ9/rKdLJhkQBfOOrYF/s5lDmIjtqU/Ir4DWvrQwbo4HQnYuUkxlVQEkvk
YenbWGXx0WdGti9Fu5Vt8cERfI24O46Mo1M6r8lbMJZdKK7HBUJBmJHti6s0isrozUtb7tfyS6Vs
epP2yRV3lJxH3STiFFuUNb3WcbtDXA3iqR0PpdFv6wwbrib7DTbcVUXf2inuRDN++FP4O6lqF4bq
Hc8J6pZBvUUdJs+oqoiBIPOXiDiYRpzvATAp5AliUef9Hzxi+Khj8xF69lnTOqLcSr8/uKO3acwe
UQpT3kPd+6fW1p6TBoRcaET2hx785gOqCQgrJaJVP7buKjeg5kV/lVl/TdEAropcsIn2Msk+WQ0u
B93+jAHRLZTOuEEmaCY4tvKINJQiYK2PbHvadVZwZXRgnLwkXHOWoGjjlsz7etFJ440vGf7vLKT1
Hp4oh02qE9GFNAQUSAWlMqjEV9hDQkRd6PEUqusUNlgxSopU3twih25e1cjPwpKZcSh+UJZixjfQ
RvZ02HGiEtanE1C90eIUCf1vG3UhZr9Nbsq/aUBZiuxrNWb5H+wxdVChfqy5JZdIUI5IM18ig9CB
PuT7LCV6y7p/ssMAMzMuIFee8hTn6xhF1VbxOAnCMofyHsxQ4TpIXhrtN+qgpjqeZoNZIB7ApyuP
aXcJGzj6WvEKc+pXpuIFjsJZG+n2nGjX5/5ZdZyR4OPR4rhHMdm0IzK8mCrc9QM+Ul5eoGeM+PGG
9gzHGSmcdL19yXAcTm6zzpLgQg77xFXTq9XMey67cefI4J6w7x39WxzS+fLLHkNTnYQhngqcKNwB
+fb/n7Xu3T90h/hQ75qrtp7JSDSXdXbinn61IjIhPcal0kjjpZ8nGcPDAHtV+LBDuMhG2H9m2OoD
0Z9Gi4vKz+QuS8WHB/tilRXWB4vQhzVOmJlypmsWNTmmvJ0/M75AeaTdQZXPDasSDLUSSk77VhbJ
QdX60YrFrg7newmMiFuZ2OBFtWf68ALXaWc39bSrHRSfuCY04a61vF6TUvdhWAXmP/stj2N01BG3
TCsAdjW8/CMPmllNX24ckHlOy4vlQ8Bl8kq/XTdJCanB3Ju9tUPuxnwqW+YBW2AH706aSPTdRQvU
lFg4tFXbqkDPNOWMg/zgd8SpmbTmOSO9urPx1HRkWg+OTNfjUK8D7ud5Uv3eUuct/BrXqQkcFJDX
VzVIZwkbC2tzlh4cq3sMZnmIU+wvDepoDHO3sVBMc4KLmQX/MFHta3Ba69CAdl965Y8T5Htm7cAg
RLLWq0unsOhGNYSk1kKwKOkeI5cEszr1EIJNNI9a/5wOVB6FRm41V+cyNEnyGw2U7QZBgnqEAl4S
BWeTYmll093USNOpuFEXs6IQileKWg5akvWvYNphDyv6Z/VEuUZkt3GBW3OI4uGWjOZLCsKigA+Q
VNkWHS4SQeKf8Sl/2E77wfe4SAcsQprRrdJagMkq9fNYeewCOqRUeHz4VDmQ0++i3gVKrhx8sN6Q
fNHc0BH52TFK/C+WGxaArWrv+YOEEcIpQfjrqk7QLjb5SS/gFcuqezhe9W5pxhxG4iIDC56IpKfo
miZCbfRHzGat97wr2ZyLhLYBC5X2aJDwp+YbA8p0m6WFCcCZVqO1n+je1+aY/mAnhQ2DZq8cijNp
Oe+GfG6p07Rx3IPUZmhRKQJwh+iCIH4d8LvCIjcOso6o8wP7WAT6yQqPrJTvI5XQIsvAGcTTXL6U
/6LMrlkYkoylkvwnrDv+PIyyGlJuM2c8E3pPaEJvM9rtio2BxmTRVPnKrd59ga8OhcvGQEm77Hvv
TRrdzSbvaKynL+bjGP0ssXK1HnaRpfcLzXQtsijIhK1kjBGO3BqUuO+gD2bwF4syzR0PNr6+ddJ4
Z0QpEd2ODynJcfxd02srIzHWboKDdxTpKTSoODTd6Jg8MrRlcwLw/FnOrUoUvqOAaQhxKFDOeibJ
L8wEOqavnk+HH+CUWsSIb/CrxY+oMS4TA2a357qNbV3u2c5vcbvvwhH2HbOozyr6VlDLlkQT7Qbx
JSXGr865peS6Adg6VLJfe5EZnwtTIwO2zllUxskuLckszUgwsExgHo1rd9xj5q4M+9cyLfd1W73i
sf7H5k3fTgiUorvRFu+B792dAg0SneypCJpnmSIsYlkckNIUiNMQ6xevcj90Ve/4o22dICVgzM5Y
FMxAYSclIkkf6NmhDdLtbpSOz4txc5BaJ8dXa3e+Z+pe+CtGrM9FKx96NBWbdswXfkHRlvkt7DmO
y0VFVet7LWslh7/t8a8VWkCyCsRdOFCMm+zi2rOIgPs07RyBn6zigYbZ/RIHHPuZ8k751B7Chns/
c0iW9Grxwh4SqnW4KzI8v4bzmB/10Myfq2ac8NrRD0B5Qgl9qVS2UfhXPRgTWplJIkTZqujTD0OV
fOUEwUugIqDTPOee0fL0gxcORh2jVxn85GTJlCQcW77zY7LgoDKt7oOFU6wmfcLxmfZYbyXZ8Ksi
IioOIPxM7H3H0oJIjmAtVqHkDcWdXCes1PTZAwzreh5J9A9hKEYkJTQ/m7tfQoncEcXGwDvhCMfY
Ry3cg1GqXe3CFOkoXf1aDt5TPFIIVyL3NyYO0GVU589+M/GdsHx1vlLdVoTcsVUZwlcdTdq6YOTJ
5iy+4uZepokNK7Qq8eIpbdxosXx1Gyrp0PQvUWw67CXC1y7HT2dnvJKGMcsQ3lqTvCwSnWFk2tVH
XjEJ09T0UDgtp0C8QPPuFsBNuRfq4uC52s1kUC7CvRTNRza9RKVH+2pg1U4b0oQdVkqDe7XzxNjQ
UoilkY6/tnHV7XbfRTN4bzJ2gjfc17xXpwvADuTbPIYlw4qM3a0kHaTIkXnwKWU5lak77RSE7oVJ
wC29pv1dIGPjz433oA8l8mlwoq2zE/Yi8izqdZ2gFJMDY6HXI4dGbBwHDVSqZQ57rBbAg0p2xRL2
Htw2yabAusBr7HaGmz8Ckxd8yNl1hnpdbLzWbNiZ51tcocl2csx55lXu0XjxPo+FXAcJZv6BBTK7
2fzgij0KVXNVgSpn38nEeLhHOEk7kXaYPZDCTMFjGt01tB+cFE7ORsdadYR0caQNat12Nrq8ZFdN
Gt9vakA7Vi/ErN6TyGZSoRMcB3/+rBiYWVawy0D2BTSwUVqJBfhPGmgRM4PgvfRQpkrl3mrUiPDY
zvzjP8HYnIn3o7LFikr/tI9KvTkyJ01cyo6AfsM32F9K3mjArBNUxGUp1babrTlhGN6RkV2N+Vao
KXGTkRjtzg8Hcmjt+5hOz61ouXzzvyioDp7Unoikox6PedaMgDVFHpAZZ8wjMiqrmBQz8goJiJlY
aNmU8PiWnCWK1TlxFb5Z0z6HyOyx/OM2UVP+Jafq2W+HV6Tc0WZkwI06auu40KhEPCwchNoyZe4H
G+G7pjDHKAb3KLF3paO9h2l7tLz0U080sbZc4o6RGVWNx1mMWEc0QPHHEOl3y3kiWNup7uJG/rom
/yfiKZp0yCbSs9pNULAG7WOWZDZ+rkCRVFI0zqMT01taqqd+ntvHaX1KYXF1FrqZgVHX1O/juPVX
eAzPuWCIQuGxUPXG6eqTMfnZKu2Kz454Oos9BPNG656T8TO52dELxQnTxhPSposkFnyhBzjm9STi
XuzSY2mp7RSXayCb+5BBw0KWkJT6UNyVTQRuG5cYeOSYHGHccxGCqAqwC66RzSAz5q6Ww70trLeo
30dGPj6N7Mp8rAZt0Z1I6+4Ig4B5qIgi3MBiZebYPibL+agSBEOgXQ8ibj+siNg0tMjfYRlem1iL
VqXuwgyfI8Awfei++SuYHS+EheetCvuLaYY1GbCM4eqmPaSJtql9w/2XdFtCg+aVMww2pmYsntqi
naAfMUu30WMiNkkvFjBLmmobXu/EErBzz02Z3URLKpUlYGSHHiApXA0M8tSry6xoYXxrEK5IFwqi
DXqt5aABMkUgqzYs/VBkRjg4BqkDcIckzWgtIBszQ5W38awI2fd8w1keduRaP6uRj6cHC0ThQ5il
TQDQ3Gz08Z9DcBAlW36wi/Hs6xBeSTzjqY+qhoxV7nY99/bTPGzTur5cF4CAFu2YtQsPbsZqREgw
MZphpBFvSG1f5XOIHxNL2ANE5CrxibwWKFr9mhsl2W4K7cr/0CI7/lAhEWUG7A9MQ+DobIV5utwT
E/+dGM1nNHtjomg4EEN9GIu4RzXXvCGsPetlmq7zSB2CAfk5PQybKwK+e+QFyOL+2TndX5L9T5Is
vwrnOSq8GHS9cSUGa1enMDAImGHEioTAsbgpWdDl6THTmChN/QtK+4Atn7tNA4e3m4evSMVnx6+T
1/rflJNoaxO01YjqwA6OJsgL9wVmdSsjljJSp4YVeq2DiQFAZiyH0T95wXsy5QNzwRnX4Vsfdpns
kR9XjvNgpVKtPWQJa4xBIDfx/tOsk5PUd6Bi6T+5+9wNySruYoSVc6BZ/nTYTglsOC+d6Tln3BDM
xyWoIvvPc8qBAQlCE1Xk6YZJXH82guA70uBKUksYW9++Y6LhIm0Bj0fuEF8knj7mBAhNCBaTPB1r
fQI50WjmugvFM3qHfCGFrP6xwVwWSC2wde0lEIjtRFIsPWWy94LkyzBz8KbK2GDHwRhmTGscvtHS
Gl9RbtnbvhqWrkiczZjb2opidV9APiV0e2LI4j+kFN2qNJENCkM7gBFHZ+ds9dT2Pvh7eP5KOCfC
Q7MCEacK0hm3TyHsQzUkKpH3LgqSVaqN+QbtwQ88sGEZTMSHEWwSkpnzHAS1tTIxyPF1u6S29HtS
BPyD7+S3wM4upY+MXQ2sGp0xYYCWWnDkCrlqK/GHqIvgp0l90MfxzYYNQ4KM8AzvA0AudbMKkzUC
ni9HEq/sh6gSNVHjCgD5ChdXwpMp/rESXDgs6x10cofEMG/c01yzTXdBjvTIK/1nrDINSoK2z6vq
rXcZ2XQwyoNe4J7kR9KDf9kQ7Wy3aF50WKhFMlVnFontqrVcY2mO4LSY9s+oiFhfsqXxEBeitqTM
JLYumJgfTZF/RJyCl404YzIodlJjYGb1mdoYAXil1lWX///LAR6YE4rW1MWbGOnGCA1nahclr7bZ
0vy1Vr+wDOunmc2Pw4ggPwbAvbF7VivNFPy4qfaGM7K9TEwKF81GOdpX5cvpJKf0JrTxg6ZXrg2n
fh3cgnNaMXLGX/6debGzxi/ypsbqBcs7oUDhW8hGbZURfEq8BySYBUTbZY5dcB1UA6HTCVM7zYR7
E5Lbtq5hSa8qRklj7TwhzDAvoWI1AiiWjEfHPZpFcA6d6ZJRapZSO4BpbPa1459CSe6knH51fL6Z
+fBy/1ezg3dUJW+mSZ1vTo/Js84sI7Y99tcEBZRVJ5eo4mIcUu8lZ77K8nA/he3O8iCkGb4PhIrI
ulps8Zp8WkAIV7QeKGLevbjc2wSZLgdlvrC/+sva4b1JfPSDA4obX20J5WCWEiL8QYNDNx5aQKSY
9eI5edJosUaDKTAwPSEpOKaiIWj31lYtBoBAYDNi5kiqyPNQkAqu1c5rmbMlZcTu0+TtC9Z1DaOY
nV6HBoIr3NFT97CGjDLCwjzFgOcpN4JVNphqm0zFO6mixNG55gOMM89/j8RrjJm41GNISEnTck0V
IQNCsSp9Eo9xvq/qAo4y38E3dCd3b+DgW7JwZ6dHbC916s5XQ782pPmnA81ZpGPMJAOGwJEciWfk
zdZlRIksRyHZNnOTKFwSbPi5xFkVbijsHk0ok2+Oqo+i1HZTj3ywa+9ZpqalWSfvmQthrE3Y16ju
qRLFS+D/ky5k/6wPHmmjmOvUNSYHfcnh9ubyXM9vQgqlBlitfMeBR0mByYITJgygbKeRAwmk646O
3nImpN1X5pN5H3rjViTuKnC4xX0KmK58NYf6B/1ASPer3XOlL7B17ovyxwb8rnnIlyMUGgFab5ZK
5tkb9F/gVTaRqV6bbXK/JE0LjVNpK4NXiTjZuoZbiuS29tDcsEcmlW4HuqVa4+F5UlkHWXlM3itb
WyAqmVBOKpvE3M64EwZ703vSUgf7okbaxKH4apu7rxompuo0TsOmdXk+VN4ew5oSmH1kOfivYRDS
NRGeUiCRDYX6Kyca2HHqMKfjiR2cdK+M1F30jv4kDLnuWCkBMquspeLQy72aFyAr96FTyZWVWNdW
Fs+9Gb8JM30d0wFk3ASe1yLx2EzMT7N2yz2eqgPLl4Mx6di/u+sA3hnAfLCJ/Fe7VI9E9z7LeCqX
AoR6W/51zM4L2V0j/cJuZAXUU0JpXjZO+ZE76QUQ8HMkGUz6rONGPpPeBbyXUPwu0P3yMqwEjjQv
fNfMS9GyBMVms7GZ9FO8eQzjEdvivFFPRc+MAyH7sgZRhtp7npS775w9p66yTomnf0cI9VH5Lz2s
NFBiVQxHQJt712gXhPEl7Zkaxj2C3EzVX4HICmbSH8ohznQMmx0HGLRBD+xp03xLjy/ZFg/0aTSU
itkUifEUPPZPXSUXkzsHAvbNNqmiXRuQoWTubyAIeoqy7upY7lOP/DjXQCGFrm8dksFjA2+eBiLP
1jMSyk57/9APrDftrNLXA1cjAoZ+KVTzA/mQ7JSWWVGjQUVPU3ycsYjfYy0Va92MxhOwhs/Ea8ct
dimUmGyMIIbyRrLYT60//LgvtU16TMpsezH5vw4rBRzrbrjK9BlCHI37rvoIgvZpIBAO5eGcWSTs
f7LsvpCsnFxV36RHDlEI7RWPFWOJLg/Q8+S/ROPA/WJe6LBhXVgVn1ZAZEGi7ImRur2d+QdDegfV
e5KEjneDZu7GnLy2WuDCivxhGVfyXBoZeSdGR60Q/PhpQZNXujTpNo8j6wb6xXjjDHq9zccGFGiQ
2RuGtBd88WQpiPR3ytS4kVF8mLp635o47lrM714+nfDpOU91OG59k0SWkIdn2U4DO1Fj/HRjV+3z
ptcXbInO7IBTdh7ql/qdXAXPnldJ5YGFmLVM7flJGUl01X78fvqnBC9s7qD9JjZxLm6clfSCC5tx
79DVSb0S/T/fGJ2l4za/CKVXaErVsgjjte2547YH3sVfyR3tJHqTUR7kSARIT9mHsw6oZXv1x4zT
1PZ+LbP+05ncy0g7h4UmlrpBhIarqQSIrmhXtpd+oIApCBCYomU5q0Q6rlsbadfziOUszDXUkHou
drrRsgcfC3rlke/KtlGraSPpvLhejo00yKFA32liNxjrT49P4ZiTXfcUy2gzhEN8FVP2WSIywNJa
bZBJtueRtwm4fzr7MA/1wGuVdVO2jifzEDf8iRzwwyssp9nSN4ENYs6GKBJvWTijM+eZsQOsCBHM
UCCUILCsHMmFnb/L2CFTPdgKZ/K3jVGdSsYVzVdQmydbddoKYzSCsoHepET9sbabRzR633A9Bubr
2qq080vNya7h5rDRQS/CZCBRFTBHqv8R+klNZfyYeX8vwlM91O62xZ/TMULQ2oSoJ7KUwEljihgi
1KbEFFBcj2ene8oCBySANgAh8+rtaKnyX+dZpIAH0baevIeruzerSvVdY6c3ECT/8sFhYVzij0g6
GjHRWRuGxtEShABaevfuaaOE3la8hMMczOoYT6XO8qSCpxkxv0Jjnb7ZnJhs8utTOyZ3yjJaQ87x
NajKAgp+Jvl/FeKeRW+6REUig/XMwtjUkOYF9M2uVyC55o1mkO3IRvtOWuc3GZmCWZH57eXxl0gR
qRckRlQAl7nImY0wtv/ru4fbuycXzm1eQi0XSbDpfNymOqHdprRhzhoaSAmm2xvpYvMl/hKCff6p
V6VxS9i/GEn1XoZjcwgjrMCRz1evoYy0Cnstk4YFMxjs/0GJrMvHp4CLsmMB6WNuNQdkCAj3F7JW
FSjdJ19hkfc7USxbtA6XaSK1JpVX0w/HXVXrN80zH1MCKi7JIGwyv4gRDxv/cvKr1zl3hxlYJ9Bt
r0RexruCmSdvUL6M+2s1MguWuOA1Md3L3IyXkApOAvN9LooHIIS9lUAt7RhcJ+0LOPJ2S+rPPCOw
UBD0GVDfetuSrpgWgdz2vvfWG4ocBKu6FiPbg6EtzwAj97k2/VrtHOvSx7uqhyLX6uMOsgMkHeX+
Al/44T/DkgGoPmGGTpjCtzUlTZAebVPDsgIfACVY/E8zyn0wdM7a7Zpb2GarNqhuLWctMyQYb+W9
TIgFzz3ng2Cnzw6exGL+H5UBZkR7SvUoRViLU4OAumwbxVzZPjkfUb3Qde3KIuIzMFeDMp6yjm1d
anjXfmCuzvToychoSqj88ri65VN1tTrrFGTlQdPHpzq1aKTh9aNzTreNPRyr0v/oVXQhNRQFKmQ9
FKuraTSJnoe/fqhJYtdcvp1ebiQGclMbLmg3z3pm9tQey6bzNhZe0UUv2oVP5VXbJn5l5t4pXL2w
rZe2HS5NlmBqvoql7WFFxXkzhacY7Ag870oubwnm9PXg8i/o3Y8/YXuAyrUkHTb417KFXom2uJey
/BURA5aqEJf6kGYYCocO+k2I1ACpnosRZPjQnergBIzb25g2mLweYLJzPrZEERcT8UCzlBxEk6pl
ZQ5XvcFIE1k1N6RhPkwi2KtA09ZwU5Ot0Ti/reMi3Sa1bqMF/LB0ePwq0IrWhVkSOEJckFZ9pgy9
91agrolT/nQBAgkXwskyyZF1WAa7FZsqokqDQ1Pi3dbsb0nSHzBxClOsZONe0KghYAvWdF9nT1e3
xoNRaFMbrPLSwy/noUXnGuha+Elae+iM9Lko5c3uLn0pjsJ2Xpx2ZD9dUJcZKV+pPCVJE+1zaIRz
gN2HFYI9CGXFZ+FaH6Pd9iwF0neHrnOR6RzAKoKuHNIhQ/KxNfwW2bcYYC2nls4uHgyAJlFntHpG
tn1obHUc0vvWjY0lcdtceOgSaqak6Qz05eql+8lfZKnOraiPhkCRZfT666AdrQZhWxJAgMg8/bWa
x9r8OyvsZAq8S3+3mV3NORciimscntUL61w0hsmc2JXsy8ouVrY5ELPSc4PPqwiLBEs9LsizT3HN
F8Te6Rb5XpYTHVNOcSYP07QP8XkEfaWusQt8m5QsvPlpxpMSugcGaDRFQWPsw4bnNaeloEZKdkVH
Yo4vnB9wrAgZkLDXqbmNMmgmocqyzRB/w5suCA6wjW9qljRS1zwpvYPbobvz0qtR0F1iJ2Fh4RHs
kl/oUu113XY/BcyObTOqHlo0PyKHGrWJg7yrZLCMogd/OH7JfK9nARN3UlZgbEItx0fOLExeuNPX
lmXc0WKGry4ysUXqWRrZF5W+d5F4hDzajq/rW9FY5SrF13iwLfvQ58hMpUNXGWXG0k2CV2JutaYL
zyR9cI+a3Z8gehSEom3uyy69sUNqr1qgEMjigSPFax5FRREGGiHfjYGiTcB9Ab09bKEg8fQJRWaf
TmqiP516snwBNYJdL3UHIHtHzTAiv8arvFXK+hzT4q5pIR1Hui2VlqxqNad94cElQ3xayoSwg7CD
aY17jm/b0c8+8SIbF3kfysa2P7styY8Vn4jTvbNyj7HdFteWwq7zXe29UgCEmfia3lrwD3dNxsaw
6h+yB5JOGYmZBCuZTOwt6CWCCVw0em6eP+XVcEMUGqITjJm6EtfimcTj9rw/K2Mw7zoX2hYMqwLd
GSO+y6aLXWb+ebQ5oksKzV6S5sb6G2GGz87CpkDE+ygbShMj6z6JmaNvbV+VSbIJDTMCA0JaA4/9
CgqfayS+epNYp8ICuDV2OF+asGcr2724gXF1UUkyFBMvrTGR0za0/BDmchqQN8UQ9RdRYm5ia3id
T6bGww73jQ5Nts2zcfQ955PRSbpCANgsaDCIe+jZkYYxsK2O049F3aFI85vdVlC1S4FuyfDPzCMT
tj/qc2Iyh3VHPxuc0Usz4gMIQNptST8oGakgymji4cUJJNes9zHJ9GnQw2fP6N7VwNyX6GP42vxp
FFFcE+hVt0KlFZh/DOrWfIslsJZA303xtIOAfWb78UsxJcDVe99t/gXnYg5m1F/sNEJzhuYPNgvV
lcm6Ohr++ArHtRPUL1BEb0HkfGvZVZiMBbAjHCqfZ9p2+T21Idhz6P2xllghdd26CV9xDP/lHDOO
rciS1Zeewf1seNMpyLmjYRMhrCN6daWA5qwM29gZHo6VpizDg0tCZ66viUp8x3ugVq6BXVsyzWX4
U6XJu5Vmz1kxtWuvIgwWZsl7lnlnmuGrPvYb0oCf9A9ndHD/DlcWr3ev5BlpWbxr1swck0O+MHTG
wZI9U6bHjGr0W22pazCrIRs/+SKP4AYV1xuQZPGt3oggf8/tZOcH+S2ZkKNLdwgWsQTI3wwWpDHs
7oWkD3fiL3g3hDMU9bWw1llXvJf0litn3KHm3QrFbz2J7MkhXxaclQWEtzy0Q701VH1Op2/Pbvbz
b6R5Es3g9CYKQTIYU1l7tO4i3iNEe0N1BTMQrIfwQayEHjK1HJJGIhrCSGbVi2XfyMUOp/C5ofXt
O+qacBaXo55a6i1pfF2xV134Lxr5ZLtj6E+/9VSsnUbsxpYGJv6hdslY4DTzSJvKFYu7Fj5Z03Qk
fWbErPQyYrmVDlqCYC5NUfQMvfcBKZtqFeaZnbceow8CCXprpqLMAxfuJqOwDpgl97hqWea319AB
RpJwZzs2CmMGOBvfgsJH8CqPPMWE5VuborbjNfk1uJ95+WelRy9IRY65jQJMcXMkwaRNp1TH2BF7
Z1MTWxPk4dLErjLBRF9ovnum1nRWGSEOYe0A/wtqxocEL7PsVTA7dtXYfHZl9WX0FhIvrsCkMeSp
YSPlOg1a/S4ZUNDzk7VpeOzliQoYirPOjxmmzkEq5txgyV8kePiVmzFD5NIZAHwuIzhkCDhw0ycM
y/TokNU1Odl1tmrGhGs9trZ5lALUYW0OiVQaQX2z9hOJ5GQj5FsMTB/Wf8ydSW/jTJqt/0utLxtk
cF70RvNkWbYsedgQnpIzGSSD46/vh9kFVPddXKCBXtxFJT44K51OSYx4h3Oeo5nbMG0ewTKEmyrQ
3x09urnzA+yOuHZIsYNLZ27qgnxkYhyTycmPJp97nMTitw9Ympqk9NDhWbzJScxFbuj22e3ggVqc
jMAiASo1P32WvWItgRnmcrSyw2sWqkZNPB46r7jhTUU25lU7w+QZVtCR8CHuYhRRgWVWwBOLK7Pb
RW+Zi0TNURg9e03m2m/UivSpdf7c8oZSH7FDxsjPwJxNeCQhR4piX4zmG1l+7kpr9Z3kEl90Tvao
Yv0+IkZrGTMaVXNMWiCfiMJxcBFnl2vfg85vTAE3GJ6KwOn5HHQMImSm34l/XWpRbz1X/vjoVLTD
unmxq+I1Jv+PYu8Ycp+yQc53BmPU2UMN54wDymEHA1IoZW4OQrv8kkbjoFlOn5XT4rXLMefQvOLb
ifulnvlHk/OCy716cyKeRrdjqMLLQ1XLE4ndOFdxsvGd4adk/8e8FCSfYSBjgf3Pd0Ug0CjuMq/A
XKfyEn2ms+50s1nWoYaThPSAbR/hEaj6+hFkGUlRjoELr8FByVuisy5fZFZxm1qkh7lGtegiVYYB
vadJpZMvnT3rP+zRlri3brN2QAWJoQoWkRN+UbqjTaIAWiQOEwF+qKDVf5QrtaU+jHe8vfc6SfB7
k49VsiIgFW7H5rVoan3pVuo6v0MjEsOdGO8uEQcrUUwrjT0Ke1xeRMRzqtT5O+PpmdNBB/1uabs6
/CPRMyB5D0dCVdXOK8fLYMWPJLmuOpnrDLLrw98zuCrGnuYVkVGJTGJEDj2rW66FY2vIPrkmiJWu
+KBG0/TblONvPInqWKVFs0b/8NhpNLoaKbdOtyx0nW9CSxsuu21dypcBIRbJb7pORx9C6ByuAnqC
gZ2xr+2rT/W7hPfeLYhDfBia/t511oNXA4cT42fc4RK3Qm/HEXOOIOMCg/SvWk8z6iJNrGB+IBVY
jfNB2cUfZmdCqx2I9SGqvlwS2nxO840pGnaDOgMcM6jSNVXxh1YaFyew6VjNCTt+773gqzWw5BW/
gV58OMIWK+BBPwngA7to957pRlfd7T5rYq2XYcjKBhAazJEOD7zbwtQP/W2B737VNO4+0kBTQi1h
gcnzZHOyleUT2jLg8qL/qBWlfhaZF2rlZKPRvCaajaiDOynUZlE0phYzP1S5M+Cksh4mw7zoFmPg
fHR3UUSvXuh09ONwiq3wowcDs7DSWbmeERaDp4rNMvZaPnOMX12avMcAHW2VPVnixajQ3Fthu6yY
H7CF5rAuunNYsqxWQ9lsYFqZDNeZH7Z+CShE/9Rlzcur8UF3sEUPtrspW0yMFaNkO/iTBYyNUC8R
J5Ymu78vaEYJUZfmhWL8I+gZsKDDbezpG36xvSOj9DMIODxhpS9SXVwVdmoTh4PNGTMvHMKerKeR
mwQc1hUCwHBgIUz6mvVCWY37nRQrbj/HWbXnZrIQB+XZE7jsdy9THOw983R1yixyTJX4NQK8x8Lv
L6VDHHLONTrU4pQ3LPXS7FppjJhMmrclMSrXSrintB03tYkpsXTeWrYMC+Wr57IdUMZE6Xst8vzE
RlsLuiMHxHwk2vpmBALnAKwZK65lKS1ospPDiM59DEc+bw75ihhPuw/4KPV6SLxXZKr62s60o0rv
QBGwa5OmZGGVFMz20TpNa5r0binpDdYNY1OfQtOz6NjHQL73+oD4IKqZ00KY9KjZiymxVxUyeT4k
322Rg7Ej982M3RPOJWoWw2TKZXE5O+ljoSixms5bk5R2FQ1VnhOXahmQaUaweQ8gJXwMcRyOWXDH
I39kj4llJaeZqOKbMYXPneNzISMqcA3vG1PfpSMuY/5N26Ra8LX0Nt8b7UY0HlGDHcclf5tBfsyR
GVGLVBqo7pB1VysGk8ugJlmVhdx5TUmAaH0zCJuWUO/I5L1mytTX0hV3ZG/IE7JLZRDz4OGaA7TZ
3uuwahZZM8TLSaDHVMzpGX2sKrdIEcI1kBoytDFutuNjzv5DHUkrWHnsixdt0gw4iZIfPcS+2oPx
YKY5irW0nJeo7hBAmdEN4eF6Qj7MVIElXozwsNNQKzNo5z2Gv9NKxoy5D1G6Qt4y11cIZvrKg2Ex
JR+MbohJwLtAZ4LsHty3v7Ra7RWb6a1vSjJoSFdGR45IK/3xi2Lvox6hASlampfs16jte9nHj0Ee
fDK719meGUfE0atY8x5aF9kHC+b2RXasmEx/8BdQXj6G7jbFnVyBp9oXMj/jM8429pQgRC/9CxfD
4/yweD0PdibomrNUoWhOfwsYG2vNTBFruseK791WrF3LiV6CecVcOoRP3WTujIhFgD9DIubNoPDr
nWVYe5WubHDAGTTMDasGIw4JYBz6BZxxTE3mamDdsB+zXKIEf/LdoSZEz//QkTev5krQsoDrpWwI
qJODlUynbrb8Lw1HP/WKCz8ys5c677c5VM2lRGgMx48EpY60NZymydJ2odPEh6IgXU35n3naRMv5
vsH4VhsoTgedbsysV2YqjtKnakL6ic4I6XZVz8mTQyu5jDGqu1p3bcrh6JIatJu/ldYPGdVrsTHq
VqxLjjZ0eEdp8BrOIm7dWwwfGorGKg+wq/oIjlU5XU0VP/JQFGPFOL0dKYglNlbWLyHxvnr7oQFu
xpOxY7By1Ae2rCaGVzzqWEDKsV8OXrZNnPLYV0TjkhHMeqtNfhSJuIwh7DXKcLgK/b0sdf59WFBU
lO2GDLdSw4crAiCCoYx6RWtKLlYRrMXUreY5jBnrn0qbR9xe+ZFqzLMKTNNdr1+hbtrIlm0GIWW9
NQrj1pvZrQ9YwFbzQm+fQPFl6PTtl7LfCyfCVZRkK1dUrKb5UYp8ZJCkAT6MyDzVRudUBN25ExSe
akImEjlnHGusnj1ExXQgj4UdkAJcfpWG98tl9kTtuRMqYo4cYcAwrI8xZHfQuUBhRh891MboJLIh
SS4vlyaVXzpUB+TEyzqRR4QUa6ARr2M90uAGd2RpyCtNRG+sb1Ehf3gTdjIdzy1Z1/GlJvuZTQD4
206d8OB/jIIacUW8cgIGN3FJ6av0bVn3jBe7bOsHEzv1cTgkrnXFJoPR3jc+cZ//ZqU8aQm6THLb
u41iO0hPUxNC4wB8ZohGlrIzbguTDxZc0Yei+2jZVS/R9DBAFUa7BiyDKdeGhN7p3ndSQ8D9y937
30YPPsxpJk35R/132OD/l+xBYTn/L/bgDU9G+zn+V+Tg3z/xT+Sgbf6b7nIHeR5vv+56hvjHP9Mz
NNsDR2jrlmcLNCa+mEGF/2QOauRn6J4Qgj/i2jAHLXiEOETm/AzNtP/NMQ3y8fgy0EJH9/8n1EFh
zVEgssxGsiH3P//+D8dy+fZgJhHmCMt2ufr5/e/P57gIm3//h/F/atmL1sylBWvEMgnwY99kRVcr
k83jv36Rra7OrvH89ytTAF538fdLYfWfX/r79V4PmkfIbQrx2tO//uzfL7uZbM+y+M8vl6oZCb3/
r1/6+3/6+2ecYWrPgXv517f8+19wHduz2f/fX1ZQbM+m89j4sMWd419wneX7dMZjfrdceWLi3eOX
aTj+NGIECZ3FtGX1L7o1S2bJ9DrC6W7XJlfaBjFgjkjIMHfEhVw58OWm7ocH2LnRS+iXN0shQx+T
5kG1jX/WbWfXscblSR2hLdEEDZ4i7wdSHHQRjO1+3JwN8onITM1gH7JUThNn32UE17lxjzPTiAiT
LoXBWSi+QK1O5KElOy2x2x0FAPRW1e17FZ4YNIplRVgtOA6anL6ejA1Lh4NGHMxazzAy+3byh27F
X2OR7k61B3m0mbvdOUvhmATu3mmqei9JNOEoYi1nZW29YvlyaxqEtYqFPMUJdrOpZjcFLD5aK9Kq
0NYYYoNGmTkDQGLcfHfPmNMZi/DRdbV9PUURhRUir2oO704J7tXqENHlTJVIGV2XtiDilOmoNoFm
DrEwgykMfedNRfrFjmdITD46ayxse7PDptYVdkcGrnLO8Z+uTJxj4hnOcfTQ4U7g4Fppdod6JCEJ
ICkrUb/rdhaLspWdMA7J9q4tbokg0NhA5oonh5q5FHvJWlCBuBtLlHHuZM9AJnxVPsTWGk3FhT7p
liGoYqpbeatuBhcFTVSs80zjLZKPRlNQ2OnDc1fbL1aBpbiTereTMkDG6Cf+Lp7GF0NPppfKITOU
2SZD8gBtOe8uCkYN6TPazy6aGCrm+B91EGMShg8TzWxNam1x7xucFhNxUMQjyHKdO5Z/bXQtPoZG
BBst3Q5aml2yNicGVFrJeiwIuHNo/JTroMz3XftYy7Q+05HpV1fbEJjC4DsCWtlN1fhC4WOvfaps
fhL9pWla56ycntG50Q7YUgJjVxR6v7Qrz3lqpj0RYMlTK2VPTVVS//etwvkNd99RhvVsKPwNTghT
ILYmJK2dYOYbE/edd+klnmzjsSe+I8ccgO0mOgToX1j1oZYz3coFUYe2pYY3wpid8KyBWe+Sd7U9
24wFVXvPm/YKj+6li8DqmzXvR51r10IgDowIBcXpQ1Hnd/VXOvUdOmObVHJUHMFLlbMrVTHUdqYk
vEz4yPxG9TdXspUOyE1dkKKarHIrN9+Voj/zExN0DeGkS7JCxIvPD2InWfPaKwj/KOzZ/gDLAFCa
pfeh7+QxlnQhAIvOUR5Wl6jvqkOhF5JNX5g9trXzjPLaP9dIrwUcia0y4e8kE+Hs0rHNfZ9VJxrz
BjmFT+SIq90qrccuFzIeM3zvD8Ey87Mlln6nABE+ROjtFq2Orsx0hoNbGv2uG49J1T6MuWyuQ3pr
dJWe9YmtMA/oT29EzY2BS1/TCuomBAEPcqVBosL3JPqvsWcADbxofMhz48m17fjMtrBZ29/w57Pf
pGCtG2mjvGokQG6hV9eHqslw02TBHwb8YqFVpGk2LR9fX7WHiSrSszN9m1Y1mojGvag0RwWXROTq
JkvlyXrntDNJwelxjfdaeeyq8IF0Bd69xngoPWFfwOU/yYjDCL1EuU8YLYUk8GA0ccadRaYuiADW
3jxB9MHBrbBcRqSxxGoNcX+hkRm+j0dWT95o6Bt8Ui9s9Zhg512PNDnU95Ldc1eN7R7CgQC0kbiX
GKU18hRSqqcj+Pdpa0gfjaKlVob0gMkZzi4U+tNAAvfeJbEQ8lfzEgGAWVmjj+M32gAm2goLIVec
6LP70r1StvMtCI1aWxLb2ETjufSjARGsThQgXfSpSrRkl5fjXljeQS+EtY0C72ZGbbXVBFdBFTd7
Z9AT3mlmXdgYlkJps0eCOcLaMpFmaQGxz31CIuHf/xrr9huJOFsFG6Ne6mFzEt4bjyiixWifpHmB
vjI1jhNEIhObPB+8RG4TJHUMsR+RtlkHVz95TYV/MuisQ+s5sPwAorlNvHWYCS0yTlCEuLiLo46V
DduPu9sO4qozokaD8IeXOn0MkcZsDVYw9GTbMonLB6Gs7yy1IBIOmCq6oXF2RDY0a9CO6RIXaXqq
AESsVeTYa0muQRwfNAfSnSPqlzQeOOd4bNNB4APGD/ZuaSXBoYCQiIzb8wF+MtqKPYA51VuPatsl
vXTRAzhe+xqbx16SVot7bWJXijO/JMXeah5gT8pdLIurUggz676fN9G/Teq0L00Y2PNpmZNZnhh6
+lQriAO5Ph5HntoQieiqgbvlmG+A/wCK1uKYYiVnAMcvvGbPc7h6jGAPkS9AUTjyG5hKa2lXxsHM
1Z6Sm59WMsFEOLmKKTBmXbG36Sk8uqmrMTTVClwV6ypD2894fL1iz+JbgCT7bmsRmvNaaVQOtEvf
ZoEPmfWEvtH96CoUA7a4QOKprF0VAtAp/OS7pr6h3yNRc/ZIuwnpkKWtb0Nn6vAzq4MojSMR7wSA
46AEi/TqPHqWdSPu4GYVXGYpiTwLQ04rEPoDKZoZ6jbREdqlD/mmjbeRaTYrhmevHj01GsciX3vI
d7B74sGEsYtXBKYQ/Yp2hXH9x+iZkQJP6TkB1akorH2Q3uE3yNdKR2tTevU5sVEtGyltlh8PG+RQ
DTxp8rskj3njTW88Gzbn0jJ2Ad45gOZwrUc4AuETdRl9UuHIYxJiDxJevpqM6RpKghgrpjxFDuEA
DjCqJ8ff2i7uVOvHRb1fm+kcI651hG2rNWEfW73yABpFLrMQuGkospEXDKesWXqBkKvW5u+vsWbM
vNV17ZnPZdmy/oskus+GTjcGvRlSIqQpDs3atFlnmyY6L6qSmryVCReepdJ4FUQHyCS4qGNzX+ha
sRmEscHC8D513b22u9vMZGh6q8N50B37rHurHzWrIXdXG93NjMbpOkZOiogRLKSQZrD1Wnr6klXT
hx7ZX7TJCIsVQoaeLBAAttkOmcC3HSPpQAcCfz6jRK68r7gPQMla6jb5iEmbXhxgsyKkBDDeoaiI
f/2qPfW1fJowH+7SVnC+CevZcSRqVrApaCSR8JBvsYxQBCHeOQwd/jvXPSrZj8BSyQOOGyKSph6P
Q1x+aJN/twiiXHSbkkqv8wJGyWjoFsjT1kiEfolMELhxnc+O5OgensYs3+SXsPrqFIlnUfqDg5x4
Go39Jh4CJgkeOzoolgkOx+ZiKSXZgg3fon0nIuidbSMqPgrRpjSvjPlfWIP+tgkenVG3SO8N5bJq
06eISA9aadQPHrwrt5s3CZcISRmWTn8VmRaC+m6H0UguWhYAlJvBpeYTpynAA71GXDNLIiwv8ju0
CmpBQBKrSQo2YChOE6+4JqlqsfVaR4P0jQXkG1Tz7FTpw3d9fLDa7jBCsl4wwWpZQ2RSskJFf7mJ
lPzOCecG5vAcoL7AUTvsQU227Mkx0EVzgHTkv+l6h16sQyXNaI/jQAJn0jzGLTABomK8uSPED3bb
08DfxxCJsG88nAQOrgawEV356SQmhE9WuJQQ7BsMK+d2B46c9DNKsImXgSJHlazYh97Ov6sUxEXU
QD5hOWIuMCO0/TqwxnCl+yI91DGhLPEQ4LdrpnfooEB7CzLXRyHqg9vGz0R9+fAiAJ1WLs4R4NjI
+CeuFiIW1k7SXNitjTOCyD8wAPfWRODCPW21fGV2InuRY/E4BO1zHfvewiQdcC99XT9VegKUadVM
hbjlubltY48TqZq2k40VvBJ0NhOwpJH8YeJWfq0sfg9y9TQEgY7IqQVKWGTnWqj2hQFVaJHP3gcO
KkPYwlHtnUmM5F9V5pCEkUqg+EO/2DvbrDsDQViUNQKA3kMyqVqskuZwatz+3U3xE5gmFvcu8t1l
DXUbd6S2FhRSbOv69lgkIwnyHCOTNgzbZnb15a6/QfDwrHLG8cg+GHkio8PjCNbWGn9hrTH2K9MX
ZrvWkoONzO4G11OtVx3JKQYmNWPdEaI8244J4M0clCw9okEXmXXLws3MxEcxxTBtZEhhyidnzptH
jjOW67hKcR7/0TRhLh1NsgnExAYiLt+yh2XNNAt1ctD945R/ypyjNvTyc/QnFibIQ6a4RO0pRAnh
e5Ti5ISXCzrVvnio7WsCF1mtm+x1YMtwhBsHg2Q50r0ICBDZxfGiKwDZbzt3PnNL41M1w6zyxh0R
iyB5iPlIFjau4KnjpY9r61OI5jjFFonZ/ps9Mpy3HLmbJpyPmflVjCeMRSYT3PwPAU8Xc8QarbKX
Of5ngWtBoj3mJvMJbCqjW1hbT5wxBSmesLeH4D1M+IQX2bRNzWF1QQxxdiYoqFm3Z37CJ9Zrq2U2
D+9Lh1hzhgt6QVOVBEm+NvEE9rUQ69rHQDbp8t6GbrtGuLrDLWNBFh6LXf0qowECTdXcdWs010Gy
lh6DWROrFTlrR0/BnusTk7xR398QPOctg4bWymORQiR6DksJKa9+rAa8FgSihSwD6gUaBf6Ezp2A
VjNelrMeLSQnrIcaUFbOTSSoAYFTJbrgVKRKBHLGmVI0V9/t0bwiI2CevPHbAG1kb1wU01o9ewMa
8NvnASgPzYId3AGbrsMLUTUkufCmH4WSj8oxfoVt3PMa3cqQCEw4cXOKDe08pR2aJwNwFCL6y0gy
Ej6o/imZ1/EFz0mdh94mNPt8RbLdA4r6D6iMn1HAmBK2HWrXSj7uA4dLIiW4aN058isKFB9jBHqg
5bTvWfJJacAMv5rOGWNsHug/XuHjibHtZ4a2j9r8D/KSuVKydaQL7qmeoM4PUFkIADSWAQ4mxV5+
xcClpjRjAwrewV3ZonS2yAWGVT/6aycT/AzhcK+0Z3Y30Vv4wJTL8sCjeQnLxJGZrTZNSIQc+DYI
+Neu6787qsSvKrmuIGi/OXX9oIXvKO6OwzhX9hUPkzdeRotXjEn93poxLrTdP433hYwAIubEOkRk
kPY7gbyr4LPf15998NQNuErLWXbH/55JO7mZJWmpiA8tJr0bWyFWNNuIj6A5AkQdjrWL+krU+wC8
xLJyELhlCMqz+DIJtZNZ9TvgWp8YVQzzRL9MViHLwX3Qdh3M42o3yPbFrJ0PggLEUsyYgGDsv8o6
nVBN+48mA/GlwRwg8tnlKInmypqAdNZ3I+ALUZPei4CcLduMieXMxmcSXIiunM4YKa0VTpcHpKlz
lw0jD982h1LXyzmL7xwlE4KsKRPs9ikoZPnNWp6Kx4ipQdGk4KZT174ev6WHqwNi8SbKWcq0qXeM
JCLmvhtfec325ohgSrMFbPs2IORyJAbb+Bp8756bVDaC5cnSzrathDNpZ9ZEVB1AF7M4BYH3TYza
1WJ/Okcy8APf63yYNp5gU51YxGYGitp/HSgsmkPJVUegRIoRaO0VGfVDX+6GId6WYVqutK66jNnY
nLpk/OQIecSeMlEJXFLdQ9pTRA82rSoMCLFMAXEzMCbWLO8+COmsliFPJ5/lg5umPybtbcx6gA2L
v1dAEqE4cmJWtMt1yDY9MKxsw3MqQxGt84bz0vRhwrmfUfOcBdLdh1l95J9CXTI237aYjnbEExX5
yQ/QftYWmX9WQuAJi36MJBebsYE9MltE0tT/MTOIR/TCFMPJ+KVjE7DT6oEvMCjV8GbCbl4PAxWE
NXTbvGNjS92GPLvB1uWiUnbadu/0NvZeGzG/nB6HsUWGmFMRCx7EEkBuZDL/qAOX3Ewv34fIL+BC
11CrK/ChUdr84dZb2tPJGPovzycDzHMeSq08aYZ7CrOo3BXDBE7Heyhq9pJEqGHcQ4sEjPilkHDa
J44cW1UkBLBlJrtuNgJYuCplULB/LH7IId8wHGXhxqU1pLOXNCl2uvGjILD4NZO0nG3QgknbS6eB
tHGr7kdIeTcncW3YHFKHOi+s7BdwwlBWZdq35fgnKA1UqKjWBn18rbIPzFg7y+teS5TGMOxeYjIi
1iH66UVHBIgd1y8e7w8RnJQvXWA+QtY6Z544aGP2hB/hS5NrvQFG7GTVCykquAnQCWgrixRnGAgQ
viA1Wfrw6g3olozISdcGeNk6tE5J4XKTpdcys8mgINmu5C7xmubCbOaNbcNvCvUOe40eFYe6G9/C
AZGfqy9S5nwdinNnBu3TIdgbpb23vTjVzvSZUPB2HENkSi99H+0iXa8fcNz73UCHq71HY3YX0fAO
f9Mn5xSxe+NaLLs4v7Foy4GCmguBk7j7GacRAXmsX+MUUKEYrtb8WUE1y1HLeTrG3hOo5Z0P5sc4
6ZVlrEXFWIptvkHQM2nKTZ0+DrEGYsUa7hJCZaxXGyedX+mu+W5ddcfmv2FPeBtkjExHbfxcBqtQ
x6hU5D9akT2k3Ez4pOWXDe3FQLmg6daz26FLTT2wveUTDntSCUb2aexp8CY6IAxjbt4pwgQ61vvW
cJ7DXtAMM+qII/mjg/ddlllU7F8gJwBYa1ESBvbP2CBAEX70XkSz9ljiCyUz41Z+qm74NEXxJrjV
coavsiaWVgtxAo3lwyjqC+01+pvKemR3i42wt8+B9J+JuPhFhequy+mQeO6OvGQHwIq4eBj5ewMr
UmS+u3RmzCZxXVpKC9YSERHPRXiKteJSpoKAyMR9RaHI8C398gcyzTtPa5cgKH+lTmlBmcd1hfZy
9ZzhyCmylscvL6E8wpbx23HLwhtDZm2d7RTnbBtiIM061NCa86ZjfmLB7PDwcQEv3AFTDC36Wo+h
C5HuhEup+ux5oZgtkBcM5MJelAaAzDATpJ0XX4i01z3Vf8rLLBt7y6oGerPOj2fT5Lue/kGYtHnq
c4JY0rI01knEEtbs/aMWe+eOMgwC726I2++BQxXS3fiOtwn2WbAvTyqwsMKO6jh9ASOm1dLbjXJG
7Idh9hFGsJaE8E8QMi6pJ558ohgBOefTxnfLL+5ZXeu/QOw+dgCXKl97bnr9lhXW0gt9wvSwutpu
+uUkCPwdFmAGLois7T+UUz67zLHpE7qliQy3H/F6SM05uczKQEbFDIYpACBBOQAvXCnbZZlMRHyQ
oHOtSu8ttb0EB1fEPalIEm1M/13TDTw2usebjWowou81LDI/vAo/rOFjAGMMVqCHW+gzgFYbRcXB
roqtFvg7r4gere+4p8MZFerFIVKoJG25dJp8Wql+iNhsB6+iMA6+Rj0vsFwztIQp5PkPNasv3QcK
S9N6ZVGyIE7mEhr9a2AHCNt9/cGpo2/rJ0zr6WC+IpXHgIWCZmki9MVOuvPwahhQQ1ZCsJ8wq1Bh
v4j7zWSGG1WDo/NSJC7xDMsTiEfS4F1kzqsbiUNsFrBp+2tsMb73PPITgkHgdwV+49L59G28x6Xf
oExAeuCi/A+GC5KRjyrqofty12Pgek4aUv4ith9x/SbiBNM7j4nJmt/qYcgyiqORucWDj9Wm5pWr
fOaKQ1XVTFIUkJOZ1OOZb1rHnDlMgZWUqBeKwdprRfxC9rK+6HSmAhnwwVQSH9s8swtDpeCr36wF
UYkQZR7Q8Aje5ZRoe7ISEBWqJt5lFS1gbng0dFN+9My5BnQYyk9Isd0Ii1KvdlZcoPYsx2+y5LT1
BLpbhsdC2sM+1TJ3iyLrWJY4Ey24EwTOj7OA0MSLxF3o+2GzjqrfcuByYdWn1nZVuY+yp5+x56Gw
TppGgbWShsDAtirltG48LKkanGp82sSN6Wo4OHQZ69G1wIeiHE/ddB/UImJHw6gefPZtYMeHTdPt
2KKV9TJuau3AQIXtS2a126SqgbIwuTdHZT/XDm4Wmu+YHpu4iDJpssfEbw5BpTjr/WlDFEO76WDB
E2PwPLT8Wb8QGRHyBlu95OITCU0EeQqaNUZs2RTZ1kSFukrox0zk3t3kTZ+h86F8550dRAUJIGUA
aEa0xR6+EB2hDsYsRoea+cBDIDcuC7X9hOBoW0wGODI3nQmRdDtC55+Y9VsJOrCCSnym8a2XUZWD
BnU+jXAyT1NIEyKCasP4FR0yvj9dC7F7GbjHJSqwzpjYfbbMhStAilM1o/+cGMmuq/4EbqJtlCIH
RDMbvFdrpUtgkgU5DAXhcsNCRKPcj6L5kgk+exPHjguyYTEpSYfEi0npDwo/MnhOM6ZuxVC8Z5Ta
O4sham/klOR3jY3IahzcYdP0xnRErvXQ1ta9nfz02nqLEt3SovG1fGt2Fp+UyXYoqWl4ZazfTNht
pwJpEna9dsWkkfJ1Yk2TTXTUTe4NG2zYilYVqQvyqzcCqI1HEOIeamT0gHZ1EVTt6RJiQcUmlF3e
DKKIXd4K32a9SWFjEOchHsJ6RB5XAxeir2AvWuoQ5svvttYfcfugxu5p12xZA0jViVxI2zc39pKl
o6NvAHywtOuaeSR2cYtQR3wKQ3epi+YYpa/4ysy7Fxzi3CRPyvV3kNkMgghGf2GZbLGCtH+vQGej
8O0z/pnTc8p4lS33Tpj2F5F80S6FOd2DnVvCFzEWQulfqSPJTKl6FrFGMNtPEQKaxjtqH38L1Y1E
1IqZ6g3r5TXzG3ObFskTcEjvGX4xZkqiDdeefdd6kgu8UL6R8rc3i/yDCGF0URHwW/ZaJscTeMFm
45tDAPShMrpVysR2Y7M9WCH/QNAVDfGK1rllSG59JygT18yf4BfsqjaHZd4jaSpD2tdWN5ehwm5v
827zX2nDkaunmwFGvZe4sLoac9MWhVzjqMuwZOfvPNTOit51IKT2mGqsO8zjhLDsWHf6xi3C+Gno
vC86ZETCXo9y0nKaA7YFUAy5b/KJ0r8Rd6HsTRKyXhRDMb9xWrSfNMs+ro5R+einbWvlmDwWQ1dh
q5lQejkGO/YuHKOd4RKUgWdWgjaZdGzs85tkWjkxJAEsJ3AF1LXo3rOwXiNqXGUGP1QxtpyfiX5p
LYXLe+pezSiBh6WGZdtY4UoO7CjqcY5FQzufhtEnadTFIWLroOVyhhKQCO6lg7Gm1fqodedXhaZF
6iaCh5pXTeU0Y0FnLOHFrTPF2Vb2hLaMOvreytKRoAZMjHRKPb8hv9JOiUbM3KPgrSQgCA0FNNoV
ZruEbjfghizH+EEwYR3GGEcKTTaj15gdqrvr0c1ualnkZ731UDdIphlaVJIfpstv3YYDhhUROsQD
bINfEm8+QudGvzzD4PHijp5iFBIwluK+ztbMVLeVnZyNxLwlqXbI3elOe7N2HaH2lB9Q4Ljl0jb+
bAyynQeTrRAKxsAHWFkhi6GWf9AYYS69OP/UEj42CsVK0Q6PpfDKB2N8gejxRepLNNuI/c0gh+cx
sW6+iL9wLcHtMnGbp6T4xixJ1ggfXmxQEahCS4QB4XNaPAR1dXchy+LiRjqLqTaV3qKlOVhMA7JV
2coTcg4I4NYt7/x4qUHZZvFvYDCKFbvtfqMEn0PPjM8tQC3b+g/qzmQ3cqTL0q/S6D1/cDCSxkVv
3OnzIFdo1oYIKSJpnOfx6euj4gcyMqs7C7UpoDdCKiSl5E7S7Nq953wHG4CR7YEnPg5QjuuSv01w
gJeFwFtq0xapXIMnalqbZUd+Hamh2A2wz0DSVDI94T+qN04WP9rTOG3RQkJO1EneSJD95oZVP5Yj
Jmx0tlikEwfcl9l+EIbG9pOJkg39j0BlLJKVAzGhYgIH2dvbWrpcNCNwHEdsn35d2XcjCqCVPgX9
JuZqI9XxmGegJZ+6fLilCSevcpGMZMURGfYTMSs/teXZV4wbVrXm7Z3RzXccgzBi6gdndodnqBJ3
ff8NREvbJVBGSOfwZYdGCOoJ0mStZCOcw5Mw5+cW8v1iTwkjz+8QvHNDEgKmC4RJmt7cPJO9N47N
OxaleR8mEoBoMm4ji6QHJ8rvc5Tan0VWDgDc4smv1GiB1sUc7/Y2k5G0HKkgKIN5U3246me84Ife
C7kByHK89qReQn7XjuOIsCdhVgC2xUvYCzlnhsGdzUDwMMwIK6yW7myauATBzpxJszgBKKkXd25b
v85F9Uq3lRPKUicXhXeate4UxHlwB7CasCbLtaGZZy/KEPkn0RP3MwKlagBck2uBdoiy6Z1W/Koh
j+g4mVa0RjjGoJhQPlQNdOA2qkcei0/NOivMWueoNfcAMik2EAlQi/MOR1G/bpw+or5xygfPo9/b
SPedoXOwDTI7fKuT/qItG3KSM0vDNgPHihSpq2CfUcSi4I7qqkvyRWMpCoKgpqNwA+dhGUnB6+SN
qQgJ5dkrR8r+Ys6syzBr31Mnlt9LYrXgCQw68WMkv7Zu/MQCHCpdv8vi7AWiKzfzqOTGbYrsvg/z
t1ii9kpG9TKYBsDGeIRJBdr6pbabb56hUfbl0fTe0KuOHXNXcSQ92UZ9zfTEQbtKw39OpxcccdZh
ssPvrcVj57SgdtTA1yglsju8UvYu8pzktGBGZFaka63s8pO3fGBkmZ++Ps2WvIS4mt2Nndfqki48
woQMS4IjZjDPQ1cN275HPF32ogMyo1jbwQPfZDUjFKsRXnKIkfX+6x+HcVS0+Ex1cWxKusZLIAIt
3+1p7uxT60v/z+/rlm+Gy4HlrpsuX//+9SE1tIbuPTFcczLwRLnTw9cHKJS6PRcPEFFnvB4t+ykh
Untn+dTGq8wskAvz9dUZ8Mcu17BSBar5o7Sp3tw6ublhr/90QBsIID0RM6m9IXNMXNg5MOpHE2iJ
dDykc5j/GPvmGRue+j63Cp6WW0avgknAOsQR9BTFjKRQWevfOPxEG1uJ7Jalstlqputd4OR7uwxC
86mpp+lQRpgu20xvT2bOWczRkiugpvhkdkN8+vqvrw8DXJN9X6Ubb/nin//+f/teJ0lpiVpRSvbu
QiLqOvcUgcd7job8TgN4fS9V3T4b6NSXfzXQXN+ajoCG5bOh516aOHKxf1rus4QTuoNl62y+vgpy
E/57kw+0d/mqppZGfNRn16+vVnrri4JhY5a3zQNaj18/NBiduIxC0VRXk3yGi5ocxIT/7+uHMJ5M
bKlNt/v61BDWgvwS068/OXe1W44u75Ygy35GVrP8WtRD8w0g5P3X/69PRHdCxwPOevkiB7LFVhUx
lVt+m2uJ3IcjV/z6iwvUjitnkPLS4q3z/2dl2H8JhN/9/5MT7/yjVHvz2X3/UdS/S7WXH/i3Utu1
/2VIYYOFQNIqPd35U6ntmf/SHaC2tmW4ljS/RNwsGIsa2yAcXkqqbgO1qImA+k+dtviXtwTNEw4v
dcsSwrX+Ozpt92/Z8Aa/xNAdR0rP9gwDx8tfVdoBFAlGhRCWhWoeYBA5J16F/evDGEgq4z8///PL
pefUe2NmiIotqHhOc+II9Sbp4GTNgGIAw1zBgw47DyPMySnZdGlFFge77s0zhuaAeVjn3jWWEZK8
3jUPYa3oUKm+fEklfMLI0abvaE1vAJqKP2oO0K5aJq2e/jGl+VumGBfVNUTgNpbZrV8+eKa9nR1A
QoAuX1UxOXu9N+urmyjKXUbju0C5xenf/9bU1340OwPpMMDQVv37Mxea0jWzdAfBCV72rx/tKIQh
puLicOviWstJYaqcdOdSt/6vz76+oCZVXD2ncC9ZAX+Kb+2l3P/mALj9ks7/r7zLbkXE+vF//rf5
V0W9bRD3x3svMFJYy/20qPd/V9TbZq06xm/WL2l2EiRPrqB9SqwTOdCBu2RWxtZ+EOAW0rylaghH
mltTvA/DCUtJ2T5my0giS0ZxcgCCQ3lCNZvozLmU1lzNIhPMsLDPhAZCtyCFCzHajPBnOIObomOt
rdCcbsnIvfvnV2bxfPzmFVheGTYBCdjOM2zmuqb911emnNEwSszJGzXYHE+xsDV2bnPneMWOJXry
OVWrLU1Cb5s3ZbpNCxfbs25pLzC+d4B1UDSPySOtk58NtjgfjSk9vYQhPSHTE+yIFP2PnnmE4yL2
Hbz4dZBG+8hDuJODREDK0YzB9UhAsh6dZZy9h/XoVyN2Xgt4le+VjbFtQusPVBL96r948X97BGkz
WI7heLYEXwFYwWaF+P2yipAsNqSsut+MKTQ+NR/HWmXgd9Oz6bjDnlRE8mMa9d6C1t8N797XX1yQ
vO4k1aEjH+IoUF3rnMgfyiYrDqM5uHAKbPze2fiAGJs8cIpKqKIPmnfNQ+ZXlcsJcq6T5gANdVq7
2lwfejGR+43g9J9f37L4/X5xMf44LGaOqZu6IZePf319bjPMnWxDB7tojjADoHqWGtYF/9QVj6A8
RQqAstWUm1RHHuWq/KWek+g6gAY+p3P7nhSBfXID+c0uo3mneZ6guYOdSgPeXENKTwn46hjU5A5v
hIjKl4SrRm/Qn5tSX8c2jArX6jjFWvKHPfyQSjePblntu2ikcHGLYeU5THCHlA6E0sfbQK7OBrBG
6rezZm8q0be+7Jt84zih3WzBEUvAT8iO9BEnSw88PpnFQBApLXSVjbc5xq2qyMqjlRjQb+/j9pH7
8Q7hAw8fEizcaDT7iu5VVYZ9kvriMozuEMJ4vhjK6q2Lh5+tVhz/+Tq47n+6Dq7j4pgzpYUiGIbY
X69DO3v4QVu8oeCzCxQPrRFtvCIm9jjWiWH9WcSFvZLonD9p2HHHfB+Vi3Tajt9aHV6PTeBpj8WI
vmPY3MtBJ7zFqwAnMGjOuvwZVQGAnbpITvE4ivuMqlampsFRtebywW/f23Qt7xCd7osZPIWyC6zZ
qim3wmaDaEOiR/vyMoJ3OpbpOB3mTOPxnChYpU1l2wUFcuZMw9pBiELueSMzpdDbUadL/+vhBoWz
Ag8O10pML7Ic7FM6MJ1z4+toqPZEriks9DCkLTHJqxVylpct1NkGoeQeNdkRh/dwAu1jWFHB4q5z
retEP+JreEUrW5/h7PWYUEFxEciknwMHbbVrjS+cuUZOzJ2x6TRwwuCw08M/XztDXy7Ob24qS7Du
mq4UpmkIV3f/vkJKj1ahq3u8+xjnoZ119cWM96RWrwnVyW8JS+N6zJoRTJ/N2N0YQII0w4cw4I01
xltiuOqKj288Z+30VlfRMww858jxqkfGxjAbDIZ9MiYkvkN+X8zhoRQTb7CupsX/eRhnYH8iycaT
QGlw81LM5xwe9j2xAmvbrtxTndJATVu8L0NQHkM1pteQc1PdYN5RE8hAK5rucCtvaL6KCwFYs95U
O2Jh5m014ZjKOnXKpP0UON0lnzh7JXpFC66BbxASwLRrRcD9Z5P0NgKyhPvT6pum0rKV8NLPZiyH
LVP2xxlOE4PsYQcKAfDVcmvIectTUZ7aSXy4mKRH26EfGjmQlwWGkiBoFpU/yQJMpm/5eDZg3wGi
sMIL6rm5rHtya+AiWSlZim0DpQtVHbIBPZgPDfwH1DSZsWrL0PhmFfUrPlGMuBB0c8cliX7BZ9NY
zfy45XBTEZm7rRRHXs+zaRc2+Y0G4vDLLUn1HP4kO/nLYvd7nbCY/367V8Av8b92dROkgzRs7z/V
CUMUpphmbQOL7d3X3dHHNsmFKtW3vYDOMHaeuisIL97GJBHAZpuDk8sL9RsXcO8/37nmX1cdZ7lx
uS9NdjjLMj39q6j5zQZIy1HIaFwEbOY8HmdIHtLOvQtwcwQYGrlQVjbgHarjreExtDcHlqYEIXBd
ZO9eAtmBvI7gyEAgWoc6c9YKB/tcRWcRorKtvYVjRPakX/ezvjedhtwVXWMs7zbWMTcNeLC00v6L
12QZ1N9/f4d5SSaVvWcRXfL3La1IhrHhVnOw2fOUxFoVHfDBId+CHIH+i4iBbnb/QO1o3RgxJgD7
TP1DjfisFlLyN9hhAxtX1R8YToBui+v7NmKAg1b8bY5kfbKrUmDxc5hzZUsjMCw3A0DNA433UwVZ
nEvIOMatgBGAkqd5kvThZSSmwJLFqZPA9wjt1oqAQUFEApDn0Wis2XBhmq9Nu/buvj5YTqdo7rFO
KggtCKxasiYYMexQonoHzxvQ1pWYCjV7aHek6tWHwdb3YdkRUT1a4Vn1yWcsoQ59fRaO906AAoG+
AyE7mLR3JCJCxsDBurGT8aGwk3bXQqQ0g5u+rDaOoQAIFtGm0IaDM/WGjr84tPbxZB9chA7+DKCg
pFcuDgPqwA09Se0hjOmb4vjKmQsDpejnz1AbJ1Js6flEjfVA7kX7DDXFQSDHrjHp2bhnZtm+zjHK
gdwGaWBVwVPBdLaxdAhpVXYIlLUt5Ow9zBU/ory8eC+mo1U66GzE2NC5XZr3lVusKqvPb8xw3mh8
zMDwQrKOYkgYzJUHHrc6eBFZtP0q0IppOkZ4fO4nPt2LKtk2VQOsk/HQoWMD7eNuoQLi6R8wQ6Cu
6cZ9qVnefrZqOuX1Is2qrJf8gaiubzKV3nGyi2RTQJc/hHb3WsDRyPO8vXD0SFdhybU2YhI82iQ3
b6itkc7RFdMgX++TOWzucNJzXpF3NANzDnsCasR0CwMDBN+SqdKUPT6J2fYnABI7h9vmfhjLzYwK
O54xp2XKeWH8l58sI8s3RH0ZjIUDrPD0IE/d/NXrL4CJVL27YUNVJ4IrE3Q3HucRmwCpBvNr63td
Xd45RMKNxmg/5CWZcdAx4KPhMMWxpi2eBM33YrDGtKj1TZD0jwSE9khQ7BC84Bz5dU4orz5ylmvi
+ymVgMWwK+E55UGcaC86tVHfB8KE6flV5jR61h3rmSihpfyK40A7Z7jISHmlbV47+QGfKdhZXe2d
GoYDz6w6zGVl7sIGt6pDHxBNQvUTTa9Lg2oejulT2Q7Wtves+AFNxonWsjoVWzrs6He//oqeEbcl
+gOZtdUarD5FfexU3/Kw3YUyIMEYJN8TFDRCewcZkwNRiJPfT275VjUjEWodoZQ95B3cMhhZO/DP
apjF2YhtnXHr6Py7MiKvanFZLCNzJvVhEMuN7i7YmPTYbkJPRA9hGlfbbIrHTTy5+R3JRmJInxln
mYqbnWqG5wN954x2LYDTHdX3ruFRHxqNd8Fpmu7L9pxZICBsj/TDgrQLtAlagVC1pnYq7hShf3e6
52ETIi5cZyxA1e7lwCNILzL72dtBrAb4QSF56ApKDU1rP5NEDWfNVO+F04aXxsy/I5XK964LNzpO
dY7xiTntKhRav9YmArBDGJNZv14Ay0gjqCaHPnmoZ+2PWXMHX5nxRBffzR7pq92VbI4n3e7dXZRL
B7Jo6Izbr+N5D96B6QmZU/OcxLt/3ufkYmf/s0BbNl2c9RJPp00TRZjesin/ts9RcKezSVt80xJF
SGiJkxyljM/NuBybFwc18eGcOSCmrSZ2iJtaMkToh+R+owNnpd9NVdNaOek9dn2IAa1hAdTSTbgf
6srbBbl9j83ChsJYCIbey2rZt/IQNU2z6SvbI57IEH4Os3fDVX+ybVscgAgxnKdPs545815H7CiN
1UdnYBTLjLGwzzJNNkFjvgXISXZfm6zjTjcsaimtUSQf0XJC+fqA2s1PevfUf/01jPz4kzzAJjT6
Q8O7hEVTHt0qOxO0fc3NuOSZs62rK5N9WC2RR41uUm5gCWlwY67qOOUdWQr8MeiHYFvOkDfMaAl/
UjBjjQQFkx1AqWcwclKEpgfSrQ9JGxmwhlt+1KnmYwqlphKOegiM7yTmfPNmLXqoY5QU/3xtxdJ+
+Nu1FbbJSI4L7MGr/1t7ophEm+YMFDbpcvaTHcIBHjTQn0vp7Xjexo6Q/5fd8GgA918nNTNaw2bc
34fEzzkuDNNILkF1afIYhuF7bDC493gi8cNG27nRPiAfqGMVqjtO0vZdELIdS41RpoPgKzbm/hQo
9LcOKIdjBbWWcgc8CkZQ5lHL1KqBBUas6URfvXxLuQFPAqT9JswMPzDko6nZCc3yKiStBSSObkav
cS3/3R7+f9ad8q8HfUo9W3d0XiEzRE/Q0Fm+/tsjEBX4wy0N9E0wcu02jm7GH0mqGBtV3WFKnPZQ
QARFSPz2VZqYiYHidhg+DBkSx1vSwBrzpNi02fxu1C0ydis2D0hxHopCbkkIbMGRTIwqk+wEtDi/
2SERDaHCvgDDczuNhI5oUFavcLnV1kKLv45kiqRL/JROIR8GZOKDnl6aseMd05D9iYQcgrisjSvD
y2Z6zZaKHJBZR/0CD0wscUdIP69f5croqeBXwzHXi8vXgXPKDeMxIr2V6ZPVHiteGeS8ifCtZ0Xi
+q7DgbjpCclhtqSf1LO0W/eM+qr0yc9xc/vBmbI9IH7lw3Twdm0MC9KNXkqOemiehHMaSmI67KRP
zibwiX3UeT1mf8+9Q/VxNoeM7zCYAwazyHegiB7V4B4NRt1PQSaf/vkhMOkw/+UxWK4vzUdPOrru
CeAeX128366vZnK4sWdiIIW5QHqWoLa8OpTtMTe0GMwRFjRa2qthYo3LEwOTnqUfVWf+kDGz+lLH
64jEu8RpMlwtI2oPRpxSV7r2FeRzaGKP7zyc0ovaZ0oQf4zeUqVwSPApwwlHVgGi6tkIF+oSOCzo
TbqdulAegp/zhK29NJgaB2l2Ny6QsTYyz7TjUaEQMHAx4RfOQbKQKoerLSZzKwmG2Yx1fatGzEfF
MWqHYU1cULjJ7CXv1iLnRXUfGtCjOCRNk7ifJ0I8h+Bmx8JbGyBxt3jO6AXn931n70vigjeMu37S
/rDXokHwmcXBKpZPpBRpcBlZAYxIvSV20Oxq09fH0IC1VXV0UIA/GXoJuxqdGIJB8iEN7u82KLBd
OWN369CKY4GJiy2AJjwIXvmdaWLMsdwuYZJpA67wJjw0NBdZfbB68kAsOGrXx8b2AyEBKpco3Csy
pHwjxRwirRiPdVEv8A3N18GvkaKBOyWHWdVNLVJDO9jCL1zsCYgkAEH1cwSmKkOrleI9qBvSfi0E
QcCGAJFEGSoh2nEYVlmXouVDPfNM2Zwn5476wEY4ORGDnXeUKiQcdAyV+9lHntMZ2nvilC9D0KAQ
L8Yf1pgeh8ac98J5IPYiOVNvr6lsu20xmDCPJWSlPMNQFgbMvIqjOUgX8RKW6IEjr8CSsQ7B3EYR
puKprncmSwUKDqXv2yJuAVg+cYq3ntoKGREOMN6rCYKyQMNAD7Pxw32qSW8/FXO0VqX2UAStPNc6
mjN3ZrOUqS1W0QziiOcsJkWPvibxseUaUHm8ZUG4r+wejIBwIAg4NZ6SfMOpBiFhQ7ySZnB9hQkn
3hX5ISCMwQETfkFDr/m5fiUmamBIf6vb7GMIrOhYq10dDeQkhtWLoCQ8ont7Tuu4O1hEDzjJ6F5i
9cFJePLrCeFAqn3kMmuovUxnVeGaOMmK/E5FOKhnWsa6JHV8RZsWf2i/wBKCHSYamuQV8MgGLwoN
1Zm4JuiC8SQPSWnUG4Lcj1E5PBRa1GKI4EMDJ8BPLKKABh77XmUr3Qh6goSwmhfgzSbkD35DbKo2
LiovdGBpgKg2qvDCmQwcMBDRXivOKL3CLS4bza84FtYgdNdtA5myakffyKJT3gpznyURuFstvlht
/12287ChCb7qMBithI2jkaP3B0kR31MCgRAkZmvKWsRHOu2wELDavredB51hxsyahEEENwLPZC0V
5NX9kBo1V5uoO4WnUjQ2tJ7ZYNKDOtQR2s51cdaKSC251gHIO9SDqYkazMjqq6wmZz1C84L02xFi
LBfxCb4dKr1qTSYTLIrFmGjZu4nI1T2k38XFrj1KNziGuKtzFztJvng5G9pfK43+NKjMd+kO73lE
h4DV3oDlQ3Zbxj0Zm1BSUhZYOqu4KhvJLtL05yChwqbTvXamzv4W4dvzsAutAHmuDRpzvkck2po4
OkDHZgXQTKYIOqd6TYu1OmX7KIlp32oPHH0/mVFy9K2xf3qz2jOZ22Qm+QtdAy6FJ/Mgyp9td9S7
gB57FBro+JJqWxXeTikz8hOwagLB98WQ2A6sTu4ljVCq1GlN4UqrsmoulCxUcYn2Zs8horlkibQc
cNhTEWpNcgZ2kKzEwh9ZQDmxkPq1LRuf5JhCuP0Pt4et4gJxBJsd3Ds49nObliSX+JZaPR6wmCOM
bkd3aRG118AqH7lZ5nUb5ESO2mP2TdW+XhD+XVMTHIA6pZ0X33tQX8+l0C6AGBZ4u6XvZeojg0L0
Mru1r1IW5aI2+/u8mdYLocYzxXjusUxwnznXADHtfZGzvHdMG30ItHuRu9fUjceD58robDv0TxW+
4HAKj4GnNZevz6Y0Gu8kPgvzXgGrkNjILrkLrnCManWg+zIdegDiq9LBdBXxgmZHDPeao4Z70HV0
ybQ1wipBC1jYkIvNZtOIAM9QXgDS974nPVkvsjSKTZzZz2PGztNxVLsKI9nGdI+6zKQBiBfmlpJz
l3nAiMhp5k7WAt8DFud3bTnfy1Kkm8LK403rV6hlfCMfa04rpCnZcX6PGjUtl7aiKnGpvgYpjj1s
3Rikw0a/V2qaL8VEnOry2Vxn/apvuuogrAgXDqM+P1jC9srASRZRKR07vQMgMzLImieYdl+f9gky
r3AqgQMnVr1q8Zn5M05MbxALhR6Qd+YYsF5qbW8uqmR8z914yU3uwX52v+exQ/4XhMeb4QGBylVK
lSjgUIgFtkwmDf4v/WNJ6i250el/NVcr7uuLUUO71x3SWrWuEt9sDLMro52Kq6iiBLP0vMZFB4Up
uHdL2EoWhmcohQoAh+jJNjKirR6FT8T4mlvXcir6BeN3FNL1Dwg7p1jVnzZK2ZtBu97HhbKNaY1D
UB/luos5LZeJQfyy000vVtTfiCTSf4iwve8kNDEoQGKXZOw5TjP/MO1ObV9NlM5XgLbXMUI4Wbtz
xYaAwaKK+IWDRmRVz/F7HjHh0aD+AZ4PDgiW/D2/Ufqjg6weX6EOU6sZLxPWUj+2iYJQSFCyuHwO
4RqvE4MiJKuROOpBf6GeKXZIzI8ac5WtpnCMpC0BkFNDZgXyynpjMI31zcHaZE6SvxsWrs4FRH1J
sSfRsXTU0ron+Bgsh4Zf06yIBysz1E44OsOGGV3acG7KsuqxsEm36tzIPDD93ZhNwl8bO0uAOXtq
JAworF1ufSvryxyIGIirTkp2jG8L6EzJ5lnm/JUN4YACTPNY348NfyhNx+FkFYjJ5wg69TJICMJ3
HFyfsTv8EGPbXCzTqc86dkF6/rN3k032avX6CXHb/UTH9Fl05U8tV+Y5oJmA1k4PUP//BFTEpLwX
n0XrXIhkOyQ90Rsuhjq4IR6pwvpx0DiSjHX+WGE/pufF3LloH0bTNQBfP8Vmfe5ZPt0+CNcCY+U2
Ld3mhk9UHWnhJuV7ONSvKpbdMeKi3UrlzLdihMPZJpJopjAB4BWpXaXy5EYUART4ov8eBTkYLhV1
tHZqOgJmPN/geEY3Z97o9PMOSRKmcCL4TV2TtbcQurQHb6kvWm+bNiipbFufwUfk8jZw88JgWxxL
A/NC7tPgRFvs2qZdR3A9yeZjOF2VqGDYeJbPPhVtAq8B8FxZxvtIO472PhkRGHvPAAP0KDtYruZ3
TkvzyT3N427ion2yV19C40Pmw7wdhTEhAjc2iP59keqs/Un8PlbZ82BStBA/jRDfI5/BU7fEYykq
4xArZ3JnusO19BG1gkDvwBt0c3HflpXf5xQFU7qftdZBr/sK9PlB66dz4nUPEYsHw4NvSUcvG5mh
2Fpl/pohgxjz/m7OcF/MLvhLnY8sRHCfcBuQA0dYDaYGVaZ+IpYSMZJ02yf1Buwv2LPBrR3CaA+Z
p8WEqtyn04/epr8Ih/1ONvT13PDqWm2+6XR6KXUEgLUusaBBl2irxqPUM/1wiv+Y9GpXzgVpvvKl
arP3Jqb9w8mXB9fWGb+dMGI/DQPpyRVkhcXfc0tTSgYzuU1s0ngHgk/b1dYZQTqsa8a6cLFTc4fz
ULgISSkRsNVxapnBvGpSWBuF+YMO3n0Wo/RXDjT4wLm0Q3E0ZLqFWsutgvYb7ToGwlo7WXb8bqjm
eWT4vpplfs098wOdz9vAqFJNrl9gvV7loj7HI5uwhrwYV+qpcnhfQhVkhEqBKhv3eCkupeFemppu
EXLWn4VHc3ssmQfo7s+8ZGEf8kOzRFu3hvYiW7MDEEE+G6EvHuukwQFQewJ3wVknM4gcEume6Omb
43RnFnlszjwSjocJLZS4pa30YAfgv8lxn50Q/kJqc66MqU0ic10CM2fE+zID/G3E8hg2Da1UJvqo
5WluYuRIQGRXvkrKcWNh9UfaX22HXL/RKUSWH3vfJyhNbibesh6jXB/nh4lTUTAYn4NwTV/T67VZ
9TuZu/eoT/YyC/SNFr0hJfwRF9FrLh88CMzrbqAISz0Xl0KRvrs29CthvVW6XvNQu59TB1ZmSCzf
yVN8UGFyl3bGQ4X3kCXe3tj6Z1hE2TnUm2ccCCv297UxOa+Z05LipEkQG7Z5iRwksWFHuzBvLq1O
IQ9cQ2t4h4QXYGAJ/Fl034paLRpzZv+q6H+MjHuujmm+5E0VHVnU0i3eEppgi+RVxtPVksDOW+ba
a5vEWbBwK/rE7wRAp9iQTBhA9YxAJXxyPFFtmybkQXLmo4uEdpWmYcauUM+bIjJ+NsTf7hIjPtvZ
Ezl2u7Yz3rps/kY19kc9VA/WrMMPCpnwatPHFKNzD0ueH6+HtEL66ncv2XLi2LkquOoGgRfuiCPX
JeQchfDTXLug85qy28Q9eyGeeCQJPfMAAiVMRRZXaXF+NuwLFpzPifADWGbFk2WjMDaL5GiX+c5N
uTPJYdrVUPQ0ABGgF6fg4OSfig0KlUD4ju45QhVxYqIgkRTrPOItcqbQCt9HUGPUI3sCND9gii4G
vnZot7MqTqnuEhzYl8TnLFL2+rXqil1mEfsZuPormIBDr7GHjF5+MzvgKGVvHINieVTHneKJJ7Pq
jUhxtkTsaYSPOWQfaAVZlQJFvW+CqpIJVhquNzYnq2TpMJ69ot9MrZutKqPChpFaO2RpHNmjAXde
ljPDhNc1eD+81K6IqdDf0Z1WlWQky4tYVbPzOSYssGG/j+p2AGdh0fy2+BnGYY8kdp4a3bAhonWK
covUBIGDxPJsNrR4HcgZR1hVI/JzWEpho4c77Myq1z8KiaChKWu/M5PXoRnBo1E8hbERrLmaYKzG
H2iOGh+Fw2IXz98rfI9xqAClpKz+NHIO9NVmRnp9Dll6ugBl58zcidNALtsB2fIqQ4bv6wZqs4jm
Q6/3a8ckdpSao1zWhySldCs4DrDHM5eUOKGmmv64EOYqy8djU9cu52Av3NYx8AQ7O4zdlmLMOdfp
K813+HOGpa2apiX21SThwWZInSSmIj6M0USMxGKaBVac0Os5sWHuDM1y/lZb1QvtcpAMkhxll6Vj
HxsLSpsI+pCulT8MWNpDejhhyMq9sC6VwzvIYD68YX9Y9VNbbLSQjAK77nocAO6D1tLEGqJ6q+NX
OmqW2kWNW657Y+JcT4VDPq4GXCHVD3Pa3Xd0ee7I5OIy4XeFhHKYGi+g4Z986OD/ptokqyzO2f9E
jCzIw+gStXuiLpdloN7GngLIZ/0wYbqv0MXRsx6sXdTCZ5pGEdBD4E2nIRAbHpJGNs4ish68LFS7
og2CdaVhGc+YkSC4KiEUwsOrDRC0vINCjQeV6S/t4LI3dyP2FVks2YE0Z2uPuZGmu5skRocOPtt2
230YsbeGDGzYC6EFqO8TRlE6IQAGiUX+EZs0MYrGFGu3PUcJdRUdMWtVlqRxqdwhigMx0yqFwrKx
3MBYIf++ZrWK/K6bseSOsLNSelLl1N4gs3Q7+CpqG9X1zzEO9VPX0b8gm89d98miOiPQRnFeI1CX
chADLD6hLfMmMljSliRYxYmBzVnG4lvLwBOFQ7K2BHEhdg7OoiZXsufOpfLDYFSIb3k5dHv1kZhN
fC1EEPmlhVy8qGX9DWPnYWwKVkVlzJvO/TB7UGbZDPbBS6JTaTo/QZpDDXOARmGSy63yhCl/bw4d
9m+7i/yMk+w2G4MnnjsxO6e0Si+BAuaoGXJbd+6lyOOj04ygEio/m8NblbOsYAlsOejEDcnH7tWT
OOM5mG2NynltLJ7Oqhgf8xPyXUKoGrqrCFGKLapQBPH0CluHQUKUSXyv5xSmyejZr8qZPuFuOr6p
8DbhXgNkJ7xXWl1HkUQ/iXN9MeLiIVgkOq2CsuTQfxubwEWM7/0xhi4pcimDWfcjFeGj8GZWAOi2
mcRDO2s9SUeMi4OHoIagU+BOPEM17phSNNx3M3vj5PhNVNzXrS2XKfsuZZq1Lrr/oO7MduPGti37
K4X7ziy2e5PAvechgtEqIqRQqLH0Qkiyzb7v+fU1KCfq2LLLrsQFCigk4EynLVHBZnPtteYc0/qa
6KJYsVw92la1rzMbDnv+2AYFrlulIKdF3rbKeE5Uvr3P6w4xHMpGL7xIPEeeOY6bYFQ/RRBqFrPF
3Ro2ZPdSgRGxq1thihTVevP7xHU85FT0sYZxeB5ySZKbd8QUNJNTfIpx/Uve9NFOHbrTIDoiG/Hc
DxVxGvXgf0oLtWe/5B1vbQkv3iBcEcZA3qSQ1SIiiAPMi26XqG9lnWVrFtZg43ugO9iP856s4U12
hbUm2fWs9GGEmEl022TqL6Q7CKx4auCyHHq4DAMwcIWwUYTjZlWnZ1vH7gSflaYG7BrfYg4wlalb
Oaz9A01UIwTFlEw8PZl558TlncXdRtJNDulZTbrlgPOIWmdk8LayByNYcU1HtRnXtUGZSPIoacL3
Hduda7Tk43qYbAVTC29ukcLdJ5puw9jN2Cb1FK2HlHVytEZr02k+5su2PAcC2ERu0r1uscGfaqNw
LdVJDh6+Kaf0X81cUmUC/VpnLPpkPu4ZS8+wTm5NQgKsrSiALJYNhAzlwUm+5JOMV31ADg3IIyrN
Mcg2uE5xjnn7ojFruvao3UuL+MWhZL31Iv+uwpClKF6ziTz+LGhsAb8l1xiBOLWbHo2B/2voGJZ8
nXivEDW4ZpJGMEmecFPdWoAtuDfYdCP5HsOUZkkV3YAY3KqNHRxJEw/Y3qwSpfNWRBgna6dIeFWn
9oNndoworWE4xvx7VsJ40Q3KggBQtwpw08xY9NJ47clKLBjd8S4Q617Vt4ZqMg4KQFVOvjzl5AiT
884VAKswTOPb1BHE1grlwMq+jtAsQTFrv1hI7HnLMs9OCY+o0tdqRqlD55oDbp23TBnalVbiZM6t
kfZqdhQhLePGCZMDU4SyGK6y9oEBe7PLggYtsXfXBtqVAcibTrI2d1UBik+myjgKAh6VxUxgszNj
l9BGRwhUXU+lMiyMGqEpIbzRqu1TZT0G3lr1w4UhDexIfdO4zFwcROH9viL/2AUf0a4KoYtN2Fu3
TtlDO0jtle3vg0EYn2EF3ZYCTDf8niHNCjcXkG00hSh7J1WPA+9p1ysyQMgqkM08hQeo9dRaldQ+
KaaUS6s1IdgkCKDorJy9ABygGncntm5yoSvpFhohiaTyjIF52go/QDJLuCrZQy1bYskTYAIiazPr
OUXdt+LdzzZYV49oWtY4UAjENrSH1sKg3LH737DV31CL0mkJ0TYNkzwGYI6XGfVqBOlwoalstS0l
9zdhqGPVzWra9VBkU8qcA+tzXPXRStXjw+goJG/dyZhoQmugYtInGEVhIh8TeluLVPjXpU0pL+KC
exMFjNEr9TIfCUwrS4ZmNuy3dKgZizEnQOkdrFRSAtchn33dmxeptcxtRt5AZHhihZ66XdKT9hg2
NRkoenrrJWp6EDP1XcbKuU94E/fnaSzkduyMC3shoja1mkA0sofbnDlYxt0tKh9EboaWdzS3sPMD
xuv1oVH9r0OgNQugyfV2lO0z3ybjIfaoOlje7wFEBytPA6RLrrR1j+EQFCWpzZvE1jb+LKD0CGc+
+LSGN9CxL4EHV8evymSXFuUp6ppmlc7cNUl5hnI8tE7CzIZN4/sE2bfF+Nwk0aXyn0o2G8sZHdBh
Gte9qr6arGqdpY48kaJjrUaNW4vHq2jr8tUgN2AJqytaVD5f0RvlJmqMafM+pU4pYlQjh0ouwSqo
gSR6ZxphZGqA6NOQ9VSjm6Alj1ESl0/g+XFUWJ/7lm5p0PjaY6yp+7aCKN3WEzF8WnScgrC4Dhi5
ICoAoptr0zlStXzNADt3sW7qxw7o5TfZWe5t3sVp3iT2xKs6dJod+5oH4PWb1pOdHyhAXvVsvAMC
kNOmv09qEorssHvMuE2PGR3XhW5095gVrTPG7NaFfNTuFdNOPvEuTvmA+xJEcOv6MmNIgTx0Z8rh
MhaavVHTXnep9KcNCoJ02Tameshih0YBP9EyLxRty5KVEzLb2VcZ+4NNDhvTnSqYjH0+OLdo4YiH
9tl3+Sw0jpreZdw4ZjOsnToIrqMhT++SvF8nas2Dak43YKJhEHnO3kiUiS5oB3dd5LMgogb2n3Lr
xXlWss+G79Ox6uM6CgFv3QyVJ65avTSvGLkhpQmOdH7k0n/Xjs6/pMxVz+OAKlGYxPtRr5+8uHoh
/aFclUN8Ad/Y79kUMAkp2uC21btqZ0UGnYjQs+j0ZnysWXUwMurxeKV+Ex0EFyV71UkXumlg7Z3L
KZBHyUIpmWIwIoKd13gyg2DEL5Tl+cE3+pFbe7wYNT7ntCKYk2TNRS8m67qTer6qjOYJxeZLNQst
mvkXRTez6xS76wDMVFP9XeB0c1CH4lz5dkjWbF4mByXt6IPbFLo+LdmiFQMYbgZFaUsjQaCfrC3l
s6HG9wmAMfrNn0KVLnPXJBpxtom1xbeuboTX4/JSGTCqsj3S0WRMWqE8c0oKvqifbHY+jNfbFEvT
6AOVLTUFhnLfz4C9Ut52pGytU4HXxDeOlWScQsYKEFUF9nmfT0g38TsnVbw3MKMDJWj1o5F78HBD
yObSSI0TGUMKM1b0yo5gykP01GPEFE1Nm/o0lcCs360Lk0dD4t17lJkIskyzXCSVKFek5SbbTLdo
1UVDeieC+JqCqmPTFiCRROm8GakZrS5FJl3kWuTajlfAvmiBADn5szZp88RdoXskYge0v/bctybu
bT7vCUkMBCxvr9V2cNJ6u761EkxGTZ482iptcTgraDIs5MFoEZw1ujr0nWbO3rfJtJWQsXeyUOMu
x4FeLEbq8DqU3B1duPVCxX5ScUSnVswqzOO87bPsWJk9IhiURqt3BQ2BNpPrAPS66iz/ARLlcRVY
hflNbgas3bpyIEPWUg5vs+NOmJC2ctml2wF435UEYidAUF70xm3YrwDRsrANA/diClzVI6IBu9v0
rX7xh167U8eLWeYRe5S+PPlhcC1F7WxQ/BhsB8hDUcQOZcCVaSn9UfoFdZoJPklVouBO68OnxNDT
o1QNcrjHL3XYC46madciQdIiTIviiai1WFVuh5KYaycmr3JkOr6wYVYfcJVLNybmYEiL5FI0gupY
b25yg3HrFI1nLBBMkh3CVgybmzQz3aQcggv85LAqzlGLgOPdvtIZsyFMam8hsCDiI1UDSR8vzgS4
IZiMZM0pZzXj5Rsok78xs34O4oq8FUrZiTY7It2pB32tdgmcgEyDwCMMPBmyA6LqtOy/jSAAfDX/
z2wMvYOSv5CMSOKCky78AVpfb9MEYcgYaIxB03Ou1+WOnrsE3JwFqyxZeeCwv/30jAOUvzW3QaRb
O590MTxlIQF43SguNoCHSacoHTpKiiWqXGslVYYMqu77B4TByIK8/FygcFcAIgm/GW+h0A03YQZr
QU9jA9wV23BEIMQvBNmdqEd/FamWXBqKdwqckYT32WoEGk67zUx//S4vBIvignW5UmxvfO6C8tSW
0TGQrMZxxZjRQ91jat0ja6l9O/pIslsaMvtiHuAPaO9yT682iZDA6sMWBrCMz3zggabitpVZcT2p
znjhRO/1BN4v6MeC6HM9plGb+kfIkcJPO1TK4rNHv+SFCRt5pHD/drRhT54ZjzdqHxpXdVJd26um
M7mB9ALy7oDxUNeQnyVYV1ZQkMlSaKaXwgmIe1YYRWfQa1ZAZWvmcDkjT0Hx9O2/CBOwonYdJgXj
HTUVbk9q8N0gRbzU2wbLR2cG66AygyW+3/7Oq5EcOwjVbkbZt2vB1BNalc2X2X545XRz+hBi+q5N
7Y0ktGTREorElG2XGGXyqg80IbS858WIXXmhabOpI+nG50pD+jya/tdpwDnZ91P+qA7mspgFqUnG
D6vFQ3cIRm79eErFwpivdAWXYFEVQ/HJDjMoeip+PSJCih4aVmkPuzGsnm1e/1eRQ0RrDz3WHuUd
r9zursa86paV95lhoLbtO9M5aaUqIEYFmyRvyN6Y0GsWDGFfwy7adcZDFejTCwke+cI0VSZJ5GbK
JlUOnd2/ddyB26rW7pQq8q89jAp7vWi2dYcALWfSdFcmgUfmrL97/52igrOcX9C654zLd1kzrU7/
yL7OJqwvcGgeEkknmT6qsNB6G78VDpJqVzK/Pnq2mu6wfeUrdEN+7fKyBjAY2fljOTbqxlPKUw8J
2uU39aWTHm21nCpTpgX6I42wl9U0wF0QfVMvMUDzXihFCwVK7+vrsXi0WJv2dV8Y92UPocweiU1m
WL1TQzU5hDrvx46sBUo34PFlUZCl7BzeJejfrI2Zg95eL+0K1bxfAGYqkwdyxFaWRm9akGOyRzXI
jpa8paVGS1DqmfPAy2bd1m9+ao6HiubjtT2GJrvDwnKbJh8gVIF9IxlUaxNqFTQI5HnO6/D7L7Uf
nWxeVdv3OhpeMnY2FooNcSc877YPrrxqoPl5PY2aNBxvctSvx9yyXMUS3KOJsgVsLK68KVQRJYKQ
LQlFQ4RnbQpung3SVJpAFRFIWNXm02KzWaMB8e4cBHN5H9MWPdqYW9YmD+/7QhwnAlje+2KrAZcs
RgUPXh56R9uMtrk5a9qs3jixCFDLpNmLXzjys418Rc+CObUajUNaefeR0x+9xgxJecBbUuXK4Fp9
oO2MaCR32a/Sxftb2dES6QYNxCZelqsq7fOL492Y9NHXodDsg9kbz1o/WC+xPZYLC2wMNU5oPKZl
yRYQv9TRwON6Ly17bWO0oc5qhhul5VLjrLhROzQNjcrEv6jGe8FAzAW9TrilPqoPI1wYtEQPfgHI
RaYApMgCW5bcLyMjOQW7fI/sq0jn4qO5DE1AD5SJQzApN05JR3tK6/tceK/SoafRquaGblG+qBqY
V06ZfWbORpcCcaaRMTmLu5vCYmIVNk+qXitbTg0irVKrtz4u4KVSKouKrjAp7YXbC/XcTwQZ00hk
BnxtGxVXN6ISzzPxVlq8cNvaImdSOWVKcBrGQAKPQStDSJq9YCL1YEHm4eJMm8wsJVb5+GKkb23b
GDuHGM3CxypQyC+O37HLmsMnvbI6T4HGifHtB3MeVhJkto/9MMX5+AyuE4SXE9zaRv0JMd7J8QB7
tCW54XT2Aao4aMDLVjk7ngXbSYJolK6Xqj79XcKYJIrMUfVwybL9n8M4NBs4+UAfWKEARh6fbaOA
/4jb8l5V471N8pw2avYyb/xT0lfDnhxsKCxhgazrHRFUmhUuif4lBZ/UZFBkWVZewxaQpHFQmGRD
AGS3Jok6oF6TKTeDUfRfheqxj7aUY9xVh95GS40XJKE1wU0aj81FWqC6kkhgNZr1GsbERpwNBRJy
JGZwZjb+TR+g85jC5gz00CN4gVFyFJR7YwBhBJ123+TetaP6iFu5k1d+Jx+rXKBYC65RDX8mhh7A
Hx3GeY9LsEZWio3jGA8m+TlowNjUNv4yy6bX4BSAT0/C8qs+zklXyXWNjdVt4VYwRl4lGL8R6axV
hxg03aFqbjKIrBZyilRDDC6+9EoTreK4vZrmua4XFQvLkNqSQv9ehik6PvCBmeEcgsZK4QvRPIVY
VHmEACTpXguJIsGugEjMJwQ16rItqV7LyGkfWasYcLDC2zTsXM9Q3B7NID0BXpZ9yaqkJtFmzMEJ
eNOj6qsHMJzzk+jfAqXc6eVGrZ0r/GvsAgzljrSBJ8J9VRo30TOlj4Ee6DnG4rXiulblrBxJr+OF
lqUPaq7Hbqhzvm0JJxq6dY40shydN1alV5P84DpMPzl0xLKO6Va96JP+Ki+ynQJzZDkMdIpaOg+V
121pEnUbULeMU7qNCFwxsL8exrJ3YRuhCTRpLC8HyHcx7ZOVLbOvmto8kABzZTlFh8ZZ826ZJ1qS
TqAVJF8VElQ2va+/+Q4ZYdrNJJ3ANVB4MuYpXZTQ1RVTFwQ8tr7VcRCj9iA1Q2kmEJvRpcvNJcOy
N3reBIwF912NIIWQkGSvKsV65E4yqFUZtkRU0e0NVqFtIeW6pvhogvjMI3pUk+KBsf1Wr1AOZLnb
pegvc5zleQGqGoY8IozsrbMPAzb8WMJ5CyLeqU3glmN3mdRIRauofaVJeZADDPlqiCZMhvlnyPic
b7ZnhA0ElD4agFcTuX9PgGPIfl42VwmuURQT5bWSMDgua0IHnN6FfES2Q95cFbX5wCJ3k+uz3pRh
qV1k+sKqkPvB/X0IlADZoSRDfXDuOnTEy0lEKz31dn1e3mmg+7MqOxoCYK2nIY1P02lvee2Nb3rb
0jYWwtqllPw+o9a0YHjTJ8+lHt+T0RuDaIHNaj2offas9GcoC7sGHTo+oIVxaVVxSHL/FsDJp6xg
VmiWJXexGtzmM7hOF5Fc2Dk8tUG17pqeIRcA+mU5qshHQuc8pfAAZJhfeUZKG7KrXloLdVcYbWsP
eZyBvFpIU1/WXX9hxPLKjuwePAArXAji2gJqa9eDua/VMlpYn3NGEvZLXLVfTPlceUl/MCeePSNo
mGvv+hlf1eQtIoJ0/iOfG7SFbIXPUIXiwCQ4PkwEoCztZeYRJexHe8D7AaNgupt1IB8sZcB743Q3
jIW6lisbkgHP1KdxrXnCa6nBOkoCBBMR4xaba4fkZsP+D0Q2ipmwnx65BotBqZ4Iw6N7Pi/piprj
lK3Q2ERT/sWh1ESDmM4jsnJjNiSjDHmAyIIIk14P6HTrNO11zYMgXG8geeX7qGGzKvV0OWi8Yzvi
mKrpcyjMz56Y9428ezspNN7j9iFoHbqMA6V0RxaL1jngrIk/GMqzr87FAFhONJ4FUaHYN/tihtgl
cyFtx+iyvS/sqS8yCl+xDHxV6t5FSYB1X2XiXVYpO6zIWc/jxinQEZRb5MHEzz1qjYpriA0QDvu9
SewwPZjsHhoCarCE66IL9bMElIyqpL2S4xwkMvHMmeRVw392M1vfkZRE9yO3uIUd66Get8uq0dF7
cq3B3NKcJNU6X7RfpYZGZGLu11ma7WIYQWJS7uoOrnhZmE/tpHyC0V6RxtNcczHi00UJghoLIGu0
VWjnhlCvTkV/F49kXReIqtWM9biqT70Bw7Jt44B0khumJHCMNeKIlLmjB/Ke2zNT9H3jP4Yir9YB
tBpW2mYDGKLdeylfFqJ2dOlynkSCdKyi++NVZnm051/0KjxjLzlVcJJXatvim6hE+8Ypm2JrHQcW
ESzapia21I16+zryHLKzSnMJhiReZrmPXkxazPzR5S9RU4V623OHQE7kdeiMJK/a2gtBMnSUILZM
jnJTQIsnOwd8e0TUes+bZA6ow3CNhj9l9l+lY+/iqKTg7tW3aHIa6CrS2amMhGO1JyMin1xaW3dQ
Zs4DY7oSs+pMlGMhKnvI9wio9Vp/AIZrrpHe38fsatZpitKWOBWtKT4RN4QMGHsAr1FCBrWKDOhi
jHepEKgHoam6DcDHWgmzhRDMonwaLcus6m+cPr9D0HqNGjBlISS/feIRn5agZ6Nv/Jn/Z+HR+N/e
8mKsQj9o/rX5/4dapqmaKsjD+87m5b40L//jS9aEzXh6Sb/8138cXoomeEm+Z5f9+8u+Ecxs9S9A
ErhaHQP3kGEafMP+S938139I5y8oE+8oMhMUgsQV+Te+zND+UlVdCNuwVcmsTOWP6m8500RQoxES
JhHUOGYNzLL/BF9mzt/pO2umMtNQTAEl7YPXsAs8CcFKEjbbZV9VGb4VadQRQoJPykQYpckS+1Yi
7/vCEu44jo7bCf/SDQwvtOy+a7unQqcUnFku7SG0EYBRVYIiwugigLnmIWIE7Tj56T1eMYJu+ttc
STY+D5yjq2+OFj2LSAUhggFjmvJFQ3JKlqpvqsK2eDD1PUaM16yKrtDtXJt0Bl1DvQ2S7NxW/amT
cmuO2rYSDeV+smzGR+YOV3pTuQLd7sKIfJemxa4IW0KGxZl9Nd6HrluzIuAeR7bJGtYBU6ya+1Cz
VjU+GJb7XVqjBKE3C2zEWHr8VHGTw1SRXzFQXNFg2Fm584BbdxGhgcGcvjRITDHj7KkAFEYEz1K2
wdeJoWHlEKMoAPbO9PxZoEvnM0XvXU+YneL2ui2VXatM246cA1TnK4V+cGrpB01ULpE/W9BpuzIH
acoKvXLed4BeuRtNuYyotkggisxmZUbFFUwQzvUcCkePoIiPMFgoh0aITNn0kCnaDEK4IrVnDcjK
LZPpEjYakriKeaCVjNdKRmoAhi5Dm+7CpnqVHnsdolpaI6ZhU2yVkk7KqCw1IA8wzd2qCW8yohVs
BiZJqKxjW9zgZ7/NkXFL7woowi4AHCCdet6hUWVXREdHDZy08cD0B0LYtGHUQFfUu9CkXc8jbjsh
BA+H2dBpDFbYYraWeAqgPJFztiIy74sKEaHsk42WGvs+D5+gc5Gj4nfHLi/PhRNdxi4+VTK9ZeK0
r4PuMkiCKqLhug+aez0XD5MYce95dzVN/gX+hU9Vmx3mPO08+Fzl0705OZ8U8iTmaJ5FbYqWwb15
YyVEW7SBcB1zk8HcbrtLOlanXqM2UgEhjCGnGminOZwy1VwaMKDUtMaO4uUoZhswNXRsQvZwmnET
duTqFWX8OcBQXKTs0r3wNLa4MztPPsW0z5cKC34yzhIW7j+RvJCktBdq+Orr9UMs8EsVBGg1+UuV
oLsBeguCHHVQ7/bR/HOwHyCHbOcE0VaNh72e5S9+AqqujxHVBfE9ukwUXoRLEBBeMU1XVG3mV5FP
ED+B+SBIKd04dgDuWncbhyjfZkKQq266nAgcNoghhUetaE+2glYXHS0e6nOFvdwLS/I/6+Euhr6M
kQN0thpHX+MyWDH/uUMHxBkdxB5P/o5XEyMSae1FlcMTVb/qxLPZgH8WIEGX8IRXUaY+DnRSVNkx
zo5vDCM/24GJrNYY99IurroQ0K3Es8IEb8YEKQfwqhdBsI/VqEe7Hg+1k54NhXmnPTvHRz2ulp3R
H6oxAh0xMZclS2Ygs3tMvSuC4JZe6YOf+QT941x42lWkUtzG41tQVqQmFMoLmlA3cFRCmHvHIH/I
olqn9EZIOiSbIsiX9kAbIfLnc4owKFbb4mlQIIunMhg3RdSf1az/Qj4XwRaNLZehXlVkIaDY0pz8
MkUCwItJyNf8OzqHFQS0WRNQcx1QOe7UmJAJ0ibUNTRgRq6BDmQ/oBLCSIZh0yJ+t7PrhZ5Zj1WS
r3SPGpvNAzFQPsTsjGYho7eIZG+FAOeU5tSmUQgJAfsNDTWKHvy4HW6jLL4zTAeFeIqMoE6oG9OS
qN+pkVTJILALYr6ZnSmfco/Wu5qlj3ZH66VxnlgYX9BU0F7K2cAHoRTL0a+/ThTawCfYyVRp9tQo
KGClwbQYT8EpROXnmpaMmJqDre8Bxnpd0G9IDo0WQz9XOnUBCEVviS5i9zCbKIDN0nlDvaDoy0zX
X99f2f+owDmGb1Ve51+b/5y/7N/1yn/+8Lv/49/64Yvqf71/E/9LPtcLP/xm9V47nNsv1Xj7pW6T
5l/zAf7+m/+3f/h3BXI3FlQgb3mbNfN388M8+74OEYCk/uf33/6HwmXlj0Xz8a9/K1gM8RckRdAe
qqk5DoXJ/y5YdPMvMIuoqk0YBYyZrR8qFoG9xFD5Iks13uuJvysWXYO4SqFCmU01BXZV+ycVi/ND
vSJ1YWoSkYBmCmiXJshL/vw7D72FpUetsIYueQPdEAe0KF1q+MfmTziSj4cBMy2gMeiOdCSEqhlg
9d1hWLDt1EceTVbg+IoGwDhocXDPwPxc+Mk9kU/ObQ3E/A9grBlA+m9OBh/uw1HnYu27o6oipRlI
YPOyJ6XkEBYQXfKuPddi17CyLBh0flbSUPkD7+zHEvDno344paL0RG+TKYTwi20TOm8CMJmRoQ5v
jT8c6kfu19+Hkja2BgiK3BMz7Oy7D0itU0+qWqIVmDIk+03q9es0t73b7+7lm29n7HuC268+EQBt
x1YRzVuMk388jAVY1wuZnS8tP5WvAdqXTTFkKVq5tn35/aF+dckkwznwJkxBuPF/PJTN2MJSM8bB
/VQNc/weWtOBqcVj1pLCW3jDcGBEkByLaByff3/oX51MyUbA0KWk9aPPXNTvTiZhrY2lGBVzSXww
M0Zd7vNqdP6EveS7fLgnuf+BL2sWfTdTztye744ipE/mgglgYRovhD6QFJYs9fNo3P/+w/zikknw
zuxtSKhmhfnwYfymr42u4zBecDS1q6l80MvLf+8QM57ju0+SKprh1z6hMxMSIkugosvBYhJh+N87
zIcTVrSFCWeET0K1yBsdfSPgZeqW3x/l48WXBiuwYQthqSbQGPnhvovGKtVFTMTvlOufBMEUNIf/
cL7m5/77Kz8fgscU8iD2e4I7PqwLQzJqWW3DlvTrYKO1vrIGhpkwvCFEMXL+hFf9uLC/H21m+EK+
Udnxzg/ad1dHZ7IQUwDyzFp+fwiyrF8xMfW+9mmMtA0RGp6ixNzhB6XRHLR+eP79Cf3V8dlRw3eV
7Kx/OqFYi3V1bPEZKqhKRzV/0Wyn2aX9+KIt6/yc+km9FRIB/u8P+3H9mD+2Na9VPMIOxsYP9z1x
UVpThw0JS1XiMMfHj8VIUCjmCyUhbXszGqxdadLDs9lU/+HgHx+6+eAskA5zBZ45XvU/nnO8VrXX
RVq8TDrgmhoE/pAcKN32Dr//kL+6kxxWSJZI0zIMehY/XFvNmTrSKrhZya4iGj6OjCLfK3ndvdVS
q4j3juIgXP/+mL84sTMXmgVS02xTF/P1/u5+amIEXBF806WdM8Rw/diDEA0Ymii9ymT/swSrVTqL
wWLwBQMWDt/q9z/A/C778PhYvHtMdFfSpIr4cHItxGwyAVdGuZ/UpJMEpBQuksZPh2XRdPlt3abh
hJS97LPl74/8i7XBtsELaaAhwRd9/OgYjnStpe6nlegr135LkrijF/Xunx/FAYUMcRteEWvRjydY
RIEJBVrHukenWQ1fguDr7w/wi7vThpYkQM+zBGEU+PEAyFfCRMVEupwSQZJJSE5ZMmsapY6G7veH
+sUN6qiSck9y2mitfahLlF5rC3WAxmL4vUL0A37jLfCi+mUywiHBeKPXfyhRfn1EFlVafOSEfyxR
4BQx6Mloh8V5qbs0QiR4PuxAegfUJkmr9g+Pwy/uCZ4+MS82/KNRhP/wOMS6rAxP4RNGegHhMMe2
VQG6+f1p/PmWN1VdAxDIXQf+yvrwUmIsiHCuJQ0aS+KyytaAbJgl33oGZmL8s78/2M+fyFRpkGLj
MjXyuK0PtweKUpykxSzD9a2LYYpbD9PV7w/x80XiEOhvLJOHiYCHD+vWVPWwzsosIm/Vw2wRw9+J
eWKzK8Y8//h9zisAJC5vPsfSuEY/Xp9Ss5UyHn3kfOaUA2eNtBwYQ+mbf/hIPy2LVAuG+V6AW9Th
c3v7+2URPxMc1jAKljCqIxikmv4ae7g3vSHe9XHvGg4wfKm8/f5EavOV/2ExNAWr4KywRK4kfnoD
wKzMsPzAZFCy6645B5mxz7X4pHXmduhAsSUWtKfnRJ/+8FbX5vv6pwNbc7ecKpmK6cMtGUDbHYeM
A8viKaivEzyIATBrz78v/ZOP5iOuz4lSLp3xT7kE2nwDfjw0vENY5IKi9qe7R+hI5jyHnN3CjbBA
L4lMF1/JMdyGi+th8YUw+UUr3qrFvlg6f1ibf3oQOd3z0szjAdrNeU8t+e7l16Fa8nn1+7TVELIM
xhZ39r7AQqUTFosRavP7y/vTo/jhcPqPN1WRBqDhJ4l+p9CvkD1v2H79YYXWbOPDhzLm4QlbEcOm
WplfCh9uXbKHzcEq8DgM2oxbLXU6pWVIQtcyMmkSI2LnjNPajFRn3QwT8bBJIZiRghdDYIYQlxct
OHXDmpN2S4eJhk+O6WIQIp5urVJ5BVazL5O2XCGp8Jmhx4LGp8S0mAJSEJ4hXZKkLNck6HtFXJ2g
1UY+FhJk7MWV8TlVRoG8cXzJzOKeeKpLnKsuh30Snb0pmENPdzT5V+PYr0YzOyY01kNzts8yQC30
cwzVVdlUzquoy9WAKNuo/Sty9uCd4TeAu4rebGNZZE9YzAzzdiUr4P2EkyDBY6BppfGms8rVHNNS
d/U2q5T71LxoKG16r4LFiC5Ao/ElVzqshggWnZrtEXue8b+iAlLWdmMzZFQxQUq31lNXQJlp4XLm
g2EuGU7lIIX7K7MUp9wOtp58aLPpAFP50AMeK/rwJEZpLBMLbZtsZyOT5bl5ZyC3DqM7UiC3CcNt
q6BWQCpfC7mkqtj4sBLGujtl9RYhDkKMu0a8MSQG/hDdK4oUOwRwb85gveGLAm8Vnsks3ShoPULg
ZpCwmIlW1UEGJNOGcoNh/RKHzaOGikNH12+Keql3Twbt2SwMV5J+qOkMruwJaEM/MJunBcodxwpd
GYEYwVcIUGkxkMhsFF8jRVmFTkFBnOF0pbPcG81qFLiBmNebKBjK6d4Lmn2pt8vSpo+pjUesVks0
BUOym8N3kczayDnCFU3sybmncTuFtz2wBAa+5dHB0WNsCVJgmoAUFbIclagH/gsaRnRKYUqULwE2
cBsXxXgIiE4dNwxIYLSj0dSidUtgbG2WbpXOuPeNBymuI9ac8XsWfh6SGyXaYNEsMK9KqKVadDem
6t5MUaFm2M1kjCQDBmtIEFz3KGGZFCXD/dx37TRY2s6h8pa45BFfOUgIcT2au8HfT/UdyUGAVaGF
DajaDpN556M5L/BFdvWnHKWwpbmcVw0Wn9fBwWG2gciVe8Fmln4gSxm5ZnCfgswYrCO6R9PZNsWt
F6BgE+eZ/WdVN7K9TSbGZNZiIF83wREX+MHohh2cwAHxjrXXhbIz9PtoYODWwj0uEU+/TsUuAeM1
ahs9gLlF8H3aI2O6xN2nblyDm5dOthrCe/BRzO2Opn4/mfd5v6uH4Q5hwDDtvBD0PQ7B1TTeVUUM
chbYk35M/V3PrtepHusWg1qHu8Rr95rfXWsy4QKLemejJo7gknQpHKtokY7/i7ozW44bSbP0E6EM
+3Ib+x5BBvcbGEUqscMBh2N9+v5ApVlXVc/UWF/OjUyklCkyAnT/l3O+s8+T97DHuDLty26vpwdf
3RI0behYB2Cm/i/PvPfWJ4Apwd/3s7mzxrpk7eg/m+BVsJDKFqa/HPwroZ+LVp7ctiMKAm0kH+mn
GAtxyzvjw1fwkHftnWKTtuCP8Rs8seVznnL0J/Fn56yc4Fyoy2AeGE5ZaFxrKJT8hA/OiezlBWZt
vcfTWId4/Y0g/MKlhDh7hBLjLj3df0mx8ylduJvchiaUg+1gVLN2/Ka7kQatrWUDuCPUhxH+shoR
Pk1kNjS7QbYseInZQf9eQ4bMp+y7Y13rePzkJnbFym8ctnXhbnsv3rWZQ6SxjdM0PDixzysCpy7Q
xLXI66s5K2SE7j5MpmSzFly6EI2omcDpmr9gF/RmrbxDX4Kdh/Sdxe6zCx0t1jFnjKaxNJGfBkO0
1RGxh0LbSPRVdoWZKncOHCj7hGz01PhokZTRn5FLEewQosD/BwCzz33y0FOWxwL39CFprzaOdYhl
2RMDgiiweL6fpPHooRZuT328Qw25sEN6CbnWu00ePFfJVu8hEG+KfIPo2NkgZB9Yugk0ibsyfDAL
jmmQAurLaHiYsmNVnstszT2RkEEkX2S71NQu+8SNMxbPDftYZqdMKkY8CZ55mED3xNxVebFMhx1L
xbpZltFl6o88ar4AnrTSyBeBsAxqcsA62ehsq6ItRqttZKmN77+7Sf4ritTd6btL1P1WfBmVYc4p
vgscKw/GCAA2LLZ9MF4tJWAITdHC6c1g1QwOQm5vZDyRvFVQTHG935U9rqBoMUxAI4pWmKsr7p7b
7GQS5WenHXge+Cj1WfRvVvaSZe+h8dDYZ3f4rsSWOHLM1irZdvNhd+sgHnM4at2165/xGjtFvSxt
oNvcib3/2ji7WZadQ2pbFwFa3uy7DR7s7gtxAxfNk4wPQ7BOomOWfCTGMS9HtlQEGSTvkf9mmcvJ
JPgZcWQveTz/IsZ79P9ys+1kr7nRFnXHHjdclNErXcAiix8R+tvWRWvuFXZOQA+Rs0EiHfrLHCkw
oliyvAVs8iB6rQZ9M2cSN9NLb1zInFlFZnRker/CmoARBgOYzSWpNd1TWQ4KRhKPfOdlv3Kj3TR9
uZKJg4UNAlyFvqul36hri6TPZG10L1GCcDdp3t3o0eGrj1och1AZBy3Z+vW7neZrow9XKnuA7L5D
+z8/twJ9Uy6ulthn6SEC4Gi647LB4aTEnZRoNor9mrXPc1hpL6YTXfrBeHSNox586sbVss9wbFZq
cHZGEC9Eheqf6pXFH+Hk16CPD02dPrP8uqVmgL2k2I/jg1Kc43cjGXlXntEDXKTwttVo3G0dMkaL
s66oVokimEK2HK0uNF6PkxbgTf1ZYIv3GWqDRhnvwwy0sK4I25c2m8hOHAKPi4DWL494/2BnFjk4
sGE1gfzWa2uB3b2J3nN952noHDYVoTEaMI2Wqqi425q50Ptk49UfzXQxqufeOrvl56xtBN2EINjd
VMTe6BrnSEpknYGkq0O66PzydET3bMChTRC0dlTFW9j+kk53ovrd5vVpwh2k3fvwPWBxM46Qk+E9
CpbRYw7pVreJqEIKA8lkN/kGQG/x4BJykWIr0zyqq6IHmMIhNFnbHtJASPJz5y4aq7mKfNgxoToY
aDLSmFj2ADxLlm0TG0Kl79zbhkTAiWwOeuIVOAfAQjL8kG5fr7SiXqEMWfWFsUeiCq6HWoVXDHrl
d2MflLkfjQPurVXWf1r9gA8zOY6hs41rMtkrDojRAJBQH+IRvf9EtcucTBaYsYfy3Z28eR3fAdZw
HmP7xa/vKFnQtrHd7tOV3iLJ9qJH6ffb3rV/t/FbznNYHaecmAwtOKnC3oyYnbWw38Jq2kftl0hc
QGJnstpXSsQrPO0fqXiIepzwMTEZ9T2n+27H+RJQ60auW6JiKCcWvfNmxfkybgG7IJtaTG4FqtBf
Q2XlXHmOu2kjtOZ5jKyNqeuf7OSnnGCKHPtliwX/07QIj6kfYz9aJ5SjRK0cGcQccv1iV09QaijK
4n02RNlCDxAlzwZ0E8NaGCDswOgDuElNi6gzHsf+s5PtvrWBH64tbjtthHiGX15STE0DNQ0NxaTx
lZlVsKm6cFwrFbtPbc+t7rgTieEs1Dcg/gLeZkV5O0gfMIjWbUSCcBk6ib4gOAttapgH+IUhbxtZ
OG4L5R3L1DrqIjHXE+Eza1STMySoWDm15GiirAikedcnlBKpcoF4JqtkhG3nFgWEK7ExZfRSjYjy
/Ry9dPmS8WJ4sX5F7rovITEXmXZrVH6xDFOtReD6L3gS+13GMGFWx+sEMZXmaTB4QDztymPID6Ii
Km7wz3B+t+mAgEEbbjVxFJJkB+k35OE+Re13UNnMhGEeZRuVvGCJKodzOpg0OSAMKlLk9gXXY2Wf
A5MeyWAMU7KDSgWhyPD7K/s1NOInfxQL1gcrad2GNjxOJGqq+HkSDu8AhvcSK2fl0c+JRzTgd4mZ
0Pktql2Yd6cIvasOJblhVgthLzaKRUu/3nnPQ0tyMQncYYE3TPUrveHu8G8+8JKQp6xKdSaGYFtH
2o8A6hXP0xjsLLfjyqFbrMy3CGbKEA2IL8wnfmRfixxdbDproILgIQjKa47Jp6YsCSLxS8bd2hU4
pcphKcNtm+KLCn1etWgtiQtpdQ18Fj/l7keJ8qxJzyMJAB204pFhr0awk2xPfv9RMG4W2IaEdrOA
8HpBdU6dl5RTtEOlkwtn5YZcwHQmpI0ukuAu9EM4R5W47q4i1Lyo3YNRnsaMa+86ILsf5M0qNHYR
2ZUGnBB7bDbyS/byGABvTqAt9ipaE4KEwjza26RPFUkG9Z1wtZCFjutCh4R+XpGm4nX5oU1m1/2k
/TIC9Ng1TEQ672Vhgw7g/z445YbDHHcwT0AoNvkw3bAQFgv8/k+yHP8C+rkkmL5aEJVn+rdgRAY9
a6AdfDARxc93RR1rUorxRPguNpkIC1ccHIJqLTgqskxuKo+cZXqIZDtf82ME4+Jxpr/wPoD/W6St
XNgI3jkne/pXFxbV1Y3ebPNtIk4yunXRA3grIv66LTj/rzCHzk35B2drnUdyxTgplufBoVamGa7z
LfnPq7Lcw/ZNrdVILgyr5LNNi1L69XJomS8CXgTYOQggR9Elk/vB3ej1A70YnFn42nB1FljA/OE1
dxRw0pOPA5LkPVhDaKqak2PszfypB4cV7A0KVAvzKEWe0+47YumVsUvDCfTg8FngyJpzQyq6xWad
aeZWK97oGhBYOurQ2dsGHxWBOM2yLs+j9z3wZC0C5POSMOVwbfq8TH9VwAaRfYP4qHi57TW+xKWM
xmVAYrIbk1iApGqdAtRz6cpoW6F50fq5G+RNRE2HrEE467AFkB4bjs9TSGxp/J34y9pgWXEJw7dJ
+za66xyRF2+9cQOQRBL9VYhPjwO4IdA++cYC7SUXi9ZUm9A+Ed5Oh0ppOxwz8HRBfPAlKVkXlbaL
ZqQe7x5V+6pRBLOMP+p5cWQT+JjivSG4vqRjLZnwKAKF6heccgfoOQD/QCwlv7Xi3jOMyYPxAPZN
tp8jg5gRjaC2tMwnqXN+ItqD7tSEH6OLd1IyREWfwv5nETfz/QiRhuPLGTewNKMc3zBp7+jXlsn0
zCAFpAcWJXp7DUar557xYB+UdkjgV031U4PadCKIm0VgfG99FlWfDs17VDRMhBZZmK5Kojs0m96T
DimgM7cNLltSezZO/wAGj6gD6uTjgCpVDGsF3gqJXr8aSQptnAPhpQzoqecJ9ypgLyCtOZYd1Sia
TkIn4H3pFIVMBTBcFM99oPOvyieoS6vQGUlt4XC1YY5YT5V+cIROBgj0Q6JzPVutLIztiU+GQW1v
8h48Q3IaIjx6UF5MApV4qkkd3UAkJsTBWDM4tMVVBofIqs6m8ZWFZ6tu1m5FYdRViw6PxMLt0PMC
cM/K8KvS1F9DYOzFVODHQrbfSofD8X3AiyQhsdltuWarxMntrhg4XfCvL3QcWhmcK+Y0DDAIJyxp
9QnNC/x9p6O4xM7eXFpZHLr6VZkPgTWSPBTtc1Fv0uS3HQFTbW6Ua3yL45roCLzJ0V3C4sWjcizy
iPFWXm1ms4kkDsUnWmNIs2HpSI1OLiQ8qAXLT5gcmTVJDASr9d0UYI7l8E0nEyiZBhdNoU9Q6ArF
bKwP2cgOJKn8agNqr7U5ujjAMHOpB1j21jvsB+YDTZJM/kIYXfhk+B1EQ1j1yz7064/eZJCm8clN
D7jCjI1fpAkQy1BOA3jhsY70x6oknG4xjaJdAsSHJjqFk/YhS4Wbss/me4nvubyNUdJzew+A2kd+
xx4TmPO+seLsmPgpyr6o1Gq6oNqWm7DxoFs7CgXhIBh3uEhvFp40iBAGBssk0pXphxOk09HPiJpC
ZzaoRaJH9c4y3PxZSwCt7JvYru7F4Iob01khFsBQ5RVybrvrWDQ/EvlaHdq+QaPd+Y61FnUDHhNK
0LpuzfHFNrORaZZpPTdFaz6RVdx+FYVX/iZQ1gBR3HOcLMPIGH2YmmX2C6s+eUtxFT+y7QvDVYRk
+tOYszbgi7bUNcioQXe3qNwNURhblfC+LsaCanXVDZmxtmrexRVCMjbKeSDrd9dLmu3UMHfsR3bQ
jVDlm9t1+gWPrbhFpcCeTVTRXXY4/hKHUSvBr3jZIukYjPccsKSl5agH4STQfjWtqTndEvc9ZYh6
il2T4aNKivLiBI0MmPjV0UIfY64utpvYS4ieQiTNepq+rtS6lWXb/VcJThncKHEvUOhUwmS8y3vx
knR2RyT22NdiGaQS/o8fJlRsuQVlua4vgNWGW2GZ4sMnZQlwb1JzfuWB9btwrNnnq/qgPXcNgnhi
qPqUR7+cAb+DyTWKnAcQWQEUA5VqZAwAhNISIJdAn4tdUBmPNSTPc2t4FVQx269W5kDLj7M6ewDF
nB4An2m49K3sCrQRAmU5TulC9Aa2+wbUpOtxi06a2XxEytDvutnXn34TxqdYAndYTHiWmRfkev/S
1JPcxokj8IENvr6dmGExZrU5moteb59Cb8jXvS7lh0dq+hxnPDN5Mn94rJry5xKM5UWrMvt7wDGO
E7HGJl6WwSwYETZHZrtLrWFhEHQyZQhkvDIHZDbqGKBb6FX6pS7NOtmmtU3xWCdoyrY2TFxc3sqw
8d2SGFDuVZ7j5A2TtC0wb0Uw5kimbLNFJ2Ov2teeaZAv6ElEsZOc/00Pu8+BYq6o3gujE83d6eDK
HrKihzVTUrCbd5nFiHlDpzC9jUCFURFV6BfZX2WdduDh49FJT70jmwZex+QPb+gRAgvndduGa5ed
pH90+9wWT4ZbWHLn6llJVyHGNHNPQ68mb9PmYzq8J5ZJfEmGOhLQmYhp1RWSItC5tg3TrSCt7+S1
QDyYypbcQtATTHWIMqr3UxaVE5iWKvfVLmU0lF8MIhNrMjJLzszQ5IpY0Xe4Ykvch8tMRSfFozhO
WI78a9CBJ1yjSjWZyCF3D7ilFcS+PtKwvlAB2R6YsIBlBvFwTpaIHUZYPTgGuf2Y9nN1Y0foQxZh
IcB+r33qFPNYa/Ygd10902NThh5vkZPkYLSTxDPw3KI6wfo7WGpRoymQ3HQxbWAi3MK9mE6W13D0
4pb9noQftGic1qmJsown5lhKWsmlQT4qbsXohZg1s84O68+0KqGkqQ5JKiO9biREwxxT5xLIONT3
qNUdeTXspgr3TqRDT+XnKc/PWeqi5taGrlBvxaD3LFdMJ89C3PVjGgIjtpyJ+nFIWuaQMDm498eB
Npk2QKiBCZCAE7iwDA3wzcwBaLDPKhFUEKTwdptM352WdFV8HBU+3wVqIkN9uaVPhKIhwmrmFRhl
lH71WcKdhp2673tKG5nA1JhiOGSJW54nF47/mPugoZmj+GpptN4omXyNw3iUWkme74IEd1weXWeN
x6aNzHtajtXIeidrrDW0m7y5p27ZimcjJME1YlbsaSdbC6Y3nOIF/WGECEY+RKbe4uowq2T46tva
rc5eCj0eRgRZcbgJG6/4bKt+ovg0rYH9X+A3CM40fjJxTmsFLyb6V6txu999NshkJ4qCRhvUiuM9
TGLI8W86nYX/0pomb04i81vnk6jtoPmoTFyIN+A4brkkclLqx0gUbbAPS6cNjgMdcfEWB6Syvrhq
6rA+a15OW2gluHsOqo6bjpCXsQqIpwva5MsDUwYrNvA6c9h4eTjWz2IoXRwXfq7pxUYvKx/aKwEO
zPHJFjXyzcRNHJ/SwGea1oWhhLncqkI5X2FLlAUXe5u178bY8tQt+KqCkh/j2MaoHXOYa6/Q7Aaa
qUjqzmUMuwj/ee5CLrf00i628C6D5IIk2m63SrkaIJc00rpXoEYEkMs5FPUYJLgFQHdZdlzROpKl
0pr+OpoG0yUdi9Wwrt590UZO8QVflVDUlTDZstWaT9ThsHaTjHXtwsgzrQBKlBqYKjRrCw12sAp9
Y3jS+SNt/V8J/5+gy4niP6r+/z/yLJomS/P/u+r/Kf5M8s/y+5+F/z//yR/lP4r+f6DNwHDoeQEy
jf9W/gfeP0ivg8vpz7J/++dP/vYqmvo/EDHhINQ937Mcy2H5/7fyn/8biEs02J6OBg5x5f/Oq2j9
q55i3vnPyhEMBKhIPPPfNfk6ytpgGtiExFoekJnWg6jqYGCGWiaQcnQXFdSPAwCEK5kn7cEzLDYY
heSInUJcYJl2jrLqgKFZ/xiUv54Q/28SBzx9Dy92oTtNstPb7lkliXH6wRz6oxzIYUOAVlHSDl3b
b2stqD+ye5953ZOpCh3QmLR1VjCDv5O9WA1lzOzKRN6YDSnZ2WZzJQPjxHXCYhrW8SYhm3uXkF/5
T+/j7Y+q5J8V7+a/iU14cRD7gTszbPwRmCNm8cQ/KT6crIq7ki3ZTrAjOLXunOPDhk3p2rmOu3YR
TUZ3+MmeTzQguiaG/DYymsdMkVbh2KCrAqmKrayB19opUC4YXyk9JMSrP99nmkb26ge4JxuZb5tu
hm1xb2D4GdIVlrT+XvITuxp/ftcwC/rP36Hxb/IP/LG6qXv2LI5CRoRk7l+/Qw8nhNe10I8cjuKt
53YVQRTxrsIVtJ305BUVaPXOaPkotFDgjZo6ECNkK8mwnv7k0ePpkFut8+GCgj89JkH013/+Gv/H
u+A5c8YpsjQUxCjh7H+TqGRBMJpcaB5+LsYzk1fUTCTgN4qIMWOVQ4qulbq6XVKca74ZihsjfhwL
9SmtMthIh02eRpIYMyP+ajDGN9+tg+cuI1gRCuCmGfN8jRIkXAd5B+2dPvSmBr3eiyAYbi56rkGb
wOlCTN+kbm7/P8RUP2Kpf1I08Rbg/nFQ38y6OxCM/yamIlnJd0a8zlstFTqbBnKCtqogqFLKJL83
ZNBQ90bRjNUClV4ODBTKyTkjCdGXpQEQwmvSaW+yfVmoofseU6M44lhADmIW1cVUPLEeEM1HDXTq
INDWGDiq914HkzGzg+g8dql71OJBZJuBOuVILEt5ixJyIf7z++j/kXv/y7c6G3+Y0YDiZeryP36e
4r4OeQhFt5WKcB0KJ484cm67RaWnwaHE6MiM8g5GVSz71qV+9MYXAAesEvHKQp3EJ1ncKEq6na33
M96eSW1lBs1akdEkhA6aoE5JCOjGFxSVb7gcedWoI9d97W8aicQnK/QStg0Oyjox2U3FHsMBkdyL
Xul7EtZ+27nv0l76HnlmbCgysyoYZxjepvNY9DTKBztDLppoi8eMxI8l1VEPV0lQNjDgiBPyYet8
NcRIhKlokeYQt0de27K3y29HVB8pmwoBfKztJoLVGDqCGgLdS4FA5HatgYM2HOguXN25OcZYBSGC
pUWdbrQZa5XESb4yvXbl5bmzCZKIxGb+aadovgOlXcNyIsCuR6Fgf7sWq55geNXGMQI3pO0Sr7ev
znQzYGciKoWj24CiKJVGih+Wya0fG7dBO0SPVqnBsVMIZRqxbCEw7hOzOLaKf9qZUaldwHyOgnbt
sq/NDx6xGqvJ7dCFhPDq4oKYETn0ixgU4cKS5rFkZ9EIxpZNBAooJZkLehW05wnCTNLBQ+s4dUot
fWZJ9Kunsl3PpEdGEHy7RkDtyESY1puZlfwMpbFKkpytROIxFYInUaT6mWNpg539WXeCX2rW8Ijf
ZGdB3jWRbEAMWiHdfiW2WF8Sg0WOQRV85YOkKjKDhTT4pZsfuawROzrMZ9IQp2VITbUyJWvN0tH/
GqzmRa+kuWMcwmCxgfVKU7yM3AyfMDEIe3q3BeDAlxTZWl7Zx07vn4Aa76q6vbk+m1mvBaZqp+0n
ntcDHhNio04sXJrGRuGUWEsjEtWa9FYIFxDcvJKAm7A3N/Y4P/S4prWo/TBhyi1cqyPnOSNGydnk
MPVYHMDGIAOpWUr6KNQym4aRom5osze7XxsVyolQs95DezKWSWMxPa6JhIwfxtEpl46l4zG2xccY
TSjLGPvHZGHvBNiStUGbu3RrkhLt4bXhChuaL9se46XlyFd4d1AK5Ediq5OsWYippHyujehDdB5B
PhOLc2z2BvqZSpQIphTm++oX3lgHG3L7GuV6h/Xd37mIGlZlTWfnkL5dB6Qh1uSNrnRyAxaEsBMs
SxxdYJEBGgbtGu6LXKpyOBbobRdtCGSTr+AwDEcjmRx6Uv0px2G+IqoMjgGNKt2UhBEUQC9R3W5U
fPlBDCQo5MdyNygQmtUlFVBkGpPzoXWnN+LH1ZNbvJA4Z62MEL6VB+AoCd5KLXl1bPKNfGqRhVtx
xzfuF2frsGFjcQ6IfVRaWEP0DcZHz8h3dQXYyE4GwOlTs01EpEj+M7zP4kyrHv9qYSKt4Vd7h4RD
/2R50yEdXG2pAam6KpB8e0PqrNcxWdzqBjliU4I5alSx4czWicRScidnKmcm3SdjPog4N7S7neD3
tc3C+9ZpS3M3TX7Vw0Mok3Tl9iR6Z1blvjk6OFJzfGWxaRxxwRAf2FvuG2Zw9ixpJogX6OyXljnm
6IHUN1RSbUmtb3eQ+bU1oz3jfaKk09o0fqrh2p2QsLB2iTz9XUdUwYTTBCw+IWJrQn835oZ1nZvV
ngg3sur87gjd4rUpVX7S5fSGjd94pA/SH72YrdXQNy0Z7EcvicxLbMKM1Bx93Ex5/MyFxyplfvVG
Y/wMcj+92jOmMygHhzI0eZmwhb3nkdUsol71756WrmmD86/eQ7dQNckpG/Hvm8ZINFKfodJUkfnA
XHld896RG4Waxh2kts9C41flFIcyiZ2n3ikIIOCydFvHIsNqTtfz2MuEsjp0GiqysbflScvJ2eqp
4Ez7ceT4vTcNQ8BiIHAuEyuHVn6ZZV7xVFtN+iAzuZZBnW3aCZpqb/vak2ZvfxiJwvf3rSto8DXp
rqxGD15VnzwSB6J+Q/Pf9VUTHqEzwwYzC6p0arTFxMN6nqy42vrGIHZAUeXBDHn0e5LXl60durdp
qMWuS5toySPHJRdnxRNY2hcyXuJfTsL8HnLpcPNtD1K8CNpVqY2IewtPnIPQPIykKTAQ7YtlXw3e
KwUgIcicpglw9ge4dghIYMxvgtLWt4rbbdPCHW3ZeX+OjZmvfRJ7DkGr0icmr2DA+TwsH3IqGCav
YPy0i14Pm6udV80VaXG6FUlM5AMRKFctc/KTpwXoGSx1M82a3YpfuRuit9Wtnz9XUw8cdGiT/mT1
y7wSwTqtI/+Sz7/8/K7aBJll/9Mn5KQVa84Hl5URMEYRk8UBFTC91vr09y8TZGuEwiMROPMfkFai
AQUnXAc65wihuh5JQJd1uxABSKZERcefzzG6/ftP//tDFFarIO+rsxZsoqYxbh6pbjfikY1bpayU
ZUGr9mlmk0jY9ZJagDDjlN1znaTWc5Ea7Rb8WbwmZMq5ZE599+pSnRuzOQn4AOmyyJOKJqVnU0su
x1JjUQ2pI5n1fmbyEAjm1nVRxIQFGFA5DflQadxJxL8BVgjAdcPVPXsz3L1R2nkAGfiuZYiWJzKT
zIwHUQ+zdN17ob7lhbdgDuSoxOt23WXe9OG1DM7bqfCeTBsIUze2O20APlbofvlszyVEV94M+xlW
QPNgO850SeN0RYVIwBIR0wLM9/nPR2nvl7uCSkAVLYeF5lo8577p7jXFtQ9pbE4Ldci16NylFY+A
sn0tzzfItIJFUiG59kNRH39++fljY/47vqybQ1QNXHlcbgB0EpZ/5J7EWfIFAN+CISjcW9o6r32v
lUd0ph41jfxdxPCwatKahXCde4hElNC0PAZdxktnznn2pk9WAlkw92y0G8iTf04iEDPDLeyjcVN6
rLeokskPLQy1MjvXfNY1d1NqTb52A3xKeAkJzo1q64t4mRWQqvKxTAlzHEtK3KBGbSYXMXuXk5k1
j61jpo8muAB0CCpDJCnNdVgP5iontPXBGOAKuazLSBuQaPKs/izb5wlyZrhotBze34wpt0TGqaGV
LtzIKlr/HDehSH5T/9L1MUnbirS+iyqQJ39ytiKPoK/UJgpuhyuCRQkZmUz2wauNgOnGqYQfJmqU
uI16tqUi9lPpv22j/qsDd3MdO4JbndEOLz4r0+XQBPEVSSpqswpiuQhEfseF9BGlqSCiWM2aMOuu
+jh+0yqrX9kIQCdmI6uh6sTFKVCR/PzbtWFJqDVCLBnbllTLfftaZlcxdBHxBnZHUe6nj/CJWSrn
dA4/H3ZQk/785ywYjHU2v2aNN7W4AkgElS04ftYb4zqPK3FOmuSbvq3b/nyk+xDQkqG090Jjzcse
jzqd+d7B8gdtoyTZhkXZqsc0LB51o3VPqlbHxvBnHYhvFPvchiw6EJjofjs6mgEhchcKaJrcYr9j
XInoSmvjW8cCf8qSBEJ9Z6wxI3RPBl8DdJ2EVKYq9C8RGUR/esG6CD4rYbnfNkNDz80p+toK64bk
trg8DIk7PDYq2rvz/ZBaxBn/+dbJnUhOvWtBT3YVyOxRj/E673ljzNcJ+t8Spk6xdVRpX5Ty7Utc
Fl8/F2oXFCWyaJbS7HmSfekwyqzqvnqx8+HWFLq1sVmPnaJsz6HO4pzf2KXBAD/Td1kykCHl9c+d
lpK4zQ/lAocp6VFRHpLloKvHOdDJ7+LgRJoBwOs4Pv/84tjpzfqZB3lGt8n4KinU+eFj13BN0Odv
7TZHFFk7nyk+M74vH7dGO3kMww15jBFXZ+cs6fRDS/+8b+rgW1MSJcWb7K3kncVnvnPitF96tfzO
69G5TjOmHtpitC/D8U5Nn59zmx0FVc3p5/3PTAg7PQkOynyRgTNeLB01Wchm4WdQQhWHPAsOVDaH
lnioNHdGXNnrVCH+b2TZHxwbbS9hLRZZHma4ieaw8yDx5AN1R0550jv7nw9/Hs+fzxmTZu8JKbCJ
OmTmD8p1WsXM8Kk7hu61B6nfVUOATHgz9KU6jHVXLHljrGdS7//+UAqVPzRR/sAmwVs2YY+q5f/w
Ozr5ZwdE3/HnDrZa39gFcd0cB152M4kfIkOcnajSlxGaPTTIQXyvrj+M9Kx3oqMtcw/biWKJVNDs
RSWosqIen1NLQz0WhAiRaMpRFRHJLTTPfh60cg7X6uznXsBTbIrk79/9/On5z9mc11mwNSyWdlZq
FYc/Tz/Y0GFtlpPYxKLMtlGRVtmmsh1KkPkmGzvynOo2S9Z5H7Lcz4pCX/fbhEn7IpcW7yVBc6dS
L177tJM7S5lIZKvGO3cqm/bCys9ebHWK5W8qtknZftncFQZJWXRmJGhUrS4AuTMpNe2E0XxWi8vP
58xW+ofMJJNurHdDOpJbwxiVHycVMeMUxYa5oL5q5zHiZNCClNYc+5yQrGcUdXlzsCvs6o4upKJt
nkNUjVOqdc2j44sPWuL+AC2SaRwoKZUhJs7DzeC74yVs+79/AZPFeGCe+FBP2Gcdu8HPxKecJII5
N18GVNz3gbNqVTREOupJesimfvwguhZdyXzCZfSMD6Xq1YpJDYK8uvJJgmcE4YpXAZ7sktXab72A
6YY0Tj+PaDB3HfTMNXxgCYfMK4hms42FqOOch6NhNsi+a1X0VrTovRT8GcPai2c2IEeB2q1NlrB4
1Zk1bFId8WSugukpYE1eZw9B03xDOXOPznx1sdPrDqJky8U65Vc/0B6mIxKZ2iNCrHQRPLGytdDa
ERSeN0Red70nTjkZiGQSzJO1TFic1nPaT87mbzvGpL3Upp5fJsZ+vu0OG6Kz0AK3mvdmd7+7okye
AChd8bWZ2yKT2SYjJXOTq4Zr0uAq3NSl359JusBf8DO57X2yrZWmSi6mmDfUtGuY9HMvHw3igor/
6KezOhEM9EFXMULEuVaIPOFteiu9SSf3uQf7aGX0Xb8pcaB95CWuhCJnASuc5/S/eDqv5caVtNk+
ESKAgr8lQNDKe90gJLUEFLw39fT/wp4T52ZH90RPt0iCVZ/JXNnhcCCvFDmyMVyLdOpvml8d5u03
44NgLqfhOltb0o4NgeB+JF1sjof0m0tQhV7vE4Mmiajbjhtt0IpQL6wlbHgeh51TTVtmAl/IaftR
yUF4+t8wWqSI7PA8xl6e3Sur7jiGGKOWohbsrKx1PwtYWX2j7fl4xAsf5y8RevZTBVyOMhQZdKfT
1psSldCYxRB0e667/94tfVZAxMD45rZAj75VnbrCJhWqzeoD8P5sdFS0g5tnj2xDyFATBWFtE/ky
/z0QcVV9/vcGEuRgXasB+f1sZNU5LeueJJLt+lWyQJDnIzdwUY6XZTsh4K2qexz2xQnJhRNf8rQO
c8MlblYu/SmDeXCTLN4r+ec5E/3lWze1HnXral1Hbd20zBh1cLochq2TtQ2tPpfK+8OTCpidMSSG
hh7MGCOI84ZyDca4O01dr92C6PtHZJ+G+MVYzst/H9N/w+v/PToxm0gueXJR//urOsLjAHJ48TGx
zPVT2YNPHgB2QUss+ge7wmhNEv1cTOl4Z+Pxwz+evxnAW+EnVU9xbT5OM/p5iGZplCthvq1DdkmR
5tRw4Z7LWJ0FIWHIJGfchwSfEbRX3TllXDxMjr7u/S1OryeS82KR28m8I+ve8r98Jeay2NrgOs++
2zTOzmmySRVrogaXbfL6X2/BCGo9TsW4n72CU7TSSvPQiLfaoVmcDad9RF6THYsyea44Uchkju3z
6rI7STpeVl8553lVigxXflV5rjrN//9XWo2jy+0VEg6d+Rfm7u6RFKECRRpB1ZOOzZSxTs/Bw/1D
y1Yig51XWbxIc/vH4bft1wb1m9NLRmmJ6s/z4KwEvcwEnSUVihY/iY3TgCiO6SYR9Tom1lh2p2KB
PV9xBLHRJ3X2v9fpoPcJzCLfdP3Ly3/bAtOWUGS5gv77z5zzLw1lc6MQ1TNfN6+JchaibJnQztVI
C86s/LYlKvzsVFoktnyE2rXv/Tor6GJoVzx2YlGHBOoqe4+YQIUvpuptYoOqjolO9cm7aN5pE0al
FZECTU3mfKD4IUWZVNsrkLuaQNEZ+jOHvMkTEbk24ywWav/r+cYpLY7jUvx6UjC3KM4aQ4PMizDy
VtidUiY9NBKvyPuqnKVKVTZmiDMp+3+/Sgw7yJsYJJMrFniEGiIjLqNPn86zXtLpO8vFhy2ld5Se
+aeNSo+aLO2vekMbxSzqFor/8MAQXoP2twQgSWknZvssZUzqBIHdobGWbw2iXgppbwq8cZvub9h2
dvTnmmwqAnMWLISRm5VdyLzTDXzCK/CRioxEiucENbUyx1cOuS83I6CWa4jRjZ4e7VY+eqCQ2TEw
Za0mi2GuMQT2MbU6BpwzGY2FQnxuL85xdGRy9LmiQ8OkEU2T5IP1CcY8vFFTiduw6hZUSfEJiiin
w8y0EP/pj7Kqs0EyoScKGP8pZPCC4Eqk7gq3sNfuGi2dLh0b1Jqk6Qo3jI9Igo2DLnYgABlVo9P1
MY1V/A4xbHEHA1EQQssOoqSa22EH4Qxvko0w2WWRkRoM3OQKjjr+bfhp960+p8Gy+dK04pgbKJwA
XcpLRYCi76cpW4EFs2Rz1xVadiZNVIunmF7LE8iWCZAGoq7NpKO09UH3vJGiFqNni9CYYdx2OJGA
VGoMb1cfFOjQF0ce2y9bp7ARWmKEwz9D7+Fr2zIa+t69FAYuTTYKFIFdIL12b8TjYYwNZlKkREar
joyrKfeOTgxebeEJqAiQrDM3Rr3dTZQbGPKY4Z+WfwUCMELqULVLUe3d7m0V6GlinniYjO3BznAd
GK+Eu8SIagN7HBnj4kYHTUnNJbwX+gS55Y2XoVc4B6LyqmgknW3nTf2Ly75P9xftdpYYG1JcaFZR
mnvSOM8yd0kPanUskt80vZ9xL7vDZH7BwMKXkzlXy/OR9SPwYBOCgXRzLMTbbbWu2dskBW9nv7DI
qU6dXxavLYuFnd75YMMX7tI1/rZJ5bZsyZC7wpAgO2M5Kiu5Nrb9s6w9Flw5HPzcs0MufuMIp54U
S0b9FRo6s9EHbGAiEiDNeCHGuXHY4qc++ex60rz2CEqQuN72lrBO6kRqzGspbYPNEWRKgki0g2ZQ
NyXUcL6NQNO0/5ELewTn3ofT2l7tpnwjfPKyivWDQVxtpPfkjCyhQcwMdqb8leS4b/IoVlyR/Vdm
pS/mNjiXrh1Hnib2yHYWVNt4NaVunFtDfmQL/hpzVWzqeOvLPu4PpTbdkMv6zU7raU1/t+/KyIUI
zl7bQeV658iMoeJnHs5FTAaMa5Ux/CWFy2qICLB0Wr9m2fwOyYz+yCeszfYamPPD4gQi0bQwrvyb
2pvNSHmSDd5CgoHLgeZg2czmJRwnaT1PbO13ixj3dkc54ninQTkF51v7lnUIwY28e7RK/+Sh5Xla
seq5tv/RxmB5a11/KKFJBcb059QRgZVkUhgg2hfbzrcKNAtVXXzomzPMy8wozvdNFns3iVE9Ie7a
UQwlgSyAB8c0LijBnmwN41WccFER2anjo9tmMWn50nYWtuba+NQyDz0zwV99IS+gg+IjGbwn32Ky
mrSwaE02fXWySRpNYE1OGp+E17QHUZSP9O8o44qY4mulPV+Y5ES8PSw8XTvZW5YVckENB2Mof/h6
I03OsbROaAwZJDsBIYx3FtLOk2FbH8Q1JF8gFRBArYg1tBYraK2fSvZDniLzz2i30QoLqsCNvzJZ
zaHWN0w6UCxNogeLUOvvw7zFWax4SQqNu4tFWgpVN4A7jfXWhWRCHnMvsw+RO/kZ6slXr59Ss1gQ
vhLvtFb/RoG8dJkbHAO9y6IM0/8g42LvD8u5E2SWWxu+YcK1iVQ3MhM2YEyLLBpUBGlD/qKfp8LE
4Z6Up7EiRa9nY7RTHQzdYe4ArIwVGjwtu0sbZ18lJgeTJAa20LbtHHPJnY9SI2atROrceFBLGaqy
f1zQgwXIyQ+5nttBzZ1cY4MRFoPb9XltnXWnlhrZ6c8ks5in04Jh0LZ3SSd7XCijEzYI6TqdIPi5
nLtrny3WrkxtXLzIjfamie/dm1fnLvPvjM760y3mXeMIFNiEyayNuDnWqn0uexPeAz5mzeNV027e
euKBrV9/zN36Hw7Zz0qX1ceSJvXWNO8Kgn3PVbKu+z6btAAWYxUSI/1iJ8QnCL8KSz6OvY8ocRLM
jluf8HJHw/DZwLI2yBXVBjqYrj82dUPubccCxst1nUWbXIK88D7kIrSwTZZ9rbEZdts2dNvsc06H
NiQknQG43qAGT63PgvRKEaMx5DwkKdThtmMQS8Iw8eTEWeKrBkDss5NkdTl3CJEF8ruYjO2Qyu62
0XBbqpmKAkAVTrDGoaQofxwGkX3rMk5R1hq4DKuXUb7ivtynnlBg+dyPLhMEYZnxwaeLVIzEWWEb
GquPnOmb+WurYe8t6PWbigBQU6UBajtGsWNzn6BbCoh5k8UMS6AQGmYFVD+Nbx9aNx6OPDAnNWn4
kInO1e2WfL1hwUDfHpsV/WyhlTcOGvG7dRkQus87xsb9PXO2Ez/9GKQqFlE/YU+FJx6pZvkdjR6B
p3c187k60TSmYa7FBi6b7GryKWejH1LqGocpmRSBL4157tfPLGGFrBLvxudH16c8OZKOF2jm7O2M
hZFduYK+mO3mCulYRam9HF2yacMiXaHdDJ8lB2Rs02+SZs9mxEd2mZTiLBEph147IYZPHiwvJyPM
dS71OKbR0BDjxFJxvwyYunjfcc1sTpyRtB8tn/9lIpwxMe6FRABZOZjMwMD3vv7JRnQ4dB1YanP0
seY17c70i/VU6uyZcKxFZGTfLwKToG41ZzvrnCPqYsYa+neNmYJRPdM5VbBlFdMyHk0c8lPvv/aK
N0J22TeZfx2qIoYwWhU6Wi2itSV0vockovz2oTSX+0ytycWPHZbGWkZgWkIqnO+u+3E2/s1CpBFp
hFc/Kyiee/mrx8Z9runawazZV6cZhZ81YCOeDdQqLSBuGP2htfKobpQRpVvocCj5Ola33oLQQrXW
3SpJbxl5gHv4AyFyfw7dZuWC1UHatIogQW7AQ1lyq3SO8YGl7sStTs4OST/ETDJFpBXer0vzjO7v
WivfCDyqQejulDZYSlmP7FIPG86EQS7I2dSFmvhHBsYXAt6CopaSAi9rWK40SlNWWxga8xiPYRkR
aAiQutRfm1mvAunLazLqZuBPGCKXCerFipL9gLZ0hIf0ohpjeayemdC9Es56Y0RDQpQR3d7DkIKI
ceimiTHgBrUmMBnJl+dxPuh5f8lWBnvuqB+8jql/uVxL8iGCnLy8zodsLrBMBkJw9KKqKnYF6eJa
jdLOPmtj+U4i+XOCPT4HVniy0x/0Q2/U9A+1tm8q2Bwx5mZLWsWDUdU7FFRu/Camqjs0xRoypG6A
1RNUMJTyY3UmB/ew459rbXlAYbvTHZCOftwTQYT93+PK0SFV4RRhnxV3E4lOxN9U+fK1GkYkfRPH
pFSYyqyWPeLIb2GUBwMyN1y0WxQdnUY2z/6OK/JIUUr5qvePBQFWWlJ+FA123+FDYw4XjisQJjIL
cAPZggELzai5lTU15+2hN+ohKlx5TgZ/CpJuLIPSHSgwOgKhBtKI/blHtuTUTOV5Dsi7kXv2ee1R
9N+eEtMehndxuWnrNYbX0aT7kqwbJrmA+8EWn4WlsJtlCVFJiJybJuX8dLOTafbPDFQAC2S9d9Ic
+0Owsd3Ie1NISOuy8/V33SyH/TAtd80Ka2EpF5t3D2KX7Vg8IBNh8JJrRJpJiCL+WXDJbtcNE1P7
seJROrYzDyRj0Xenzq3IjGfnmNn1Y5daMzMkUAsO6a6T/bigIA/USMgDd2iUkJRd6+sdCPYII1Z9
szgTDmq4IzaAJ5vmJFgNwQRHiSqIR3dLzKrYADfudExJKQk0Y8C/OIAXAuJzY5bM6afuzVgxMYE0
6Zv04qMIJNRsRvQOcIoM29d5Qy8THHhQA7wEHLsAXIa3wXJCu/e+pfA/gDDg3so29XoighRHE+vc
+Wh3EnqYJG7GwHBXTeb3qPxLroaYyelKt6kV56R83/xENybsI91JWEEBKKMUMA4mp+mNPbQ3tn+n
kQsHe8D6s9vnnKr12BlbUNfsgBSKmQONzhq1ggCsucWv1pZn6emhm+CWTYTQmN/PkZYt7g7MDMpw
LbmO1fjPmhDkyK+8liB6SrZfZBm9Ck8S0VCuPF6YcmICLZBZlIGhLVyHZHMzEyT8zi/w4p7sFQBe
nLHHavnqUWEobYdUE+GVr1B5pV9LEuPaE3O3a5uR/HW2mgpxn2xNBGCWp4JBt/80Y8HJP0HDgYIF
M4P/qUOm5Ou/jamIWBHJEBrOAioMIzD323K1zeSbfcrOiWtxTa2f3sHxlmx/nyBSl8/MIPU2xuwE
n0Sl4Aj1npgW3S83JZF5X3oAOGcEJexepo846dLLPNjNflhSNkQ6jwACDqZ7JAr1rfOxFPzBvkSw
0H6scvX39rVDjx/FoPswuiVk9mp/ExsUEic3qL+ededpzt91cjV2HWVnoAZ1l2OEks1i4Ipj2Nym
6TEfzBLzW/m7ZNQvHh7ZwCcnZQBZg54hCxAgfWu2+yln49WOCTPy9cbevuf7Ss+00KsWBtLzwUj1
NZj597mKkmO6jZ5T2NsouvwSpARFL0n1OyVsfe8msjyY88oOATwwM8zHFS7y3q+0kA6RU7/tr/3Q
8qcxhBg2leacpEno63gYZgYjhdsGuNE44njzdSwOQbqwnucErCnXmxlXlqlrkRQmg5imPknjfZym
bicU5r7WJGlmbLmQMUyCssUS1mJk/O8/XWwrwhtJPkE/xkdGgBsGImJsZ7yARtMcpxma1FwQj5W6
7BAaxto2rpMYMe/OMZRJS+PyMBEf0zXd0R7m+Wiiadkqql0inSs1GYcVow2XvF7WH07osCZsgRgG
nlremMYz1xGnHjzsru4pSSEjRaJ35oihXj4n1LFGSU7nDLthgu5kGThfkJWwf2DALsyncW3Yyh1L
6b2iIITDpjNTvh22jX6JbJICZzgrv+OvyDbLp3HTkbZabYc3DAp0FLGjbyzhlfCMmNugJPC2KIew
3+SSncb1W5u2cVMVn/WI68rquiSsMxX1Lt+7OY2vetl8VUbt7lL2PTsjRmBrIvDSCRQ+noh8vas9
yyfSVu4rWsyg4dumz/pBxzJ01Ar3UReNuiA9PJiNsZVsXKCWDuJqTP+ZRtvth7R9GatHxZw4YgoH
A6BszpldvMqxvsUgmYZoLV9s3Q6ncvUf0TVs0LZsy+BpIgypMRMOAEldrQ+UNtQUHr6FB8dcD/O+
K0y6YjOdoqqs/7J2MRnMLCCIxWdjtREIyjpoO83k+SRpbCypwbAbwH8VIz1Xijq/es6GY8tW/FEV
8auvs1GNU9SAoxvasD6wWE1ZYJhjvZeVSyIJHWBoGcWNofQXdqHTQXQDqq3EOizFJIgzYtEMol6y
R6QAxIQpq5qiwkHa5aj9woorKMfkMNfLGrba6Bwcn/TAmzxfxTEzKrQomn/vF/xCw8SG1z+/ou9k
t5M1oaNGKuPuuFRUsWIaw9XWnrqmb/alJe61rnnrEmw9E+hUWDjZZxmnL6juvFOmimMTxz99djtB
zdsA9ryyYYMiWQc58dgVxXgpBAEkWEJeKt/782cfyADkobLA/DTU2Pa5OyxTXNeyHLbo6SMYNoKr
ZEPIsO9+asMQpJi0tXQeriJl7jpK8ZBMDIMtY73RvNWKtA7pVIy1nCcUDmriFkdaVXc/V8AcWohF
nIt7OxXfkHw/8ByjlNbTMsir5QodbjwIHCH4M/cZ/kZUjVwwTfsAxOWRyPpd3/aQDU2HnmQdWI+l
9mMzYyjuYwr8GafUbqknNhI1KaN4TXG7eQV3J9Niv42PzZK7Fx2JpyqaQ92N77DMdmNCQkzrXPsW
mCTiZ4zIW8rqqtg7End+SPW2Jkm0759+XaV3TyxWgGV08TUpSWp2NWNLDGWLKG9HhF2X1rBf+g7d
ZE/5TZLx1e8HEN2NJEyJxtEufRkiw71knZ2fRvZGfPxLs48tQZbVPMYHWqEQsUK9E7PL1Ek3ioPJ
RdwnLItrlWHrm719LoWI6nxzvPXmnxptL/ASBDENhX6WtwsYl+R+lRUoJIvfuT4wStyrEOecfk9G
fX5Y3Ic5IXWdCXB+lly4nA4kUJXtGNnpR47OXPOrJ+Gj/YkTszj2o/dQVyK0bBq5xh/bLaL7jVxT
GqKh+mdsnjgnhv/l2emR6pC+y8Kh72pHoj6TQzpr1KyIfE6Wx/5iyh9j2UO1GDruexxw17lxjovH
BZ8Nbsl+0UCKBLhDEWgZpIzqlIsUqUHEVoN8MPE/3rKNiPSV773pIXYlaDu/FiXMvtw3Uaf1c1D3
Ou2WJ776hOIeccRQTfUJE+zRauM9dWJFzo49BkhSmFdm0JlaAq6DUUtIdaXeSefRv68b4nIaDOJ7
zT5aKyMyp/AqxgyrSTyb/aTpkPTj3ASkSRD8qI3R1NlvdenC9FDeSyFQ1WqOopNgxLuQk3ZORuN9
KsuXwuFyhAYQdA5Q26zeqDmYW4PaZjxkyek3bcckANV/t9irfSkwFYQtGSahZ6PG9NjfRXpnIMBP
s43jwIDJGuwvRWLGxeZObF2NzJHGuEdGxbg0X9WxHJ1f4i8efZ9PKJ/ZCFUBDIL+UpD1ShF9V7jz
j4MMHymneWmnES0sH01HjuZBFRYRmgXoBRDch1Xl97FlPw4uaJ1CB73Hq0KA1oInQZrPAKnS0E80
bGPTjpaVrVCcSKKIUvVSdC3KlcRnXkx4ZaeXA5YqQf/vbFon30FKud6PzRBfFhXf5b6IDLd3mApU
wHBrmIUjAIEGCBZ9goz81Q9aURAMN63l3kTninbjjQpquvddZAMNh2tuIISHPKqeh7gst5PldZ5M
/2D1SAVGUw/rZLYJFzGOOnyazteG+yT7ycH5PzrTMWvSU5pP2Qsi9JvGZo7fZvUec484jN1an/pR
oVMDShvUHQ9qi7HvSQ1OBO2MlmuqzoyqxT3ViceGcnq0GOZiVFIzoZ7iqkDCw7+ICeMqb0DDJtcM
e2ijx+5JxikSfv07R7oVZpTv3IzmK49SimMveZ0zdtvSJOcPe+hpxp9KokN5M/8mBTu+JE/9o9tQ
pObg5Fg7jJBzHvJG3fJF1e9ajy+nPSl5KfyHXm+fsPTRLXWcI31+67HVZQ6UrJdK85/Wrhe3SGNO
RJfcyEH/o4S4WclZ4MwzLCLl4R9Ya4Izu+5g3gC5RHHmnXx4MxhujWD0cuO4pDajHHLmnz0vfkkq
LIZqWN5zJswRDz0bephpZNYe13p+iAejxYxPKnqnacGIKa5OTrqc+0tbIlGxmZm4+cYBTRHG9pn7
UVNimpP2sKzp2aIgiMraiA9Jxnfb6hXCE3KU6V5DJJttUNbVH2XBBmzxnzsU87RH/qsnqoS/awxN
rX2PRcVQcDCj3EQXsar2NPakay1IYJn8LoGzFNcCq3VgV5TaQ+5pkYYkvktAOFr149qQc6eyxqVw
00KadHnB5hNYoTNmHkNsqsS1tCnRBFYrx1eMikd3YeyHSBih3JYv++05k0adwDjUbNo3HufPfvpg
I2B9qfHe7KwS5YwtLo34cnMDps+gs3ty7SvDxC6kVPhxHbMFY5L+m9A5oEWhQagSnbBjEsQR9h19
14G+xg05LX7kj/a7ISz89GV7WvL6H2CGJyJ30otme9HgFg9WX/f3/XhjIecK2Vk/lB0Dw5957dZr
sTghOcXl0gVp3BeBNOHHLjK97xbHjYYpqc+udZ7JBSaiQe0IGOKvko8Li1P2OCypl2yCVcABEq+w
j5yl/3L62rzXZvoylQv+rwU9E3xWks9StzH2Tlp8ry1MLFny5mkgcZYU1lNHR9/HZh4l3XQX2y6P
HcWzYr+drP0bYoJ7p+w3kAcyk5b28WwlyK0q5SEFn8wLHljtpDfyrV5vx6aO70uLnHGncb9iUSCw
lp818ZeYdjiAFrxDdNxrYDZZFriVemaVmpylXx5WTYYzyhY0o9/SsfNDUY08xmwZIt8GNoQ44rnN
vzZz1KaiN5vDtnVKhuIHzyac460iKse92WEOcmRv0yLwyM2NeS1a99pPg0kC5ua/B9+rxh6484rU
3alxvHngl6zVC3iY7UMxDPfoluAV1hE/JbHz3iyP1OzRaiy/CXKP0EylftnxBjEvyhwLCWcO22oY
EaT7+PMwFuKCvECiN0EHNcxVrI/GGcC7NzW5oGMJ8JQ3xrQ0QBrCPYxyqiOradFi5DXJkbBx4QtE
Rc9sGL3ldy1Zi/gDLAJcZD0rmvTRMkt1MiRWR0IRq2DlggsmU95hkA4tyfp70p70HPRor31pSI93
ebVpLNw08hbXDIUq6IXqGbbyODoIy/gHypVsP68Yb3NAPLSf0g0qXU9Pthi5hpb2zKmIEyGU2bRg
cC6fOvmkPBYuomR9oQa2jL5/qZJSg8PtisDQtUdGWWlk6uOLmVPd45a6sfpCu3P+MTRNIxhPNK7z
kYUJux4S7S3Wdym7ibaH6LKYfv2uZY+mEjxEt513k0GQCJeT6TVPPkMKyCU8hQgKbXPBOCeRrlAc
/OLPDeJNRuGWNG6F5DItjXPaO+9qgpmbldPeXa2JTp0qGTtYkns3trbRQDIvCe1sWYOigohSu1+a
vtbnJNYvY+c++flah1YzfMWFcUZ5pvae1g37KXsWXmajFTJ5Eb4b5JRJz90qb1RW3nZbjlo/kyDO
PXmqhko7lyMqeB7wv9oc+4vRFi+ll9oH3N2fAoFGqBkQyYxSRfGk8462X0BaOMozC1mt7k2Mcth1
g2x5p7bL6eOnfp81GgTs5CpM9CdM8e4alwWF65Ap3zP6NleWelb2ymKMFkhN85UZ++2oOa9MaIAB
y5G63Xhx598GRalTlGdQoslupKs/jDoBBcnRXgd8eoYOn7YfCJPaFLuFhkCMeNg0L3hBCMUUPREN
Bi8BjuUKFMphantyfIOOxFfd3naHV9aKMso3QNhKTi4s2hQmT4of+cAp8rQlsTrJcbCWF3oq0r7j
GeOgxYllG39D7l7Zot2a3fpii0I/GDVLEyyCPPEF5hsrHvcx30KyfZHGYLqwUshM3UD/T7SGfuwZ
HENTYdphNQatoP6E//rLmdbbonavqy/gFrGwazxOHWk/mxkZsmPyZSAnOrsFp6HWDPtZFXd+3hyG
jMoFMirmAKaHTlYg42yZm+h1e8CHaOHFyJq9vydFbLTq5gCd/Wpa5pssjBs/52her03b3KtxWk9d
Zx0tle1jlQKwXLP7phiTfSGK23Qci31BUmtWuFc7x0C1MJwcNbB/COyAnIr0s0ff3AIJQFJPj88m
6Eaq6X5crOqAWx2dLtFGyjY5k5al31MB8toVwl65MC/260cs2ixPqweU+g8D+OnsNSNEnu2HenCl
+5I7y3pYmvZYs6I66+TLATqOodfDEm+EdpgaH1py3GGRxY0rEu9LDaLZ0dTlDPMEP6L3JFz1sPrZ
36Qb7r5nRCxTfU+y6N5B0JqCshSZSyC7x7o2hqBXIWA8mZpehFX3uvmWW6AOYHOomJLWes6twtzJ
3iIONV/fRmO5Dvh6RhPybOIKpBZc4JNk3lZLBnqKFE8Pc9Cq8fVcslNt5yObGOhwGo2lVfbHPs3+
EIhYIWW2FiBWnYJWf21xJKcmucUVFk/EcBRPWfLqtAkT5R54ajr99OuD6aH+Z51NGj3KfeIEisrZ
Z2nO4MZG9g29caxTN4J6upWteGBfUkF0cfdqiuXOFwbpqELsegPEddNilfU3Mc+Eqomx08sPOUNM
lBRYrWTtcCRBorc46MXGKcQ5lGINZj7Hs9DQieq9/5FaXnJQBgq4GkpxOj7MVowmZQRKsZ4FU8cB
wVdMBG3fDO9ZwXhWjvm7XXZ/enLvekRTmEOeBKKJjNwOCwvtkp87D30/veSL8WZLxLVzV9C+yUuL
WEKT8bvnJr+V3doRX70zHs/L6CJI7PyXOoZcljJ1IW1mW9THPvM2VLPiDkDWTyXxDjPGLFvtDahN
Eugx42+EjiH2DVTvBjyLROGi5a0xYcrsW38OpHQh4pJPbENQo9fOwXqb3duqflLphZm1FQxeQ8rB
iOKDa5h0UeDx4I7OX4oulk4svrad+6+DIhJa+nKZbUdGXZr9VJ7+y+DqM/OLE9vidF/NqBua5SaO
JLDJOkF5zvqddWr8yN0LcpKwb8aMSIC6ivRr+6bEbzrY4syBvMsdIh/oz1kQY/zSoFJqvqBPdvdk
LOwrtm3W1jyrHJftwGjf6pJDP3/kskKjqZKDh+A+SNYh6tgPh9tHYLbiJRHwy7P+yyqTH3RI0ZR1
d0md+psY+ej4zAwa8y8eEuaAiXmCXP+0PaVZ69xP6x/wH2Rig3+jqIXXSezahT6wnYa3RcO53lFz
MF7i1uOQLMC2anbOYL4t9jh8gaAxZwNvke8cv311s/Qe7wAyGmzHFVKfF6sbxc5l+uw62cJYFtd7
RYmFTAYeJ64VlkjyufUQV7KtALNdeLteCKYJDtMDVYh9NcEWdZgNAzubqlBDQcMQHDGekRKOnnKM
W+XjJGdnv5RyPYn0l2EKmdrOv77izwrGaZh0AzJ8OS99cAnrdXSzX4S1nwDP0OuAMq3G/J/iZgv0
1L+rpZvunRZfqpygEKO9SaY0veMvv/Nm5yC0uCB5nnbMJEM4SYAUFwSkY+CcGJq0ANxtq/9ts/Ss
RlkhzniQLj3A7Cefcey8WA+Wr8ePOmHm+EwPSoKesCz/lBWg6xxZltcyxczfTinmekcQyUONRe3H
GMSI/xRL5KjRnCGcrfIKpNxv3iYEm2GfIU2IYQqww0VM2FvOqV85KyftBlQdsR7KYJktbuEQwH+T
9ts4sFD3te1KRLcxYr/ioasvOVuIY3Hv2BjP42ZmyVV9sFrbzQ059OVC8WWCrQ6lyWFcOkzF45pq
dpwO7loToLIaOxY3TZqfpjneV03CayL3ey59mNTKT8IZffSi5//aloZYtGBd89WOXPGIkMC+GOl4
6846pKm6ZX/Xd0hQEo01sH4X+0yNSASgkJ6KUOXpZXB6gAIOn3D53oKFHt3+2/A6a+dQiUcAJcJ2
HC+1TXsF/6s6LB5yHbaDR6lnYTlwP5drAZOTfWhItOEvGdtPhlZ8EeNAwzAZTzC2ehiydQnBoP5q
G+vdr45NB7BHjnMZZvbyaW5k02FAG7LGaG5Andys5Tb7y2PKXFV2F1u58CTYI0n93XXnY++vEVR4
bvPROhpJkz0QOPCVQVXdmXH6G6vsqc5Mi62reepKfWAePiHjQoq908uDmOP6XrN/3P/j6DyWG0e2
IPpFiIApuC0JelKUdxuEpJbgTRWAgvn6OZzFW7yZ7mk1CZTJm3nSKn+C3rlox4jMG9XZKjD+Wvay
wxdKz8Qj9+3L2BbungcyjSojLnZxUu1ojDAjy2enkBNyV8tMztfDsbLNdk9WLNvgfX+xRugOneMd
HD3ctOjjjChTO/I8gEG+C/H3FqS9N8D+ti0zswW0lkWCimU6PsrwjKYZNm22L+zqqhx++KrrAi7C
3RcPIHmKcgt26Md11YxWxuW1t4tD06K1y3Y/Fsiwoaf/yYbdqOACxoSO4J8++rN1QRxn/jpnDEFV
Q3woXGg4Ig2cLOVzaedb7EUvlebeUWhNXtpga6AEfJ0Semao4ycHx87eZvOQ3abrKjVdoPn4ZFpY
2GAdSuCxkttrANhMG9gjwSQltLZMF8Hyjxtt+srS5GyhkBQODRsdJh/JlXCVOlm89uzShw3ZnGR6
rMSY7NqBlMvstLdvujYjypxPczdQa2TPwMNqQr3uALjZmcw12ag7FxjfCtWgPRbjpZqbN9MzzCMW
27u68QEZue2T1+XNYTRxqaJFETaaX1OfwSkG1HEzZEJFsRlXmBYSGDxTgW8MXzUe1VOYuOEesOQh
bbI4IrBL182QfWQmLmYnMaCjz+7D3DOWiZv2WEp5v7Q3UZ3/7qp3xV4FHPn9FgNfVhgn+IE4reTr
IL+82r3Splduhw5CehZQowOmAX9YdhZ0i60HKrM2s19dUZig8EoTrxpyR9TiC98PAAS4hDEeWDra
CqgFWSCbMDP9wSGwCwLV7rgY4zYEScvRSW9Fp3iRyWiSv0hXob3krLzGC5E4VrQkHdcW6UgadL7L
HooEJsoT1NN07cYJEnZt7WhIXVdVfMftMd/GfjWxyDar0r4FVJp4N0iH1jVWeyucPoC3k8o6pv0g
o5nnkuCdXHuOla6rrP8qLf1r1nW6ZdHjejnPz7kqNjg0vigtiviG2OYFrSSxOC7KvKie82fYFDtS
7j3ndIcfimgOHF04yFybp5aBhvYgTVgkjcESM5pcuts5w8ujNmlJrRb2aja8jwIBAVHKxOqenwTx
GAx+4bVtUPbkLB8Md0p3TvHkT5rbD1LqBn/Evd1qiCKe/FRL/ziC4WJ+N+E8XOaNnk3+vs6FrvUE
9SGntcpBH7D6izMFDUsjvCBl7nWVNS+DWspNppflwk76NgYgG7U3ZkRpypM7EtaYebGXNN3BiYXO
YnNKYXvB4iTEbhnh9wYG//G0KK5lg8EuLll+MAlOLWmVwBXzcbacZJ20L/Bo6RTrQ7oZcElOwRYG
o3Weg/TDUDhahclfh0hcgzjDqZtXK6iqV5bVJ79Tzmrmq5zcVZEv7S7lSsL0jeMiv62AT7WEOcIm
zTYxjlB/cu6cLtn0foZtwXf6KF8qfIMcgOIqwIcf84ggsirpJ1SGfLQq4P4a9g5nF/6Ech5ezYC5
Gry2IhK0DxfdfeGH09pPmWki3m07BSYXixqfbR0epwzevJvC2Vlm6R+DhExZE5ynG+ZNu8wux9R7
DOoeWFkpORXHzbM7DhTrhskWNZqPInSClbbGQ+j9kC8izg6dKfKz8BVR/JYXHXGkKdIjUqS0FgYI
DmX3YGcEPYJw+bZuFmUpVcjzRDnPklU/JVN/iCwiPTeJdS9fWcpLTl2Zxer2gNrbXCff4nSHjmSx
QcVoC6zInrnLZl68PHuxAEPJ8RTMuLbtXhFB5ShZC+9I8UhnhON5toKWcfAfRx8G904NO6r1DgG9
4yhTBIWosH9VqX0uAwPJ95aQM9VxTp9dK0zu8E/z3pDjnVJCCZjb8TzJ2gJKwf/tqaHgZMYLmkht
X3QDvNzICBWRfOHmCFhYFfYBhNM2qcmSgnW4Y4kND23gZygpJTkZzkwrr0DI1Rn0UM1MAmOv/9xV
qb9SQc1ksrjY3sIcgIKDOrRziAYd8A6WsC4e/uDUTps4914CA2NFiW2WP3zm2XOh4QBTMnZetzzF
sbsOhcVJsrzLMLxFnAIqjBxcgCGS/wRYnPrJ+NImrspgVDIi6sjh1vqCHSVXXmNT/kIouqUgwgyZ
j6clLP4pbg/MFbrC5Uye32ZI5atXLhX3al6MdkYHmpAzMMKxHy3nRHqU7bqNj25y0nWHzbaB1w0t
4RuqqLEOxukHst4/NGlMUY5YB31srhdQb8cZ/ke4mPctMfjMbN4tS7KkL1sp/H+FgWEV61azDfCe
hZw0qMSoKOLoj0M1sFbG0l7hill09q+c4htGNf4OnJB/QGpbDNC7EaAvrE3VlQFw1LcCcFMBNdp0
uU8wjkwCknULH1qnON8YmIm3cTysW9ozyInW8Xqc4GCZVvLkzSmVPLc8Dr0dBnFSJJ3Yj7HqALxb
0QLAEclM1sT3GfzG3Mibmn1c3KGtLptFYqDPNs7oeXu/6y9xXLibzORMDGL80YMyvAZ1Y69GcQ94
aJ3L9DcI8jcKUtxphFux8n0wUMU/ZTZPcO5LpILyN6ecdWXE5p3n5uT1gahTfxQ29v3QdF89Esdc
fwJCjqap2PRNf6e1fp5msSNPcObscF8n43uBN3QYTLRA7xpounAoIkUO8C+Jxskus6dbGKcpuSwb
JQm5RnsYPNt1UA/vnkNgpzKqj2kCRi384Mc2qOIjMjpnCUB3+2DIcpsW9A6ZC34WUnOWMs6p3U9r
gORPlv6WI69Ylu6Yxr4XnfFQ4BC0UaFF86LT6oApknOkf6jnhrZUD48w7SVRplx/VQJ57i1MQFyk
jQp6cm03eMrh4pVVESUIsVyOofQalUEoMKSxDD6/Gf6zJhO//vJm3EYfsxLLwe39O+TwXQyceWVJ
zgB+iRiB5WnXGwN/XAgRy5RVuSe6x7FgqOReO8uvJbfTwFSCkRx3N8Zf9lQfKj+RuzlpS27QhBSt
nHOba5nr22UBWHsXAZlV+8Df+DfsPkKVFU2F+A6d7sGfO4CCzAd5sWT7mMC/EvBOGpQ7HnFOSk6D
vxBTF4qWiHhstsuUDntOZHPUd2ugtzcX0cEvmvIQx+g2y9TpyBS9v64W8jiLfQz8AKI1NqxAwHLJ
9dmI3Ysz2NM+lk9OMYTnRoRPcuC8FQbFk1V5Z1tz/C0svnoNDh7+tP1xY9rDzOzBUycdYn0CbB9B
j511fihNVCsfyLUOYKQIGjmr0Aojet9Xbo7TuW2WO79sj35tvMRCXvpAY3shzoPsuIJvbOzYOljP
JRKL8viqKNN9KFLKI7SXbKzEuN17f4eEyhpTjafBnCBAhahqPyFSVWSFTrLRausK7+zRV79tWwy2
5sRMyJrT99q1SRgsNrmmWVKKtfwOQDQZfvV1xP8wdnTlc8Ukna2uGra2m3E2SK0t4HnaGxBZorhF
FwmJK97k7CkciXiKiVGP3veu/L1Vnyrk/IvvZxsGhz9Yif4KShwA5Yc7t/utm+G182YKHzr1CKuH
YHBLEQmkolpeoE3dszZx1XG5iw/jfpDqlPUcmttErwmHPdNzooP5m9PpeCoX0DozUxrSDcxBmJL6
nhtj2LfOqSYTUNLu0y0eLpMqn3H8gcweMNt4YKc435rP6eSnYOCSZats9KHAwG3OsBSBtvvhOGlG
MO3pMVUAJYryA2ETWCL/IB1TFFlOMAmw+6EZunMcUwmtP+OUdZKUdnsJyilflT6pQrMx020Fa8eG
f+z31vuQckglEkzhRKjZiY+2JvqYsMh7hGIOGEbuYK4BfUzKQ08t/Coc6/TOyOTZWCQFrS3GsSAf
IxvzATmYYN224s2LQQ3xhzvmC+k/vfPqLUINEz64AIzOvzNNmlFQ67WyXAzUI94g8Pz0cNKuNJbi
2NferRhwA8HIZJa0cgxlbpOKmUdp60Nlsc7Xy7Ccx6QDxu/iCmsZ5XIyXZuZ18KtB7bizmSDScA0
TXKhbd7lbvPWTXqMii4HeUtMHARgxvhxyQ9ypgoqRaduuNevE4OuwC5ydMJx0kg+XUw5Y8WcjwhH
VPAj6g6jOHERxoRLWe5EyxNSx+/Ek9AAeVl2Y2/vSpWSwKoK2gptNr0sJvOprT19Rv0WuhhRQhzx
BhwHOXaPrZoPgWdAYym6XTrDwiHfE1ojlrbJuxhp+BZyX+tixCXX68Vzw1R+KbBiegaZrUyN5Bfw
5txsjn4H/SanZACgYvvGBXvr9dmLDslqo6fsCgIzwLftg83slvwTvz3PWOaGyk2ZpWMiwx0whIqA
WElVqslboJeJYJvr611mP6VT3e5Fbr2UgY0S5IGDggF+yYy2gQXnOdswLKPCw03Za4fXmhcgG8Ab
Wh0OaJUfOguBU5uMzdEqMY7yCWHLIkdXYIBYtFqLW+uWXegv2lz2Qd+/5ZIgO+Lw/wTxczOEZM8E
0bnc3sWq4qTho9aEBa6BCfwPHqbqOa8d1Cir56Bs78Ou7Haa0PsqN96dctSXzv2p6MRkE6ZVKeMw
bD9MjDRxzfpPtXTkng9jU2ZUxDS8C5g1p62yEjhgfP/cxB5NC09RtdS7OZ6+8nL2uX18WAkPrbuM
nxgvLnPaglZduntf2C8iYUpANOjfYMfoBYTCGoVi0IdAx+oAcpCm2gjj9aam2ynATLFlXvHSifnT
TxA2Wrt/7EqLCbGd0rubmJj0qpJu05SGS42qUY+UW9HP8Jbz86wGAcACfMSjRsnEoMqHkPp3sSfN
EziB7LT0/lna5xrXxSZdRspN4afFU71gcOao16X3w0jBaWhcXFverP6oiA1uhTLxN/xVb2hP6+xN
Sm1aR/z23M7xjIJlTv2A1QYQcBSmSDaxHK9ePFBpQsuyHNw9ZhKyxYuVryYrD7gJ4ExsPZc7GQ7L
rl32RfbVTF3MmsgyFvCLTVwV2JKSJyhaDHEFA1DT93/zIvH3HNZoAWbN8YIQo1sYHLk2rSwKW0Yc
Rzu+XrC/E8M37E03o1BJbyW91ARifQRp9ZhPzAPSirtuRpXa7AfuTojpziM6j4eJEFMVT1uZlNSQ
pTRk0e/EvQyZw0ztmwHp6I2YdFXFrSAu6px6NtlupKk5BWBGYoJDD0Pewp516RDmYx6usk4oHiXF
vjFtWpLinKBV0ON6I9RRqVBQ5OAIXJllQw6TiiARbAAUvcuCZt488PErp1jHHIqzrRn7nHKqSFvd
sWiM6zB53JmqUu5rbq8WslFEZR5Bpn12g97aHqYzy4L30iLb1D7Xnl6njPlrgm/KAymSJZEJibP1
FOKP3x6Z0uyKxPN2mHyZ3dHU2yXOPjO8J2jmNnI8e6+rcdPGDlPfIC0eQ89+RPIm0JODD3CyhoUH
XyRm0yaP71MOgGTSZfcQtyy5bWPrVZpQTjkF85NxC38Nk7Y5Vw+I1oa5mwe4sQbOGQJZB8PDqqYq
axt4XRxZCb+ay197I4PUK8Xd+7JUQdSZy24IBVMgJ3xocwOCTE3AyckZ+kskufg6mxmFIeMhqLiS
SzpHkCHkm5jj5ogqiGJXjUvkzVU0GPWnZ44u6M8ZiJE60ijjcXloy62cMknwcbgztfvBUOuRgHe+
ps4lJdvFZ2KXn3nQ9AdFACYrkn96JvzMhrktrThG5KfTaS4oM+ywaTcg9tZxfu6S5a+oUWddlP+V
NA7M8Jll1vG3KYFF0QTLUM97dGB2r1utL2mMjziF3bjN2M59PK5NZ3Nfqzy8KgWmLPkcK65mfkur
Wm4y0qB+m3LG59juD0xcrxbAZoylDSNgwl7MQvJrPfqwnVM6OllCuJYxuuldK+bcln/jEE3OeJNS
mW2DsvMYyBHXh7hEFSAle/T+WQR6N63Il5tkveeoSR24p2roXMZrksw0djG1PaCBRu0tVW5iM1iN
Pkhoc/wFGppuArwuY+bcTV52cXISkABHV4KrCcfSPCDSYIf4RJ1Nm7jceqc8XCt3vlS0ckSslP+E
E7wKb6E/VJPxs9RyrlsgyakrcBr44t3AMkJpZPEX+FiEgLvRyCSPqAMdVFILJoSTHBKPInvR8AA5
yJSJh7AqWlQzc76MWXzvQI5TBfluBv6A293q3Lj0vcMkP4YFkEHzNrfQsMdZfv0cLZy1oit1+9WX
IjKJN5EQ37RF9ZTY5EvKEfuvn/3afbedF3inWXjs6hznhgJRX9TFRyUYQPTOHaskHcJyeF768cfO
rK0XYGMWDrCCxY3vaG1z9l3Fc5MG/bsywae1AN5vRIKCxRqjjIQEEhBQZrBI9rB1DZhkODaMmX5G
j8z1NIL5tdAZAtUBvhyulkYOVTXEPvpGvx0JA0m0Tz35j9VSWdiLucYBZcA0ZdyHOHDXSsFEzsv6
KIBUVKzoHNkbbMq30vjkj/Uet7sa6nuAp9HgVM+EZ9aVbUxHXzew99IbvqqwVmCwCc3xI2kJglQH
PRIJDdqgQSH4ktWsExzkbe4/tgHRh3p4ECOSRlggpVhjaZOwL7hs58yALOh8miGsMvZVYL21WMGH
QkIxJIcHjipMeTkqVTHzI8kZzt5dWeEboF6yKa6DR1A9LPP4DZEKrCr4vhlKRYmZq9DEUnCwrXKF
IoFs8CLA2juJBsM7EEI1qGDB74aUrOCD8Js8WJMbaRg/+HHv3HT5GSWXUDyrdkR/krEqMTdgfDvV
of+HN4vtSNTDJhCvHcGXKK3d76aIsU675jZWhE06FjJbm5eqiJ+KSX67fktUrVsxQHxR7h2IZHzj
La8P4emrLmCP9lYWbof2KBryqAyk1hQrMcCu5J0/454wdXzVtYGnpsxPVg7erwzus6XF9RKkDzl/
WXTQefd/NRL3TKiUTsYm5Hg3Q8depkEe6SZ5TuZmxiL6hoTexONxaBbUg4DtsXHoE2wJ60ESeKnm
saer22sPSqOOCVTjyI2Lz4lc0Frk6FaasKPv35CpaUbWGUTEWuCZuBM9YZ/BXLvMqa9klAqENA4H
pEeHWv6b+rbjQM5ow6Oqkv14jLPPfuoZb+qDwVVz6MRHoP96VEOGf2G1YbH2s7ldi1vUK3Vg/+jW
uhaW8Q2Xe5WGxPzAu3+OJCeXG/SCGh6Sl+4+GcYTG5rQNBh39gz3MG1JXs64CPumBQaVFFgqs+W0
cL3sl27tox5Nhj7ajvolV/Ds4l0Y5uKn9e3bb2Z1SoO4AHURXorBnhGEnbWW8WfnENDlIvI3JBRf
GIFzL11yGo2F6cjvbowUCVW1BQuxVE9+5fUHF8bYKnmPXX5FQIkOBczNc5wRwatUuWW4eXWZKjhg
M7wWIo5v56/gI7gLXjswbpGIRZTi00AHhPXiNBCBkr3Pv1kRlHMxAKAuDOIXaRAkWEJg499cyPuB
gzWjCutaFS1BrrE4lpAnK6c6jSaJ2k5JzESSxi8OemCQ6BXugfrju5FZaCKOzOeuSb8NtLWKiCxO
4FNhP7eCqs8Eo5FuCT4wmVwlSfxRzbG9ws59Ttr0GvODxhg6DDVh9qaGIWf/p9USv/YtIhyMOqrC
BP5Wkz9QDcZegTm2APJSChaVoSxYpCfrCq/hDdQ5g6ak/67ZBfqljXRqXrpR/S5c4HNvJD1rSRpq
pfcbzvm/MCcRRVweflKIjOzG343T3c2hucV6edRgXcNKvy/5lEEhZp+ztrZHoa3oCSr3s++snG7G
4Uj312RP98psL01b89Erhd5bPeINAA4jOaqm8a7gOdxM+XhPnOdepqyQSlkGBQwuCXp6E4iQ+iZm
ZvQspjk8lwje7s6Ne5bNXnABYATo7QxxC6Hp7J3T0LUuUS3Z1p7jIXjJKYPftOYcb8hTUDsSHHVm
HsTyShvToQyDlIsKZxLTRoGlLNxCV0lLGEIeDkUQ+/ccYR7cbELR9bmUzOOhA7A3SQVU3z/Zln3N
CABk8w2976jnau4vrVF/ox4/2P2pCsuXWKojbdHM4ZF6ILnhJX4bByIGhrPv5bTtJaOL3t4uiuYH
fgwMmhdVeX+ez7GaGfwmy8avpdWXcMDu0otN6SzPNfwLMWMeMy0ID667qe0CHSj9CY3pLQYyb1oG
f5jLRQ3Pt10/Thg9qfUj+HFAvRyrJmqb24xGB89dml2MoeeKEeOKYaplzNu8W45D6b7wib/kaL6T
0d6wozU85Sp/9TB1QGlh/fABQxuCqElcQataqAed+umtR/WAEMr9NV8wVZKHlEE3RQaRxTE8ePQT
4tyNqgT8W81rak64txdiKi7QVUbstx/OVIRWh/AiY3+dLEj+IkHiDMi85UHw7k3+ZxwmnFqz8bcu
629rCKYoT7KrKT8m2AeUh6yrLtgXXeWsXRtLtHbffe0RMIUiJ4z4bNXiBPolYtrwFmoVKTtj8LEf
vWU7x+MLlXT3WT7tNUEbr6dXcFTtOylH3K/OO3ipS2MmPyQ4b+uuu2MMyYmW6QC2JBUxCHWa6bNd
eB/N7mIy+eE541eMKTMVP/m6XacY2bkwwIhG0qkIvmzlW8ZnKIHAjjaUh6FpyMtJxd7mbbJSbWjd
JNXSHboAzAUGoDQ1Hqsctju+8mNeLRxQCuvNMMaP/z9wzaAaPxYW1wL6hsiZE9i35ULh4LGRocgK
MtR/UVTC1ATifHOfDX8LNJYkb56ELGHurfKR1OaUwtoVPrLbyBIwkKFmJY6McTmrtEebIUvspPkh
10z9bt/0WGWfxZS+aC5Yq7YngDTcpf2PDTWJ+A3N8nnzagm9NwMyCAKLiMmQNBpGG4CZbI92VT8O
tLqCwdonelw7k8PeLZ8E13hu5IG9rUzzO8ZUhQvX8bZq6rcuU8yLdKYzjiU8wtIdEaCrh6aBxU2a
FBODMDZASBilk+FpcWlJOd/HQ0XctUwuaT9u5xAITBsaL0bOwNQXglEVPtf8odDzfFhUexWAJznF
DVtP4Jz4X+EY++rDFDEFys6dG2MlQ9e7MOv5HkJegLF575g2VcPgQwEKKSM1LeAG5fzMSCsPutfE
1aD0/eQ1uA2ClAMHkwopDIP3fubtCCROKzr5Nmk8kDX4ny4nsIROB5l4D3k6F9RZrR03/E06XphG
qmwdBOLHUDAO0AheCq4u645ZawGs0RkuqR1QqaFwfztOfud1W6XIykx+/NSCk0FD5gKVxv8oCcIE
fuJWTM+KvVZy2jN+usgKyl2WPoylKiOjnt7q587zDjcUVDdAtGg788SSDVO5qWD/USbBWKb4Msr6
ofY8uffzR7+pH0aTYoVl5+biQn/89xiAs5sEAX/xaVKjtKEagIfTwS/IA1tP9XNpTUNkKWAtBZUA
ZiqjtrdepFsxhm0hT9CVc3QNJp9pDcYX3zD+Heu5ldZ48jyG+pAU58ipOLTxemNMaDLn6FTOgMqq
P/TQHgKcvhBhqZdh0hMebPgEi72ANgGLvLI0B6vKFH92z8cDsdM6Ywhd1eF8UjPuGChJ3ip3nT28
orPtjF/Yrzhvpuq3nZ/DKUfNR8zCXNH/eUUCJrvRjKCfelSddWqm3QmbiCntf64xHfBoMxOcOomF
rf2VGCRvbti7kaAUTlfo9fwcGOQtBiXVrakKTT74X2pOL9jz5T5brGe7m5KtJpVpqyvLMs76lNOi
+k6Zpkcd29mmR/1ek8z77BYiV6Q5Q5GEex1wOCXDGutJ06AYnz0HRsIQsFxwL4ceke7KEvYyBb05
yyG+rDL+SwWPBJbD1TyhaSYj87G4QKL21LFQygXCBDxmto2nuVd32pXGjs2cWuxsk/ru1ZBKbyzD
+Fx0eYLm++5y0CZdKX2u6/4Fjix0lRqKXrsTwXgZHZc0UtWd4nE4hwGOyU51ZCCIkq5KxunLaG7p
KuBMUdrfc5qwcWB8wrpRUm/MkKauh+ng186lkfT9MFnd8w0UJldFYeXHnrE6rhk8dxb4xaDP7GjJ
9r6nd6yY5Ur6iiAjcKbMjP/8tupXNsO0nWVwd1KztXdNH3BLZxDYFkhYQvrenbmcwgHLezpnkeNA
jOCp4s/A08QJySTKiW+M8+9HnVu/rWOXp8oZ6ZlJ87WDmr+iz5TKIDEdZ9NYdpz6KF8xWyLX2HqE
rzA/5wL1DyQStmwGDtZyntgzKFwaSNyulZFVF2yQGIqYeAFDQNJgn6GwZd0FvXfhmH6UAS0Kodfz
hLvjV2raz31PLspR5c0Uf2NTXh2y6Eff5sBvuiMjmWBcyOz19+Y4TcgyfhdBwP+jTHTbJNwNnUYc
GHRdtW8/8eBbwIStW1Vz9QQX5LuxzB1kCISlyp82AxvpqsuDbE80lPlAfweNh8OoCeOOFNc1MK6m
GcMHna3zsCTfTlfede2YYxujco7B9nouGG2ALv0ROCaEsR86Co7IuCAt5/f9wOO1qLRbZ254ykwu
/e14q/PyxJ9jTi9exnye6wmWaXUwCOiuvLIxd22QniiAPRCLWHe20d1Nsd4qVGAOolWHSIUHrcSs
Qw8viWGJWlvHAlWAYLKYmjcoo3rXUTnFPIvRYmJgMFBtEDm1upIWeO4CgzPJyDg1F2m3adJ74pTM
Bkx8/oaj+dZboL080vjBVnR44UAS7vtAK6i/XDUJO3o8ZB4N6aPt38BRqN+cXfRGMCCkk8aCWwDf
2h3kNS6rhQ1tOhAWaXAKGsZ6ORUGUkFcjOu8B37Ql+7MjNf4wVRuIkl8piBsNuJmEfQEDvWKsUHm
9uUhgPpH+wQj0RkW5Noo28cBshccEJrY8q7m17OHEzHjoKM9/y13wH7UUye2Ok6vaCdPrvSd9bwz
ZfCSYZJbazCV1OhJbM3EFjgb4PAZpR+ZYQn/BuB9LB0sDnggVNiBLyeQ0E4jcS6vTLdAAGnRuEFa
DYOlEVhxWFn5xrTIAJfNXdmNuG99/xNF3SYLWnDuEX2N+MyIyG0CsEQQdUb37HRDus/xra1SbLTp
TCSODqyCqLp89GwAdZQzWjlBK+qBz21rkd4J0QxCJhljUT3YAam2xtVfDa7ZWxbpNI/LS0B3/bBI
GBnxtu+Cbld77d+sk+s4axbs4Z0x+oM19qDb3H4dz069C2yqKaEbQ8Dn3Q2T/KjxP42EaeNUPTZj
+IaTFiajTsW6XTOz8xGGodLArsCU0+h/ZAkQxpjeeyEdeZikBM+BseZQR21yEoZb5rR0gRE3nj24
nWQWRADX02eoHz4KiSU/ZaXFKO4yZF2MPzuQX47PgTqLFeZLZ2/Z3Ytmj4q06K86jRHREP/HbiTQ
qyySackviXGcRtlX78BrYW+E95P0zxzz/zHR2rkyP07deC9p64JSVvwwoePTEL9+WV2r3pdMgpYv
vIXJ1uCWDtgsz7IohCj64MZM7lSyL4Ppn2sl406Y6ZuV8emmxqvZSvjcbrheNPwxBfFs5UhDb72w
5qJI4nd1c3BKN/vpzP6hNpxzwC6PZ4vcG44rH6+oT7CkCYnDe/anNuKT6ni6EmaeWPCc94GoXlLC
13QKXDOSueEqQy7CWTs94QuCqLsLuWkz/usoMRZseB1j9nYO2XUw5jNvOf5x53s1bhFqaXwsxfTI
kkMlWsyoZnbIa05oODZ/eIktxktiTiaB/PU844utE7Kp/aMWd9z2luCtsNMddtP3GgGhsrBk1cYA
K4M1TrrwSd3hRfQL/BDGnHHyYcXdsxZc2XxWBoLRWLuz8reTJch6PihVAAbjxv+iIMHEQfYJU5on
OvRx2mFN+FCZN8BnyDZ9dRN9qG2PEq86tOJetrxcagp2NLBfEIh6tNGc5YBMIOOYZzOTJzfsqekO
OTbIKtl6TpWs/SD+Ei2PDJ1Rfx6De76W6si52AnhttojNzoCL1xn2Nt5JO4hJyi0eoF/FszUUHOT
MIppXTk0Tgc4WHU1htsS1Nd8uwVJdDjfbT89f6Tyzo9ZIeJ4pxdixxgeOfOyuUB/RtdYFiz2aXpX
534VobHAVrRoMZxE8U4hE98MBczwMadrbzKHdwP2R8pfX6yYcdPMPrIi//pnCapd3IyQOPmAdbpT
/vzkJTSuD5gL5iVgMvWQcgnd0vOGgULkX7bJwGhps4/lxtRD+eMhhUFQZcXZ9QeUdV6VGidjFegD
g6onNVKkJ3Rzn/sS92dzFzqYaBl+kZg2/8WsYaMF6mbxCsy7AWVddAufi67luc32A9CeY/VDhOTD
GYjB5v5tRMBMEATjEm9ZAr3sjnKQg7IRcRHjEVMb/X7jujPoX7EkPPvgqDk8INAlHCGKmDGHbr2b
ayLc4qu7cvHbycq7L0uABjFP2UjJNeAswnoab9//F96AQl6GvUhOBiqhPXxXU3qQbQ+lsw33yhun
DfzEG0gRIYcJCl+1rtdUZf0MpQ01C4UAdJj9UWhH4Pj4zApr2QYdKSrZfzSZ+glvO1DqLA7g2OUk
y8+SGRUdXeyNPsrwBifUlaDt5AwRzl0gH5J2GVv8SxwLb0ZQ3sXJicoZSqqWhYm83e1y2PkW/xXG
Iu7BQuXcAlT/dbKDKvFn2AVSuGm7cEn68Wj1jzMPJ5obP2y+8nmnua77FUrTws0k7e6xq5+8BQb3
YFskHjhbZkQoULjt74aLFy/N0KPfVMm5q32+g84l4VFVwPIM7MN+NT20DmyRUggALj3HrYTkL731
DexfoK23gSz2yZS1ZA2wJSckxpeG/9bJ+e4Mf8TmlZ2nMPW24/RjOgTejfwmfzocDEPPYK7ushbN
onxpnfFDLRMO6WBeB+mIjWqiULjEa4IHkKMjwUDYdxktGZOLZanrz3WRJZvZrt+IjEce1pr18Ibn
/a2GAAL/b0qjIVH/cXZey3Ej2bp+lYm+PpgNk3An9uyIU1Uowyp6J+kGQVISvPd4+vOBPYZCq6p2
MGKip1sikUCalZlr/WY/GBRrUP5C/rBokOOm6Mxcp9ZemHAFUMuEJRMDXkDaYzOa6Nq0082Ja6Hs
ooRt2eTcmxD138gU26wcHPCr8XLocV4nWtF0CTA3g0ZUi3xbkrThaMqkQrOsKwMn6fI7HRUcJfJu
fD97CYuIc1uZv6GQNQpbd3Q5fIJCPR4gm61ilRtIaKP7N2LXMIRAWhq91payRLZdZFh85t6XEr/N
6x58uWpId1XZfocnPq6p9dWrWlxZuZesusF7ISfypNvfxxat1c4FHOfJosXyBO5B70o3pkxxTuEg
pWn1oyyXd53uc9+buGSq236dgoZIUAkcfPM+DsNrw0veJF/+PiK8uNAiClqUk2qTmrrbqA25uGel
JVEWIxPsBt2jChF/1RfDtoiL7zFSZk6qZXdmGX9rrEAnaRqhWYjX1irS0y9VrxkIllWvOkldEHQe
+yMnLZ3sgZU+K6ZfrSwDDlML1HsYHjEQ6zlCRTu/f1GIw0Ha3sL7+wI08MKdcvKlmr24CUuiFMZT
q/dsT5KFQSY3klA3L7zqWZ0Q4UPWm8hRkmeaymyUPusl4iThIQLSLY/pc2qj3siR5DVRi4swpair
uhStLMZIli11yVLEe5ZpilNvIodXEa4tZD5JtrTwlvQMKXtu2d0YpEDFkXQRWnCn2aThKiV+6f3h
qq+ScIHnHHfX0ZyIW5Hj1rBUtQgYU2EQEzOvWovQ+I5RUbrxocThFr0dLFRehwqmCHl+uB8PgYb6
Ypu9iQRdsEyBkVGAAzMbeYUFBEoXaXuvozVCHdK6c7v6S0XmHhkcE2DgUs8Dk0sHMxHAf7Asajlx
gKm7fW0vSJn+zDHxjNI2x46Elc3Bul60VLTRKcdH2w/eUk6FQOUznl6W28pEPJViohymL2pV3hot
/h6B9L2KUdUhQ+IoBqW4LG+hEGaoCJnQLauue9NR0Xv/j87XwYmWiML1qU7eFF8AT+Q3AvQKYszg
QIP8kGlc+aOB3cwd22fMGB2jVeC4FgUoX14tQmh9w3mcYn28yVOw/ZJmvQLpWoUVKSbN5DpCwqlH
LwCKEpVCrh3UoLTxFc/KJTgtVDns8qlEJlmtqh9jTXV/elGRw0TDRP6bzhFhNQrirJRixp1pl2VF
9R6UvmTJpLRhMSsmOo8Rub0Y3D4KcaDTpxeWhbXNkOOH/qDw21F+E1Gij9UL362fhqllTykSR9Ul
c2W2K1QIFq063mdQelCvoy7KpLhIkNYaoIg7RaDc+dwhICTvdA19MxizNvwfbaPpuPh4+Q+Dm+PC
6HiH0ISBpef7eIBbaHYrpWdX5hQOqsSOl3Iunjrg8aQIu2urpG5SXtW99w2OJwpxQntr8UcZU+Sb
3EQH1dI3zwjBOGiKseGSxJNcvMBVbCbdclJVpDQte9wrpSIHOyqgr7qquyezBTO1QyYylTzKGRSP
2bs6UrrAXaulPFEcXCu9xoCGXC9+DnGEu2Q7Ge8EMEHXQPsX5sjVlnORxOajHwptqcoip4APktv1
MgqVIVlaConaWvLUn7Y2bMk3oSDQ+GJNzRJeNvo5NoVEHdFb0gkKSr7wESoRPJEXCg5Fu+lS5WHU
WvBNdX+vZ8aqcWNtY5d2wu6LbluPsJ6XwhQ1cpRT9OhCTvt4qXOgFUT0VUAyc2OP14ak4xvOlR1J
coRGoQ8sehx9kEhhlO2Aw7AQ6TPZiOEKqaB+UY7fyqzL11AnS3K2UwZ5GqkkfrY7wP1uPVUo4erA
tevFEpLUT7R3uRmHmlP21Hay7KtmZTtXxkSY/WTl1bydh+EEOTNwAx7KKuiuko5H2ggkJLdPoJwb
W7nA4Q49DgyI0IYPteUolysZRbtFHcBwVQkDqNJ81YTbLlvyznpD3ytm/ZxZsYyIN0eXUiURoI6v
uZ5cD+FYrORGQyGacqdUDATp/idYpVc/LUh79z52ECSo6oI3tTEfw+gIK6SlgCjX996uKMRdFOJP
Sy4TMy6YXKA0dFjfPt5VZTq+IEejr5UOcxTR/cjlLt96oIgyeUR3RhQ7kkwpcx2SaAqoCExR+VpR
x1ooo52uiemtBK5O8+pLMEMoElFpo+YcDPiPxl29518uyVKBQkP5mr3nKs+dMoL974tGIGbBpo0Q
KTCfxOPAti8sEmIig2HgFolEeW0CG8UKo032PgCwu7CnggT2RA9a+rNuUp1qNe5EPlZ+YAFRBu8d
aJbj2ixtqq7IU6GSZCybfoRTwUpaYnPVOYHGVcVmF2OHMjeF+9iRGdUaJEKCR62xKgqx4l4F7KW1
vtOkAHrIyj7HRXrPvQQ0LL2At1Q/mJPWxfqdtxZidTLkaBxAawAn2yiHwAcfrffE8lznPGyQdees
te5Hj5lpmzeJoji48pJug3a/lFRSuLLyOCbyOjSSfJtoGmpWrb6oczzXqdMOC6/eY7UL1i94bgJu
FqP7I1Urzg/1UoPvdyD58mxMUv4KvJzFWGdvZEhfs3ZCkKrIXWMRmMAFWAPgbmIw4MHEd2t7CvZc
x2E4VYshpsJFfcLqWJ8e1wGg9rhwI1MA74f6oDJRrcZIIlUVBtdxiKayCkN5aXJ74LrWpWiwV8pd
0anfE8EKtJIBD5wxKG40Iza38gghzMhhkCuVXu8tWytuoMjdSSHMWSOjXpWGLhVaDByaAsXzZCDo
DEQcY6CoDLX7kVR6t2qj1to0no0wnRu8YH/1VLZW8+CNlCtqS71W3ax9qJsoYnmB4AXBuOMm2D5T
2ds3tVST6TKC+xCIrhoPLX3Zofs2WlQSSgQjC1XdwE7uv2FhmztxRYoEE96v7mSd1pmN2OmIBjBp
UYOF5riPjLC61oeKZGM7ESxGhBQuZCP8poxN+L0M5Ssb76jndBi/2z0VJUfXuY2Z4BsePaOdkl71
nW31yCXGAZqoeZuXjibV+ip1EXLFtku7gJaQ342UE0yTSq9i+a9u1HLYQrbhjg97mTxsbVV2d9Sl
KEmFmNhSOg0PGejfgz8MX7N2xPmgqK3dkIa2cSFpe2tyqnr/hyK8L9W7KRt0XKCuRu1dBipqZd3A
gdwfPWomttARqTMlMplyM1Jm+6J0VgUTBtEDNyGtAyKdhI2CL6ebU9sMg8zx9STZWG33oyWbsJVG
zbtUJGRFSgGNOC6QI57+KFIlaYPE5X2BGfG+7JNon+okqIGIxqzEW9cqt64ywuNoxEYo2EbpWXbh
FlhUDQa6W5JAq1GVsTA0C0ncEgD1W9VU7aUXBOoaH7gIgfikdIQxtFdxardXIeKbCLm5nO27yUjQ
16YTx/vQcMLIN0wlc92A3t8JBcvbojI8jdwj2sBunLn7HN0WSHjc9d8tlFMPBbyU31vj1phfuQNS
ziN8k2Vk1tOPxCCzDeroUEODFf5IwWtqUCoX6KT+2emjKob9O0ZGM83oysYIRB/8YZvX0vbdCbRM
cd2O1BaetRlyzbT9y043kH6f/k2IEfG0qE5h1Q3ITyuoIuGj8RT5fr0qNNnbK50xbUgxwrumih2A
GcCrxhl1q8STxMJkQqhNJuoMjXbwGYCNjiYPOXvdZIeOvrAxhbvekMZbGV3IbSAkkEIkNz3F4oJa
AsgdUEOkvhOmD4Nuew/JXTFtaJWKXRZUqeZ51CGtmdjSG82z4vWFxh1yrWBcDgCEWPhul+apfrSv
KsCRk8Gmh57ZKilDsZMRUkVHA6B4zcHrQqsTgCpS5RU3IhqeapG6F/WfczeZuCnTpI5g9G1zW9x7
RtRfigAHOmOaucBWwsOgh9JV3JdPQKOHmzCpgkvTiqhOaEPw2lFhWQQ5uB1AgNm2Dapyn6JiB9OA
5w4tkrEJtJKOYypC0RqyGqT+OHiE/vrPtY86CpL2CjgkMsMhYU2mbOq1l3++IqpOrvNuG6moXr4I
AQusvQwgEJL+35NYHZ4HtCPkvId/a4OHqeCLXL5PxFIvAQcJJdmymltQnn24ow5FMskYkXURDdTI
LP0uhTVRXvbFw3/+LfUiQCtTr7EgcCrzJuETNau3XVV8N33NcBLsmZYKX2lDITiw16a4kZbFcoQA
ufVLz7rQlTeKGP3loOXJPkEeS8v06tpX1fv3MULkZmJdk3nAtSI7jLKsP0QGADY/V762ZlavYplr
ZAAEUNR7ZkQGOdN0d+Fj2JbCwUGC8RIhhueACBeqnOoPfY3Nn0BpFtC6SyqqRm7KT9SlASv6GrMF
kiIor1pacVGidnqdNJw+LLu4haRyx0HduMkMs34suIL6Sb4alZJ6s06FDh3V8qBbcnzAHAr5omEN
NBnhz34o7g3cTAspfw1se/hSyIZMqaXD7cJsnKDySPTHfbTXtYIEjKjCW9MurtTWth1FdrNb8p9w
A7ClXXnV1Bv2CC9S9pDz5ra7BBzVXcIjleA84FMMR9m/Kzvrtmzx6sqr7g5lQGPHlR1wVtTlz0n/
0/VHR6BV0sO9uPdcW783hMWFRQ+/IX4lL0OJK7BXF1eWAv1eCDSfRH1A6VW6TomZk+kUNf1QRfRG
KOnBzV0AtShqXKEVKt94EKc5+I/aAtms1l1jPXRFuoMbiVKYOQLtb12q+bu+hKyUG3AVWw/vJgM+
N/dRdPBk0xu+wSjhaOuXm8xCC64tTUcdyuSti1G1RfJKudSUFEeZvniG6ocAZIjGoKcDzw9Jyd4j
8YEFgJSE36kdbIbevyjr3HgsQNcua9S2brqouZ3QqU7UdjkqT9D1zSzDUTNBv+Z9WXRqFBzcYZQP
nST3lGuwCUSsn0nTCvsuWElwj5Bkt6IrclXYS5Z6cND9GN9GC8XBcsCRMNYEt4/O3GeCMzT8++Si
JtlyoQ2AafwHmTQZkshGuRyLrtiZullu0hzFWz0VGYESdBmS0htqhfp2jCzL0T2MmSCQXTYKl5vQ
VwjzkAdDK0QpukVRMVF7jGBJCHQI/flpe92DbERCFahMEKYk54WNLytBHfCidKVB7NG1aIlu9mWE
Ifc2xgYEYFGGiIZ8aIkXm7ruZPQ8x2tNzjqWIbjNgGKpA4aZxdShBND1IxIqtrksSox4KxyJnV6F
v2XANgul8saMkJS3gOAiQYxSQ91sfXDtyCrelchLoLfSrTpENA5guOxtxD6KxxymJWDVcb8M4Huw
owaoiXYHC5VSBMPjaJVQwhJxiRmOmpATQXGVFI6Pk21ublUcSLO+5FCbWFyFWvexsRLHct1pd3Jf
pTIZJyktkmVN5YyFfldqtrdRDVtf2Lm6MdPK3Nax/DVVxRPniISja24tRwuAoK2i1KuxNGCmICDb
RtuEyZiGnnIZ9Di6DKD1KaZZADrlPbEt414GvCiVgpeEHUqvwEVZCsf6tko2BpPSCZta2WRxBj4m
+EodLFgQ1OEoQbhEefq+SaRvwRT/hkq7aQniJFaL6yEyLv2Bgr7sy+NKa+UnjWzVEnT6hP0yI5QW
DyCP+ydeh6ogaJ0M54sB7U7clcSNmQ6oLRgX3GqowAge2qP4MZFjyBQBGITVI9ZwDlaeL6JdTMhN
Yd6YifQzk9AtVPQCEZAurp0MGYC+BgmqBTG+Ja130bfB15yDOuBoFA0gMzz2eYbu/IhhYDT+7JXE
xK6SZtmd1uhZuCtAu5eyCpVskvjAPszfBXIHp3BcZ2bHtZ2y01IWPSW8wpwyMkvhhuXexve5VyE2
WnJxV2jaJQfejFVTfi9J15uxTlYNJFJuSFCp+TFd9y2crRNzNyoW8Nbii8jc61rpvrsdJNKqMr7Z
XNwiS98zovXGFdFW6TXg3+bwhBAWlqFRdy2lbbELaswr26laWScK+VoQwSWJ4FrHbSNsYR8gW+5z
268elTqzHHSbM+xfOXYZSn6wLMvftLqMnSrlEXRjwMJqFCgqLSLLmScrLvRYS0wPrYv+qdckLsmx
IuiCMsN2DhNyPDdLoW3HNIcxk4UbLa6/10hkLT3vLjH6+tAHIl9RxjmILMUBoqNgJBn7NkKtux2v
kwSIf6kMFzll140dVU+Dql68v0g0ojODPcPiloOLfOmmSrISOiaPuIESJhZBDLmflCw+4FV7a0b0
smSVKFGCCUiK9hYyfryCnn2BTdGTghjEQmuRO4dFioniIN+H2vC1YhKv6om3YoYAGS0SYkAMo69F
w9loslHRIwHa378dMrn7aoQAXtK3UCcL2EYobpkjRGVD3kVS+4SD2JMxsF8GlxYC2AiB5+hyDfi0
EYmn3fcLlQDywhNmewwQ+pbTfV2Eb5WJytigrEUHXUNI9lODR9k2J6gBnqcUUgDY8Bv/NhybV1GS
1MLNL17BEv6a6iYksUS5MQb50ZCAoXKRIuOTxd8AOxoO9oB62exSTgeLIiMhlKnkrlwk3CxdBwBt
kVRHzxHRtpDkbThVh7eSW75VMEm8QX/BcR7FlOq9/yxdAZkdFGtbg3lW8a1RXpCQMpH/ou7yvsiy
srilhoKOx5jgLMH72L68S1NwzXoyXJCLde88cke1EfzIBXcIu/UecrRysC7nDiIyGbAfRq9//O2/
/ue/3/r/6/3IbjKoMVn6t7RJbrIgrat//KFYf/wt//OPd9//8Qd6gIZK4dBSZUW3ZcWUFf7+7eUO
xcPpp/8PFxhdRQITDp+UI4+OZUah+fdhGQb3TUZCklNst8ara+n1DVT+4YtFpvd7M5rXjVokz6Oc
uw7cbqRdJVfbh26L8FBAPfn0a6rGX18TAr1ga9IN2wB//OtrKhDnwWUWsDc8BZthZYCd4/Wtg18B
pkFG018avkqRyEeYfumyLr/5tbfFsnEiy7b9jddbr54fBBd/nn/TIbU3MB1NhaqcjwDblYSt4S3V
oAWi4uO9oiKFowZkRd+P+1WvqM6ZL9L+8kWc42Run6jBaLZsTl/8oePVwg5c/DjaTVPV6UFHNmBD
+g7dqdGArLPvkeuFx+tV13JO7nBE0XAjoEVeWsD4ymY97Gsm29Ko5OS2jrFCRKDO2EByvchLjnwF
6u33Jj4Tu9OvrU3z4df5oim2oXCLFhTZbGs2XyhjoXToY/KTMvOuJK1SUK5pD65u4jmOZt0FqqTl
o290F6ocj7eZajyVfcrRTE9fXUkpVtTf3AP0UXQnhyEntdisZCSOhS51l5no/H2RirX/7nFqcijR
E8Bydmc8vZ8n41ZfBjgXKVKjPCoFOiR4SZ2Za8pf55puWAZrQbVsKHem+evIDAE6mOPQlJs/b5jg
2YJQe7STS7UblDt+C9GFd/N4nMl3HA7Qx7S5wg2edTuCaNm8X+vSWHmk2nq69xX9L73P9Fc1XZeF
qgldln99NdTURtFpcrl5v2zBno52pGSqC19tJjRlpO2BI6ExK7ItpfFmZWj5FxQyM0AosbuMraBw
QILZff719Itpf53NumlCjqW3+H/bVH99MQ81ZKWpw3rTd4ilyEpY3VaUmBbSJLgJs9XNs8MwdtyV
M1UZtpzdgWzgoIz6120mdVC6owBjY2GPL6ZCbTqGBT+kLo4U0y0NXFl5wHYD8w9Oj07TJgbOLerV
4E/OjLaa7rBMalYhJ39qrLH5XYhrzJYpi3Al9o1YXr9/7n/9Ejar9zD6luVDiSxpPfvP/3nIEv73
39Pv/Ptnfv2N/7kM3ko8837WJ39q8yO7ekl+VPMf+uXJtP7Pt1u91C+//IeT1pjR3TY/yuHuR9XE
9b/C//ST/9u//NuP96cA2Prxjz/esiatp6d5QZb+8c+/mrYLhdX+791levw//256/3/88f9KFHHr
IH2Z/8qPl6r+xx+Srv3d0EF5m4qhWIbOBP7jb92P978ytb/rhqHa03oTiIkYzJ+UOeDza6ryd2aU
psqqKtsChADrtcqa978ztL8TO4VuKrrGT2iK+se/vv6fm9+fw/b7zXDaRP4T22hImKDAlKnxj6HY
rjhiWdP1GKNyMABgdl3wFR+64p9tfdxofw0q/3n2LF4ipphwwgCoDoneGU3obx4W4oMvr1SBM9bp
RpRp/f/uC2ZxAVyd3UqTxh3NbcrEpJpSAWTBZKSPqnUDxsEI1QfVt2E0a3F+JmIe6Tfd/rXfUOqz
xiyhVUrGr1xIYMMI6e70Jx3pN306t3zcHt1yxKYtix29SOCjCpTgMy5RDf7sq7oWX0638mtc/ffo
6LNQzzG1ztFxodRvojfEyR9i2gQNbiNs8E43MT3qN0OjTx/44UOkAls5s6n4ECT6F7HsH7pWNpdw
GhwsPyHLnzlYHBuM6RM/tKOWqDOFds5gZCUyCkhDdVu3jv3D6c849vjpzz8+XtWqMcgARSBEMRE3
KdgNSemvTj99mjG/66Rpe/nwdJOESmfE2KygBW0ufTO41XRlnQfhDdYfd54YJokr2DSuJV2dbvHY
yKu/tphqiGRlAlnlUjUu+gawV57sAsiIpx//6/H6PxNrtuyroEEeGGV3B6n/fdn1GCqUUrKCwlUA
VFG+6FVFfSA2zvTfsdGZrX8ozhDhXNjlcadYiwa/4zdsZ6XqzBw+0llittCzTLSwkK3IgZcBEYvK
pp5Y64SD3ZkGjqx2MVvtGNJFlchIhgR5cT1K9a2syqQryNx5UmN9LlyJ2WK3KymtTaFEjlaFxqH1
UzhTcosW3ekhP9ZJs4XOVsphX2MMqHy8xjBdwSdB5VlUgQAJfrqNY/00W+SpZhlUT2jD68MNT1+l
vfzds4K7GO/U000c+4zZQoctTSrHoOiOV1yz4MjWkxGpXzo5spzTLRyZrGK22I2iihrEe0IHSKD6
Ugw52bCqGT63sMVsYaOhp7sDqXEUCsvgIa5zVaxwI4uvW0PxzgTDY8MwW91JSN0itYzQQWb/FsrU
fTn4pCcjfBMH/7Pbq5gt6gFbhw4bZPqprrJvRT4I3AQ8P705PQxHQpQ2W9QGercypQnEk6LqWTOU
G9jaqK4CUb2ocyW4JXX7JAn5+nRrR7pMm63wJBuxQ59aayedxXqQKsrJHIBas38QWsuZ8t8Hz//9
aUubLfGmLzUpNhrUMLGGaWRwsWbp/ewsY8K86vrnVqE2feOH3Squuxr+dERWpgWeDAE1uMtT6s9w
TJGImtTET3/NkaODNlvtdaNhuxh3JriHe9hh21TbagBSciUEIJtsPtfIbL3LA8UFtYgNXP5EfZGS
UtypaRhfNGpo4H0zFNsYTaLt6caOBJf3a+SHnmsbD2mKFj9MVctek0D/ZgYeGX/7+fTjj0QWbbb2
OyKh68EvWHtUQxZh39+IdHz83LNna16PceTBMU9fgxFvjNsAOfQWf4cUGu7nNhBttt6zLCmUQFKN
ta+ZhrgQvgFbuyl0G5tcs5XPTKpjd4X39MeHMVDTrlRUE9vQ1Buu/Bh8roGiJ9TK7KJL9a/IEzxS
PzmYnXIBgvzcPejIyMuzuRx6pQhxOrYc7JtWRTCsKS8AIjPPfNWRpaLOgpleSV4s4SK0Viq5vyqR
mQGNivm0EZnug4VVzMbVmvrh9FQ41tgslo1B2+BWIOnrZEhcVIFadOsuazcNsh9YLqmQQqpQsh9D
202aM6v0SPhUZt+noAlRAB/jPhc0e03C9Bi0TZkVjwZqIp+bf++p4g8TA0HFqghFzBC1anM3kBPf
2FaNXiiZpDOfcWQWKFOPfmgCCwWrS3zmntvgSRwkN5bw9rA+5M99gjp7vgYQo84b/IVRiAc+1cE/
uLUR4Tk97kfCy3uS+sPbu7mqlbI1orBbVtdjqa0t2T7z4tML/uYCpM6WR4s7jt2nsukYGSAXTM+Q
BrGrbzbeYGUWUO3u4s8NgTqL931l6qVBhc2J3A6bwcnsM7lvTGqhn+sk7dchjtWxjlLN5UskaV/6
KQxX6dvnHq3++mjQhHmRuTza7k1r2ZnJVykHWn764cdGYBbfc1cDaVBJJl6uqB4p/lakLSoxnW1h
TJWUiPJH96dbOrKW1VmcHw3TMoIisWCUd1edMXw1Gw3WSotUb3duoR1p4z2R/GGqRnLRAPFhoVWT
Ek3/mNnZwUK9U4BIP/0Vx5bybB6lfm0iWzKg+mxT5UyqwgIZ2LpAzJlbp5s49hGzqeTi4ofDt2w5
MewiS3P1BVkCKvOt/y0X8plGjixqMoi/hKTKsKJB1DQiPFQ5tFZCWp0gdWZfOvb02aziEEU5pu4t
J4lGqtXWjmz0mUvIsUfPppEfWriFVfDVLLe6AINsoP+KUv7prj/ycHm23zQywsjWNLoZZnSQEAAV
pgkQqc89fbaB+nbU2UBuLXChNYLiKZaIMqJppx9+ZGLK8z3AlbGYGenyvNSfVKQhYJHvFWP8cvrx
x3pmmqwfVlZbK41qJJPaeW1vB1M6INP6evrRR0KQPDX54dF4okHJFwEwMnyv/R7WGXoYWQpfCq0u
9H/QUDwzvEdWljxbWQpYVNc2QttJxZ2UbyWUqJQyW6mDvD/9KdM8+c1+Js9WFRT/HFoEnxIX5aHE
TgdJVkCzRfkqpwr4XoqdcXkxdMaZGXWs62brbKAWjSUKsDMjN340rbeJtesxaH4Mt7J7ps+myfm7
T5qtNxlKjzXa8LFxGUaFyMqMCxPbL2RkUHQpMR5HGemW4+bqdA/+fp5RNvl1MqCR5CZu26JVHCQv
iig2CaDn04/+/QqhiPvro4XCtTWteDQkiEUvvqXZjameGYhjrz1bfVYTZ3QUBxmfqLcvIhVjkKA7
l8L7/TDL9mzxYQeClLLUmY4ctdiyxMvW1LadPqyyDJ6AnWw/10FTx31YiJYVuUGAAKlTeNU+b6xt
WQjcM8XonYlRx3pp+vMPDQAtS1zb5ZwKdn/byDE0nvbi9Lsf66L50sYdq8OA2nRa5aADB9Xkp6Fz
RhXgOMY/p9s49vqz1V1IpVdpOYMcNRqcKPR/HD9DDuT006fB/OtCk+3ZWkaso0WUQpiO1EGTkTxj
X8vBj5WapZ8K4RjP/Nr7iuelVd7g2Yq6+bgRKhTrSrjmmdD3+zghW7OF2wlFNEjemng1mdWdJRA7
zCjGrJUs8zcg6e1l3NrAcxVpPNPikfVszdZz1yiF0hp0GGySFRQhFBGCne/9OD0cvw/lsjVb0bWs
j1o8PT2ayCl3sNDEgCbKAFDVhBc3YcXPfMeRaWXNVnfo5i10Q1pCS4v6KJb0zzALoSWf/pAjj5+X
K70MYcIG6LeDRLC4KX2z2XkY42w+9XRrFjOEGGxU+hh21zDqF0BePdpxCiLZpx9/JG0jW7OQ0QYq
EIuYSRsot1jTAcPtyWnC5Y7lq6i41oMV6r91eyYCzoAd/ypgydYsjJQ5EP0+pDn9Xrof34KX+EFd
FovBiXfenXKA6ba1HzHcXZFjWUM1XqQLMKQrc5M+dWv0PJawo5f2Kvxk784ijh6RNgC5azpjByQy
qMH/+ljbr0537rEFNIs4nll3mIljndOBNdgNQZyuuAUmGN6oxZmyxNHxmwWdoJTBP0DrcZT0MrEf
MMBw5XwplzrSL5GDCFueHzTr3K3myBeZsyBUMFWstLVJVXgvFBIWRRSiOXEuMX0kxJmzgIPaT9Un
AIKc2PQvgGZE616Ie7keH+0h/xJxKort9Pb02BzruHlOB+1q1xBA6GAO/wTPCYDhTdfvRHurxT97
XMEhQw6FcSZGTMiW320+c/BXhgpMB7TfhHDx3Am/WVSudh8r5ZcMCxa1u4s6f51a46Ul38Tamblx
ZMObQwGzwo09JIU41ah1ukYLCnkCqj2U7yNIfaNfOKe78kgkN2chClpeFVS9YTqaaKQNWBjPMTyk
eqXobVTyb9jCmfsRqvC2ofZ3Jm4da3MWtiLZisrWICXgdfCtaxuhohApOzVElzsl+4EvQ5PhFlXZ
L6c/8tjMnwUuCshqgOAC68xFQ7CWQUL8LOTxTBceG6pZHGrUEk1Ymz2kFegnBl8s0h6VVMMK68+0
cOT8Zs5ikVoY0Cr7aRMEhZxhei1BeDP8a+RkiuxMdD/WR7NYpHtamXo6bZQKim4I3Ps+fAvUbE8P
wZExN2bBpy7Dri5THq/KoKChc1/aitjlGluHLd+mCvTDqLJhtUAmP93ika3dmAUkHNewh522dh/U
e2N0S/gTZz7mSKwz5sefbgxR12TR9FGZQFPB0HvEoGOJRS4u55LfXro2AspmGJ/LGR2ZYxPe7ePl
wOjKLOfUxTklMBZG9QQybhEljzHklNO9pUxr4TcnbGOaFx+uH34RYy5Q0QKyZgDfh2ZfasMaLc1r
S0aFF0QMPo4OWhS7ocl+onsA6T33X7Xw3PHi2CfOooKeqcJKkPhwtNZGUb9VN23pfukV7HHkErWv
0995bFbMQsHgRZg1tyrTvMCfXCmNjQH+8JMPV3/tQ6R/B2E19OGQmlc6dLKFbBhn9rwj69OYxQDc
MJDMlXh22STbskNkvrVuanQLP/nus/Vfpn5bVSrd3wP471xpFyTS5ek+P7L257i9DGqEkebT1CJ3
hRXZFm+DL0ETPMU96puI5zQF2vtDsDvd3JGemgP4YhlTX4T5uZygmLOyhzLcBBEMkSiycud0E0fm
6hzAZ6ACx87IXb2xGIg8eyntYaEJzAZVcS5iHluR+mxFqqln52PZc77FbW/I1sm4E8G+w1/Iincl
Rf82/SKPOxRL2UMRalW9z0VOfbYSOfDGrdfQcCjDXBOa2PVyfmabec+h/ybO6LMFaAQqMpvoWToV
0H/0ehDlGIWGEiKOps10l5Er7WuHfM/SGqRpQ0C5I7FS5F7s/hys/8h+qs/WqTGgBotBMFuD35QO
qjuaE5gRZqZRHy6N1JCg6+GwdHquHIk48wrhABGj5g5rbxoDzVpF966yulyffvaxqT4LCnGtuopr
Ec3QYV3KhYRQZb9vu+HMwj02zWcxIcohctvNFCyDFua5BpU1rk191aBlcDVCCTvzGUfGY44l9H0V
N2OF3BGKHgfbfR1yH0WTHqOw0IGMf2ZaH2tldiAQEAnTUOZrovgGDjR3rexOM5+zRLmf1ARPj8ix
y8IcUTh6noKPL99ilynkW+tbiAFSYRkHYIXbsXGdJh9voI7hcJaumqx/Pt3usY+bhvDD9k3OLauQ
oGVZyQivqD26YQnCR/kyc/2VwIPvdDNHTj5iFpOYyBgqqnydhYedB0akRMF4HLeK9oahz16oZ6Bh
Ryb2nNslI+U0FikhKDX9ndTG2AhoOzcJz0y4IxN7DjccGm20E3QanBrX90Zuflpy6xhGeMAqyTnd
U8e+YBZjUr/rQgXhJaeSgusKdSQrwQUuPAcmPhJVxGzl26Zb2AbkPUrTcnah9XFySGrtXKHhWP/M
Fr5Wiqj24Bg6Xqnlq7pXXqXOg8Sq4cHpI4NxZjYd6aM53FAKQ18TPs1EundRSP4bVFnMy63xDDjg
yKKYAwyhZfkdKEZ2UDFwp5TUQ9WoL8IqdnUWPiAB8cl2pvY/LL6sGpAWj6bBaL2d2Vu7bkieBFrL
aqxsdKwqPzWl5hhDQ1Nc7NxppjdRHkJ1nhwO7k3rqHOjMyNy5Kg2hxcOlOcKNWF9F6J+aqzsxshr
lMENYxl31v+n7jyW5Ea2BPtD488AOACHb0OrjFRMuYElM0lorfH1cyLe2HQ1u1i0aevNbFgVIkMB
cHHFOR2t8f4J4N2yMfXdP3+n35zHl/6fv/50GvYVNGG2UnPQByftBtSzppHxh1/sd2uo/1JcmEjM
jlaiL/QkPF5BvIbYupJ+xx5aveHuujifLmwrA6gCRAfoXKuWWkqDCNI/f0HrckX+zYLn1wJE2lRI
SBm+XhvOsXHEAvHf1u3jg3Z+0KyHruAbKLVF4r9ENDIa5rdJgGKC+O+ZPyYbMBHuVTrfoZ/0r+kA
F7b6w0n729/mlyEkyUC5yY4ZqWnnm9po96OinVfAGBH7XswAP2772dz49ve4Hc4inV4Axz/886/y
uyv/lwGmyuN58EsHvWl1Y+QP/bxTf3rp31z0v5b9TRDcunZ29RYgwD4KhvtkTr1NqFv6mJPwoNz2
T3vJ373TLwuKKusDyjKJQprYbDRqLuDF2FbeLBjsLGn/+Zf6zVD8axVYNAHcqJva305lvQyrvcD/
7ZR3f0z8/u5L/HIBpvHkwpfk9fGx7ZoZkxjYQlWxLzYV5jH3D/HM3xxwS/7n65xuFyoZqMHc1tJa
WOKhapzF1P1hEPndosv6ZbKlQsKuTDgtWzDU9wBLAdqtOKmbOMY3dhdCojbzjaEVhOg/rVl/M1Je
L/e/jPm5Fam+70W3G4GLNGa8InrfeHqtINrZ9J5r3tv00/UfzoJrlcTfDCO/VojJqlZd0Ewl3j+Q
Qbe4s+YmhtRlhBEmczbYj85Ev+LboIs6hueC3HzTWhTo3BUjCXJEOJXrfqdO1QMNF4jRMFi8Acku
FliH8nyrxdx11EcPwJ8n6ag7mSY2YtC2aWv/UBRD5CzbMSyBHY4ebKmt6PTFqALv+86wShdGqBeU
tDHWqq6/qdKbGEaR7VT1N7vAjEfjfRuB/GWwUexl09LwDjMdne/wTjP7wbRaUQCHs4LqQJYvD/d1
DZnwwW+Hefh28awUW5PUmdhAOhzwNU0lnZ+3pt2E3lsQW7EMlr3hmdMRs3cLj6G3mf0BVzPUq7va
zOAbzSXIkaXl0JZzD0VhHE4EB+xXA8whqwM7rsSKVKzlrDUMOaCQ0sgEVh3TBoCoywwUsApsazlY
zYD41UEQ3BZk6wPbkOs5nhtV7KAZdxF0ayo2sZCqeurtI8TmpP2SIFrLcoH3PAFYUoCXB/cwxeHc
f3VtyVIFeHVXKnU3XDztapWXtdTthoK3hgN2QfOCHsG3mrnDJgKfpOelZZlhe4ZNMMYrtx6TRzP3
WrFExTu+mbWhYZfTlZ3v28Y/EH113HOmHFGbsPKNLJ9PELqyPL+YBafpBrCsq8+KHrhhl9BnThQY
yoZ8yyD7t7rfp6bI0x3YJ6sdaNhXkXcfNI3wjpCTYZQs8oCdegkRdHayYQkguwMbNvVh0YZnmQYj
jmCoeGljgfzEauM9GC3FOckB24YU09roSlh4uBXsPh+3o3kpZVtaRo3xbRMrvwcHmcspzMWiDZpS
7+3chIywViA45Xc7TdnNA+4md0/8MM9Kz0FKLmbRb626BFq3z+ZQwbNnP1vrYoHz1CBZNHaNth/U
5NnptJpR6hXjMRpTMRbfPNozu2SVD90s7GWYp4H+YZRWUmDaKVo/hBrmVYn5mDqmmVvrFCQ+A7MP
OZmsWp4bXo0Wvm+C4WWMzBQmLTqvDpluUkba+W4BUwjFygwxS+q1TOLYFKfKTZp5aLdZoJUtzhOg
JPSc0HaSwcYjW8pW8nOFtgeUWgg5mTQqZk0MmW0O0zQxdy72GvSJQT6GmfvYWW1bJIwEnG96OyVC
Gq9hbAfiY84QwriHKCxd4GUjqBsv3KReEUT60xQNSAl2FbZqvjq+fuzedFB2W4/FLBf++K0fdH9x
Teb+5LXPfq1z8DBlGzbZW9pWlq+Xo7RbrKt+wrh2g6bC1B9su2eoyXGTziJ8lP1QBfeN8pDVbAwQ
hd5jFDWotIw4BU6ykKmTWhcsvfDNo6iCIrBW7RCFZggYNHJSEr1B1OUg+NJm4pKvajfj+cE8dvk+
0hlV65vUqM2uWczazeySUKADhgGaWZhPzT6oRKyPkx6SHh3NXDrhRVUx8FGPHlfG4JOMaK0q2Rds
TkyAYHMx9x4tN44sp+fYnWevPgSUbMwfVQTLdjhooZEgHUUbW1OydtBxM9aljHulXDZBPcnnzFRu
7K5iNJnuTwCkhlXApfRaQLWN0RDD80ftVubdGDqGyXgU92XML9apHgfYY5b0VuBgDpgtPZeA+TMO
xslDygYcR2ROECh4SvhV2RUo2HWjmWeOc+YqgjGzkKLPunhrNlUVvQUyset2k0hgMiMyDcosH2Ic
3oak4cPKi/xnksh69Haog3UOm2tG8Ynzs4E7viloV9eAwBqMUTAlVdYlzmbusQ0YSwUDyJKoA3w/
HhL8E2ArwqfAsMArLQ23uGC/U51Y+MXS1BiTZd6b7fjspNoUB8TQvQ0ZuhlH/ZEOia9IoHmxV7Na
HywXq08r3SqZ0SXBbAGl1FtD/ZW3YZgITL2NR9zV8utm/Gakg4PTxIN8hCDVYdxCUzrPiFzj5Tx5
NOFCNBLBe+Lx6QHLKSioy7xyAxNXVqfK9LtBeqplmiu9jI2Pn2e1i37BLFz6QttY6+SrsB1fbUY1
hAHpGBNLBtDkgIj569w0CQYLZ/RGOS5sS6PyWLDk9Nt3OHVpU6zqqBWDQ2UGcxoo9civ4o0RM1w+
YXE3rIv1MvGzcQMboYlhwDl1grkGikIAYakdq6Z+ogG6gzSWw7es9jNQNHRxIGLd+mt0DGk3NMhL
mDWLAORCfgylYds24NkIli44JWQk/taLTYBlRidoQV80nTvlwYZ2pn6yVnJsGvkjKxI1wDwqsrh8
U/bkpO3SdLre7BcAXUVI4rbSCSCsspwD1BcZILfwO7bvcbrr+3TWtPXNAQ7YBVzESn5YqsWJvTS8
AlgZBOIpQ3np51Us3VUZMzxRbtpEsZFjcQW297Nj4G2/wOVQhQEg0odSiOI6HmYFX7FL5KmWCEY/
QOgnF3eLoX2JsAK4ZJus4il2u4+p1MWIZMQXifdmh6U3309AfBA8izFS01tvhNgwhe7K0WMRFGix
u5zcFPRVvuiQtmqdshAGxuYjl2A5ILPxnfpq1/yQ2Tx0z4nvFrmEUMfQVYB8HocSzwUlh/qIqssK
3yVGo/Z7JvuLWBMFhf06dQOJ9kVUz7H3QPtT2OzwVNiktzjjOFU3djZjw8scJjtwmYE57WorSN1t
A0oqMrZ55XQ5VmzfxErc+ZxpRhEo6GZdGb6Vc4vX0Bx8i4ZAB1XGbi7S6nsGVrlbBqXdxRvVB8AS
hs7IvqJiAG3QC0zQi9kX/geiRV/uPaSdzR4LQG0dLEx44uC2U3yY+7L/qss4iDdFerEIuR7p4oUY
LilpVLdRf0I7C+gMiGTsnQOLWeui5hJP5BAi6xHOG7jFRed35S1GgvqimhvkDyq5lA+MMmnFqXM8
f97wSgTfF3EZ9emjAj5NKW3MKi+/d8ewMlaZqCuBTL630OZ6MXLPbGzor40JW0wrSn7VfE5xU3yJ
LhjrVT4VLhR32ej8yUx6Pe7MmIOzFarM7DXGMbCRMJc00QFULQIkuJWyB3JFGmyjstfxPk+9QdxJ
YXHGJPZFf1xj8yajLONvhenXw3LsevkDDizGFLuoHSz3gyeNfZ3nUMW7AMXByuaDgbOcJmoC4M83
yaYQhFIPveM2NbsWYGIPoul4lFW61e7CKhcJy8jJIbGDnpMGfgMQP0NchKgCxOUIORb/gAUswkJp
5042wm8WPml7E2FMHT8nPQ/mXZknIHQN1FifbL+wU2mdZdMujahtvHV6zDDHeZr5UhrNzg9Abulb
F09wr5hMjRJ8UzhC5SwlBfSrybN8sQb25A/ZqvAzM930VhjmJ0BCibGOo9z8PtoMy8ylkJxXk9VD
OE/QIF/Qcw6DSejLvD3i/KushWsURUS9oOOUC7Ok2uUwG7RGMDfgZ4XQOffmSpYggIhk14h+Qtee
xRpaSa93buTJDExbmMQHESLWXOBGS4xV3wGMWPeBn5oHRleY1tRgjD61cOnFMVQlXbqyzQpmnzkw
8D9dJnSM043Xt6diGNLqoRH9gCtQwGVo68g0wUwFXfmdE6/5AUUOkMI8Go63tcfAgtRnMJu/yMk2
9WvbOHG95cRLgnXk9Um395UEnegp5J/MduANKxcwJvMJ6vM1XZ31gNu8DxxUs0Y9PToOcLV9EBke
Yg9n5LCBQWzzO9urw3LRXGqoiSVXCfOcOzjVbejnAqxlDfqfAby1cVh6LpYRW6rk3TVdESwKyEDm
kqW+HYCuNRJ90GnfvpZxO9NqN0UtEUo1A82mD1PeZU4DTSkxQ/+RfrAKY2sCX+WH6ZfTdNaR9Pqz
WYDnIxfnsRWT8d6N7MpCm1oOzmU1AKbH+DJEUSJcmSiLefTrsjcRwA2Vs/pfSBq0TBzR79KwwfYq
VBx/BvA5SyS6jtcg9qErhg1sPJv9V9ox73V/iGr+Jmvxa6dk38c9pwMw1AItAyx6xsijKIddNgFF
8V5aFf4hr3Dty/2bXfqv/ZJVniVh5bj+1op3ubtFQLYoVLlMyS8FXBdGe5CsGHJzgih9o/xo3ZSA
uPq3vnzMdbiqamJ/tloYxgYjjBl229C4rbKGIepjinau/EiBGKuzQoXueH8osTWvaeu/+9S/xK/p
KMiVHEx/ezm2YbdnVbpPGsjk/rmZgmXIeZK6LV5FtUByvu7ZHIv+M9W7vEOiELQwrd+9qlyqYu+x
B+QYb1UUrlpJhTP8ADPcVki18m4Hb2FR5fVSNGrlOo8JVYJB9OgacB+d4zRuC5IMTKqs2o9j4x+R
HuyHwNhrJFsKKKtn/ezdN7YGe6kuhhOHYXHsF7gh4RkhTuIi76kMDx/VRCjDPyXEmqLo047kOpnv
NJ4dzkVG5BQbbkTR4NEGac6O3hHGJnESQLDW0pMtJTz+0QDPM8UPUXRbeo9e/7PGURpLVvMz74VO
y16bF5fGucuDo4fmdcyKY51yWEb2whP+6S5Y+x4cyRmtptM80Ny3hFd/ocNL/4y4C37991JVq9qh
gLBha3InnHBpsKspqs/MRfcQfvhMsWWtVzV+L+bp7SzAuRJWCcgkOiuw5yyuDgk2Fhey5PQoWQTT
QgA3+JBEt24tF6b+1OgXZc+zbSp2quybO50771C6KO5CIPqgBMAEAVjVq0Liyqz3ioCz9NnnuswN
ByUf+p53mIplnj562Z0T3lhw1Bh2oSG+CGQF/xzi+k1A7dce9J7+aINoJ5eOYaBBP1F6MPP1+ypa
Vc2j4Z6ouvhvjgeXIOVfYneMM15V45PcpoD7FiV0iAW+xWwZE5DuBIJYF0ezrqI/dSJd0yd/d4H9
EmRtBGPoWLPzdOgOk3eG6Os4XuWhU87EHcpSmMvcZLmBEWNg6XQz1alNtRpduXM+L0Zmw/bWiru+
A+od53OTbSoPyhZVmYE/jvUxTcPMtm50G6OfQi9UlTvGeITtwDDNEStKbShzdPfWGBQk9JyJCala
GAhbEO2ltpDIKlqS0alN2MSwUmeNV5cdz6qXFXoyGOJpMZ5wf05oJ2L2RsB8uQRUYxA4a+ex0PsY
JWbu/+Fc+AVu+H9Lza85i78eobCSWTUVyZ6oYVarzTDX+iuDCk3NBrR49nclBGe1y4quaZ51UrOt
Wbh9RLnYsrMGz9z6c2UtfUj6oGcLol7BZjaJ7HBV0Ln7p5Hzkq74u+P6S9xZNQT4cNqEe9xQd57f
bk18iIQTkRN8MyysFPowUqoVs2n654vkN9H6awD8L7+LP7lFW0R2sLcSpIALwnnWSg1tsgYhXz6r
VHSnCePVH66T3+QeruXXf3k3giaohac63MPYxCSscbyDjQvgaUNZt/9U+Pe7au5fG0uTDsh81DXh
3tURW8Nmxp4HCc2rCMSW7O0G/xQV/k4ZE0LE+Q+pwd8kJIxfkjfspoEANHy3qTTdRY+JmTblidoW
6Oh/+PnMy+X9N6fHr22nEEdGgk9muI+1feq74lbhzPS7YotNZBUj6ipK+7EeFAaG/s0cam9B1cA5
57+BMf3hQ/wu/2hcDu5fDqLEYmIVbKARzqqOzYRbX1yUB9HHG7AIS9WMm445K1bv2qyXkfzMjHoH
Svql9oABUJNra5D1AxP2aN84kXxzg6Mm6nM9of+n8Zn/H4ExgUb+5Zr+L2TMxyL7SKOPv3Ixr3/x
bzCmY/4Le4xLpsMi1G6qy5L131xM2/iXZiEPg54Y7OUhxpz/g8U0TR6yLElQX1qG4/yVimn+i32j
AR2WZi1FzwgYpP8HKiYgzf88JrDA95iHXUfbpufRCvQrM0ISkPHIbbMCcVWympw5XhLmLt/Z0KOy
w3l+a/Qt5iPUmYvrA3xqziW/KM6tLOJ7oFz87eUv6EiclknvW6faRpeo+vqJFVb5XvbRloAlxhpK
BQ8zeJqnyoe1Q5jtzTWralMnCKUgNPhvdbZMbXN4cwJh7Up29evr3UTi9tLtYTfbwSLtwnbPJ062
Njmup8bAfxjk/qeYBGJbJ3yJxiLZ9ADDl0T+HfQXif9UpPmGejr7LW9Me22VZASqCmgncc8HoxvH
E4abt9ptsY1O+XsepThtqKTdNJPvrLG3hggFJ1QFZd0sG2NCoWvK4RBLXW2QvzfPufAfAU7GX/TP
fLN1BdeAr34gDdAsZ7Irq4YY1AGiULTFOhhu3WjO3nD4HRS23JXUZnIj8/FoZLH8jEktkVgK2sdg
xFVSD9CuYzvzH82efjnbS6zPMgzOkV+UL6KOso1Hi+Ch9OPmrpdZhKNt63eu+u7VnzVY9h+5EyBp
i2T4pODUbyIvN48Ky+2NrfEwsvX3n718frk+F4f12rT84QM1zLCMGmO4S2LT3YlAtrtejtF9PXVn
M3XYL5hTcJBVMu7JArh8rjbF2Zo72y72p2eMh+zUo8AHGp09eyBpj7p2uxVrC+veSPKOWp7Mvh2j
cdwIcik3+SjsbeRR/2T1SbL3MSwf3LqfsRZz8/rAhEt3OxuWvmnteLwYP+zbKlftGs2dvKdMC1Nw
LJzHBnHCchzq8LmQjVoMo1e/OgNr3Sxfu4YzvNQRarKiUs2DWwLpzNPav+lZvO3mbE4OkbCzU1PZ
5AydrrlrYc2sSn6qJ46ttdCxje+7UfdDWXg/ffHCJU7Y1O3lJkFR9kk18c9hcoPXPi565DqT+zB5
4PJ570KG6XlQOJ1QhllH8rnE41qyvwLg3KkER76xq0rfKjEFa7Iz9aPd4A60ijh9aYegZqs4VR+9
rh8ugdEfg0jBIidYznt5Sq0oJSxnBweLCM2nGoOvofGSt04yC7VdlD1ZxLFWui6mexMP9LogkXwe
iWptZSZYJnI6FyNEoMiZ2vsKwCTJgdl6Tges2ZWTyO+6nveNI0kZabVThQPu1k3au9QP9Hs1Idgi
Exw9JSmxvWKUwV3ESmZbDSQK5zmUB0918a6WnTq3jp2vJzMLz6xen5yYPV7RONVnm0WHNLH8l5CN
zIaW4OrgELa6rxO0731V8QzD3mRUsL3R5WmuHdKkfDUiVIVXeocEyufOdV22coklEa84xQPAPmcp
gSk+uySwiWE58qOQ8myWNn3+efuKCtYnAj5Aymtd58GpIoLZDozHuFIvQ4DGrBpkem9dwohm4RvH
nOToMWn8YqurQt75theuEANUL6Jtf7aBDH9kxHHmWJGWn3NvH09Sf5BMNRYgwIxvJkUs6wxO2tkF
MgfyrSpWFXbbhd3k+s61K72oWQ9/osFZoPMdPgYl4ao71XRjxp194kqxV75pVkzyCBtm5X462cyS
WY7uPbH9Yh/4YbHtrTJ88krz3agG40RqG0lYjVXMn0LydU3s3SBQTbkErOl9Jny9CHUT3Adxr26y
io6XXx7ASKL+/Rexkcz//gurLN7awckPRcwnx2b3PTJF/Ia9tVsHQeLt5Ngmb24xLQqU6C9IVhkB
jMZedp1K3giaKYzE/nQjTLv8Jst5f70/KZpy6xeevbm+2jhRgBF8ILPLz4bX2I9YnElgouTdmEZg
P7ZpqU92IN+uD7IJtFGsTCdKI/T5+oSKsN3abDlRRNn+nFRIgE8axAxGz7mFUV08TAoT+OX+ESXZ
xrT7anu9Kcf61AZJ9+j4I15BRz9rQyBxZw57ccj3cqEgLS79OngNE6bAsrOKW0LkyVNZxPSce6S4
6aS0lte/KJVXYa7N3f315iD1zhmNHhnDaN3ZY/lyvRu4K/7D1jbX15tZTFgmTYfsBoaT/VI8X9+t
TXSzjnNO1JSWyWUVCPu9q7oXhD/iQaNCOtoVnozr/ZRn3CXSzb8p/Ls9SIi1P+F58Yu53bhGThBA
RjECLmE81Mr0lxZ9q08jIY9lbcWbRAfJW2DcGhfDIQULAWqT0Lmzs9wBatDoTTwW5VPrte/dKJu3
KpgeXsNppOCQduyHNHG2sV13z0I79nnSzT1R8CMp1fpA8Mm8U8htN9FA12BKrJGU3Rg8ByEWRvLl
5q3OerGNGBt4sjecbLNuNlVm5Q+TLrplIovoLY6jZ9fuAEdH4/ytNYjtG/GPsmfAUkWfPOVeMazR
laU3wAPloQBGumUxJO49S2RLp/ezD+T1u1k6/c8oK9lUR+GHcKxiSfVwiIPCMfa+YCDsStf5FpMD
W5Kicp670jbJazjqldwMZa69EXxU0nlt3ab8DL3qHDZTswEi6oA/61fUjI/vlBjNTCJM84Eswxsn
H8wVtW3Nuze5q8Y0xGc4cETlMJYP3iwO7WUKaJCbHn2y4PupHsU+89CqVY1Evhmlw82gtbmp7BEc
vsQgWQx59lBMVrJK40B9kzbVLjlEm5f0OnNweN+blHnQLr3PKMLMRNyeyHKvFq0UNDSELa1UQYki
jwmVVES+DCY7eSAtsRNF5P2onOwgqrb5UdXOEc6j+rK6+QZfRPM1psNtbvG6UzLe50Xafk6Z8Uhl
tv7uu+Kp06r97or+deoz/6OPow9y/f1Hj24uC7LgI47nnyYJ4/dcc2VWoxW955RcX8LR87GcECrh
b+xX0Vi1J3x5061fV+EySebxe6WNvePW9QsDEXlxixWb25noRWV+y3a+XPdJFT5alTEuKaMpXqiE
KhbWzMeIIoNyFpsme01ywwwuckBRS6RbzKxlYz2SVHbe45JVL0rK/JkMLa5JVcYP9hTZ68Bt23Pl
xuGupYpD+ayCEMY0hwnxMjrHHA1GGoNRLrVza7QiXscxyvlp5mxn7goegng+GA3qMEnm68dY32fB
gHol6dyFX+KcYsQtl11CkDEcnG7Nkehf/DkfOPNjcZAXnanhZQefU/GhFqy2awy+12cRbcewaBD9
vN6E9jRSlMOy7HqT8wM5TUW883oTbWrF7/TS55045+SYFiwX9o0o+8fBHcwNJ1Cwzd2+fh3D+k05
k3UX5M70IK34fL07dMdsV5aRsbZZl7xqM2wWOk2mg9Gl57ZiXVXVVU8iF48XbVz7gFH+azL9V5Nl
+bPh9mJNQVp7/I+nstip1kNJtDgsC+JFY/jVCmLYfRMJBim32hWQ4XbkT9PHunGKxfUp9OpujEnO
bx0hhxXJ0fmkqni8GXGSrtJM+e+IBBHK82rBGM4LJNDhw1BzsAJ6CLZ91iTfhrQ8MhGsHZXrZ7o9
4n3Vy3rFulI/m1PbrbVKSOBL5kccAvm7Ed4wf6dvczZNOwq6k831bp1MzPB6eg4CyqIgRxI/vjxd
zyycO97H9Ct17C48+uv97uh/yNFU93ORWDeiQcU9V3P+roIYj4avrFtA/NatkGXLhCKxDwv3IUD9
s4uricQoA9Yzr8ba0VI2vp6hfKawolxnsEq2lhuXzyS2GdrzstlrGXw1hspuItYK66i1x42mEOEb
1YSsexXpyTFPm2+U9Qb3rk42krDRwc+od9IXue9ETuts0Bt7veUXVnFMevfU+So/6d4iVVoY2yFJ
unM9dN2ZYo7uHGOyG8h3na73azpYPNU3d2Ua9ZifKrRpnCUP13+KaGSSEvldbJNwjeph5uez4q1f
sdLNxzohfi/iR5mVS9Ot/LvrLdOx641b2fZKIxfdUM0Tb8ZsHncXtw6x/VC/dH2KwrSS4ugzD77g
El8YEO+fi3B4vMSqdzM68qXTCe/NqtBJmyWpNL/ORvQloGypoXmLJ69eYZz0WZKa/a4bWeWCzF8Z
Qxq/ZYEg09uysQzbOX5TVvuaRoDOo2xK7yalg8X1aTFFWBfPXLAN8HJC4BYPYlRkgYXvfnnV8wzQ
+rPjgC0jykHvagK5e0901hYuYsp2tIMaYPTH6+dRceesMTCqXWPX/dtsLa53953d7HB5pRuZx95b
qq2dSdD3qWp0tWhqJIcKRybqYHZophF1ewj5wUr4wwRNTc0bLE3pJnbKYkuttcU3nJxDn6hoYRFq
xnXvYJ+P7X5a+a48FzRmv2MquqWORD9q6vKOdc2ZloA4W+rAFxmbwkDv/BF2trYr1JioAiHw1f1a
GKV7y8fPj7XTnYfRcG9V68lT0aY3kc02pGxT9zhWpj6mdcrUn/fFoxszPLY+YV8fKeuqcvX3kvKo
Vy0carty137stBcBLQzrWyDt83aI3YVli2Fb5F335tiklCv71UWzuZ94bNW4ZIBSI7XPbmvu6L2j
QCroHgKdez8Lx39wWb/sKa5P1oM/uOfIDNbajipOeG552uv3rZvFbAnJG2U2e3VJidirqMS+0Np6
NKMPhtTwxnRo9kbF6bz1Vh8vqWUXPL1Cn+4MilQzy/Eu1sNGtqV328v2EWdXucoSrunrIGuN5vto
lsOdxUq/tOaBvgZP/dQXU3Ulkg+K/L1DoJph13GKbah82UtpmJ/UlGFBJJTM2NzvQ/DlRzoAnkKh
ugM+4/JmzvuTQtAYkgg62P4QcqvrF1aa9Aeq6UyG/iLdFPBvXpspWnuVuU0ij86bUbxf/6dlMvfy
TN6WbDqJ/URrZ/Cn74IqvWVVBcRARzbqZCW/FyFTkM2i/qCCYTwGZlpvTfTZd0UuhlU1xPvJMNKb
AAv9rWHg8etdt1+BL7DG3DsY4RAfjaj8iHOpb+JE0/lXZFTmXeJOE8ynZc0b3YylsTZYha0j22Da
D6xyTwP8Mg+Ft6l90WzcZJheTM+XizLubQpZuTnEiIWKaHpqVODfln7xfr0bOPO889gfrxK3fbZT
W1Ps5OYPftAFh9SdhmRXWO5KOVBEF1aciiWrcXdlUoZVGHZ/oqq1P6Us00/Xm//xT3V9NBu/z0EW
Ub9Sf7lFP+392jXuk8lVJzb9N6bbGffe5a5AO9XBR72J7tOJz+RTOE8s9mllo25C/V4WtX263pBD
A554okAaQot7b0CZsOT99f+DKakosmSxV05WeG/ldXifmHEKuq9ikqUu7tyoLjmTX1Tb0klpfxDN
vUUR6WMP8fWkDQ4oJa7BezmwVi+bIdvG08wFbpjOnTOECeOlv2Kedu4uOrq7YqhTah38ZJuAhz/p
zJuWMeAIDus4n/59H3M2NYFGtuyojLsxOPmPJUyPumvVkSiNOuWyUvf+wkm5dOtuTV0NCWssicGx
nvwX33aaszVSeVWlsbNSXiefPUUwXvkqPU8ZZQ5sxytKbaxNb8fps/Cix7BIbzJWTQ9EQjemFM1D
RoqOwlBdbq83dUTbDg2YsDP0nK+AwQ+v0VYNhDwGIz90vX7XwxTd2Hn5btRveXQwhtkiX9S0yygJ
kNLTWmdpL3yixDJdCKCzU0VpoyHC5qCNqiEmaMpVa4vXNKWkUzWW+9VRU0PBOnVxYXRO7KK47SM/
vxWGm+1psPkoa3Hjlc1xDCZrw45ErfygGE4NOcP1/6buPJYbR9Y2fSsT/x5nYBIuYv4NvZcoL20Q
KlUVvEkk/NXPQ1af6T6arqqIjtnMBkFQFEACyMzPvAbo/ybAb25WDq2xdSfNOHaDfNS08FB43njo
R8s5hmnJ4IuSLeDuCkWfOlnlnR3Sy9COdRXkm+venxshh2IZZnytoGqL/UD5dD/UVkGHvA6X4Nti
4Pe1f9NMyNz6WCLXlunfxEP0cPFOOI7C9de15iLMwJP22FeTviNR8OhOe/qqtGJQ90ZFtHXZ9FNY
7XXTGpF+wta+wxHrzpm6mlC8vSAZ2uYulfItzptxXVbjtI81FyyZI2lr9EmiIDIqb4FlWLIedEM8
JEEd4entL4UpmcsuX7O6fDsbf/Ufq5Ie+WKVGRUoXnCBr3oTPg8iLu+k7UYnu4RIdn0/JHSbtwZL
QDZoZ2MCTxaoIpgzhMwvhnXAQZxcL9K+Z7YQuyEpxK4MOrHzmxCcT2J4mzGITqJt8ptyks0DHX9E
qzOjn9u1YnFENGeFWV16o3NlcpGrozHIdCWCyF2UIEl3YTcaCz0LrXkVM6nlYWvuCmBiTD9swOen
oEpzBD1AU64yChAriSH1c8mKB7xpUEcw9dbcY9ytplZNR9zg2yVUynh+3b1uECQiU7hgDI3Lh/VG
Tru+jadnLyh3OWiRTWj42sx2BV97aMatQs31sbO8HEe3vNkMrq0eUXILl16ibVVWVHMtEiwiod24
B03EzgLtzHg1he7BlCp6czzgwRJb601h0INywaZcN1Pl9jNZm18UATR2g2bxiP+1tdLcjsyUq7aX
gxbMDb15Ut1kfsA6OGSyi75fdLfGXKb3kQlQAvXrVwuJndMwTPlTm6d7iijyfN2THToEFdabU+84
x6Rsb8BCHeuypBZYim9jz/HjtMGRHaz2iQ6/2oLTfnJAmc+nIDJWnhGi4D3WVr6I9G7CXLcb55Vp
qA+wSGVbRqv+Mjhtry1ztmGKgQQup9jVEWc0mv7elb52pH3UPJuY+Ojps5wAkbRZ8D2kz70vTf+7
tKWx01OBhL49TsYOk/ghKJvb1hdIeY6LKjasfTDkT7U1aDzeSuxj4EXS07jdBikGoKRDTPruuFp7
cuomWSvmwlWdZ99rpx+/gDv48KXT38PJ+PAHKOZ1PHVPQAqsGYpO0eG6C+3mCX1jtRQlo2Vrdbn9
XOA5TZTVHx1XB27BnTw2UymOcRx+LQOTH9qJmFqkOf7xB0Tys71SYnl9y4xkPle+b6/0QtNId2rF
s+HmiNBP2rkqoPqNidRneqvjJRA7sCn1Sj0BhawfixCjTycr92ET1o+YFYbr3ta1uVMByeW+pxsR
ZOrmuknMXt3UGPT8+ANGuXJVDlUDuUFmhEiZMdOK0bpFkduZ92AMFmXYxodowmXcqWBEJXkYs4qo
5HmK++925QQHj3JuWOcldoV2ebDxEv6xub5XFbfGWC2KpKSccMm8Pcy0ktlr7qTWOoRkhMl2DFRy
yr5PVUvpyU+MXQPfZDsajdhobpTchBDl4Xa5/ZOVAkLPUCJeu2NnYNdcl9rcIJ9ivk/bA8xqDHqd
3lw1efqYKENbp27uHISd6IsppNWk99r3uqmNfVN8EzmVicBB3URV5I+xVwUrUPsXYLPl72u9idcA
9p+vb2V9vZZUtNAoMfJla7lFDPGHrlfoNXTC9JDoIk4FSEjHAIHfdltwxdbjdXfwHkJkDHd08uJ7
abQvvanHEFRaeFr66B1NWBC3qNEsvETfB9NwXw8lHEK4RYfrRlDLvLDW0udssrO96Cms9Wbi73I/
9O4625MHY9Rfpgrs/tzAmn6OP7GxdGL1EFaheiuDd1N1+mKYnH6TNZl9byZvMjLaOy+1xf002Dek
whvLqvx3mzpE2nrBkxZo7tr163HtN643q1lH5mSO0+m6cSLDO0yo6Kpeo1MITWYvR/pebtQ6t+BW
69nU4Sadm16/77J+eghi6S7g88frnslsP5osMJE8VUmV7Q1dtzeYnFFh8x9zO2nvNY8MBi/3JxMc
7i3tjZsE0jYBTfBqK8s7WnkCW2NqiidvoHRuYUwNnNApnhyberRjklYLs0mWOUwv0F9BQsNAb6d9
AX0pw5n46NL2W9XIhyJtF8pHvW03LmvR+brHY39XOwNsFdRMF7WZMXO6fU80MbRyYQBKmZl5HG46
uA5LZ/CLI+Wdao+/fbuyOjxcZbhHhqd+UshS+Kqtnp3uubI7ecyMpD7mli2PcjSLo1pdX1/frRNj
7fRxsitcTDVyFXrzLoac5dMcJTVP5z167XsrrcN5nJjDxrIdA795v1lO8AZeKl8mMyyMKJM2Am91
NFNu/LSMlxNXaFX5IFe9ZnqPAuzcha83cz0AkloFU3iUWnFofQ1z0rBZURiJ97keLSusXreqEPUZ
nk+xqkeBz3Tmz43JCx/KOqjneb+v8zq+CR0jvglsNjVm3ZGFj7cI20WjRdSnbVe/6ZoA6p4nZmHn
ts7KMnBNpsPiAMtwKFfnTvnsDwr/aN3PV6Mf482toiyfZT+2EyuQVBNQYa/roEFV/SrKhvY+s+AY
Yv6nfzDwZrnlZ981CXOpQnfHjSnVWYoGJ5a90872fe+hc9HikWWPha+7qNwQtFnlOTdBmhEk6u66
zvMXO1L+azHRmchqGp0UpsuHKtIPcD2+IK7XbaJ8QDhqol1jFOVTowcrz1fdHRr0l9BbG5xon0lC
Q6liD6Z9mIVbo5qKvaq9Yk+1+ktOL3JDndAWdA5jtWtMFK4cmWPT9e+NsU7IVw8CcNWhDpu/bqrL
rgrGg2x0cy3s3tsNpg3JVGQLRye08Wo33tRDjQly45m7kkQLVp0m7pO28Dc64LqZZ43vyjLqb7ZN
fTu2AVgOnrdSVV9/WBmEzZw4+Qn2BeA929R3lWkd09YMzlnat7NwAK+aA2I6+RHgj0xj2Wui9H2o
mNWloY9LRcl8O2bNAzOA9YbXsDcvJyEPHYXzO+mlb20TmG+ezVhMUgNf9MGFtFLr3wnwqLb16hHG
ydfU7cY3NzbSWR6p5jWkHwDcdKheqAuaszKxsmfmNnC72pg8BeDn0Ar02mU2BtmmCvN3AaMFZk20
blWp3rTMhiUYNsbJtHRzR4t7WMF3cx/6mJ/vI1nyRUKutSBimtNYP492IHGWvngSjWX5RtW4ycby
3Y7Qv9dVFNGxBtIrovx+atNkI6d0nPumkd13Cc67fhXDC1LjNvNtKFauO4ujxnv2a83Y26WF+ukE
zUWHHTu/lgdTfwBfrNIRw/WRCHuEbndLOtTubTceD/gYa8dUsymIlzQzVEHgadTRvHLt7imhtrYw
cTle+NLACFszlwYmybOxGMRdKwJjW+pujbim2b7AC1pRhK72BrW1uYLgddCd1D5IEzf51nbHRyfu
F/Voai/jlAybipLlknaS9gJn/os3KPtWJ4i7tSbn7fo20b61dLjPG9Gk4Ss/Y5nA4AHaEtuHzIWa
1lwOFit/nA8dPZ+66YKni7ro9d/pu+TbqKjT5fWcVEBoPkrdvfFlEJwD8V3X8w28F0DFBH7rIh5i
yKrKwp7H30wXiAy04fVEf3ZOY1kdJ5KvHfSO75QKmC5MPX/NB/2SEL8PRtPeiNTUlqQhzb6vrX6W
xAJDnsreVnBJZgFesX4zHigBy3nYgCYxbMpQA6XlbYyh+DoURbLRtMZe8HCH69q/0ACreBePkbcT
mZPNe7sKZ2YotPtIffRRIDZUyr3FQGnvVbOQAbXSPrklc+tBx2sAgAsfhgclnngIprUZI59Dtbz8
anYFC+gE7LEpKm5uE5yLyDpVYw7jN1DOYnAA0KHebQsr4wEPN4MqrLVW1duwC26GyTxk7RQgi11N
c/gJzU3YjDqg+/itrPJuXutyHaBRdte2VbXJghJ2YSjaVZAJoLrWVN8EcUJzrjSTuXLGrUdH5+66
SXpLzViKg22NFNts7Kzq1DQ8/NlQyL0hL5xOg8ctmayvpMn0Pgu56YM4W0eD9TUVUnvWokbHMU7F
d407pCsNfkgTnrKk7dcq8MSh/xInU77rmb20mMKB8s4kfcXG60uHCzQkMysy8jV4kefANew70MHi
LpiQPwh5aDeIadt302DY2MW1ckZAe4jC9Pv1be/yeVP/oBF1byAzMqE+v7apGC0JrmIajMU3q0FI
k8rZBtHlx96wl2kOvl34wVfbbAG2Y9+eVH6zGHpxSfM7cxbFMsNppkyOLmTSvXLdABhWajxNpp2Q
IPJVnUkdyxz+m15E74XNd4NkjCYbXOTZBAB1lrPGLq24EGAP2VxfMTspeMsqIy0AVj+oylzAV2pO
GJPoy5KgYU7BlGzc19dDq33PgbzM7Dh59xJK+6lhruKBha43omihqoFeUMm1C4N+LcJKnWpfH6jn
BtsqK4aF4AFZUAc7TaaZ7KISSL8ljEVWm8ayamHdB91t3wTJzrAipCpz8zaidvyc+itHQCOK62q6
cbzqa9iK154Ycoe2Zb8l7anhr2n3rBmHsJvcNU1Cc0NcQkmnbK17+7ZR+bzqgJlAIA74nla3I9Af
4dnE3Vqk9ftkF9VMJJAfunDfj3TQ7GK6DSAHEz+63n0n4JyZuU9a6EePhKlyXmNI9qTaFN+NPK5O
Khpe0mDRpC0uj70bPWCmi3g3NpAHr80hgVVuAX85mJ7qyoB+jD7QC0IDsBzsMNsKWD8rUgqWQDnN
NLNxDlEeJzMNE7xMEkNpt0XkkM0W6aWgC301hBVNxaR+of3zXhTdpiJLOsVA6rBEbctbaZRzssM+
cE9g08ad1lRuBO9Ah8be35FJeNsQKcdzfNlkwNPcoqzWo0cYWpdO5M+asj4W1vAceypYy42vecVu
cI0HHQ7oOddktOjhVK46z194vgiOIN+724AexjpwTLpDfjozpt47C2pg58qBy83z8UaPRM5Cy0rO
fRglZzIw8ogeyYu8535MfXaYAnJctxVixSf0g2idm5Fi/8Lxk4o42HpMLUvtVVcV507TjaXOeRfX
Xb2LrFtJ6RlxjZWtILte4AhMLs0k5mNU+ivLvB+F1FfSCap5nmqrHsfoc7uht2TPIAynG2Q7vWNg
k/eiQ3AOke2DXhTXZCtteu4SOayR8ULEonLS+djo/TpQmHvIPqU3BQNlMDXzNInhqwy6bEfrCB5k
4/XO3Lbrs2MZztyQDf+EasicKrk6D6WMZ33HBN+bY7WqvC5aFOT2Z7ftaQX7tVrDaoBe1fabsMTv
Nqrtii8yaQsqdPie080oYMve6CKV58oWEmltrtZ19/rZNnEBam0Td2gX+HnJs2b5DrivaV5mfbJA
CaCYuVYDLbtJ1Vxr63410UIKSR9PReUFJzFOc3CK2dmRLT3EzrmhuzQc46k/JlUOlCUvmQ/rj6FK
nG2GgsfJrful5pbGGRsX4+xBG933KG+09XBwrpckYq7a6kK+64p73ZVkvIGRxpsmFIuU5gq4Le5e
ZYysLlHypLx23Ee92W8opowIqaQavTk2PiTFQzPUpz6ugwOgz40U6beuyKNFMNQaFd3Sucx45dzW
V3USnDwrM1YD2vazoAzLc5Tn8Q26IfPE04uzb6PWFAXftLJs1k6Z7Ks0bQ5wmlFA6YIZGYi/atPS
PmMLLDlUPE+Cb0YXdreO5wPjDLj4VgIBaRwvkxCeNQrQ7Tl26RwojJa3kxZEYOm+dLVpEyYcA0mo
C9rB2AgiG/AUwwt+g4xSt1gDxwvOLnRnrMvKYi1QOQCVuPVzazqUmXbQE6OZoTbS7/oG1QxlBx9O
KoDlyZ0TUMyPB9M5p4lHx9lU7axLY/d8fQ9dCUi/nlrXHWxSt1ZfWl2au+tYRbfDXBK6icV117wM
3VyiLDU5hMW+sy64P50f33YYFzNDQCAdLzNB3jEIOvLKO7sf8lVoY1ogKzqr9xlwSA17tLcsEF9D
V3PevcF/bPy2/zDz8dSFSf7NDt1NAy3hOzI0i2BqzQgAIOUfqwQwKl68oPKSmW2e60qHTAT7Zk4V
H75hkebUCQGL5EZ9MP0g/lrEyb0/2rDB7Oq9K2znzeiLlMnWLl9Zz7rZYNfiOUWBYtYFXvVkBZqc
R17mPSRa7s57EP738UDRHPX0/A6PLkZZPPm3ZeXoaMf25s3QpfUKrEB/6oYL3iWPmmOYFN7ak7qk
yQImwCzBJ2oR8AlSMrnzlRrp9dlqG/jdsA/0qd/UiZwOwhXGujFt4yjGwFs5duqcbMDIKyDr2k1I
1MDD7xVnpwdfKQq/v2u8rGQRTd37GvbA3O3L4hGf9QJFFGWAIAZqbQo9fdESVjDwh8arTxduVsmm
eO96kIEpmOQgLM46ks1fh4aunu4VEAHTldOE6BDEGYX3KqfbHHubxHe47tG05KqwFOWw4QxTx5HE
K/SlXcjuu1dmO0sN4mtXVrfVWMcfaao9F5PRvjsmQWrd6O6r0wGbrWQENEWjOuyK1H2ilo4K7aA3
j/wu4jSdbF+wBi7cqjPvaiqqiyaC4oeYKG6B45DdwuiNV10QayczQaevAYZytOH6rjWUlw7wrtRG
YzLZF7VZbqF8mzSFcuBSbSa2ENez/cB5N1MAuDlGk2Dd56o8ThZ4tFGz65PErhzkbzvcJAXJRlRI
cYtma7xsNSu8y/ixi76v5b2KOh/NC8N8sJAsmpuDFj/lsg1myomgL4tymDHfRjC/QU+5ID/fKjl9
0bMg/1I2yYO0gGhVKjtixz5+6+nHVlFFeRklPToATgL2anz+cd2rWUecAF4UoBTPA1G9wOyRmZL6
JrLVXeY136zQOkZQMj8S032IHRl/6RlXiUi7t1GjNSjH3n8RE0Wv0nCbZxGa2ix1/eCxrcx2blTa
8NCPVNyVPub3ZpcOKOMl/tnU+3SZB61+q3LHXha+1dy0BQWRVozlSYdzsFZ1lR11WcUbjLTig8xI
leyxjfeKxWdLqz7ZoQBk7yh55zh+hPZegkLalCgjHWqZ9GtJP+hYa5NFxGXFNz7T8ar39PIWxLNc
5pXTn+npm4tyBBPs9ypdYAmdPYCwm+hK6cNjG9ASoGCgPQmyzpn0rO7F9DQEXewufBt5rEPPmN6T
MHuOmQQ+HG26KZXrf4VnjRiNrX/XpwKx3xJlGKMgPoNOgcyYN/9x+bGIq/PgAoYzWO3dxgWlxsrY
W0H8nbRijwq++lo3/tkvCvNLKYJXF+z1e40eBiblRv9a49Q56z0VUu0BM9HVbf+U+yAbm75KHm19
QAO0qQhOwXosmHzUXVzH/gJfuuTMsjMsRQ8UwUUmaNZl6a6LtGjfJU20b2Pzj1d201DbbVxr/ud7
11eO8tDR//PT6vIvf/nLnx8vtbFz5n9+8tNpFEUaNKWN848j/vl/189ddwMYvuCku4TAPo32shjh
NGXuHxv3/7zKkxzGVt0AmKxYlAerPGUt5adqjPYWveWbTDfUIezF6roHvtixaUfmxT7zpoMZRu3N
BCQXTT0yGt+9ydoSsgIqKwy40b0Jkxg4czVE2qWSE66vb3rxoY1tcuFCz3ZNFHyNiGK1mUy07CSH
Cn9ET86KWs9ZVsvqnHmpxbJckqTXFQxxONp2prlnkYUfAwjjpdnYYE5I0KKietTdwjn0FUSR6y4g
QufUlvbDtabrZ4k68GQHp9yrn6vI8x5T4YYnNfRf686Fd2xMat9Ywtk2ske8oZb1s1dBHdHBYTdG
mm+NsNVfZOcuDGHWi6nXnY1CCHfnFGm5VCMaDVYtrR1Lx9KM7PF73s1aWujKAiFXmZABEglp1QxS
NHMiFygn8zetz5cBODYaIIvGS9auhPHqsCSd5G0OknieTBdPlsvny7qjW+M+gqLKkepxUfsgGSJx
bPbwi7+GgBZECzw3aiCS2AbME62vccGRPlHwYKbLwI4kWoF5DOAqO2mW8E/iMu2bY1hsyprJhlgz
XKBS18w7N9aWsdkpgh2Yc0aV2vPSSbdaWLJs1hKqiFgObW7O6m5MluZQVyAw9Wonuw5++KAA6Bcn
pHS0VWt/MbTulPbhfZhFOnOgH6CupOZ6lIcLuqxUroyzTf3gLna/FMQxy0rxJvU+4y6UYIlqsPKT
UxRzOu3P4K+aeYGjLwOtfKHiRAWtL+RCDc6OpUEs0FiB4FQV0yZ1EhSwkmBmZFU5R8ho6UexOoyG
++IEyl43IymH6VFbondSF25/6PweeVhQ0bNiyLAITqpwWbR5sUmp0rRjlO+7SeZ7w3tGCq3a2aBg
0YW2qQuMEva/aCxy8Q6hiWCcNomd0i6mhN/aTQz+hG5xhgSQywpatJZYiN4G+5ai2WTJ/q0aUuzV
ZfeCxs0iTR/d2Om/ZZPCelH1b+mkmlXom8hkwtqZY7ddzSPqvfChu+U09PdWda+jXHsDh2Ra9bYH
0V/R79RFuC7bXMwctXXC9q2YeiroynrIqu9BLN7cZprmljs5a1m0O7CniAkU26pty2dhdd0i10ux
MuR4B4TGuPfMaqk5Crham742de0tNaKPWm8lj5nWznM3zBmPfj8P0Zv70qbuysr9dW5P+R0DRO00
cWFoPOhTYD0PRbrowYW6NEe+CCfCbGAsw1MVgeixdJrIIIDqL2bo4zAm1QtkfiAeTbHuYzwWEUzz
n4OGZkkzeW+hNHooWtq0aHIrR3lJ1+8cYe0qx99ivNq8l/ol5AFJfCtIZA8XqyhKsKO7pdhiLAdd
2+mV0B6tWtcASgdy1SvgsZUzGwh6qKxMNE5adZODkNrGcGwewzg8Xf8WG/ANilpWx7IEpdmiC0HH
/qFMdO21zMixpNvZZ8QAtb3mNxLLUdm8o7q1TjEq1EVBwGVnHwDYprfM0oiM05wOS+C9Tlq7jQTN
tCqNxePofISg+MnD7FXCnYHfRPRhUqz5ztO/jwwj+PDA/it09QjwJAtATvvksuA2UfXkdc74cQlO
VKuVlAab+tb145vJITrxp/RxqPX0S1jkX3zl2W/hQJhvZxTAPOENq7w38h1omnx3fdXboN49D1MB
SgT85c/Np898+r+//Mv1EH/+2ajTcA3g89i4MiR5DsMFxZRyF182vUDT4lJc+WP/+spqw3J3fYUI
xmg2y9RDpMXPIxTjCOXHnWmFe3S/GsKabNx1moeUhOXqC63y61lU2vWuaWWtz5uucRa1Hkbz7q7O
LH2vB4aYjXYlF1VGUWq8F9lETO1MFV9ijNl2KpM7ZGY+UpsTD2MZZTM0xcud3dZozFxfFppR7q6v
Pv+lte2/+fxf3v3x0hy1+8o05Cpwu2E3UcDYhZ67lTo/qWoF86zTVbvrqxbnuh+vPr335y5h75L0
T26qy7WBGD7u8N1Q6BEBntBRqqOx7I2KuatU9c66bH7s4yWJGKCe1DstS/lUMpbEQWH/hU6f3PXA
0rMZVsNclesbhWGSXlmrYQyDrVGEDfVAS+28xI4WehJdTL/TregT7DP7FtYKB7+ebBr9ehchik/c
3djH6+NRqbjYXV+VxGw7efHNGqs9d2BRdKm1UuBkfcE4ce3kx1W6Xirjcqmac08hjwWpnLu+EW6H
chmlQ74LRTntJk0bQV65GdSFcZwHvtHsPOUScshgJlLNR/5R65euSs/otEBkyIggG0W3zezouznA
ozaFFZIFyWxfKrPHX4MeWJzo/q501yiXUymNdDmPNYlWyWVzfdUMBUljOG7AZ7S7KOzbna0JhEuu
L69vNuEYbGR5dstpJkB5f4W6Cam07b60thYvDU26BBFtuvbLPN+Y0gWT71WbQSDWaCXu66QbjxJ5
o1OEpO1h1NJsqQ+Beu0sd4UOjPPRFdTxsfQa7owLcGBwNqHuOUsjSt0zmnMxlcZ5FdgWDUG8lx0E
cJkjfLDFfTsCIE3GF8vIttOQ54tq1PRDSd187l+EIHlsrUUr8+CYklPMR90KP1oABk0g3m3kOeZU
HhHYccJji8AXchv00GPU8zZVCnO/zSJqJ0ijaUItPBudael13jzVTHn0oQvcGI2EAgDfIOzl8JpV
4cKr9WA2ep1/A3VwXcdoibhxvATQp5au1j+lCYyUQQSbbKyPDUD8ee8m8qO2T7pP28/P/ZZ4B833
CDDPUs+7fGFdntjrY0uf3/uhxfD/WgTgGH/UpSq/N//rcuQPwHtEN1Fz5bP/uff/kVSAcbGb/Z//
5uP/X1IBt+8p3Zz34q9aAdd/+aEV4Lr/8gCrgZ7xhA4RzULI/YdWgKP/y3M9B1C3js2BZXr85Q+t
AMv9l44MG4VhzzM8y/bRrCBtbKL//i/T+hefNx0QVZ7ARII//fur3f5QtVCf9v8H8d1tSRSt/vu/
/k5fw3XNi0zBX2UnDILyFPUa5BNjqr0+1MBQEoeWTrP9y7X444R/PcHfiWtcTvBJvt5xMpovMCMZ
8gD2WFvopB/+2aE/qdM3pSXSxM9tfLZxFiUu8sHqE//9+ug/uTKfrfDSwIh7QH/OEoLfTSX8fWxR
mEUt5teH/0+Bhh/SOVyXz7534+g5HrKKztKuN4Mf3Jp2uwgk2D7p/tDsYEyF38q/ufI/+wGf5MLA
1Ks0aDV7SbN0P1QVHj3pu+rb3xz+Jzf2omLx1yeHHjGu2kPuLF2gALSlAhtjWzAvv748P/vyl/f/
KofSKQ05ZR6bAKoIy1u5lWb3SLn/d0ZqfyfRc7n+l5/11xNA8Bw7PEOXReDs01Q+p3G6R1926Tbw
VEB1/EbY5e9E7S7nsf7zPCC5jN6ruQuDQF4XHgHCxS8Av9ZXzCFylbOiy34zIH72mz4NZtesW+mx
TC0bwzd2JeUSov503WbdQjexBBR5S4vj1zfob8X8Lz/s08BWYeR03gBPSYHV6DK5yRCJTsEtlseu
PFEBbWFIptBDtH/i03w546fxXqIupfKKM4Y0tUhNhiM0m99MU3+rbsTBP1tMQ0MqsslU9lKa2Rr8
/nag4CEKncJkuhny4l4GzYZO27aum2+/voQ/GUGfDfeCpB2gVZT8HqP4SgB6AMp6+88O/WnsI8Dv
W8ZlamysYWEjodqj0/frQ/9kZNqfxv0kKgTM9cSGtYrno9u149pGXnU7Yc7+m1P87MJ8GvyRFWmJ
Mcb20jQuRSB3U/a/cwn+2aE/DftJAKHv9ciG7dkcq6wDgtWsf31hfnboTyO965CUBC3HobFsoeqX
pHNvCn9n+fOzo38a2w7Y6QB5KHKWCAiz762ou/xm2vjZoT+N5KkHa41Yvlgmo1x5DNdU7ze/viaX
h+KztNZlVH0asuisoZWtefayvdBiUAoHywfw/vulxz0z+8z6jQXeT37CZ2s6YZudXuFFsFTJ+JoX
PiqEYvmPfoL4pEBmOnk7UqwflzJsV1R1T4LZYKZfiG9Z88/W0s9udOBhCmC/IedIfHMddAjggllU
v5mqf3ZxPo3YwqvA83ZqADhGtkQyAej15dcXx7g8fn9zg8WnoaoVzSStcRBLFyCCDjaqTJaBdbY0
eVvYTzXUnUGu0kItXF3bQ139Z2Pts/FcJlILUH87LC9mACKzTx2cxl//pJ/Mb+LTMM6pJGkElOMy
pdIKPIY2WZOcst7/+uvj/+xufBrII2XErtR7sYR/RL+zu+C32vd/duxPI9nUnUg6aC4tERec5nYy
Ae7Jp99cmJ9EMuLTWFZ1X1Zl043LfpKbUXroisYLv2w30q9feXrPhASLX/+On0wbnx3ncjEYk59w
D3CEofHRwprLlmJw7qT8nRnRT27zZ9M5I7FEhSDlsJzM0YGOMg5zy/Oy52zAhurXv+Indxott/8I
MZ0aKGtaVcOyt7wPWGT3OcyMXx/6coi/GXafPebqEskgsMzj0nRGlNcGY5XwtEJUO6PFDuNTf/j1
eX72Ez4N724yYsvoqJQFgBsNZd4poHa/PvTfCcmyNHy2lPvfnH3ZjqQ60+0LfZbMZOA2EzIra67q
uW9QT9uAGc1kePqz6F86qu1dTiTUV53qNh4iwkOsWEskChCmsJlj5uL6MIM/NQAhQoCMqVcdOqgy
lPl48rci7LsyauvnNLcugLtqJW8VyE/IR5SkojTzbIcvbByAaU3vHWt57OUMzit6AKhYSRZVYMS5
PlTTLGounwMYCFUhOcdNJr5WDPUiyFzta1rzeB6EvAhWGxMVWBRQhg/sF+AhGzuHyQ81lweMJekS
2HHMGGQFc6TP+gkPZGmxHPJ83JBOM9iyrgTnVHYZIHUETxRI1FU1+N6+krI8E24f1FJvOKMhetna
Ns4JhEuIBY/pINZQD/5tntn3Fsu+k6SMgbQB+3Ih9p2+bc3xIRtbtQTviXHR9F9LG7JArsw2FNoM
tqTrFBftkkrXX+PWDGUOCBZelkzkGz5pWG9bc/d0tElFgVSJwTX+BIYk5G9BlyQYePU27PXvqr4T
uXRCStgQsLKywidKelBdGuFB7AYA6vHAZuCq8tfQKaD5cYIRUBQ2QLzoUKX90eXytsaNDCDDozs4
xxKAK5LUd1BR+/tv2sl7HBA0SOrdBqvKt51Fqn8FofAhL7aIhE1zr8WQFlVa4EEs5xik/h89bEdQ
dNoIEab753+08fLaB0MBMsaZTT759B/PA8+ZEwnvs11/FwIFwPURgel61DDEXl0Vz60U67uuQDAM
+MpKfqzrnyPLDjXYhEAiB1gq9Cw2Q6/JqrQokjooUBxsoeKZfAHL2qVH+l+Cb30mECDA+hJw9035
QzDdUqT6mY0kP5BhRXFpqxMqUjZimWHxdHUBLjxQQGaYYFTeNbHPlmNR1OVGdDE1rkUXHK/dwFup
gSBj90+uegvaZWO1s3EtnEz96AvuZCoGGhmsjLz6ASTMy3VLMHV8XbM3z2Cp3aZTS7E2yh0/2r5/
ntiWwue77ODYcv/+/qbtcKBOkQb5/607iif75Cc23WoGigkrv64xbKyG5kIPhYB5/qzw8Fz2L8T6
cH1sBiu31jG/+T5yo52fut0cg93jUzoANOg41ckKpxePCCDC/MjuoSeNgurr3zPYuc6GPqJKuPdw
l4uDan6lCf0ooVcD9PIlXOiG4LZpubSThCxKGxXi2CtTJsOT4DK9hfDiVvg3ta4dJqB7IfMAolZx
n9IQr2y4hs6kyvbtin8j35vl8AXUS5C1XWLiLs03yLjRb21YZjfXJ9+w2Do7ec6UVQadp2JvxcLM
GYoJkSeTX4njxai9QqXmeTOiGRZaJyUHJ9yQK+55sUv605QC/9OoV4qzhYRG4r5wpZOSdxJMq3LB
bDkKWDWnWpONH69PlWGZdapxiFog1gPlHFtZ90r76WdpTfveYah2gGgC1fVWXy/xBBZky+Mn2fXR
vl6vo3ljPsxLkJ1CeWwM3h9kV5vhEzS6NjzXNCPaxo6KUJT1LDUQPENDYhfcg4fRI3+ud9xw8qSa
zwogiZmo5YILLOjkAZzx2Of1qrHe2AZPxk2+cTQ0maXmvuDFSe3RdrBPTMVvNvPHEBLqYN8+L227
c6L0rZwGnszVggeGsv4GMVXIovkbDvz+Gljh6thv1nct14RaaoItNO+fu7z6ki5b96+/uj7/PXRa
obY9Q2Qya1ETrWJGrFvu/KwTwMik/zjnD12Nc2P5gIr6aTqz/uTk4EYEesK795fxpq9/4wQ2y633
0NUP3uuItpUDc17MOWjxYoi2fgAa5YFZXUT7YON0bZpDbTf3wRMy+g10WitwKLoV+9C5zem6FRvn
UHNtF7hp1CFIO85QluZ47qkeyUGh4go1QfHSFbeyX6eQFp9xdHchf1PiMAkkzm0egiMNZWaYUhcQ
vevdMY10/f2NtYw9IQn4CPBiivoSYGHB6saifU1rwSBdkD2THsrAvWX8gusKlPXcjV6/76FWqIUC
6DsEUwgUbtxw50cHyyI5+ZlOVgw613Bj4zCZmBYFWIbnWCAusRES+2VJ2C3IaFF9kbqf9k2PFgL4
ghoAQRs79hp1pwL6soTDrt3DCvQQgCLMjLowXx8EcjgkViRG5UKzb10DLQjkNW9dSEvP8VyjZN8C
8S3vX6/PiWHOA82tWR9kNUpKsaNW9tfMVWstx8exDPeFxkBzawBEUfftwfVAnlseGZ6jQYf2ZV/X
Nbceaecwd56RHMjmX6i2BtTT/woKz9/XmzdYfKD5aRiCw0VB4CGWyfDiCJAJMCQELCv9FkCO4fo3
1rbeCaqB5rAA9wNhBrrS2G5Rb8662zInG1FvXcD3mtYclgWiWhq2QPg6L5yf2ZgAIGvd+Bwc1AgK
nhtseZXJgjSvtVELD25YvHiTsQQd4SrLuKz8Dhtv96ZxaE6b9LagC166Y4ipAnoffJiWV9QwRSB1
DebwvGsdfM19fdqp2XcxWUCBvYIl+YjivK/7mtZ8l7MBtcABHouhsXAPJeJnlE1tNP3+xcHy1yl7
s5PkbjZ3XYZe45QATq7iBykrnMu6c0LvmbUyuS43TVlfrg/E4A++5sqy97sOephLnOWNivJiVmDG
97LTbLXOxZvyasMnTKPS3LroUIRd+BKhtHJcVN6W89lxOwkOJtk9NAFYCRioLY/Knr5bBXQf941O
83aFUmcoBODGXTHrF2CP90uQoaTNQYkp+7HvE5qzuyBVbfr1GuDVLioJw1MCFH+ZtL8AgPx1/RMG
X9QxccCg+oqFSLUHfEwP3srUlCOPX+Gl4voHVqt9J6romLgOjOGrrCoeCvqTvwomUrCKZij3BqrF
LY6o79mwAtNINLd3CjthqDdEyq5I7lGN1RzCoIt6GPeugegYualgKMIIU5zZiw/D/FX1kDQnTbR4
K9kXALzNxncMEV4Hy+HI0UGmlS9xJXzrmafu8okWQbHrUcViWgSw3amiToPl6LMUyt8c3ExPEINx
xUbv13beWW4dKTc3NVRsAuTfQzd/ht7Dbdnn973NLiBZOw1zthHIDIvN1t/fBLIedKIgbkLWwab9
ObcCFNmwqMy8DaM1Na/5NlQQqbXU2MlVD47YNi/ShwC1wCcAy51dt0tLx8oNtWRFNud4X6/FB+n2
YIYD08N1UzWZkLaT+75QlptW2GCTMrkLUfd8KkHyuq9xbfcewF/GG3CnxNDM/QOaQDDv9rO1s+ea
E7uQoydJiMsUTUF/C5mAT+vF8XrHDWkHS4e9dTm4tIoZtun69aNEtZjdfy7r2xzF2lQ+LdC/WoYf
mw9nBhvSEW+K8ApFt4hHjlB/pDWdqF9/mxhKE68Px+Bpnu7JuV34gYfRdMEIhXrxT1d+4UiIB4X8
jWTC9Y8YtnAdANejosxC/cwStyU0DkJ+C8LqI/gDji30Rvatuaf5cooCqxFVocjvt9mE9GS4nJ2V
TOP6CAy+4GmunIMOpQM/8BKjRvWOBsOLcLYOmqbJcf4dhNLGkTjI4mk/7+rbxK4+E0keU+6dWzpG
13tvMiLNk7sOD4wjQ5yb6HwT5DJiNT263daeZmpe8+WJorCo9GGjNoXKczjc+uEI2s95Y7MxTZDm
zawALxCg9ngBIn16rOkMwiSoztWoFINew831KTJ8RIfD9cKZlAOERSwHgHKbJuJT+dkiyzFFev36
Jww2pMPiUP8KWqEKq9Cy/OeaywlFu3FZMayAjoYDvDTIUMGk4gqMnXY93igsdBGQjSO4qefrpL3Z
J8F+CUI8f0IOZaDfMofcAKezs+friN40DU575edg6I0rdzmFFaQ7veQI8v/TvjnX/LZOwL4UzBXy
ZsSpDnjpuRv9YqPrplnRHJfIGohhqMPFqh2P3Zh+KBP+6Xq3DVHZ1Rw2KSHKSC2YSN2X5dFvrYcU
d6CDq4YctVdzesOJtWGVJtPRnLeeQR7ehCGSvB6BuDtEzYPxpiV8Z/Oa84JdQIUyReifIOr1CPbL
8dJl7k02Qtzp+lwZPFdHvqWLk1sugOGopma3mLZPDZ6qwULxgrfXL9c/YVhpHfmGuw1odfwAV0Os
BJXVXVLLjfkxNa3tvypFnr+VDi42kIcDqcVwCXt3I3Ca2tbcNsgdhuQJDLQB1KPPursQJA7XZ8Qy
WOhfQfD/77f2/xoxd67s1zdT/ykDfddIvfh/i1hA3WIjpZgM/StfQEZz6MME6hJgVfRAxhLaBBw2
rg3u8oFDw2gIOPhzOSQ5inOLJJgE6aPgjxLmUW6keAz27Wiu1IClCEKamGCQZDy7dnJX0BsyjBut
m06Da4na2/hlJyOTgHmOEAcAm/gPF5IimeWB+BvM6khSIDOPE2ETLPsisaO505w2FUqTS5T9Q+ql
ZS/9Ij5eX1GDseiYsslCCh7XlCaeoCo2jS5ESrbOmKam10v9/7cV63+FgviRgFo7XlbEPURs8Q7O
Pl/vtWF1ddwYGbOKJQrv3zQlnwPi/MbpDwyd/vThevumrmsulPo9pPi6pYkTHySDbhKg5Dmbtgrm
TK2vo3ozMVk68R7kMk3c0rI8LQmPwDe/r/bH0tGikAZs7CJHYllBe3wag6jwtgDfhn7ryFDgXxpw
ESOwhE4jf00g1wBfnRvMaiO6GFb1L3T+zbxw31WjH6AWZwQp2WDjwDdkJz8L9i2qrjUPedFWiGBB
FREhoFgo8+rQAjG30XnDfqTD9ewioRZI+JpYof7kNazHLwHwFcL2T2Uhw333fls7e4Cgoq0BlG7i
ZeqhNVc5mf2hyMGheL5u94YV0LF1CRi5q84Ge6NFq3+KqZ5PfAa9bujNPLr+BYMN6YC6Osw7V3iy
iUUrCtCrEBAg7oNrgAbt3341L7Nn2QK9Hx33VEnkV/N2493CsLo6Jm4ZJwu6ixAfWSAeXzT0LPLf
qvkDYYitCL928p23r7/Z5DfGXxKeWa0As0uAbLo925EivwFtFMGHNQcfgvstx+UwgAYCoJ/Yb09J
GoKA1KFR7oS3eCs/qLp6lSuPhj9cvPKBcXnpQUGYWp9C/K9Q9MfCkqfRcz6Ggxs1HihparC2f24T
63efNCCUJd8pqDLwsBFUFdCgyx2wYHEaPu9a+r9nijcjTKRHakwhqmrAew/eUoBVS2I7p+utm7bk
Va3+bVRtMzAXlwzlIjRpzz4Q0qjRCrszii3zgEGL8tSipgpKR8fr3zO4io7Zw5kHCoF4ZAcnv7wH
RP8HKtAvo1v/c715k8Gt/vNmsmbegIgBmg0xAwH7wWn5o1cB/l8G9alQ3oZVG5xRx+GBpbCdIUbl
gYMLmNY+Wx6kt5W/Mc2P5ox+6RQy6xBtM9BQQdkmInm6plI2ltvQvI5iq7NkgfYfWNTDdHweh/7o
y/HOBk3G9ek3zIwOXLNA7QweCdS0p+EAMnoe/kn8cuvuZWpcO/znKGW1Aom+04FfWLiynHkbB1OD
2eiINZlYnXAEqsE7J//ZLp/UKkTagvI99csguj43hoJmS8euuUXbD+XYsJiPojss2acM+7Q9+Ygv
IygB1aMl3Z8+/uonRzUk+17t6TqbbzxCLLYCYicHzYBnPQkoHEDNAFSE4ca13jRz2tY6ghi/mRpA
Fe3CfihFeqBZF7m4n5AtYJDpC9qVJMvYSJ0MNtX07EORZf9AvBnCb/76ttVsnELWs/U7uwjV7iUu
hNDtEnxOMZ5bQaaceBewz8ZDVj0GONc7VfMAYrJ8IwSa7FhzcQ81u5wlPj7G6SNE2M6g/9vl3lTH
uE0I5h4ujzAxL4OAj4CEHF+S+kTDtv193YzfXw6qQ92w3nR0OXqvkvEzWeiFJeRmsUFKCD7rfZ/Q
HD0dIRTsMduLQRT/bVhsMN/Jow9Je7mEL9c/8X4cpOE6ujdegUK8Rs2AQUD8RYC+yj7TuYUsib8x
gveXmIbrZ980P80BlOXyicWDD9HPUYqXHhR9G8Zqanz9/U3jXKhiGGtMD0uh+SYlVOqcLUy9aV40
d06ph6qNAR23PR4lNYi2hc+eMneTd8PUec2b/YyX7pIpVPerARpj1aNX1rsOSjTUnLgfPAblrdED
mWN9D7mDWPjZ6z5z0Vw2JSIBdVfvQYqZeIcOnBuHeUjvOZXlhsW8H4GoDk3reQEtHxfz0t2C5h55
+yT3nu2li+ry1ZblPrPXIWqsGebZdSYPL6VJcbAfegLRkabeMEyD8egoNX+gtphGzFIwN+4LsA3F
yZ4zcMqlZbNrNwPh1r9tP5m6IC1AExhLVaAYixYfOXfOI+QRdy10oDluYJFqVAIUIKQNHjxw14rF
j0LY0r7mNdelKNQFHdnI4nKoz8p2j4IFN3QRG5ux4YhBdaQayVAFjxIBeJdoLhDTkQd7TiDLxrI/
5Wx9X/zpsYBTCGpFHlQOUNlepxvfXoPzf7dQEFD9e2U4SG77fHWR2e1PoMcuUFiQfxsq9tNhyWMl
FN+wsveRR3Qls3ob/hSx/K6eMUaXfK7LJ1xUrDoBi8cXtXxzyGerr9KNL5mGpHm9hWKSrC8kXj5c
yO4tHY4CMusbcPiCYU2C9h5ClKjAuW4ahn1VB7eBhpRO4Wp5A4EY3JTI6mlusybuuPpBKd8HUgX3
179nD7uqggw3aGjKkrwW0L4UpNyoGTeEdh3oZilAdeCg4EeGqDcKa49J39xcnxxT05rbQ/Goxsl8
YLGLU+Zo8xjAyGhf05rHUyRMs2DBIg/lUt8s0IM/NgUoy6+3blpVzeFrZfd2t6RgJ1vAm4n7VqrK
1zoLzmIuNubG9Alty/bmYE5GmbH4L2TAH88jniiyHlisVtblhnUaQrsOWbPWAuqkwnmJcf5JoRbx
GKCCQs6ZtfMDmlePta+I3WAZKqaKY5knBOmOfP41ZyT8dX0tTGPQ3DmFYGiQumDKqvsG2uAzKR/c
HmohnYvXoOufMNipjldrakuhOB5rYeWzB7GohD6tohs/97Wu+W4yjO40WDCmfIQeDy3vS6+e982/
jlFLZgUm6gFtizr55frLk8pS8NXuK6egOkStsStopHPcQiEwAXlAKioQunjjhguYpl3zYeUSn8oU
sTN1oJAW5apZmiMSp/x0feINlqNzubWN26L7KFMPUcDa8DxS4HewSvd8vXlT9x0tJueixDaDucde
Yx1LySGWzuYlvt66qfP2v1u37RrI7AY22YJR7Vjl7hBBzkDe1HOyxR1l+oTmvE2FL/QW5BaGmt6n
wfzUJvS2RJL5+ghM86M5rijBPiu91e4hyP4UdgX91Isp/bCrdR2hlqNAMSwETHNxpl+1IBfISO3b
EXU4Gqj6cSKqwMHYy6E+Fhk09LwGSg37Oq5dk30FhU7XwbR4IHfCZgvu/Ikt3643bjhl6SA0CULu
XtVYUgc0sYdm7m+Rzfs4MwgB4eLjsfk1m+hrXlXJxiIbbEhHpBFZ2SDSx0NSYqtLnYM32x/OxBmi
6+Mx2JAOSSumjExOgfGAniPD5tXTkz9Az3xf65oHT4rLLmzwqs0YQOPuYgOezJOd66w5MFi1EwEy
ZLzZcpdHreB/vJDsNH7Nc3OosS5M4S0hmcc7CyyYyVxtXAhMC6p5bUq84f8saIBmLUn81wCa1KWT
vFyfckPzOgStUCEniY2ey7F/sEgDSRLS/mEysfdNuw5Aa7nTjF6B6m6vXy5hlqqDtZmm+Jtxf+e2
pEPQPDKXJaDzuGc66kHO04faJQeo1pzHpn3BpeMQthB1nF8G2NTqdJkFvXirhggJ8Na4YT1MI/0j
mhZvHJBqsstnOOK5lwhetQt3TcDDjWPnqgHSN1Gfu88Qjd26qRhcydUO48puOQuAW4k7t4Jok/D7
2xA0+fv2cp3wDZoxLKsq4GPEkICWq70oDH+fyawDevNwlrYCD2ULmsaJ7wzlgxPLaqi1jxtYZ9O8
aEHAAqf2mIGjMPY6+jCy4osPAenj9a6b2tZiAHUbUQ0+0kLOnIt7nIwTKJhXWyRPhiuEq0WBFGRC
KRigkZQLxKULKiCPwxuY/p8887f4cE3+qoUDiIiVHgrdMDu1P0Sp54pIhciDALHNN9bXMEk6tk1R
UG84ExagSfhvLiYZZ1Mq9tmljmqbXOgBZlA8i9Ogj7LeuQtEvRGEDVOj87g12cA5eLhd5FAyhx3A
5Vxkh4IWI9DySYp873UbMn1G89tZJW1id/gMOHuh1eLWgOBb+XS0OlQtXP+E4cXk3zg3639QoZJt
bsNMoTb9m5HpyW39+pC7RXGg0Gjhtvd8/UOmsWiuzEMXmrIdgjNNxup1Tn/5OYsaydyd7Wu+XPgN
shwJBmINBfQg2IU17QX2tXG6Mlmq5s6um5CSj3iHnUYBPfp5emxr68e+qdGcWXIrmXuLI8ox8bCk
dtQOIzTng337ro6pyx2vhBgCuh62NoRKF/cAVY0UHEvBBg7TYEM6tK6tAa+FNDe2RlIVR8nYkzd3
F3/Mon6UXmQV4b54rTO25VAz7acaa7xUzl2dkGdWhFvEdqZBaGdzarsjwZbuYheb7qfQv7gWPY2U
/93rS0jD71prnaxtKTrIHVMMAerbd4KVtwMQLEEFvZl97a/u92bHtC0edK6L53YyqgeV+x+y0H9R
87DzCqOjvxSRErwcmKZxgnxMRSM8If5zveumFdA82HNJ04IGCs/ExRnqgsDlWPeW/1iH7W02/b7+
DYMb67gvy3LB0jMhovqVvWK2lxMBuetGuDY1rvmx4yYVH33mxl6YV8fZDmIfj4cbC2tqXNuNrbRV
QVLBcCRUXb0seYB2zpfrk2KYeB3zhbcAF6JBa4aPu9CLZxfowYwRD7NPFk1vKpHus30d+SUEZEmQ
rFwfzO0vYRXlVn8q5bKx3ZtGsf7+xvJRUZCOUoLkmdYW3iPTtLyAuH+5TXIwRzp4xAKjZ7d1cjR9
TNuZ+7Ydm6THUveFcqOOM/9YQUTr1M9he0ANLDt4g1dH19fHsPQ6AoswWgm6zlsp2tdO8AcCXZzr
TZvGsX7yzaSRqptakcDnoBx+XDiNZtTaHApAKUrbvhm2eUNNY9CcO+Q4yWcTHguGtHlAFfXjkm5B
Fk1j0LZmAoFlW4RYeNaKLyv/Vtk0H9pivF+gH+xZZGOqTCPQvLtyx0Jacj2rTiQCmP9uxiZ0fRVM
TWu+zUiNq6uPs1FCQWRV9pIdyDxs1fYZ5kdHkBV54tPQQceVd0MWcuHtV5fTu6T/4+87xusgMsHo
uEDJFme7urw4oLOFGmi2bAQ+w1VHpz1DypT4Fl5pYhTCRyO0F8vqsyT905JsYI0NJ1MdSoaITZnv
O27chOynNy9nSNY/Dv4WyZ2peW1HHq3ChVQlmkcFZ3iwUZqB6C2OY5dtHE1NH9B8uAicwYFYOxQd
uP+KlN7Jscp4Kfj368Zpmn/Nc4dxZCmUwBBXQyKisknigUKxHpV+N8HA9nmAzoiWhuOoGPQLAINC
5WbVP1UD2+e3OlKstzPJ7dlC/ymA2MswP3Wq33gxMzgu1RyXpql0AgdTX0KdO8wIeCydzQzeu34L
Uafw37HZhQ5l1WdrXBOtfHH6cfzABit4tFHSfA5Asg+tw67dszfjY8G/P0ZGYQEajVnKS+eY8vKm
AqaxDLdSGmsz/3k9Q/PrGN/sM3LkQ2kByYITUV6/UtRJ3ypWJZcibZJoHlVyTDyZPNlDt3lSfR9a
gW9qe3QXEtBVutSNAY6WdD4UDqTLK2hBfHb57zkHwaj4gcMN5GvHjQPgu66CL2quDjToIgJH4pLY
0w92CrlQKNW1i3hCbN9wlHXx35tIzdkXL5SqdbBOpdfeSN5BET39MVd2HAzZrwqCrAcKxZ9I9LDF
6/7/ro1jUJr/j60FoUSFQQ3MfwQd8V1eq419w2Th2s7tFYlNoVSNy0QvRnroKtQl922Purk08c5T
PlgRprP9uW8g2gaODAj3WALEoBi9P2AYV5EP+aOds6RFgoUBJg+FTkApkiBuHf6YTLuoKFmoA82k
4qRyW2Tym3a0b9mQ0KPllltpZMPy6gCznjABjXDpxh04DCCX5nrghgv7NI13zboOMUtBrC8o71ww
eEAksfWnw0j8esPhTJ3XXJym84KrMwAstGjdh5qAhR4lZ7uKqzHxmjvXwQxqoQFTU42gcYBwPCam
BRXU9YkxBAudB62zWJ5lHVLUhSt/OuB1PVARXKpa3ORVuisThSFozkuRpC7DAsfuuWPRBNjVIbUy
uWHzhlikA8i8jMsghbZwXHfhOVzA6RgsHYjtUTkE7zqRUma3DUmbn67Lt6rPTCuuOXHZdWPZ2q0b
u4Die0DRumrLz949R2GuNBduRovg8RlpZQYKdJlan3kGXXuIXW+EbkPXdbyYKAtulTayv04GIuJA
1tZxoNWuxwcW/gcmpqgaJx+STcznRwaBFJ9tccMbLPU/MLEWL+lCWECJtn3Uh/ze68qINJB/hprV
hi2ZvqF5ctlOQvAJUJ8yxw3azULIcJWfhbAfyEi36lENK+xrDj1z1oYq8GE8tH8ay+E8VN6Zl8nW
Tcu0wuvvb045VSH8mVuUxXDg6hF6uEMsUZ22ETBMrWu+bNnd4HjKQut2L1G1MT7WrXy9HoxMbdv/
7vlSqbwBPz1EP8tZ3RaJ0xwS29063Rv2eZ3drPVSJ3egehEz+QusLyea3LuhE+EGl+7Li8P+Ne9t
FcRZ2hY4+KAYf/iDh1cZlXan69NjMBwdJYb7c9kudeFCTDgkN7M3+1/8bJb3hKnw075PaAfwsCGl
kEi4xVMC8QPHqR/8yb5Ns2bPVQWPeNoJvGHQRYX4++pg/g30Y6NhsxL7b+XhO4dSHSuWNEFVICOJ
PNVY3Y+gM7NpeSoxXwcSjl/KxjklZXjyBTsUlfsjp9UnV0EGLCVnf8zPTAaxLOmu4moMVHPyHucZ
YQ04ISfOqA5JVtCTg9txFIx82ueJ/0GXjR3vEynceBjCLM5ZmwPMsw9XjAFofi5aJWQYoPWq7KKQ
umcJZnNV13Hi9i/7jE1zd7tP6xl/UIC+WP3fc0fBk9cs3HpSMYQTXQm0rgcRMvggKsDoXTo7X8Jm
q9zS1LTm55BOVaG3vrxaSfK8Nu0HWxxJhqZ1XFnIw4r2LbaHXoVR0OQP3G323XR0XBmunox4U4BH
oHq56QoUiUzNVzBnzPIrb9phwy4NcVYnO6u7cmiXtscryjzfVcnDoC4hKpDTIYun+fN10zFNkrZR
c96FDDTvuICmPvvueQP/Rgs2b1WkmJrXvHeuE0qIyoEqps5dOdDikFXFRtcN51UdUUboVDaiTFe3
HZ7CWVjHLkGpdNM4h6ULLmoq/kAHtD4DSldF12fLtCKaL1dl6znArbhgd5/cb4XFaXlUTd3Oh7Cw
/fswL/v00Iqye77+PcNG5WmO3ZfJmLcjxzNOwJ+KULqHLq0/joATXW/f8I7jacdvyRyImmbYyVHg
Tj+qPp1oJBsfHNShBKdC3E7KI4dKLl19FFVFdsn/AVihjYvisOZ1GXFilgNjoZzhF9idj15pvWAy
4+tjM5meFlnquQy7DBwrsccqeRhg2VAmDXZxyGMEq1G+ORvSDCX0ELhCSLTZl1r24mhZyVbFraHr
OvLNGSQEbXjixK0c80PF0OvJqrZ4Pg2LrkPfgKsgGUi54PLUuQdh95MVVhdS4JY0MRQvOG0MjMoW
JMhgwTpWDVz4Kgn7dSizvKRuA12v+Zgl1s2uRdbBakpVbkVWxdO+AGepqF31inQw3wAoGCKMLkLK
Qi8Im7wLwHbFsTv160JU2dJ6gPUV03TwWU7aQxYSq49AjcOe1VAGcuMJ12QEWqyhXa2SIsD7Flgv
PMhNuSS8T6yq21UqAQvWfH8Ju576SeHHTlPaHwfPa55UINSuIms0r7kfLsVckAwL77P02PFgOXSN
FRx2LbsONLOb3p44h29jFfJoTp3bhqfjzsa1oztjJCyCGY1bYd6eKCl/9Mu89YLzvsoGC3WsGe58
RI4ErUvsVUm/HPmyPOHi8UJL+uJ3SGtn/A9J2tu2KF56FPE7GXJvDQGZiuzpwcNzgIREnkjJr6Fq
vl2fT0NI0NVGUb7ZNingAnE9yNPfymPZX/KkpaepnDtscePFQs3ihlsZLFsHqXUT2EwyXngxKtln
QOaD72tF2fWRmNpef38Tl1VtzYVAPXhc1wnk7zj0bLLIchtrY6bWc9E7dyOdS6oTTSoowUxRLr+P
SfKQMjvqmuDJqqzXfUPQN8cOJXHziPisVJIdiWozcG1VW2+spgFobs9oGdaqQ8QcSB4FufVsLeMH
1Yg+knaZ71wFzflBF8Fdm+DOk48fHMc+24nYyO46CLXvL4GOT+NhsFA+4m2euIESxyxwm+JAHGYB
aEfpnZAgbOknKiOS8uoyAzYK5iN3vuSqbU720M430K0KbgsyL58y1xc3fKEdGGr85RmF3mmUcd+O
ORvZp7rpvs10keeu67OnZVb9HZ8c1J9n43jXOwF7KuywfhE5yC5zHlgHF7L2T16XAu6EiDjf+iIo
HryxKb+6sszPVpDyp3oYsX/0mX3sg1KdkaerH0hSLLdAKzcRU3n3IpXAu3SVQ8oBydO7ZVzAz4VH
/Xy6H9BrMB2hmiUoSnWsmai+WN1SPXKoMxxEF+KWPvooqztwHIDTY8BtCJ8Kmn6t6rWq0mGlgCon
ipAPrg8aVihBJj+SbKjvhAflV9/vyFPhZgQsof14MyU9RN1ZKG+9vBOHzJb/WBRY0mEWv5IKqcUp
VyRSHaEx0Ezi3OSWd2xI+4uRZfm6gIkrbppOHsN0kRfHk8shtBYSRmnbFEernZ56qykvJKys+9yy
5pPsIZXTEpE9W3bYxSGAMpE9oc5XOn6O2613gdDFk7Kh3YNqs/xYj1N+ULy+Db3KOs8BW04Uqafv
7tQMZ6dl9WEsmvzYV0D1ylX5ly6MPimgGfCCTu9ylGpH9lz7EV5un+2cfPCUCzbOkf9M/eanFHl9
rzwxHu1qXM5+OFcxUwG/8bxgjto5sYvDVPYQsh1ww0yoV0Fu009u2tYakdYVXWR3Yx4HquYHb5yb
KmoXWZyKfP7Hmpfw2S5xOQVP0oIXjdCG4rbT3IMESjyVIDSEf5beRfqtfaQeRffxQnXouxkoxhAF
QY5VkChNA3m22dBEbl0vB+GhxttpOqTchzSN1JJ/XlwoYn5vs7F+qirVROnkvFje3APPlgeQ0IMK
99Ep1LlZlkEdpN23d8tQJTMeWmp2SOuRgypTDBHtsuLUzLWEejNO76dmDJy48jOBqqqx7oNDSjLc
ggC7EJ9xElr4/eKxPrgTpEr5s5iFnCKnpv+PoytZklRHgl+EmUCAxBXIvbKy9u2C9fJaQiAhEGL7
+vGc21iPdb8qEIoIdw93PDa+1mmUs7kZt7NiJptKzut1fG+2dlywmUjrzJWbJoQ82CSs8f4hwD4Q
GUWkbPqxrfCMYatfNJZFtGznxuh9G44gKISo+z/ciT5fPIWJZzT3+hMQgFr2LT7sNxGOat5PcauG
XbPORp/nZtt+8Az51WyeaziRrZHIEeYYXZ1sY3WZhpCE+RTx/mmlbfVp4RRzw+flhzyWSBXJ3Qp7
iETM6h3JV1tWxsQz5NVGaRjuRqeH73DO1CdCF83RqCGkxRT6geeb9TPsPeYoOjWtRDz5hKDydY8m
zZOjqGyESynrFOgdWF0liAQN44nvJlHN8gkrWgPLxTBwWqxLMGusuUp6Z2ui4WBpZOKiilKX7VZg
WDeEg8xP4HtDl2ufLhKB28zZxxrtZXPw3dwOhUiqKcwDyCg0bNURSVNmtKfN66Iy1ZSNmrtm72Mv
7LWNbUb3deUaDGubbcMS+RzDe6TGSO/TLQnncsCX5E4YjATP9dJx96GGdt32YjZJ9hh3WdV9Jptj
9Q4CgdZBxQFjYpU3A8L/zgsPV3PCrn3001UJn9/ilEZ41lDY2uqt1enQXKVsHH592ri5y2HT7v5W
gEjmN6G2nj0IGkAN2mYTf8eia8WufVbVooi7HvGktk1mc6ONrSNMtnQSjw4gPLKbN7BaFz/O6YPi
U1N5JFPRbrqmxnL7iWw4N+bwH1m3NldYG8+CfEy9WT5XRrg5ZSuSC/EF9vO2WKi9wm58ID5dJ2Ad
PW8qdWyw8maPIypA8JSFc5fOebqxTtwcQaE3Of63BeU/9oZ2P/08gYfL2YBYdlxFzboOJTzi2vCt
rSSNSlFjlN0Fmw6be0gbSeCxRxnFeWwFK+uqiz97FvWPqYwamOGBvvgTrY7S41bJZHhWIh7JzlVi
2Iq4DxQqzOKxMzePrb2OjIdZuYZ1K0oHe/E2dxA/ArUMCblRFuNWkqy3cz4444eS1ymVZTvCFOxA
3QKjHYgjzJI3PtRuF4bTaHISdRbu6lOLf2zRVcdgYOlw6KCCnNm5s9tQXwc70695SNcEbzqJXL7i
0qiOWlgZHu5mxqpUXi7DH1U7649WbZvJpxo/zkMqp478Wjpih8JUkQxAGAN7fsLH2tSnAQsK47NB
qJYrhnFtkhI7MJzlQZL6L9mkA3kcDUKZDzyOsg+nCOH4ghca5M2yJK+yXyd6VHPEkBniV3JZGVIk
y4WyeQAdala0EySTrIiDiK1FwqJRnLa29fRlG0e95EL72uadr/x8SsU2RkeKTg6PpqOru1Z2Mdhi
3kTXHRDp7mUuUtuyvAlglXnp22wNd8J2OnwhdlwgzxLKJXvkMXaiaIOFt09rbGyzs2mj2ClZGIp4
368z9ASqF/Zk4fRXvVVZRvyONDT2L8xiOSfHXZ7B+qfzffuWbWlLigWAH4dl3DJ1GkXgTjcCXPMz
LuuYa3xDEuxUUkmkTUof2iT3yNpob7NI+L23m0b7TMNk+d0lqC8l7Nd9UhI/bC9xErMA9TSzzbfP
RtDuBIgPLWsj52slRxkXGR+XFnhmRNeCktkiVGrCVuR+MVm29rlsKvh9ZFnwL67g/wHHmQSHLh9W
fBdPsHgiHc4Y04F7pLA11s9wmPTu2BOXfdUpCaNPxQOYohRNT4f5h3uaZciNgLS0uvBt07reIWtm
8FelbKL3k3KgyjLc2dFxaJDBBjNGGc7P5h68eaOJ6mjRCCEWWJKtvdo32A1la4lqEtq5vOMFMD3s
5xqajrWvhr5EkCxTRTu7OfmLMtdXe6aGQJzRhWc6r+C4EEJV1Gn1ncTdcJ0rg3DuKtWa/26zebCH
FDsM3Qt0T3LbV8vYR8eNp9WQp4aT4XkNB+wY0hkrwTvAdlhL5AslvkgC6zgW5bEC8TKLnoUYVxxM
zqyMK10OghtoR7mP+3uXiG6itnz9T4P93y5UMwg7KBlgTZJIVcdnWk+h9cWwDOuIT5/gNrkt2P9O
H7KmFc+pjtqktNgb9PkGE38NGDadben5QOtroDLmiyDCX7gShgiB45aM2KuMRxvWr2k3h+9DjQ7p
0CBdLzxklvb6URt4ueZ6iIUoEKsTOsQcTMkMTzunGWLFw9UHBzosI7IqqYrWnKu5SosRWikIbuHt
tEFaenf7u6LXcdO3bq1zD9h06KuTinoqv1jHUwqpWDXq0seIJYTFTLC0B1z/NhC52QZusa3gkReK
oWI0/9l4XHmR+RUQWbc1gc19OIbkvFaSoA5Na9/9xAK1Zt96ZDPiP+/auXTVzNuy70WE8JAtmHuV
k2yJ3TGqIhXtEfxSk7zC2WHvayZBUaSB6aovWqMQnoBsrQrx0vO6/Zo37PgUAvE2aTHhqxwfeMpi
mrNN1G4/+TiYzmgV0Nf5xqbmVCHgr99HFQ3aYyjtOhQzuJDsDW3GJn7H1CnczUk44vwbbWUPJ7CZ
y6LVc8PQ1dBJrQfmXVCfpnmK5DWZw+pu84T+9rmuR7EeKnTb8zEabGpvsIVr6AO/bzEeMYcIc8zY
QODMmmjf/LWs7chnNPKhflfYgs2um/Fg2QrsD+vpJx5sq45bDcYUPvgBXQ9dg/DZP6Oird7XY+e7
l0nDAW1foxumRbCmg7v0izUK14FwFN0rcyli5iUy1Od9JliQQO+IHM6rIyiNRUjXRh0mDtv9k2ap
7i/4mpvldZWNJ0VFwLHgWBiQzSzpdVKEmRt8OXBYz+5rWilolDNMfPssXGFlOls3k7u1n5Knzocs
y8VUD2QnGLR7t2obtljkbdKgU7XztLgvn3Bb5WgTdP2yuSnLXjq2+WxnFxGHmCWHJS6GLnbvaRNx
/3freR1CRdRXaMRM5/2RJjX3JXwknDsHqVi3p8SskytE5xb/qgXM0S4dLCZ9EU5meSBOjsM+ZVn/
JLbOBDmfSDZ/dlEt0+O4JRYm71bS8T+kuPgQuQMoGdesAdRZRI7xZ1knozkuEgLbslpk8jdesyoa
i7AdIsCdEE/FzTXIfBecgtBbWeBO7WSp40QYqApHlV4pVFsZ2vvazbsMl+P05BP8zqcEW+PxPoEb
bPu72mbcjiXlJl5zajYRFLQKSF3CWcxQTBzNyG3u+m5ZPiyyxf2pqnWU7LEsqfQBIMCaXFDifPgJ
jys4k/61I6M1BX87C/S9IVcQrndboPXPFrgs22uELHWFa+7eLTEFeJ/too3A7P7TyyiJoaDHrthy
ibKhiY4zVNFO/Wr8NLQey29ThPVtWJKTtBwms86YdzffFCSFTVwBlZHodqyeouih5Y7EWY5GyNi1
cPiX+U4M07TpHBFnlhK8jnaNv9CpiR5tW9/U8q/GLk1Qzpl1y35CyJc4GhO506QameZ8ReX4TrJl
yL4zOUTuxcvasBfTMUzRmowYsDIbTiUjihwYmo62cCZJugLDOT/iLbDb4Ptqgtwt2p4yrbv5hAGM
hJcY4U/VNQvG/oWjh5eFZRoJvqFbKbbtJzr1t8DREKbO0+Z3UQRBbxHDIwVpdl0/v6ah8dEudSZr
y86NU84iQ9lVVrKtypjp0eCP+4hdQ1MHaS7aqPnEh9Y2+dhK87QmqN67ZBlauDX3xj2skkG8Y9NA
/obVNr7EGHgbDH5TkAgFTBGn7zUK3BfqPKpeiwv4xvwAGR8ENDPJ5w5OXeOqhm6f0kU0Zcr6QBbZ
rKEURtVZh8fQ08kdJgRU9bk2M4t07smcaphQMzHQ136CW1QeNIMUxbjQu1E8h++V+jP4IcLkLlDv
i8BU4bPilYVqJ4n+1ZFLRe6jGVhUlPTR0xBbtuz8AqYztxNSY2FV2DcJfn2TDJBLthg55OBQEpBY
i3kq6uGnu0vjmtboPgE3PWt4PiKJQrBiiOKgRO8rH2RAolvSpFOOlIz4M6jHQSFqNe4xTa5zjLLg
a7Wr8XWLnCBGArhI0iY3GqtUF4kzcCUItB3RG9iVY2pPPDnjXtjefWyTYsNA0ZbrHDRHDNOt2PcY
Qh5Q790hk9Xy3+jGX0DN6mM8dWrXM2J3nIzvWZ/cRtdWewVLuLOpkcalWhWi50WOSl6JesBjTFeW
EwnL9xLtMLtRM26Ax6DqMCcMpwN8ySVN3W2bIlB0AW9gci8bqgo7V0Aflv4L48DTYgg/3Q/gm9iW
9TXc2leZriNG7Vg+pRJQWBM5Lb4XnLozcCDPCze0dcnj2r3QOtHv4Ip1tAPy6R2SPZLgNxkmXXjZ
PFYEs7duGTmEzm6F7rF7HOT9KMJizdboBKMX0eYMyMHLsoZdlxNYAZSdCtkvGNfMJbahkhe8muEx
6KoFO7kdffVmkn/BN9p8MEg/SyFFzDES2tfQm5oiuYx/I66R5I2eNLRrkUTeLEpyKKceF4RWMESV
npdIhMOclcnusaUVpprFf4hF2zJr4qpoBniun7txHT/rDvuWZY0QjKq4D5rFvDWsXMYYcH4P3CtD
Ekzq510l2tcA9eI46QZhJ8hwgNVXh2X0ZfpHedUDTZ3OkifPSwd+y0iCYalzb9p0F9LqC0m3L0F7
JMxGSKFXrj6nQJu2IPpvEb4vcDAPAxOvY7a8ECZvQ7Wc4wTDkqrg4h5O3avq2yt6vPe4Wm/CyO9q
hHiCoheo/991eswf7Ty++iX5df/Lgep4sZrsBd1M+4z77swSDAFbNH+1CfxLUe+6Ml0HWLu1w2GG
n2/RIQ+kd5j0glGVVOv7XqJMz8CF1kvNCTstKs7gP5Mk35RrgLlDMi5lUNlD04UXmCh+UClea+Q8
59wEH4pkp84lfztuQygJpq502bYWiMd2uZlCRBmAIF9G8VDTVoDiQj/Ju/nYjPjSrGcP9bpdMR4+
o9MBlFLJIpb0lM1VmbYBuhfkvNCq3o1h+Jet9Qemwz/1UiPQxPk8svIKPPSr4sF5C/F6sZf4b+xA
pUp6DCgp0rr9AY54AQj7QUJ6CVawRsa9SQEuF3UPlvz1M6AjlMT0WDXkn5W2gOt+VQxD8ETcKgtA
6I+CZMfFba8YGa4AJ76qNPvt6/GHEv2uEvIO+ANu3/xzrIHfBiM9NsldvKSeusm+ZW6ZCpq2YPEr
NiDUIcTuR6x3hgN3WGRd1G13mMfgB5bLNM+UDfdpHInjEkx5TOtLrMF+qQFNFLIs4bFx91tN72nm
wb4aYp1virx30Qr/lR5LXPbUwRcaC+/p08bHXdfEe9z/b12bXbyWO92BKM1UcAJci7qijlpWB+uR
ggLcwOPSDaq840MBrRfNl7gL9wucgsy8Odwew7eWeCJt2p/VLI+V61+TTR8TALwoMFmaL2vnCsfc
eUvEfvXdbgrHXxa2xYTNuD4QN4E4JLLMST4h5iZu49cQ7TVukatA/JUFvlV5+wm8/4fRTu7oSH7V
8b0C0fAoTP+BGSnN+9XvO/xbBAxNyBlsULeDtr68P3fYRl4M2JpgjnNh5zeE2F0W6KYV2AG1IbyI
I4tp5uzgqlodE9m+Dq55Q9LtUEC2b/KobX+FCBr0KdTpqU0PS9A/sqjGhuhanWsRPjvnvzmnn9DW
nA2v32kGauUecxYs7BCj35dz9SD6uskl15dG6FIwfehmsZ9l/QcmVbuUhjsAoZcsGxUYhhpXH7VF
UpmjrpYXJEXwAnBZKTteRhZDXoLxea7Dn5r0fW50ihkAyqq8Q/OVw6FHAeeZu5JY9x4a1eC6bmU5
bMkXisBLQqc9UFWdC2jTTsu63YRI/gK+OcBl/yQX/pit/l+mwu+hrs9L7R7jZbmxbttyJjHBaLMf
kD/ByfQ6JQZ/Jo/BvDwqQR486/4uTpYwcigFihQwwumziQUsyfUe1PMN8XivQWoOdWs+7JaeldrK
NkMQ5cAQajoHuZIoxMmQfpBuPAZp9gBfiLd7OK9CajJ2Ki8hcu8IhasQMem/PlTHOgiOUSuOAEQf
ukC+6cifs1WVadS9bjTdt6B9QdrtFseeEWb7h2UjvjzQ3h0o9nwh9ClEbcxXKfeinXiBEOV/Xbad
ers9t3KKCtS1l8brx0D0j2Qdjuzu6e63BvL+4BQNmGlxmb2k8bIHJnOtU67yOSbfTTg/Yar8qibx
Gm/VDpPasVb6q+u3kgU1el1UhsXGb4BVrmijxlyp6b8B553PQVHHy+si7adZxbkV3d6z5tQqthPc
niP0mk00nmZOTn1Grz7C7SGjrALOqvdRVJdJ1B22BkFDwfwEEfaHahxAefIQhRayeINRvUO8MooQ
All9iEQ4Oz7PQVUDEwFKCtltXFDcvve3BtXyCZbpO0xo114DjlSJ/xrJ8jwI+mu2jc3XZQa+Rc4E
SVhL3R5CYPQ6aSBdaV9gBfDV4YJcsvE0BUMZDxW+f/PERhxUZtYXJqdL0mDDgGxS4fblx3apLtiI
KgGFH41gr6tgB+aqn97PtyDSU+6G/iHop6sY2jOJw1u2ZI9YaHrc1uHX/cQ6ExXRMMmd2dpDMAJk
6aMzH+m7USNQliA8tZ16hUTous6yzRMTIbY3JEgzA+fXh9HJZOaDLvR75MGcNyR5kp1E+a0/MiY+
0Po/ZqhKy0JLFU2PVSTeeqheDVCVxLodn6Zjg0bsvsfFyxqNCGKHzC0R49+ajz94I69odGB0Ou4R
3PR37gBQzHq6WeKPFW2fZ50dNh8fN7iOwfezWDvzgHyWP0vPi4XF8L7Bh5F18SVahStmDxE8Mrnf
krkipeDkNo3sl6biNMiq2UFpd8SS1FFW/LtL8ep5EOcMmNOuA8GIMQ9vywy/10h+3//uqrFVP62X
iMX/4CaNvEM8SkQMPK1ReNRKP3XMHOFm8uKAjMhx++i74Ort3eaB6BPiDHN4Y9J8HWpbJgT6H7++
RUz9hzgzeCCmD0wANIti+8Gy9AJH8jTPAqTBCYRGLFNwTbLpPUjXd8fMP7grPfY8+I4z8DsoELpV
vxNjjgNfHpvBXsTWn9No2CdGvExt999K5xcn9W/ZLW9Mw/cmqT//f9B1bQ9blZ6nMH0cJ3ZrZhy2
MBZPcxqlB5gWyyLS2wf4acAPnTj0QL5KYOEofnir2Gy9OETY4rweMtc89pE4JUlV5T2JfrDmsJ9J
leabya7pMA15BywuyYDTN1KUsuk+cQFcgyT6PRt2GYPwt3Ht6X6D+UX9ZFWW5ABlbsTzD23gPFCB
i07x3DKEb7qRP9AtyU3bFYmXL1Kixc7ud7xvGvyHxp1Ms9KiUqcsPNTIL2VhlJO16XIc649MLmsO
MdFxXKd3GMTgFDaInm/aCCAlKH8gA3nfIY2i6cGCqGB4rhfMTTMCczCdvcD29LL2fVro1O7wMAiu
xewncAo3Rxs+higsoyesBL39FBh2VmL1OURfAi0IZi14NV8kWuIxTf80Y/IQqGQ8aUyVWNM+g3Xc
uaEj+RZHHDqeMLvyYXsDT/zPx+Zyf1zGJQdSN7+COcqQ89Zf3Djz/RJWv2aEwRbhTH55YB5Nbnys
P2Uv9G/fbe8CyAheRo/GkKGJDX4BOKW/0I4jYhwm73jamKhBCzZ1vZ+60J07XulDY6HSBOh61hPe
WpixtyaQ65HOYcqLenLmd1BbBN5PM57HmCWgXm23N2Msc+P0j0gSVgSBfUgRs7TimVQ8yuCPp/lh
pdv3/QJK9fpfzwJUDKu+R72eqQKcPtr01cj0fUBEdhEtaC5AAWSop9nXCE3BZIFBKbx1Sc11Vcs1
NrixUC9qC46fybDdLU18onPd3IdRnSvSF1g5CPZrwuY/G5RvvJiCjPwHD710T1NjgD7CfTeeTJWz
FV8frDED7GoH7IjuHscBkuMcBGe0Axge3JSc/M/M56oA+QA2sW6Bu9gU0spYYXrNI+/XL8GYKifD
+H6MgK0hSFtfSQe0eVu7MMwhA1zLIIOIQ0Cfg3RGy1+tb3bY38XyVO/r7mFajMryAR9iOcGs+X1Z
VkbLVddpmcDadMvbrMaoHXDNs3zelHhs5q7DREPUITZr8Onqbt6P6JFPtGUQFADJwggUM7FvYOoP
hxje77INO1pq3RCM1VL1w8HUvqHfRgxSHycdiDIJXgeK3VjPMN7pyVzU8JpJimQhA6QVcdx374Fa
/QauY+Emr8XIX6DdgJc/UiFMiTTe7Yyfy0Ivolda9MOSPqxVT8FFd3SGagP2EEnRxyL6gYOzsnm7
pNVPixP3gJnKXSrNk5ODhzTojXT7EGk4nVsHQihTCsxDNF5XMpBnOTUiuqrZCNgtIt9F5DZxw7dU
sTAPSvcu2OlxFOcaJPYuEWgYpn7CBRKb6jGU9eBzPXG7v8cI8y/jFpqWDCqXumyxX8sf42bSO6Vo
/IS+iLZFW63pqcF7vsVZPOxmR6Iellmdf2lWSs/e9+kbbFjUdQElfK0Sgz5hzoJz0jdyj5PflH1G
+IEi/iZnCl+EirB+QpskBVmu2S6aZXQGPiyLOlunQqQc/8DYNPu+h5okv/Pve6DH6x6xPMF3N0Xp
9+iIeU7aUJ0B1AzrvoqGDuPOMt0U8/zQi2T0ud2A6q4tFZ+bDxjLw8pnh3G09qhd7IFmQCc064UD
yVTjaaRazWUPgAm2HQx4pcZQBTeqN9+6tdCAC+XDNq0JQqeWdp+tGF03uqR5jC8+T73iRdDgO8WS
Z3OuI26LFHqVI+/SEqCiArzQH8ngd0k/n+bYFMtCAOQgYBatVN+VTZOAFdHRB4aFvsAPJfKGh5fa
B8eYZTu6sOc420IcC/6JiJl3RppP3Xk0aACqB3Ba8AV5QnP5CL+lJm8dMuWoB7DDOVySbI8/Gtif
0LK/a+ymAmivLuZ2fAma+cPpLCwMD1SxQC8TcHIFK3WwOnvwaa0KWS83P4OQJ2r5R9l21clQ56Qn
B7zfxyAk9jpU9YPCHbo01dV16CbWoCmQExSVPvNsH9n1lBr63aoIbp7iMFqyX1P6EMHHGfzNYxqb
33XQnRYd76vO3MwAlZNo2XMgl4d0HJIcvuTqWMVtwRuADmwLDzMVNJdtO+wRAQBJTAQCzXcNw7Rg
MejdlVxh4tFMOLOD4qUpwd2ju+xLQ02XswalwQj60VXbf/ffeprJwQ7zbwIXL+tRlXFOy4zPOEOI
1RrNYXP+GLhwN0frQYbxGX7auCtHDUoDsrmtB5mlt38tIW8KN3TZEngDbL0GHUJQnpY/c8D7fHX+
o8GRwV5k9zRCoNbpfiwcbEqWFMxReA8z8QIFekYA+oiLdDWiyyMRXKcpeUzXZc+C6NA2CHYKOa5I
drPjiuYneYO2+YfI9GelyAfsGAGiApCxp/v7z54Fy8H0KV57TU9tRB8DhilhlQCDlk7ZAk60DxSH
zEHPxBN1tXjah4Azs484OWNLFGCrdi9Ttt02IR8ctLWVwsTcxWGaz1HDr3jNbzXsOAa46+UeYfOI
CrHHbaoQxTdmTzP+ZtJmr5tI3gSlj4yTl8qoh16OZVyDVoRWDQqE5QDM7ynAU6fC5EGAVXbHL/A0
2o9E/op08CTrCol+y/n+G00Mnlw6+2pif3N9+E2jYO9J9g6dHaBjCdlNO5WpDDEJk6L1jSoZ0Ja4
Gg5wts/NsnwC5RKgmqEltPEBTe7t/kSj0T7xtDnaqn+M6+YvvPwhcNrKcHDPY7qR3EM1APPxv7DY
LYes/gS9cehUfSQxhGaTF3tD1LmRS4H5+eir5yUWn91d+kAC8oeF/CWe45IMQ25q+3F/VSDDfAlN
ThlzW4b6D62Dx0iYSxhFTzGrCCak8E8MiuL+fxjgqksGsJWDBwjsESpLUEIWDRfbchSHB8ivy7Fa
jmDAUJxZvxYVFDuaoEZQV9jqBz/is4ZtUxh8BEyePIF0YgGAjDQ3+nsGBEcNLQRuABLgmJvp+f5z
mHS4QjWzs7y9YVJ66gnOHeylmgwZki4BgQCu//cKv4eRqzICqwuPrkJ5fxGQIzRZUAjnXgPGK7RN
bjssBm7AEVnOOO6gRqZ9OPobinkxTBjuMwCrgN7QoAeHrPuNnGj8+0Axc61oMWTm0db6H12il7D1
RZwtpVTm1z1qMFgNrl1gnHI69VH1pxvBCi/92UQ/Y6Ce4sEfG0KOzfYrZvMJOfd4jtiGhFJ4SL4C
xKSwMdyTkB+rFBMb7+1rxvURZmbIB0tBQiRtcX8K9/NRz0u5SaqhDw1/BrMd7Hw3OqtQrzr9d/Lt
e9Drm6/uKZxhd8TI+t//fwV4se0pEhFT4jHtifMwN4d65d+4vC5YWfrNhcfgEHgctFb5fFRtznnz
Fxobe0nCRR02lR6X2H9BrOUfahesf4NIiukMVEb3uR1rKFyqmLb46pze+zRcz2Sp/Jc2eKJtjSsm
zKCnAFkOqmMCJTjoAB0ayN94VNsFzU92I1OvP/gi0hO3a/1fBUlkmbgpfIomXCOEBSM+80nO4JX8
HvKNDDf0mj3FlBhg2JB7hmkqEZIZLp9EYE5qRHPz7biiHwTl2cxgaFQPm6AV434us6baYJVA8FAi
tKJxOqTXDeTpFWq/bW8cpyc3SFPYhfI8dA58PJirwxwZ7F9ImUBlpOJzj6Hvew3ToQi3bTqtvlK7
jNfuxGvZzxiH/K8EXPeRkKHejp2uxIuspjcDLrL0omE+T2gAxO4eNQTOeNpJByHw2sbnkXbpSW3N
ZxdGFdZot+5DAlVFbBzqsao+/8fZmS3HrSVZ9lfK8rmRhXkoq8wHADEHyeAoii8wUqQwzwfT+fpe
UGZX32SndNtkdo1XEsmIAHAmd997uds1j2qNc7Ea861OG0l/MbVLkg257xZZ67felAcU803UBLXm
w/5WfUruse+krU0kV1b7gnc80+vzRkyJuhHCaHfeLI1AN9Doxpb+0dLd3TdGEh8s5NahkobC8Jvz
i1dJlcQqmKt4mMsrUbkPmaGdBwv1pwuEnozAdtI7zTf4hP6c1afeUD6EJSdyiaWyn2ulZpPNq/ux
7ZPtMHLwRirb2282p7/QLcStbXTiazdkXoBkcNWDUhsu+v47meSXSK2uB1GuqaTRC9TF/OI46ovX
jJRZ7IEMdtN0O0AeRF16+zxRD0RQ7D4wPp3TXIr0aKbWZV6mvVaV3IUJIca0c53xYCnqk+vEg18h
qDz1Jplrpx+qAFnJqc+s+9gui/0ycHStPbth0RqLkGokAPuWH1XL9r1Qe4eNS4pdW1nRXexYz1Tv
hnDqi7WcpxiHMq/lLmEJ8m1bvhraSJ4XucPE+EKUSJicnsqJPa7SsWvPdnycO3oSNoPG7ilJ7rTk
pgM5q1WgFzMXTfAWL6b0x9mo8X0s6qNpFzcEz/ShVeNXcLlFMFCR2XT0dvVRflFEz/vbfp6zrYhn
tG197WFTdYmzFnHXOFbBBr6UvuOYZ7no95TOWh9uz0us4xlfSabEOtY2tYyjkqRfUfje6qX9loiq
Qd2uBRa4CnJHxJxykeTwaZu6VO1bmujfOme4rwqhUGIjJGHK2KHpNbDMJvc5MdrrPF2KQJgeD6BC
nrVUk3aG6aAEKu2n6cVBctmh3Ga35RC4pFzWVpNLx3aDZis/OxHn8SQfnzUCMmcd9RTHr8dovHBw
fcgo9yJu7J9LjOiIFeQFsvm118VfwQrnqCfdZ221JEnODnq2HLVaXiGxHf007x7QbuYku9YGrSqV
6LiKE1y3s/OMCKU6ZgtpiNK1yUcWx2JJT2o1bpekPWDcuMtbeWspFbbTqTNRY1X2ufe0D5BxnR/1
hgd7CelzQYIwdNbzkjAisp7zvksWfTObFNGSyOO5DaRmwYHyWBt1LlGUOKl0/akoG92fOjnfkYlO
njV3Sa6aOL+eWCRrI4991xsEwWsdsH6ecj25rikN42OyLYTi8ZUlxRenkIe+oAjclMU3y8h2lced
zHKWEXtSn81lGZGLu9TXHPkliuchrE3H2qrEl/4Kg5/czPBJ3R50DQ+HqRxt03DJ/jV7XaBsmpdz
32X7xnTPepLvpIq+V/bxubDiu0qz37Sx3RXuAJvPmTsGl8Mirjyxol9VrrvzON30XnnoewWnq3mb
9NO8paXZyKghaTB2iAvbqNgLhwJfPCAc7RMv1GPngu/nkVv6oqcs+E0jw7JsbqN22DQWgh9PQyox
GdystSI5jMdZsR10Q0O0WWnDcbQ8yYoy14zAiyVMH/w6te5i11GJYQ18GmlFCmmcP5DzvNHj81pS
fCyTOGX95fzdk9x0dfIQVUbaIrbnd8fujwuGgazSTlB875Fyb6F/Brkd71ZYsJDefiiMNztSUX9O
HGengkPp9LWe6y9eXV+7g8r5QC2e8ka+eIKSBTWN3nfgzDSzuFhzwfDCcVZXKsdgJ6BdJ1m5u651
9i11y2p5HdnYWXHYQMxzRrMAE46Mt9yWrYqm/Fz26N550lW6ncsPkZvXwqFrFS9fk2SZJM9m3qYN
x9SBE8jinTnCxfTvhvoUINgN159ewRaWndF0OwpScNeghE00vvyvyEZyL20c0Jo0LEZyryMicxab
zuu2sZ2d43LaKgPanGUKEzraj0O21+jipmKoMXTtVjXJRLoP8XId5RmLPB9TV+bT+uGZKmGkdJt+
eab9dqHPlHoZzqN1V9DwQeoV6R/A2NwbaVRbCRi4sJ5yczrQsA5pQfzed1+4ZJfTv5ZX22ntFQUL
ahL9WzwXYVe610PuMta7gE+hVlHgroyQtDtG4ARMyySqXm7ngXA/eeFPusnZXeupcFBrMRwOL9c2
rZK9Ot84WXplkEvXivyN4jRZIG2+zzmEDQGKS/emQl/x0PS2rRMWUYOnxPhVDNbdgB8i4850gvw7
JSHNjvxRS/YYVFjnaOpHqSWlaKy/pcV3skvPay/mfCL35GHUFtSRe7IqszDQjnZUKcuKeqrcdtVW
q/JrSy6Icjn8yjLCeV28zGr5bg36WWWX5AWRum46xupq+u6t51J9kl3EPtcFUZNsp6k8kV7211mA
QeOOnXxn99S6ElX43eA1rB6lLywRuHK6HWN1m88KIpKebHyzZ2yoZrlHbBnWFmJiqo9Fld30eXY1
mvadyhuRlpkLbUfd94xZLAQ+c9ErZR9n4y7Li610qODSwk0x8oupZ3fOPJGTxLLMjs8+JcPaHUjm
Id/bRkrRhJmihJU5XGyz+IJU/GB13ZkbgV56bSrNiarFHeAs9GZi9+jDXN25AybO5VkDC+KXiDFU
AjbySQjG7eXEA1/s6i4ups00eaHUmotV7Aavf1kHkaKlm5x8cWyQo+2e07UHUKL78zB+rLwPtQLI
JlVKe+KBx5ihcInUs5proQO7cHa6W/rIrczbpvxhAIxJt3iUhEmusbT3t2n/pBruZey7a3ussD2Y
Z9XWTxPaYGTR9Y+pp5num6eJh3UEFDPYJXse8XQ0Lw1LkA7vfkVWFbpyV/VMueVO5NHOAb1hsjDj
zd6LBlz92C6vZjbe5NawL5YvhccBZALOzkBLOS1SqKiWq5LpVo7sk5ongNAke2CPtoLSv5Y3JicM
vRNhztUTxAQF6cW57jdmm/gSZJmmm1s3FSj+a5T2y2Fuyn0NHrK18OI1QUI0WUZX1XQtEcIkq5WN
MHAdSLjy7nIjPfCix0kpb/LceYz7Zc+pw1dF5PfYGhHtHGtbPY2zeePYyhyYbv+wZv8AnPPoM926
5EkUKuPg50u/LweOCLpGX+sz6ahXMcpzycclwc+RNjr0zuSbidxU/SqcWh6iNbQWqvbwY8KtBM/O
yp8dpnxp3qozLenjcuuySNFt7cfW5JKGVSiajCjFS+REHrpxnMQsXkM6f0cURNIJfVzucWaPA47L
+5ZU3tJu11/KRI421jvVi7HJZ/2KS2g4d/Hghm7ZTTyntbSElOOiCaac9x55I9FBj6p9OqyHjTQj
E6qRAqEnxwIowlrGLfycACfaczQ121Yvj0LJd+uCriYvbWziGXhfnxMr49X6TOhdGjikxu05JRY2
Qkbuunysj9iq530qXzUy6+v7OjYRyforJl0IZiva9Mm8BRp0ntvtuqJwhyuEZjmW6Zr2Z1WZn9NW
bJqFtm7VU8IyO8HLW5fttEyvM5E8crlOr1IRhsTa6cGcpjfxoG1ZI8qy91UslBYbBGo8CqHWs+tF
6LtK4pYaKcwU9K53iD0n8FpnK+mTo8/uNuucENETEZkRIgM6cDUDurBg3S4zmT1ak4PHoGQJABTt
27VxVZAeJ5raz459v66vDcDJIWvfW6mdOgc5FaXI6E5Fps0akjGwWENJVuy6BU9m/5RX0U2e0Ul4
mMP1xtfUgbyy3qwfIDebkCGvD1rAymjxP9k925W8M5r0kFFR5V/Xx83mi5gzXGdOhzJxXcckjKIl
mUjFGD62mRM/iYCddE0dQM6+qh39ziRIFNlIQqs6S+6cZJAnxTcUgJQXCp8zQlEf8dJv+QhD0YWk
EAkZEUsv2C8MjorehX5sqD1aHpl946HjDJoqOk6NN3P2hihbUjb0sZwYJHw7EkBV8ZoW0yttCx7d
3vvO2od5TDHzIJPiJoNrGuD4ooelzWQ2I0BOg03xSYtcsoHWrh6zBIRKT85uHT+58zro0bOu2g+t
wPix3kAqN2ERjeq+opBWrC+YJIS4hFkP3cpjRUR8axryWi9Ir0iiOMssRCDbhUm2qu/WFXj9Pu00
H9Wx+uiiqfqmFurFqWcqPOYLDgbihO5+1PJQOuNdPS03IEoutal/s0ftaCs9o8KgbYtSDadimLDV
zO/rMKF++z235Ct0Ve5t4r6NlXo7Via5O4vctlPfA4ist5qs6FtjEDFlnnK7jkYKubdI/c9jWX3N
M/k1NTtOBs0NmPINSYUtN/EQK9PGKj2EwdpXu9WvcWmcOy+7V638yrHFg0Lp26QugoBMecjrEf9w
k95qkbecGtrgbfF/HkXTPseZ8TTl+ktsGndWwUEgtbydqoPyLE0tCXVzYsnx2ttobC/lZF5Luz87
HA2IJ4AitzpvMv7g+GaO2OQl9iG37DnhFwthq16+V0P0gpjuTLiS+RgYHIBj1qoYpVqbFwRG67wX
tT37RtHczPa4k05/05AYoKOPfos4DwGa90Hmg/4sJLRhkpRBhzPFx570qqlp73f1Ql6nEdeIsQw/
NusXlvYHHW7/hsfx3DtLS41Bf+5145ED/MW2rLvJrd/iegE0U1TbUjobLnmjkpTVbechS4wbu3a3
vZtuRpfj7aS/tKrFCsNqxg5KLrcp3js0yoh/eiPUdNpjTYI0EFR9ORffRxWhRttH3gmMyvoBCyxQ
NmbcKhUSXyilGqt3p41G0DCLbKM4bX8u5uq14WbkvbircX+JCeUfOs3LOoMdm7LNNLZB0RpfJk4M
TU5Ysy5E6wJM0c6PSmbOZE11YJjKN6NZXVeUHfO2eG0QFHSTeEmtuQ7Ssn+ZrfSNzE7Fzm1RgBjC
vre+VRWiFOFiMupMbdfb0SOukCcq/9vapLKtsqpac/VcTy0sjF7xtaU+1p13yxKPaalnvVW8OyGz
Kw5nT3YTvcaxi+NFkUfXHREiW/fkVk5zUTz3qIKqotobwjnBlOCj81Ei8ubqkh5d9etA3Sp5yhNv
G6n5Y12g50IqmgWAQ/DuFYdUlbiiJAeMRk/uNINFChrWPa2+EI4L9AdmxsImx3yDFehZCJ1aYXa/
FPLDTcetncllryTjtMUuhVgHdWHrS7dpac3GDp8lhLpK70YHAS2b+TU4ePfjG1ut1Z3EE70VPX6l
SKOnrzXGaYCMuaTAP9xBjssvJDJQRePAgjBQTXuPDM8eb2x65xQpUrD2A2szlwPI6Qu/fNVadvxu
dE557JE/UMaWcju3SNHsRr2xASSf82hBOL4Y6MZia/T1qRr8wiXI9TItx/eMq1Gr83SnZvbHbIjt
aLVvbePeael8aDPrLkoGa5eR1N0gYi9TX89YfWPbBvM5Fzbgbxhxbuuq21LESmBZY/odG6WHODiq
rv6XbQ+4fyOTkp6n10Hc7L41ciJXZHd+3CpnWSa3GIN3c5EfmpZaYHmtm93Hb5E1Pjccslop+sZK
gXekpXukOkOYonvTn0AvfkLW+NFq8A/okUIVpc0T59Uhdq8QFZXN0xg5rE9q/vbrK/gJgOxzv6E4
pc/QmKENlQgGNZtyu25fN8znlQuzMmF+/TY/oajoFuiNP1wKlk6D4tkMyXvWAuojV2pZ/AnA42cv
/QnQ4uAiwv66XgGZG7zLsQ7dpHfC3/vgn6BJwuxrpy7A5hYoLnwXpqe2RL+HrdE/cVlqqYLoybCX
K6J/6HX3pkb96P/e5/5EZSkl1al2KM2NSwPcXT4nwreF9mcsJm39iP+GWqN/4rFIRHpZOjLp8rKj
GuR1esMJc3RgJSSL1VYbXCfVF8Us9REVq068Owk5YY20J2DToI5LzIoNCoXfe0yfWxS1o5nW/QL9
AgkBwrymwciJwOFPyMzrKP03V/u5MZFm1EsSOTnNYNuuFGS/ouU+nfT5rCNYzLa/fmI/me3aJwCr
GNqMLBrgytK9r4g+SKZiDVAfDOXp12/wE8zNDzrrH+bgsmSk7RIJYc5cazhfiV/IA8TNm5q8r7O9
IO3w63dap96/u1+fZntbEfTQ8hPOZBy9NVP5VevcPyMm/oQspa3v+YerGCoH+nDCaxPETfWdJHNs
I4KGM4HVpAl7Ko6/voifPfRPMz8FUGJlyC82iVK9mLhBrbY5dPH4J21TfnaPPk1+w1MXgz5XdJ/E
JQjtEdzKOPwmzuxHy4s/3CRILP2cY9nb/DjYrfcomaw/64T3s0/+ae4vUtMwHq8uEEd5Q9oqQi0u
zN/j731uRoRcby4Ni0YgPf0/Qqiz3Ze+qezfgxx/bkQ0LoOjDfO6ozZacq1BIQZW2vzJKvGT+/K5
EVHSGMNE9YwBE02ntZEBsentr8fiTwa9uq4Zf3iewyzVKLUh6Ws0HE/MjuqdHZJomDAKthaGfSw+
v36nn5wH1E9T1xV12yga/Hw26PIq69KaAv6IsJSY0acCgZuSat3l12/2kyVP/TyXLc2mLUACtw1O
IL1XtK9TqxxMVUuDNZL79Zv87LF8msfoMFTPVhtrUxhOGzhI8Af6Uf3eIvG5L9EYY1KSdMKFeeg9
KSDCqlheJZ51+L3P/nkXn1NMgg7dFOt0CpR0vDFxWvz6pX+yvKmfZvFowy5wXD65q6VbFVUc/r07
Jet/68Dnfm5O1DV1ZltrO2zIo3MAVCg+JEWth7/+8P/+mbqfuxG5i0Yjy4hO2hlp7M2aCNJaaW9/
/eL/fgq4n3sRWZZnY/CDhF5MQ92QGI+s6NipSFh8o6nQ52NVy9FL2toc/+N6/vPb/F/xR335x97Y
//2/+fu3ukHtHyfi01///lCX/Pff6+/8z8/862/8ffdRX7+WH/3nH/qX3+F1//m+4at4/Ze/bOgL
JWg1/tEtdx89IpMfr88nXH/y//eb//Hx41Uelubjb3/5Vg+VWF8tTuvqL//81uH9b3/RHAbcf/7x
9f/5zfUC/vaXa9iTXfr6//zGx2sv+GXzr7arqjQV0g2Myu7aEmP6WL+j/9W2V4aOa2mWQVlj7TNa
QcVN+CXjr66nM6lpmqSR1V2P1X09rN8y/0pyRDU8x6HO5xouzWb+zyf7l2fzf5/Vf1QD3o20Ev3f
/mIZ1r8uXI6h6rbr2a7rWYarWepnnutiVUYHaco3S+PcRflwHmvHOZEKT8sOoUqeV7SQSLp9BY3h
crKGQVyWtCwv7uNCZs2l8Lbkh2FOsnnViap+S0YudOekC8u8j647EwG2Uq+RH7yqnjqzYW/Eitv1
s7r6ksZTi2yzTd+0SKemMxK3Gy1cAE3WE3lpkZx/fBEAN865WKI9YqbDkKba2QaGEyZ88eWsT7RM
B/CQ02QbJU5qKhtr7HAfzlgRf3wBp0JOXU+rh0W+UL7oH43WnC9xLN/nKpmvpCvtKRztjtpfbidn
VRH1lYYx/SiwkUBhKPf09NFuFzTPt407XmLkBafRNRbgWVF8RfoK0BQwQb2zin2KeNvwxaxHB0Pg
Mu8oqBNaGw8zulXAyF6/rTtEzGOeHmOdUUHu205RySYIsEplvlg/PAd9eVYtv/Y6eWmKOvrHF8tI
b9V0io72fANr17tqItW7Qv4cXf34a469uZfiSiO/eHCc+RoYVX9V/c8XzzDTK6RdUaf0JKztR8Po
yWfis3lOrYwqYmkXmCyXzEZ9kk3vDMwU+I1FrkstanBuStS9aqtiBP3HPtbLfKcvyodNsfeINoDa
RzUoh3bKxovSpej+Pbo+ksbYlYhtT55t43Si+bORFl8tvWsh9DlwnAwZX2Lh0DTQo4eDHydOfVWt
iSClzurrH39aFlFfIwfMgmoxP6rBG0+1PQSeMNU73O5XxdIOZ5HCepxy2i0MlqBsKdenTm687xHL
Osa9UOJpp+jTo9JlIKCW9hzLJQkxATAs50x9snQS3oLpEkaURu7HyIAF0SKOMMzbsZvwgGIIQyRm
1aTyPegJKHEz1dpLmSL6mjUYAwXGSYnplQLFtBNwNJNWI6iUTR5ONYmvla2gy1VojiF0g6kc9kZX
BNWseifIcKvHB0O9541mGFtZS7IdxVrrGq9plgOywvflv3U1sgCwMkwX0Qg/lYGlIkcD88Pb2msk
0RgpTLIEo8Ta0R7pwv2YqVvVsKrtgn9BWBldGqdNMk+PE9n1DFYSFR7jqfNm7CvgJPwpvgW3Wmw8
Jz/nBmJ0M1PvjUE7dzZgnzG7idSXuG8OVVu3gUk+NihreRaROCoxykIVKMquR46hV+9jLS8jc8S3
KJO7EqOiXkdXEnu9H1kt3kbzO70sahhw5LjaAk5F6QXwICr8z3mF3FoktOxD7Yg2vutKsuLdccBU
hdv5Giypb06uG6KTuvSZxthCHxKkKMFSpfni9pRbI8E2rkbfKWRqqMJBhSL94Gc8hKw5BTB7STes
taRwc8z3zbLc2lmR72anT8NmdetKKx2RfPQPKrrGi9dY8Q3FDL0svOsBB0hH+8gDnZ2fB+k8OVE7
bzpH+VbF3xbUmyT8SPVrmXFTUJbZIIeRwU3Scl1Z0tenRPGeXiqLQmdFMnSnll9SRH3HboDopmur
LSlfNsJphiOGktUhrpt7FXecV8hb1WAGiDHOA+hsjyQvcCsVCJE1ih+KiTShsPkTFvrx2KrOlqmy
+O1Q7HCJekhpY+58Gt138EeoJXGZo2tXQaTVcSgnmH+DWRzqKLG3miVCmKBfE+Gp+8gjRZxF3+Il
Hah45vvEKo4Mkpt2tl88LRke4T6sqMO1tEjC0odKcXaMAm06YJKpiD40M31M7fJGcR/TaHTQc1db
bGUNKWgUNdbSPhpLele8QYcZ8YqurIjZDsiO9bsyw7ldqucJ/2RIKWPxvQjeBGaEu7oQ5nHtlbvT
dUZ03bUsH8jqdno8IyKM6l1qSPyT/YDx1WvDwcq3GCCTj7qLXsnOBs2owwQ1Ri0UFt60hTluTh6N
B/EAXnQjQopoIaZ3KmaaCgMvUGX+qIg8Q0CL2QLmSzAboBJ8C/JAqWBdB8BxbDsrOzYWzgOKiu4u
BSrNgyf4rApALtAQk6u0wgPu9VqxA5YVx2I+SICMAfAe+sxPb53Ri5tuGummBUt1iwPjqGq3c8IH
peLYBiPmzDbX211SU+HnOYKOSdOHOLIpxCJhS6a2DWqc6SM0xQDAYfek9HtYUjZiBWckE18+Oh16
HVTbUdy+dMUZCCqgTYi46LIP8eA8dVjSdCPV+IfkSy1QcxoSxxqEUMNpILW9Fvm5WAEZqjYEMFDr
vWenAkR7t2khD0A52QkYDCx8dIZdtGTZKFF/0yqU/61KrPCIbKM3cld1Wn+be+lWKxA5KA5GDfht
zWUEKR+mA9ARo2h3rdE9ZwkS2Nepd56qUrXCWKfkHKliVxXeh4ugb3CNdxFbEtJ6cdeZ4oCbUOmi
ftMWyaXgdRcDp6s7aNgj+ny5UtUNy3Oy0ccZ7L9LKdNzQKSZDrYe4JnOydDmVaSRfs9N+7s71o9u
kr6bNWFyOrkXfaj29qLIkNgv3mRztSuXEc//sJXWApWGVbVPzIc4H3bLjCIzoZgPfm0jBmoPmNd8
8IiPpRUFctKuew0hqCeeFWRFIEnyB1iADUoFZwpw5ezi5RvrkRpGLfrpEUya32NRKgW6cN5GnaZ7
fNoU9+AHdlp2pzYp54oETVY/bufEjU5Ux1igh3G/5MIM6znMahS8MDuu3EgB/ZFi8pvYef0KyzN9
0qt3a55UcA/2FyTIyY9XxZv11rj7Dg0aFvR9IfJnzexfxsJEpLWoyNURFAZzBbkhsRTJ1JjPD1dV
rCdb15zYIlN2DMOdHL9Zyx5VgpQSuu1jrwwQ9/okaGOV4dQ3XJ1W1tjLtcvMoYSZjMzKRWngecmb
Eh+ycTmmlA5hJO8oXe6HSttU+nyk6ofuZoapxKRTUcN384OYuY36TFtWTxebgrkZLKVypqE61i2L
JjKdq2xqC7sNCs0UQwfbN4aXeZuMSh0WbXXRUuM5ntFulJ7Zb/HU235vApYxDdP3csfYCsuVd/bc
3afyRUyVfFdMJgKd0vw0iqlKuH2Gs99FHQY7OTJd/Z56r7pLW4SNVu0qYVMrA4dp/T5hT8Df+qpU
eIWFjqExb/P81KVI/kFyuluZM4xHSUXO4Jvr8sroKd+UiheQFtI4W9bvzajAjQBrHCyyO1aa9Rr1
+mXSJWo556jWELvbKoSwdehdlH6LOwXRNztDq2ArxmOmPIFqpGKI8mOS072RHHLQfpvac5+mubqY
SKA2eMcyJI/Zo8BI5jn1BkRw/rXVDKp8dRzfG9OE+dmjOo3YQniafZrMHoQpzrfcUc1TWajWTsbV
F1uUN3Uq9J1dUK5I+2PPxk1vl+gIFDbeyrn6XtffdLXVT2Y/VSGqxWWPipyS66QlIHPllV52NnJF
hr+NEwpE4EviZZbvJjZWt9hePck3o+YaYSU48XQ0hHcVqztMMz7TPH/R5lM9UiWsCm4AoCga26ZL
wFaAHxto5zWIXuG3AA7BvupAUk0lqKE1YsFhxFN7PJiteu5cwd3TI3yHbrHP4vyqUWt31w/iNk2K
FqTG8hxFRF0AEGUwzc4eo+Z3S88okrm3vcMmm9dG2EOl3GZWTXKVE0uPguNSso12jdT2jedN4NfF
K6EWBPAcJEc8nhRNhnbubodZR+8AKegK8PTZrMynpoi/T9P0lOq6HZBADPuEZbfNJ18DkeSXxrQv
MK5vdNcy9lhrAyCeTdik6ZuXumFh0Kt9grvsVwJ7pdYg2Y/z5HHs3YK12zv2irw387V8PYjvlkUJ
lNVhnXxJHroJMHHPehsK52qSuqQQ7IVKNpOeeOy0xuWom7xhKGuZ0NoDG3gDL3UV8wt5Hw9wG6xu
TO9XIKSuTc45aZYb7J8sGxGgYNgalQ9mnUgV19eQPtKYeCMxFW7LUe6VeXxRTewD+DcTPxkdyMbj
uMEDcNe2usMl4fksz/jxAGANc3uDQfpW6Tsyn9Id79XmCBgcG6dzLHUIGy5HVXEek+rWaewnbToQ
UreBiGxnLW7XiKMlFqlKZrty8PStknQov4w9Eg4UpKQkr6fWdQKBG98fpmXlngE98hozMCfniZPi
HsrrU6aIg+VUl1hRL54cnnXRKrgB9e1qC992VHE2fY+KuC05gTjmUiFRsJ84w0GvBJbLkSX+XnaI
eiK3PmgFa3xd37N3WfsC9x7kH0TA45VTG3LbF/TnmhAJMypPSzGgkAV7w9G5rY5Vn1bHVLP6oDKy
PmiTRd2XY77jlqE+qiKItYt4h8Z4w8LEIJb17JtVt1OWeae0ePIA4+GuXpAcaOUNnf+ScNK65gTn
SUL0XbryimcvQ+gcJTuQCFGxRKw+DsK6AUo9QJ4VVVYSEmWPWc9SOJVolJaXxW1N9qW6ggSznWxg
b8ts5uEcy3tnEO2mECNBQpYyhGOUeXn14lVIZRuXyl4Xc96Olxg3qBcOJbQ39yoBTOC3HU49cBnH
hZvQFdFJaCsHpMMjSXhGB2EIQ5FySoUZlECJjkKzDiWueJ9z0ZPMpruxhr9nuqesnUsaYsePNcwo
LJAx9kh8Fhojx9bYz2JVvGtZ/N7Z07AzEDDi0dUnFDrMxtFlGeW02yxVFzozDzRt+jwwRb1RZgvA
YCwhXq+BuKWBB6NbddCaAk1Ty/lOK+bTeq52FYAO0noTbbvNB5q0mGP3vOilxXHAukYCCpvFaJEA
xc0zGZkqMMCT+WpzTTKyCZHaBLFhgQiMKogAQ1GHzroVgFt7pgnBAzudfipiCP71mca4sOX6Fxhe
KTpLA/JchkLDAhMk7Qx2JO9pZd55yqJDbCvupolMSBtfzKxZNl6uXHlZdXAZ4cImKRSlyrGJohtl
lERCss13cQH+BP7exprYY0zDeRq42IbsCRJHXOYwvUZaQFR94OUqQlZZHfOhOWWLu9dq70Vvshly
DqeKGQ3PxksIGIkDb/rCPdaexpaGMgUX0pve5q80TiWKrmN9J84LzKxNPRho57E0ZKPgqJTfJwPx
m6teFYJp1aU0VROcBEfOTkueh51pvCxJg8cor9+nwv0KFgVXods4hDNgnyJbzNd4DzhRjWq1zVvt
e9t0L71hRQgJIUP0xgNV501umUjYkB1Bz2WxHavnlbrRIAJiOUraTAkVWx82gi7EJAgRy0z8GEDY
9tRF2jZ26+XUQocBEVW84cLD3Eg+g3XJgCeded/sAmZyJpyL6LThRBDHkYMRdBjWKem2yxMJrS0y
up7JnSDUxXW+y9sSjqyEO9W3KMhjU3F2o5ZUm7niSAiu3NtWzVDvY4PMU8fV5zF2TS+DraQ3RxJy
43GiNxSeRw5HZrQGrDDaTFJxbWOdhqX9PinpfS8ipPety+oKuEZiwqDe3kRU4Y2nipYkUMBw6U6x
mxBZFXKvOn04JY2+BVv3oWhWciBGPKRFW55+fAFT0cB0R6qVd3FIOe4MWPh/c3Qey5EbWxD9ooqA
L2Db3rPpzQYx5AyBgi944Ot1oMWb0JM0GrLZjaqbN/PkSarh1Wu9Enh6TmIFP2BLqcdaWeRwDZjg
8TTqjQuMbV256IF1bU+rCD+r0RNQt+e52rOAC/kyMBSnIYGvekumAPutb20SuLirQVhiU4Z2hOaX
OOuxHh66SVZYvQrrIJnGEdZGbPGNs5mnbsBEknCgNZvaFHgWR8kDvrKOIQmhiWPkDLD/d3I83Nqi
3s0xduCU6bEx9K9eJtHKDt7yIfxT9N0pQcfm/jh88l3x4Am5V8+lTwbO4KywYnNcj4beSDd/6q38
IHmfks1WHwZSiBxnnFQLya3L3sfS/TXaiiGjKQ6d8G2iXxPUHHD5pSuzsxtCcp5iHqhlGm4MTQwb
10pwrqrPxooWMkNGJruCHEnnx7YnppQDGN7E5ErBC0zeqeqsfzBb7Z3Jk/3qaaM6tgZuYwv4Uq3I
F4sIdVGWyQEEM9U0D2Oe8XQI0r1IUIalGR8Rq8Qx5/a7dWaSoUVnD7sptc6mx9gu6qPTMPUaia0x
CN60B7g1GqZgY2bFnUPxsc7+DF0XgqVGPpg8FCoj+edHHpGXSdIoYoqGS2fEzaa+yNJ6Vg4gR6wZ
3lbBlUExX09ou7R80Dvj9f11Snlr6rj+MMLy5lrxRPUOylzEM3TLkcyjUFvZOrULgh84MNg+kkI0
fL7SKUameIrCNNiypPlQufHHtODD7Gyr2ycV+cqkb9CO4otKQV0Ecbtc68ZLEmFsdIbvgmKOtfuc
sfjqNIMsZju9GgYd31qOLvioHLf2SzQYiJ70Hm9ASQRktstDnTdIAk3Wrpxo/m54JZsaXGRuxLwx
LfMnZGFxd/KmWreNRTDF0vx5XN6Zg2mHMUl5O0mOI1AsSU6I/WH5xROeSgHLBRCHwuQwQazaxqOn
y+KzwCcHA3GwHmKe8JYyuDTinJeNU3Ks5y0qrhWual3chgjsTCxoEQH+H8M38rGYizre1sIs12Hi
d1w8wWpOBgOUACc8u4tnKi6u0ndHog0A9c20X1RHunIo4rGjESOnxsrnl9ekM/8Mo3NiPRZvh6nE
iujoXVZUXzW01vPMT6dg1ISB/NXXUbidq/w2gBrZ1aX8LloPhFDrPVcts6Cy42o7+/VTH2TdwUH9
hTDh70w7tzdOZabHGuTITCxczkQQjYGDnOT5fFtGx9Lo3ht9h9eBAIQOw60Zwnsd/rMUQUxMq563
sqwWOy4XAl9KuTESwk6Od+vYaa/TjvHZajjb7cokQZG86jjkw+KGf9Dc/iBKHnuncle5tC4NWLi1
7vxdZZsxA+8E2oKnkGXNVzKE877NKS0AMdfNe5FmDzWGPYbrqSWqHxyUIgkPc9Pfj88ssOadNVS/
Kv2NxlntBtf/zCOd72raF1ZZbyVkMrx5M0iy5DRcIELp19aO98XEurCP3X2Qc7n0wIXIcSJbk7V/
k1YRUIj8Z2WWxyFMgm0uA4BJgB5WcRg9OCMUKU+RYu9gSChwCHyV6heXkUY0zJnPq3yj+IDvuuZ7
Dk2HTwAfT+nwGXJs6Ex+x92lQ1kEtLxE9/CEhwCcjODFhsC+Mm3vjhrODinzzKOW4izZUzEaDslJ
l6Qzm6E5hjwl4ohio0qU1S4YDVIELrB9kX2npNsWdXeJ3BEtFj3LBwgC09yfDcUHwNLdvw40owQi
inh40kEZrqUZPs95/TeaqJEuvaeg6KMdodCvJildxP90g6Xf4eEePrv0//CWqp5nB4phEH7MkPzW
JRPjukBz6bzkG9Iu9+eZrH0/WltrrB4mmcq1ZaCb8PKcBh8LdHc3RzACkzF8Oa73Bir92ygH6F7R
zWumZtFiiJsnMMYK80twrZpF8YT6Oh2z7EEn3MnhUiWrxE5BuHpHC8QSZqueBwqkOn72DpzECSJA
xhEFE5GDyCw3sZwIjdbLsdQ48SYveD3bHCxBU1YX6V3RBJ9Gl8xL34G4JnystrbVruSCLVWR2kyh
w104x5ULy5JHJlCElSfzvzMRc/e94ue7y4vx1U2n9aCau0xe2Eyyw9PHyaQ/p+WzwRMgXxW7kg3t
unppqwjOfjZtJXR4rapwk0asMydsydT4NHvlmHzALTqrZDJsax7KnuiWoi33renFWwg/pS3ba/ma
DUFL9Ngo4WaTbS/L61S2T0GXMWFU9SPSymiKbt3AIbwXk8X9QGQa5a6NDkHBldBkrt61rD41jRg4
p3zzkWYP5sfYvo6QXqgSOfp5rFZmPbh7AJ83QJc3cwymm2d+wh3KjoUfsw/w//V9xmajRBXQzXAe
y26DoRmLOM0Mk4rQyq1UruLEp1GW97vRcf0qB0WoO2NoY1N0VnXJ+GFNLfxpc2MpYq1Dan4MjfuH
rbYikMTr6NlOfilXITB+HkwZzH6Tf61JU6gloJxdd8LurcU2wk98aIxqXUUazZ/fPia5sQlC1i5q
Cfjm410bfnRx2uqE+b6iU40jAOcgUC5PUbEzEFzoZ94uIiqfdDPex4GUhU5pJUuhz6wc3CpbbDDA
Yn2OI6DEG8uM/bVGqOvcEFlmgAsK3+J9MIiaFaL/zgGrDkUIK7iTe7DaHzLZsXUY6KNrQkj99aU0
O4rbbbCNY1q+BGinV2AIeeDfS8v9wPv+HTnJv6Y31CU3sqdQN2es2rw5F6BAhjuAQD4Ze9mOW1GJ
uxb06yGWNEROCGlxM4j4fQBcIGeSqQPcN7XytWDJV1gI1mzmr3ERg3muxZbl6Tu1YcgRI346bKDD
ys1HiOPyxysjtiQqIGzJqqwN2AewXyAANHbNpWQPZutd7ydX5X6aSdatwjf+8QgCxz9rDSQwHpS7
HYkBlHOA1ZswZVSbX3Diir0UwRnXvz7BhDjKiqR8Oti3vGer5veJebFa3paYpnxhPk3TDN9FEIuW
9aHLyUJlOC8VMzyszcmH0OUU+R5N/iAXwZwnKKwbOVOy4yefGeqMBQd8lQzVs9Ga8Skma/j/vxhN
7SttMUANvPyt76NPcN2wbtzwI9PjmTsoAb/oo+s5FhMC43CRurXuwwVQd4d2f4TPCPSFbFdeeh9O
1v2dALLScrBrQ987LScpCjvbgF6M28lx/4xhfKkiRLR5+K7a4WEMvAwmXA+dh8E6aubvUdhfOLM1
993hb6nyYj/WLP/rA+NMv2WpO8AAdY6B45QPFfnVFv/EGjM0Zn1iImLRJwNEh178ICbJpxinhPIj
pHgTqkieFWtaBeGs1ewzgqiFeVByd6qKfZ8vxYK1vk/Lu2YIordEo3MS51oYVzMrX+h1ujfLVV5L
PtPMkLU//RZQSdE8inc25cXV0ZUNaclGdiAHZ2hvn/g2qZRuAiyZ+dsc9l1n8CSoxmLcy6KA08dG
EPBF8kLE16NHDiF3hEYTTGAqUw75S5fA/XJM44gcWLGw5ooMk0aeuuLchL06qJTwpGtA7PG12uQD
IFxnnnaSSiU0tLk69M2HY8D2C7IxW0cMSPSSIuZPkzx6iTxYKXu2SfebgmN45yrexEYz/DZ0Kq2m
XBabQsw8mDMkkGRAhpJe2a5yw1nNLs8B38URggQLnitJx2NpsFmUrRvs4EvLtZ3gTkHeh8zWN855
tOp36g+e0vQ5qgd1IMNjkPKW367PQWkV5kcddXovzZtNPPgSMYbnQ3PvXRYRbfsg0B2IIi2OQhQQ
MzHh32BroTgQJEr8q1zjFyN0yWhkTRvmjcZMfqnzfBfFsc/Hpatwag+0nr0mtV2eKo1hIey9led4
fG49O9gro6QgRTAB8BfAgpIWOaEuziVEXzrvCAEnkLRzSQhGUslY87pPmAPLSBEfYxHCXfpaJjn8
XcvcG3N7n/ECw8+M5NYv7GPHhm5rNdU3yYDN6PqXxnWmteyosvHjnY67dYdziZPZolHrxRjirzlj
EEmtRB/CqD01TtivzdE+OBajVge1nNrNnRcNv0kWf5rRucEuPVT9F+/XgdFnetWosGgN0UEGMfSq
YBmRL8pvTnDhCcBbsO6mv7pIIdhRkLhKMn9tQqZEQknA0AZ/XQK9vEl/zZ7IVu6IAscDt2eB9uqX
KIJRq35aykwKEJhI2euCDrgFAQ5djhKPFmCH2breyYvEazxaj5OjH/JoemClXh3102SQ7Oo0aOLB
fWw1aUy/euc2k3xITfb8bM/2h2+GLWLcApOZHfh+7aavhdo6yG+s2LtmS1/CSvfT2szbQ0+qA3Tg
OPJeyi49d408tLahKz9sDrzcSQ4OJ9FY+8+J0CbaS/naBcNTGsBbVrxUsyAhb1F+CpIrttqvdPLP
dEs1B9dmZMfcsh+6n8qsT7JNxIol/YpCHPDOXvfKO/0xE/TiiYzgZZANr6QMb1bVvcOuOWtch5uU
JSwsbCLNRWSs4tb6qO3w0Qp5qo8GdY62uqVRddKyeWKsfFINBFsFxgm4yvyKAQx3UxdPZL1Le8Vj
59ikCGbBhzAEykofcuq/NpBpJDijdAmsO0rynOaq0vTwXwr/RjbsIa5TNtoRHQGWIOPYAGFqghEc
1raCBNghVmr/VOTuo+fjkEqC4ZoK9zcyTfZgsTpOqrjmY7jXcQyr3KLhsT5HAvnUEPgcsbn/zfsX
uGU5SQGzXlsJENAmnB8Hr3mpBxwHOuC+Fk3m32lRVpb3fUx30Sptze/BTh6fROfZV28I3qg2bjuf
zTqJALBiyVkS+82omaCHc4v5AS5R8Q5L75jNaUe2EJ5V7LXZ2QnEEdrJgajzq2tlEJFh2NmF891E
nPZzjWKCdrqpaRFbucH0V/Ht+Q5vaJv/qSra2NheWiR8vO9zQDDECtYpoNbZ9zRNmeJXks/b5BbA
tqoTmIh+HJciDSsfTl4ZfKPPXOze/4Cl+9P2LAnJVxdte06oEkIRvzo2R1ZRnqy435hK3ClL/PCt
GyHTS1iP/ppoI3ucJRHWisWDEO1sg2N8cMjCMOF+8TDODtLPH9XQvgKTrouuWcN8fo2FfrJDHgEw
dLLml6sk2DOVmYcZ0SHvMYH0BNwgWxmch6M4KWEcLJvWuhbDDndeKuvqObiWeRVcE7A48LnJ9Pdq
Mzr6NQ38nwxA4kYPGT/0cY3nxdcjFbPZk1ebD54MU2bWGa+TP9nXuPWjq2efpd+YB9FbH2gDtFPb
2T5NOUAN0693QDLfFfZezDanRNc14C0+6Wnn3OcJ61fuTBn5f7rwuqq/+r730jfTvcI1jbxMquL/
X6IEC4AbYZ8e2y3v++yAUxA9xSk3vJgMqT6rhpw20KIqsBpRemOw8vBmcaGQ4+p35REs4XuCJYEE
b0zWVcR/LSGea8/4lgAx+d6rzzpNrX0yLmn3uNxHiq/SMJx/2lgE0cip17nIeZybLJn0ONUPTT0B
OT95njiELOw4H3eOSOnclQ5NhQ2RMMMfToouTWqN/cUohE4AcmrlKbP9FqPxI2Te0npaariqJiCa
RMFTyZ5kkDwEhVLXRKB5Z71YzzzUAam94yXx1yk9FVvPv+SZmihr19Bm5LgrW1W9R0a0Rxwc/yiF
52gAqmnx51E3g69mhm9t6KWcOLVyxj8OrDGobiBst/CL5RX28offKLpMvDdKh1egyEBmAyMGDlzL
CzxbxobZyB8xHXwrRgBPMaWI+W4pmp/MzoXmoKb3sU45rRX96qXXEO7x6+OUu/HKFufKSBVGnI2O
Wrp5ZfAm4WrpyC8wjTyFHgUzEekL+s7sr7jNXtIm/plF/cVYRWdGW5ECXpqzjE1bzeleDtYD7IUM
LFIpH2xwRmx/WNAlkVWeEjctGeAoMred7AsC76UPWQ+VCB9RntzwPz03QXFBiNXYMVqQYyCPaCBm
XGz0ewNK2IBEv84pUFyb9ZNKh5dweVflza6brMtQUSs6gYXLoa2xJA1/e1j0fUwXYBmhgXv1twaO
jGa1GP6nJxof+aqhesXZs13u9dz868fg256BoIQLGRxk2H70eyBFxpUJ4AA4jh2d4X2ytC9Z1sSq
STe2Ti4GkXCA6DI6RK3xYyCg17188WyxHmjP4iNOd7Sp730K+AuYGjar+pHaMwRXBJQwfuSpdS+c
9oXCu2uQUWTYAHXGa8n8VgCj4ChCVeueEBdOvT3sqyqNeDpbr7KyfhtL/bo8UZtawEXH1mEMZz24
l8mjiMsIZyBYzt1IXGiu2IFlBIXPbHlwSd54eY+/yDR7OCB/p7ZndotHjn1FH0fh3pOpfbBNA4EY
KYShw06DczYUl2aO9hDf/IOl6COCtWuG18RolvOhuAXQzxMg19jsikH8S0rn7lMap6O9z/V2QU17
Go+STv512ruUsKm3vhN9JLAtHJx6mzmUWAmMXRKg9fNOgEwXYfxBtDOc9zp37zZ+EkfTGFpM7T40
26MZL7n2YOOa1WPfpOHKcJR1CpMNfkzlBZTKARPdVn3+5U3+xSHmgZ0qvIxj/mKn0NMtw6Yykgg0
dMZLNhX5yrfDtYWuBS5dUC+8Xe6LMoi2fe09hMuLQXh9peF/b8JyOPZV/eANsNo6e5tFcPdKxf8R
4SnJqqek7N8nlME9dprBFldtVvZz6QB1C/VjRwSLU79Pr6FJxZVlfXpYRRPH40a39IQBD030dBfZ
i++Ku+uzEuOi6UqbK2IKJkjPDvdlfkQrm17sTR41fxwxPykKzTbCDw4uPRSbpnOuDnjybWDkGCH7
+FBX/gt79E/669Zdgq1tIRIGdnCoKnkpZorYtXO34/Ix1tVv1Imr4SQ3atO59c2L8jds0fqitYrn
L9NxdwUt6sBcvgCWbwZ0XXrmtjiO8gaogarqQ8YlwaiEXMu4/u3NfNdSghLzcCpja9tzqXNKB0m+
2wZB8qNrLsOlrWjvGP5y01zKOfUhMscDO8Czs0mwbo2z+ZVUPQpOuzVHXPuK0m8G3o0U4m5WJf/R
OdqUrA2atHiNwcXQEPBQGuktBeOffbKIeTIU6NUpOQ5NeEZ4fRdd9wCcdNrajJ5wf/GnDeMznZA7
aEYrY9kg17xfTTGdMzYym5JpvAqMOwLA3kp4elsUq3g5k3wxVzQDjf97+ndmqMx9aUck7TkaRqKI
STGdOxb+qxAdsjSZ6oIB711J2TeQuhDGEQ9qD/EF1AqGnHbf+PW7a4zHxOTHV+FoXHdmejEbIIfT
+K794XsepnFRBfivuBpIR+1ewqY+YSw5VwluX1yVHVJeV07GSozWg++qx5aPKHmYa5qAxKY5I0f1
x3fFXs7+6iLrOAX2V4/ppJ8juKW5xxUOWJfZIqlUFRd8MVdXv4AIO9jV0vfO1Q6zp6vHp7F+ZeZ4
YR11b0P83jbB+iTsTwVYQsZIFxBsdnKKNN50WX/XOfC3PjgjTLL5Z7tj4UxX1DN1YCHFQKFNELkg
rkB46Vg8m1G3tzK1nquO8ssS4IoqLlhg/zQZ1IRJbbregCRe2t84SE4mRu4qdp6Ql8G31BSEDlzF
7di1dv0sTlbTxGy0keiYg3kOcIPt5YK2RvtuevtsWPx0aNSl1RTexVRtzcUgPtCJluLL1d+4W15E
mv4xi3bb8y5fUYRWb9wY20Pt+itt2ydIZPZ2oJic68GXzFm/zRbyogZ4FQisdjyrMTI/ZimuLzsP
8AIDxnbcV6CfnM/JggPMNgzhx7b7NkhQLI9k0Ye31nJOs6JzAf5e9e7p+EdnBJ1rwWfFBhRhZ5x8
eTV9maz8sJxT9Id/gu1ccaM9/VOwEe9TBrYmZVKAVxyAYOR4uGideduEkXIFrT4L2oNnZL8DQyXc
yteiAZ/VUUY9gx3htMfpGrpniHmfidPaHBndQ5+zc6VHTE/2uZ7ns8q/aTu4JV77qwu6jH3z4Nbt
iRJQfPoYA6oQsMtQm69N98gyF21nxg1iLW8rXs4izxkF0P00LAmReRdn2kRe/6eGTrocXaEM0Ian
5yYU9z5CvYwD9UtbqYvPHSt4ye1MTv/s0H5z4lhuKys4EKeg2UsRbZtPuBJSPl7puvTVH1D4N1fY
11z733UPEEYh/zC1ugaszG5kAGGPMLjtaYi6A4jgfscDjh9YCsx2hIjKRUqN0RPgWtgvaI5pmUwr
U2CM3pY4rEtidHiWvvxmO2X9rqkL5t/C2PWSV87uoM8K8z30BH/WS6hmZhLxLGIE0yG0VgM2pNrw
cUmVzoU2tZo9dR3vuORQZlFfEm4PZmg8w66Mug7LbwqAb4DL4YUMLX28NI50v36AbRSHxYnuXzhS
dkr9u+JrbOay/6Ffdu8hT96lqH8NR54hZY8bwhmSSc1hJxzNr/yojlPzJxyp+iv0PqoDn6XV0DFl
88virBMZXZ014wNtF1NIZxlPCwBOKvU5xpM3YH6Uny7gNsMUd2fpGwGu9ttW4o8YgvfJDqNj6vnx
IY/BauXGNO8tHyZvaD8mPGnaxUtJ5yaQqppFaN/keNm6kZkHSFcxcwP1u/B17pEG0nWWOf2uJWi2
hUjdn5UNCAofgY9E6D+YA3ATxQ7a7B7znsqzILEu+Jn/skr+mAMgiZP1zkaWLTwXTb/pt409HhI1
O1wUcG7NrKSvtc1UChw1RZkvu60zddAS4tQmxFAY6w4tCAqZdDbctYEjLipKwuypRASilqv26f9f
CtmQcxCPqip+7X4TjFF5YniDSchvksLoODeKu8GQvM/D4sInGp4V0c9taMj+9P8vdVe9eFwPxIhc
7bvNb1i40T4xjTt09lf+2+zj2t3/f1pn3YyUDoIpoOqQQvXyLCxnPIyD2E81imIVz5QR9tMex7jP
hWupQNAx7mnxJYb03cpbY2fNtDRyDWEMncV0gPiFKRgGrJXG7OckBVzEuH5tyAsrSgBe4sLOD4t7
KE6EyRw40D7LfoGHLOTB0IZ33trBrckbcaY9930Go5TSJ7IOooFlGJ0kJZfJQ2yWV6B+kh9/Q0uM
mr/zbJe6bb+DAQcj0HMbFhQG2Iyab4872N0uBZk5AagLuD20P4MeGycpNmnfPBVx6ewlPraezQ+O
7TJjTwNrJ2AQRXBwsnMTFRSVsDuhTQUzGZPdcXBHjGS62cRz+TjwD6wx2loKv76flUepTJxDgkUz
6C4F04x8TEVR0MabWS1T8/FsKkwy4wzwaPkWDIelX61JtJVe+Azv/IEeH2RPAf21oUUGx+4EOLrP
Cd153b5sKfVgQbaPY3w8MRzoyKTqlatSruvoCM3oofVrCrXt6tSh6XbgLYKgYY3iETsShXFxfeCE
JjSsfpK/3B4lWwqnM84ZZR43/iEelgAdws4a8w0EwXsu81cUXkU7yCD3dasfpm5aK1UaN3O2aSzo
/jFsk6Kximdc8v8agazcNOg+lMagpfIuH2qv33AFbTlj8yOMpZg+PpZ2umBPJ3E5+f3TWLXNtc6d
9eQgV7mZcZlqot4o6cB2RxyBXijr58Chx4htTPFCNuxQaMw9ZYLJczTVsjeO95Eh/wLSH18K12ZS
ou2tY5jfojZdWxRtop0gyodAc19svAE0fsSfGJy4FWND4NVjgzVc/BZKU5XMeCF995E+GSzFHetj
/KJNX30ZVbTP6NU9GY3XXM0649BfkOYxojbgXexnGmGqswPKgCwEfmHsB/wnB8fWd+KPv4A8JV92
t8AEpYvznqACzq2BtjA33mAHZEckHmKZZ2vN8U55npp3usDMlVTvOsBki53Ixa/prfmpkmYof332
fhszGbqTy7TclpNcmx7OIjY/3vCAV4PPsMTB75WPMkqPWOrx1zj2IZuXm386f+CAe7Jn55BhK4Zf
SipMtT7jT9puVMIzllNEnAJFhbztVq+lurWdy9nMq7yOx+LQKCzlJQFCmtPVqqMukw0m/nd/UGyg
6/ES5jzIcRjG22RwMDYtJbbd0ivXewsunY8g7SRw+ZaXj6UTRsex2Mmcim2DmOiuEOYBoukHKixO
bc6hZGy6K7hELpw11Xb8rFbIPX9qZy+oT10xynZHNrrWLVfuztGFg022f4vtFCacwLkyV49xRP7S
np5EX3VbzWOsFpI/3G7MjWt5H4hDCntudLdT+ZHMPaumnANUmfWZxQfB1AQ2ZRiYNCdMDAZqqpMd
EPViT0v6k2zn85QDGUbN529MrIR9jqW8DFp6HRAWQ4fEWGlmF4eVNpWyCMQjZ3SbukTh2Q7sSLA/
pk5Qbm1zeFR0aMHsyy1e7Lo5tXX7ZhlIAbUNNf2L9zSA0sDQmNnb8+Q7ULPlH7PkB0hzJK0Ek2BC
RDWa4G1VmBVvNr5gJOUKiyyhK2qiX7Ngp2n+Xg/oTmsq4vkqKiB7TM3ILvc4N+qdY9hU42leNBm1
yCVOtFSDoKDxOacqIc9XFc11UyL8g66C6SExNZ8Jqfx9hExQezHAReI5dDevRADCeXK4uQRKXLMB
bjz7/v2IdWnVzc4ZDxzjU0Swsq+2bZKXJ4Jy9wAfCcNbtI5zsZTqzHxrOV+EMxJmbazstOxaJzcf
DoPEpyCOCPXPZTi8as2Zb07q1lTNwTcNcysECS+32lcJ7lUiwh7N27yhip53nkHnLKUrtbnj0fe3
rfZJUn3mjoFglviHwJrIBPDzt4MM+1zgAdIumlft2nen5o+xikvsLDE+smxOybNVcmIlA8nNtAle
Z6uF8T3gmPL55MygNBkXLrQTvGQqQ4KOT/kiUA60X8mExRcz02EKM5JUBuEN+jWPFpevzYCrb5eq
Qny0ffDg4L5NEmxSPfA0SmxZqfenqbrGOXHgMEzTrffjS0C1Y7fgTAkqZ/GuGrm1F8pM9gC3fYYv
GpyDYyX8fNPk4jFqCE/pLnjUI34QAiXs9Zr6YSjEcLNKg/g71u22GsGx07XixYwwer7l8exuIF44
qyFsr8ZgvDHxVIv88S/002cmPS0tdkYZSyozPUkslXeypc9lF2Kv9w5TDTpfWNTV5w4+UNXUB4Y+
0Jadu1j1cRLbU9TsWhFGF6N7NL0WHqbr/RuHaok9fAzhpHkMTp9dS2Qk4XZq2du48E+96E9L5nVn
E84leoSTOsjFbUwnaL4Y60NuWTBZUHh8N6/PYGA/qK/k54tCOwr1V3P33fQaT1MQTdmVfqALmz0e
uYzagUbd01A16UF1qrU1yf1gspAtUtbB4BZOddCLo+dfBzsmhQODdMMisT55VuvtiZmczJRD148t
qH6TMklJC7R23R+kaDQ6PRkTgV+DXXN44urHoFor4+JH0Smuh+DX7votjUDed4eZlEYZNwFFtpv5
ZvbjAhrHi/xea7thre2cO6u+1uYTJG/7Xiez8yhZVnTWxD7VNl8yZunApN+0NANEdjXyGUnQ3Csh
/o46w/Rt9GpPgP+3QZSjTkB0x4HFQT1i8TLqx5wm47Av6UDM1LOjOoD/pW3v6inDijbyxrf56nP4
zPcyvaG9u9tQi+YO6q/ZVkGfPlKsFW0lVZzrKU2wKfM8acKSMONgcqXOuwy0OcYvMeXNeegc/5gQ
FKLkrMZEofHv5JIuFEt0wWVm2bLHizvv/CExVspKDf5KtAwLVXHMKJWS8aeD7YDZoX1xETKuralB
KpIfegvtHF2DfNhaz+DuGt3TwzvH2NDml0iwVueKhsOF/W8lSSflAGI13t/G6r4i9jGT5TvHOasW
F0QJvpfbV98M1tZEL9mUE7m1riY6/6d0Ivs0Oz1ITOuly31syfIr8Okuj9s43lQSppefhOOl7HCz
BrN+DaJiO+SyfBjRmiGcavcoOxKxsTxNBhGf0u7tXTG00SawH7AL4qNklsKfHREudur28f9f+EhB
ibAJ3Rl6YBTt0se6Lk48wiHf2PZxLE+6LfLHJzKY1aPF+HxP0sdGvYVhG94NIJRPxLfu3pSSIpko
2gjwgtIrLO9V1QR3FSCUOK3/HCnPf44j7JGlb7RHo4bLjlf3GqXBlbRRcmhcJVehCPcBe9hnjybM
+wye1A+ggULrR5FGX1hHZJW2OP84zFi9jZXsD1kRkgKw+X5s76eDK9kgIMRGfEpktvG83t+VyfK3
nCj0MRQwvAdOclLJ0N7LfA1nN9mQYU8/pTJuULZoCxut4ink0TDY/sVLFDYdXpu9D2FjZXnGZ+jr
is+jxgGf2hcC6tPJJfWqKoScuPyh+++tj5aSFBNPcTL8aDfydlKPgA9iDxatQr6aiiJi9Cv4sI3Q
OaLRGjjjZmPr4EC/5B/0WOhzCqk3q2x9sojNdo5gaTtndOp2V0/KbmPV3ZJBzp0z11ju4/WZMkjW
5EWntou1VPABtmX7Y9fzYWi7LQ8jj0oHLsZFl+zjiEALOBPkLZVR1CG96IbMfcCGBX5D529U0FpH
K3eeYIhcCzq/9j9zNx0ynBg3o7NPfuixtgkLKqpdL98JlJ/rf+yd2XLjynZtf+X+AHagyUTzygZs
JFEURZWkekGUpBL6LtHj6z3Ave2zfe61HY7wiyPuC4MSVSw2QGLlWnOOqbqaRD5aDQyfCtD54bUI
aArYReTDvnRXqeDJRxzXmGfUpqmw6wr2NvbkFYAvnLdlkHNqF7yznkPu9wxIuUZySkav2OLiIVKM
p+4mo8Pjsugn7O53SBD3McEgie8QfZ8wut4PK7Y0QaBfCbaOvhPMVDVZQx89mkbYp+GqrckhjCQw
iKEaj/g37CkxAYN8eHOaHfh/qG65WATuYD1WWF82jdE5hOK6v5uSVpLe9F+qaDFvaWxKdEJJCNep
vYeMfrfvUC+hoQWondQRezA25Im+Kxt9H1OZDHZp7nIr3OcSkkXZs1vE2D8eZ1StxygDPd8y/KfB
l7S0dl2u+TpKVKp/1goy2VbMjy95M5Z+NOHxqUzi4vJIPQyhJvd26Sz1uccQWegbZjw4ZeWVHHOH
vZRJOF5OV8GuSMSI6XhvyjB55cBGB2jMLE65wpQzCwTbuFFddPPb5Ul93sR1duPuWjg1OfMOVVts
xmqrWZ5LZqC1dQky3Qr51c5AvnQXCaRjzF/CRgVuzuoj1LgKpypGAKYFzjYj08giVUCwTr1PZomS
ILAazATQ0OaiQ9AUtnsaR1fPaNQFS5CPUrXzjaXl1o1q3YNsWltxmfqNKZy3SZlbj6zc4xgq9BXl
u1silLPpciWpUOemHlsikj8nlO8EESEgFLFVP3pRsCVyzvxtasEzPS4EQ/RqHkoinhn8YW9pa0qh
pBfPXH4SPydBcGBjuS0RtARSi4+4mg4qcd8D6UESLKqzXtrJmYcZokWMt7C8ZvbCKIde5IseN6Cd
hduI9sHK0HXI/A5+MDr6w7Yol/iQrvxRwVRW2Dy3esSZX0WDb1J44DPxTgKu6L6KkyUGLLsDgWMc
teUmc19lLIdtZjN8IhGvuAss/WWO2Yp1TcBo0gTJmydvhBFh5nShHIdLpAAVLGOvgZRJBAVcG/D7
xA2wRX3U1JkCC6iMrtc7HWh685IrqZ9ML073vU2T3C6r8Gkqo2/FlASLkIsuBqpBWnqfEjeE2pD1
zFi8G6ItCm88qOjPY+zmFkx73TXnO5y+836OAYrHHVsgb6ADjwg6fgoBj2zz1ImPRoJgjbHiHKjT
FGhAUpr5Mu7SUHscpKkh9y0k/uT80srkt8x47149Vie1uIDs8r1ghHkOLVdbN6X9WlrZdGA8wZ4M
3G6UQ8XvOrzV5T3anP6oWmte1YZjbFzPoPHe6JfGSVhXvPjJApKzYk9r7pmgjNiHvI5aKi/VdDLT
sdzG48CJWnnM2YICr1FpWlDv2P4EU9e5G08PqOytZQqLCr4wMMt6I0BzJeZdHSB6gdrE/JhLEJeb
5ieXzZy43U69uGaFgcMeIWEi/MoToqrbSSc6S+MC7erMeFWpcybG/TOZHuDSTS35bIkv1uS5kaTl
uQiTWsaPz3AI9iEy4k3U6MaDV1wwaJV+Nc9nrmX3yBwEskuwQFl0yBO92kry5pbaE6VAmQIZqS5G
SJB6Z0HKd0b15oRQIhyPNO06mR6Yk7/qebfrSenZOJCxGI19oiv17swqPdCRmtf27ByMACv1EOUT
fnHGQTFJk4g2yaTpvGlT9oRl15J1rcmmI3LmvM2y45hWH5OUTCDTGDdRj4FBJ/5GDeJMHuLvfJTN
xhIRJejcQLpbm1ClMTwP7sEjQZ69bwZwgk95zE/xGLvb0NXoH/QIkhgWIQGwrWBvccFNnDjeOlhN
t1bKgyHYbFORLBHMMy2hNL9nV3XXTpwFAyQAt6MzqpKSZO/oEFqIaO1AfQQzIHbLtNHROF9EZVGG
RBvcbfqTG7y0oeNRbWQTi0B5bBLdfGK7ySTnkNvfqoseREorkzSjCBnTln0umR3BPZ0qnBE4klap
V9hP8B/KjfJmLPJJe4WWJgjTsSiAbv4fQRM8HNYGChj89ghggpZaJ2QFRK/P7qw2H+m8nvs8Ptci
b59q0b+EZT4fBJsyBJuoewki4hqnbc2WSVJ2V8xdvIcKQGYeV1JY8WQg6hWvDPKfizgMU8tDNWCy
CCKhnS12p7gEQjM1LwBazAuNgY9ZYLcOG3NX2gwmDbMAGqHme4zKbEropR0s3U7pgqBqCVv3VKCC
vuam1SNij9cI4Gn0BriSJTn1nsAMT7vyeUp18sSL1s9K69RTaHZ96ELmQGrvknqb6fnPeBiMvTUT
YUs7LaNLw6b6J9tuAmo1skCD4al26ydnYTxRNe3jlkDKget8g97IFx5jhNkId3hGiDcuTRzLgrgp
PUVkzEotmKyXZRfuGMl+5CF3hqh7Nrrph9UikhaydWkz5E9cKYwN4I/ED1P5PuRGgGm/epms4cMO
SWYoR5A5RcMuHlmoyN1+J9lzGkN21fQEsJSBxU8TRGEZCC4l88uc8LVV3JPYkRJOukIgvOu1ufcL
g665iqYEGd8EDYFQLb14TDWVHYCXAYyhsbPL7Aq7B/KVLgM+Muh8FjKYExpvRDeX5Ppx4rmnioan
W4WxX6fqd2YLVkI5VLs6F3DvzPicJL/nuKu3KPOqdd5wirCj4kZ0r+RgDttG6S9daTi+Z2qTb2bq
XM3lC3yXyZ/M5MkywSR11ZICRWBvGrrplpY3/IBgYSPRGfMtcDlbmHb3dBJ/TdqDQzrBndaFVByY
L6wpv7ctTLIzeZ11YHyaQjP96lcnTTzokTleIk7CILfibccLjoPvsEKSGWBgjFWFh6n57A1kkYiA
031qRfdWQI61hYprB3ILu0PZFn74manZfYozYMTpnD5OXFWI8wjASczTybPKkLHlY+fEph+H+Q+9
ZTTAsuogu4GuFaP0DBscStqiFIai24u52Ika1RUsPMbEqQW4SkESImZuNfYF46J27OhFJ1+YEThg
2p0tzfR1sOhQE3TZr+XcXR3VNKxQ2EitsaKzKmnG211xsaLkfpgc+dCWxs6R/YPhIVexGr5Hpax7
T8/6XWBiW6+qz7nHMd6Oxoae/hfEsEck0OMKt7Tatrnmj0MZHmrc6EKRmWwmNNtd2qyUr9RMmdFe
zJZcPWJV77KcQAirODctIkTHGvHDNxBxwgD6t5b4SY4BSHQjN3BHFucKKcDYCkebrU3vDhsFCYgJ
WPEyduF2oqO/dtCraSaCMSTe+1aBQfOMYCv5cmrKuMTh4kDa+Z3U6oz/ML30EbrbWa8ely0UBdHa
Jg+XaQbRfpiW4KfFl6ZAlTyOvxCoaXhfAIcRcjSi2WFDpiu5KyJDf+7i3O9FfrwHGPwMgwxuhOv8
EOyuUWBT+7ekz5VMI5aKu7BA5dnDfCDsgt5BDsGgJiXMgCE1wt0z3fH7WZbDU5eI6RCE6b4oXKr4
gK43svR1gS+tbXHrzDYuT08QfhdgKVREHfUGGi6Yhz6FDG2ziU4wzUTaYmkm/CgfH4W0SJYJSe0T
ZrzxovitzRG5JzS5OxN9NxA0qioxo/vEkaaHfFxoupmB695WEo8DSmE6WRgel1rBjCp4Gw9duaQt
WvnzUKM7BZGTrdYoN1GD68wS0jz8yDqO+STF1mYiaGIitpuR49EVm88z0RUZ1r6t4VZvocyNVTwU
mCeDp7aoDjQpk/3Y6vfllCLJmYhaZ8C2JciCgDSJmo+ZANNpKf1wqrA1U9hwCcBiCkHAHTxyPD2c
313pvEkRuOuBA3KTGPa3nnvefjbSLd53pFcODTKiaJibq4DxTZXoWxhuB6gzRHzkrPlRx/XScMqd
M9IuK5LE8znQVvg5Ef5WUY/hiz1SkmMG1VrQ7IvFZE74HwN2Ak1SLD6m/Gdi4CzthXHxzOIdAyZO
/AUOSsDCmcRNPPxIUVeky6Ncm3H4MRulc6DlaxM12qapSdUCdLUfFT3jzqJ8nbKjqd4rPVjDQDF9
hcOomrOrAb6ugQzWO7hiKZOMDcL/7jF0pLYoHtf9pc9ocIJLwMGV822VtUIKRahGX0v6kSm7RXZA
q6ae55VWR6SApclTkiRyU6lFkYRKkME6/l1sxfedQfeNSpn8YsnUgvHuth7FVdKFXht6RsremL3V
lfghzAh38Qw2KKNTMCy2khpYWVA57PXsL9Tdwy6GC8XChd22KlzgJBZqYtPFdOxMJsrUUelHZkKs
oTJ6qEckl1wmNkIHMTImoX6HwUDVen2IymIgd7F+ySvBXguBpRNZLyDRODqnjadNaxtZJgluFtIu
J5KcJOhiYcnU9rxU5p177FLrG0DqsSwr4BgTSnRbcCAsFvs+HdR6tNWMNgeKU/ghFLiDaPY+2ZkE
vl4XPzKujYwKGrZkWhEzy0COiiC6Qz0wXuZoSO7Y1HHjhG8D66wvu8/MdNlWhAUFdJg/Wpgo183d
WJAKzgxf3xgYaRkHee/z0MuH241BEHUlR22/5H+XMw79LIBSNg027aUGJwgPM8t6XK6nKyqx3WIH
TmP1MGbRAxwga1fHnKRTWPvE+T5H4P0jq0D75j5xsYt3xZg+yLbeSw11hR6AbjQVW9LZ+ard9OBl
9DUKRvtrtx+uM91xejPd0UNwTa+B89NZJJUWjfHR6PK7JiMMbAZRJ+cU9UDrHJxReER+MbKpQ+xu
I77zYKYHpVIv3zKeg24VsD2fop7aovgcCzpWBatiUtvfOOo+C6iSSrJNMqb6kXffrbRIg1Tj3Wd2
ZG8KVyR+OYX7qE6+O0bCfFMc0x5bKtRiH56lU2RbAFOVGwCLKyJEAv1njT1tV8YbSlkS0DN2g470
npvM74BpjkEQsu/KGt+wOwZMpYZQcwqu/PEyhYyiw+w5ryDVvCOKOfBrfXqurar12/6+akpwBcWE
Tq03L306H1OsSnB2MWOK3E/2GCSn44yL2RZDfIzMn/k8ZLQ5ymzbe+jUSIt9MqMAg3nnBLRU7Hwt
SvI32cqSoxBP5LDPFRiLOBB3txuKOXlXaxMVoIVdfejhLd0eqKaz3YTDnRP9LNy5DLZEq7tHzB2V
tb/dNe1e7cNZ+kgJeJ1S/9lJu0GdERl3txs5kBN3u4f/5K97KqHBvQqdQt/p7jIIxBnBoMZoneZu
Xm5ENTV3tx/1rJm89e3n2yNBIonT1DElQ7wyjmWemcd2pEuOo5W7t1+yTplH07ImskRoUpvSPd5u
QJkwPraT3GRUyzR5kXT7nm5+Tjk2faxXqMGGh9vNOCK7RBTAz1Z3qMPBvbeKfESZODH3MvT7TqVc
zW43leDe5O1I4VbHFl3LA9MqdjdYbYmagvb2j6dV+fwGpjnfy+XJ/vF7s/tRqix7YmKgrPbCEjAx
aAmB3ZpssYU2RffSyocf7BB+VBW8sRTDzIhZ5rEf0zk/yjSNHsw6vHM8TcNnKN2f+jjet07IZsNE
1QEGI/yNTQMIbx+xvgJn34DLdB55h+GeliaYqayO7vvuEeNaCpIyrg6Z0OdHs8DlBXBZvreqvIPn
av22U0ZOTT69I4+IcG7P3WNqINcPgcBiTBDRXeHqzSFOovguNJu/7t1+Fy6/u91DkHVuSolNGGXn
D3gnfil5J8T01hsIXtqxt1Fr03eyXm4/WnBqmZCY5osscKrcHr392LWtfRiyp9mxom0penEeEyG2
MkD5h4Z39KteTsfQgFBhNoJPM4913+CDPScs8t0Y4vWyireOYPJH0rXYUssIL6wzrgNX916V130n
RZZ+tVLf3tGC4DMHc/LEagRRRkPAUqIvqwxDHdwBh0vbaVfSk5udzGiNh55r3bH3WHt6CpGktms2
uMYF+o9xJk3NOP95D9Shsmu1USYZrF48iUsQj9Pd2E5ft5/mGUctZYuNa8T9YUhRnlQQaFejLjlt
EuEe3ajWd7KWkG5wHD0orl3kXbTn242F0RuQN6HMc4YlhyQSfFdefs3c9ldhNTF/zk8UBuGW5DLd
B7m2C7y5unrTCBzN0tSpTvP6eZbyQaVm+q65BjWEZxCmV2iErLnOe7twi6hPX8nUio90DtzNBGn7
3UvKlxR1zYUwOPMBOlSGFnZw5uDn0Id7CnaTnZIW+O6cQmsI+w/mJNB/rdFlqzzoO2syHc5OkG1g
C9pNg0P8Ldb4ulsU3eUET3eamW24UoW+qbUpYrYpZoTFvjObduFIKyLP7XrXmLPzEOHzdCvpNWsd
z3LMdT0F5ewPZeGdLBjWSC5SsePqO8c894X3g/lg2jTCqf/MJPmfpvM/xJ8Qi8vv9p/x/J9/J/r/
L2L4OxD0/2OE/zb7P8+/sv7XV6n+jvFf/tGfFH+Cvf7AX+MYxGwI4ZmGS6zJnxh/zdP/AAlhWdJm
MiiZLZEW8K8cf/GHEBL4v2VYuuAW+H7zJ8ffsP5g820Znqe7hjAJiflvYPwRnP77GAkpYVIxlzYE
T6pL13WXx/8Wr+KIeZys2WZ00QfXVmQfGAroMb+6mn0qcw7tSSoLlIx54rJ16AOO6z4kCjR2DCjG
CCkTuDIFXRiP/scCFwXQlnm7hrZnFrEF7LQaLkMCajwDKQ6JEmYAbZhVNGB5Z+eAbGhOML/H3XGw
HW2bIPHbspGE68IuLxnJoZRf0nBQfHkODJwA37nlXTU3eC/sr1mwlWtQQa/gMlyXt2CVxmdh2CtC
mNY5nk5kKUfXqPmDihsjdQ6wMuCWFNZ3BTaq9zsj+rg9xvXohbH/IQ4qC18sbaQUTWwnByw0zKqd
bkg2WcKOoZn7dZ3hOwtZjOCfG5u+LDd95l3dkUB5touz3ypeI5oy005/LS9rbAG+pLD/5tm9Zn1N
8x3+MhLog1W4V7NMPxKDktvRmbroYfXVzdFPZlLeeu4aF4dLvqrTBhcO+KYEDdWaHtxHtLA055xs
R8Y/dDgBfNX4c2x6rcqJPnLA3CuAYI9m3V9zPnylL+gmOX8GxXhf0TOhaej2VPAKoFr4ag851OaM
MNIiT35qsfi+/QZq/adWvtc9KvfS0t9qjpU87C/hbB6nGjZ2l4uDwuIDLCg7LbTVVRudZAezTUsU
Yt8EtKlqW8JWMIQOAWbvSH/LPUZbwrsQK34aHYtoe3KCWRN17CbOtiaFGK1G8MVE4x6cGFmRenB2
yk8OYETvubgu9D8Dfb+ZIY1MkuFFpQPG0+S9dhV5Lg2WQzwTHw7OpaFjMz24kcLfGmyqrE7RHo1L
Jri+9lvabyeXz26lDe0hnvZG7Wo7wxoOlsZAKA3YCFDRsuaX4VpWNNjpEVerKVX5acr5wAJNnNV8
x5AvQGuM/hJx8mUQFKVyNldB2QCbJHJHxzGfLcd9atvWaogFc/YSdoiTXuBdOXd9MjHfQSdLbim5
Rh2dm6hJorUImQWlMNcNGfpxUn3Dc6KrUIZqKx3x3suGC6dnvGfIZrZ5QcoMkG4UmD11RdlYz2jG
DqrCjUMfOYGMa5yxwSAbATDK94GLWuEjUi7gW8pmFL5sYjz3STZEwOScomt7eCUF5HVs4wwle/qU
VF9o8MbHSAOSxfQbr6kBYqcU86FtkveFEY0SPzjEjO4dLc0Phggu4+R95hDq+ooi1Yo9JM4B33he
wavDLjczE4syc6NnSXmoWpyS0fDgBO+k/z45phs928YwPTRIEng5YXXP967W3ghJqQlDwdGPOj7w
4mM/14Td90t/sRTHIIijByXjDd+6wH6e4XnsEbeyEo2V/mbMWbnHrAS1vs+/hnjofa0p3btuYL4Q
eiE4WLli6CA2OTqBfS97WGWCQA+JANTB5rcva1q0Fih4b5iBTiXle9tPxPyFzXW0s+GY1xwNDIbU
8oXI2HSeC72iLeHIO0I+Rr/un+2+ZJLYD6847n461g4Q2GNsQUXxNBbdtmSj6MwM6VKIl+PPSWK7
msIQxcxGjwGftiAyGEUPm2Gcs3VkF4uV4Woy7x4ZCeLZnaNZrSYSS9ito+X/iMMSNbHGIuYmoeF7
gC31njB5FyFa4I7YbZgCMfWloe5V494CUkaWzLLbw4SkReRxuIm375YBDu5Yd+sGukRDWD8VDsiM
Fu+JIFVY75c9o1FfWxevgsClGzW9dRRB8ZL0uH4Nt31y43OoLyAEB/1maeX9oQt/I2glajbzsU1j
P7NOuDLBiZniW2vAVhq0X8XQETZBPkm1GF8M5sJLrnlotBixHPLsI7o2dkxRSjLMO/KUn00riYKQ
I7Ddqss2NIDh/mfxUyWBgJEe4OFD7Lt9lS1shCmPzvGkYX6cqDvhWHJwcoXytd/gh3b6r5SXo5mp
tjI9j4PIxUqGWYZlge5iLQDYdRnH6AL8GH9Apw6Pw5TtjHL5O7Pr15ZtnCNExhvUTmKZIJyVpzFh
to5DjbV9tt1vp7/FabvFUeYEKkRuX+0kR5GuP05ieq7r4tNGo2maNZDjao8q1KaULgLsySRtkzN5
EjNTD4Vy6jS7mFMNL32UypvWlCed3+TDfUgm+CapwjtwyIWPkBuzoMM7Ko/Z8FWZJBsvGOEopbFN
wm44pNNz2XhvyajhDcz7aNd1I+LX2LzME2PUpK9JIZzs8pIiQdFBvm06OBF91p6Ahr3YBkaqKKNx
XlkWFWySre1WoxiQzaGXefbDGwOEg2vaS+nKVTXat7KnwY0tx3LM5m7q0p+eJ4u90tW3CqvyYHNR
B2wE8mGec16MtyVDIdrX7pjsiG/pRzKj0Ry9q6Rh+r/GHP3MuM7XWvaMA0aNRmORY+S86xf2uG3H
91dlo28t0zNmsQc9Zk5m59F767j1djaRhCJJJDMkPjQVPpC42U2a/VXplO63IgEgpzaidx+rgSI8
MJBHzqgU4mu/BS9OBHTthqeCkXqro8GKIYcO47RukHD0gXE0jPpRb8D3aBsRnafCZWuqCOptqVwg
9W+D0XrOBN7+xpP3LSfyhnHAYZLdvQyMBo5I9BNhxEx70++T2Nt7S5/E9LaoDqL7ICp2mWmu0X2R
vE0b9HNsBmPHrABqb59XF9OuKy7HtrFbFDSlSau0XFQ/foeXxI9jhMlBA5ivD++wjL2mwKroFXtv
M/udVXVRTc1FeGQeY04PSJdgqQwNvW+ylYCrUcQRnpe7Y7MheW7b9v1dTeDPegHoKrihDrDgyCpb
etE0HbUwwoylmTCTYJcugEdwqGFOrzt/ByLF2L3V9E2Ezx4jVVDspw7vOKPt7TjFftaWzneh7+0G
vKg3NPV5sIH2BJSNmzgNk43qAWPlmo2HA1oQDidXG8a7HLWQQ1zTkETDwXBqeBWWb3ZYmJDxw75l
VZGnsZqutC494p/x6fX6tx7T/GZlYpCbBEdUpfIxH41Tx6CWE+3SVcF3gmFZy8v3eWRWn8jLOAxw
SOBNreHVfM0SoATFGXwHSg6pCL4O7sZOIZ3OUEoYTIIGyTAkpIxlOgaxC0Ung/HpYjKG2WiGtoq5
OOEP+PDcfsEzx8OOSfUWG91d6cSvQwY8Sm+QiwVkTdNmWwMKaVaNnwoBhxc4lciyT6VfkdfuA3P4
MlzKdRcfNlUQsyLdeHYmeY6i/JrkYofzJqLvyXcQZfRnQiPfY4oK4VWs6YhmLMMqWSdY7IcEqmcX
E3+QKWs79Z5ftfMDqSO/vfRHX96BqSXKxLRXmsaRnwp3C0gtXAUodJOIXIkwL8NtYeJM0ZoMj2X9
A9bVauav0Q67rx2srPjd0XANW5n7DG/qQ7gpygxn78HZgMnjIEs5RD+lrU6wCB+73Dn1VYnW1U1f
lJuBWWEOskBecCWJfRHw4sPgG2bHRelQlfCirsomgKlcR/kxz/QHp7P702gQyRRyqT4abS0ZsvT3
RtQvDf/63sy69JjW9i8jQwPKl7np7Oypzwd1DSyv2umSxVXa1Zt3LhwVHEPU5Bw448RTaLteNT+q
JrIfRksMqC0JMU+j9yZsEPSIXmMdN9Oj1qs7O+qeYND7moFWZuQ7BmdAhVXFziFL3WtACBsVCJ3H
hn2H11BVcY4Bwu8fhmDw+2zad15+l0/s5zjRkrUYrNcy32FzBjU5xHhkrelzcSUMIOpw37LLgjdG
zR7qHwYa2U2VczLQfKbUGFyQXC56NYUajyHiOne0HoCIda0Dzd2BOdkE4aivc8QtW06al9IyGe6W
7UkE5bLGY0tMUC+IpfjjgG82osXAag2OrwZ06n1FChvdex377cbs0o8SQM/KsOH+YBblQhszacaB
L4TyKK7wjyqP1ZU3nhhmQ71B6aS37jX1EPoatQQqWnsQzovf7qmhHNJCJq1T/WuMcLTyt8QNYRNc
Pom+ZtRrFH6sxTBB1ftQDmjL4o8wZFtnV1zCneCSNWwPb/+mzzS+B/42xzoHDwjTkc18vArT8aTT
aYsROx2hSHxWxSUrnPlJGQGtTxzNMWEWbk/mhpZN9I21ierF1Le2kX5ImMFQGXqQ0n1j+O0gsLq3
wzpatgQB85JLx9P3+oTgUodez4DxzCQk32YVllYNZ0+emugU0owvb35BL+o+Dbm4zxnM7XQT0kur
ATjI+8dZkxtTttZL1esgHKu1nmbTAzj5bd2XPFVbGJuOypZJ6Sf7BRCcU/Zx229ivccgxoXMM7//
7XOHC/EDjQd4KCMCU6jrB0dwzPSdarfKQO8Evuu5UkDk6mk4NgSoVUWRsg/ddVE3niZJFEs0H5Ku
vDD4HiZ30WkiAAB0IDP1YA1s3TEzL33CwF4L1JBH5ZgHhSt/NRmB45PJYm/o5nExHazpVA44YiLP
TnezHcIUgT5hjDB3kvDNnvTg6Nj3ckZs0JdTD1t2Po4zC2alI4uK+XDC6Qk7T+cF24LdlyXsQ6YS
Gm7muI2y5IOQYc7e6JLRsig97xqG5UNpNl9D8mW0g72tltYJMIpHiTC9zDlk2Lw1m8m5j1q4FVD7
SZgfUJnqHDqNzUsIBlJtantRbod+omEeK2NvBTb5gFGnuR3frg6JKq17OEN8F5soGNP7kOFxXNJa
dHHaau6VuDUaE5F2XdBVtF1Oc0HnQQyoGwgFiSm+oVUbiXsCawXF6UfR/QpoiwNC7s4yyBG8aAkm
KFoWsluu3Mt5kRj8ZELI1l1JwDyL/NK0wAlxYgivghGaFqeQbrKOdE324TSAXmH+M/1NDnHB0tSN
FS8Kr8KKEsgidGnBQR+Wz9rlb/PI/tR6jC+q9ohrp3vCWLRfZ270GY3loVuUKQ6EID3pQLcLcSKG
GbKVgy4MqcWUvGYULsvBuRyX+qLjaMMW3f2+CAt/WRDBf5/CNPHrEjdgGLDJMNkFypDekWSSvFqe
Cjbdg5ZzjuFB+yDBnU368nKC2WYbsqxKtHeqXtvmS5HECkvDgniHyR3xQIHvAxG0Gh12YYmgOwTz
qaGvhWmUqkMVybpHCbMGwfwxORrXnGbGN8Seu0DwUUYucSMha2E1veUGzonls9EsljpTvNUJM3o9
Y829fR1iec1FfBWd9at2F1MPX0Td2FcDFZiN2LHGf7LGHGetenxgreO83VpmSc7T3d7QtHTMEB/T
uBIp8v/uNMrxksBSy3LGGSnpYsmrR7CBNaunLB6zDYqTeZ+5BL4uRoWtHEZwiDA/WcKoVvQU+qCu
Ye/GyXzvjBzE9qhICPG0az4tZHQWyNvCPYaYbIL+03ZoBil4pKveX77+2yVgtEEA4K7wb39qYUZZ
uW5zphwFFNg4BzTJ0wZNWsrEhY1RqSd4MwR07lQU4Z7lvOG6TF9yWY7AXPmyJKBJRLTMBClx1qFm
qUWe2gPMH72rHvS/MFy8pBXXob81gP9KSv17MqpFr7f6M9x2yXxdGqqWYQjHMWxdX1q4y+N/a6ja
ymmqMADpogmOminZD4yIF/gm2H84Wozn28+YA06MzikCZL+6NQ0xj16XV6YVjJbT8G1ZBJbvVnjZ
l9sey+k4FvW5TuQBRw2eBo5KNIhLO9PDWYRX0kWWIE6JZV7MYPWfvyWSZv/vdyRd3bQ805bOPycO
Cw2cL9MkCe7MPuVDTv1OZ0zGH60Dl2Xs3myQTOuBucd//v+a/6//2JQ603zTRBtm/VN8NcE08cQm
iI9S1X6JXyxz5WlpA0Mu3JKSdxIsy8sqQpQEkEYu+V1HYtUcf0hAZhgj3i3KB9CFdtz8iLoWHVD+
WyzFTcfZHIXx3lXlpuOFE/f7sdQMU81FprT/i5xp699n5f55TDiYyQn1dunaG//0RqxE6AjVsdMO
Jife8sqXc3xIx6dGA3eWfFS9euSYP9Qxp6+TsoTV1B2ES9LYo/QQrA4xL6uhrYu02CfZdFniU1bg
zqL3uyxyk/E5S66ZJWRFZ+IfWP9aCAnBarrUMfAFn0mHoCWLCpTvEuvhx+0r+/9jov8i6nlZBf7j
MdFK/Zrj7O8TouXv/5oQWeIPBzYjEmHHsV2WD7K4/5oQOdYfsFIlxYXteLb7twGRJM1ZkAnt6JY0
DZqgzI7+GhBplvWHw9mI1WUZ7ZAfbf63RkT6ErT+jwXNJirash3bInqeu7p1myD9bUETnVsyie9b
6JGwHS1DaXuDF+YPqozfF/9v2HFYGjroIjWG5n3LVOCxjwHQ3h6ATnsJqsy90vSkcFYY+eALYfZU
hfUyk+UMOQQjjyx060XQzTzeHjV62/zz0SIfKE3/7Y+DrscbGctvryrHXZ7LHsFs2z9h4wega4Rs
45bf3R7AOM71dxT1oevMYImHMjDU2fOXhEqKsxs1mppsDID/uGvk4fJb1bjHnO6guZchqi4MNd22
MBqcMFZorFov+d3Hc/JzTtonRNYShgzzocbChjpGF1Rh2jvEy4RIhqR8lnMsth1qlQdhYrAh3Vrb
037MTvZMIJE75MEzEwLcXiD8ftLAH8l50WLX/tTj+Rx6zZ93ILHbn/9C23k1t81sbfYXoQo53IpR
zBIlS/INSk7IGWiEXz8LTdvy6/fU+WZqZi6MYgdAMkUC3XvvZz2CoaSsHTlU9AVPN+l83ZroYbAr
bs54jTbn0sgf2kYICrPp6jEWwMbOKG99coacK0d/z5X9A2rZzR8f9f/wQLT/w+eHz6BK7tF2NYOb
zT8fiOARELCy/YMeoBrJMfSTnffbXjsQZbUnw4h+VHa6qlPdjLflyF99H+d1NZDspvriRmX1rIcQ
0Vu4LgcKNLrnNCl1VPHQBia0b8+Ug2Wk0fR8J0dFo5oLbSjTezkahsY+CLpjX3Y7Mq7KhTpqNNpu
d9C6crhEVUsrHE8jntu3scCxLxQOGGc5MyjLa9Lp1TnB/GAMC+MyTfqz0vKV6Ebqx+M2aS+6kxeH
sSQaVRhN+IWg9F0Pte4tLLmZTw55rFZR3MN/f+Ot+anyxxfXtHXKWT2HGwRfYNLJ6j/feIROoqEw
pFwia4zvXaq4jg7q2NshY3+wqWcBJ8YsxCvK78PAt6VEEwnXTlDhjXvqvk5tABTJFoUo3y41dY8K
C7TprqsH5yjbbsWjya7bA9gdjIocodQrnq6nySPSqM/f4oxSd6A8WrGaAirZctsCIlEqwVVURnhF
MFGno7sMqqxbTngnHWMtJU2EMTzgicmEbqd11dKsGyrS7TY4uvN/IezHfF8JdxUDlNvjRkENLvWP
n9t8uvaj0V1lvx86r//9PdV1y+JW/Y+31bEdA7N51kIO6UZNLgD/uB8GVqMVRhxVK4eS/HdRVN0X
lyjPYmpt8+SORGsg+JhYhdT9SztYp96o0m9ZTQq1p5zDhKW2RmwREEyymkvuWelCziA8HsTl9DXK
AWSXZjed7XxUYezqiJDGTHyKVftaA+j61tviihx1+BTrRb4ubaHvPL8dzhBM+4U5NcNXnZTQ/FNb
D9A695IOMwmgDoXefu3yvsenofLOehAA09H08dpp6EGHotVepgFyYwPl78uUYanjzmptmAJ3RS+o
xws11ENuXf5A1//QteiwwR0j36zr8CWMSDLgERhcqSbNV7rdNOdBx73HtsE0qHWKrptiyPvQw4O5
613Ev7nint0aLN7k4nSBaJyC1k4TBM5IDqQDH03ZjJyoPGuDeySA0D/JLgpw7hTXRPLoF+KpVoCZ
mFll7eUgJdEUVhnCXIOq2hlVoR78XMsv/A+sVedR6N2OQ1Cucu6KmRt3J/KJ2DvNU9TI5VY9T3G1
EWX27yljqmQXfyaXCo3AsYbdjxsTU0Sl99xPfzSojHIyA18dSK/ziGw0qa9fE1LSVL2Z/kxx50Vt
G7xojUOiFygh0SGAr7kN/R/NKQrdeaTulw1GHRkUUrTmrK3Xnqiq1NepAyLKbhztCV2auXMiS+c7
zqjpq/45AAYgW/JQ5d9FbaVXc56O1PI9T1E9ySF56bpLoGs5HbWv0+S89TGQmiJRXxKnn3WGHUFL
PXTfgMk94SqkPVamOx2jjOAxSkwH+SflzVaIHwmxG+eBO8obKRznrXZwFvBUddxlQWB8mpkSsn8i
Cs+C2eg2+HGMLyFMChFsCtNFejQEG4O0FnzJfNOwrJIv/suQJSf/99P/PSchA0t9tZPhAvLxY/49
79+/yl9z/i9P53/raiQ7guhb6VPR4AeB9mgOSIqVoplV0753qQW2gTjpGl8JCgnFt7+NPdYiWqKq
t6lmqf6cmlXpx1Rgd2Cffl9ViXV3I6eWfulf5FRCJx9X/Zj68QvIqfIXUPxJ/+cvwCOOWm3EAAuk
VtoDHsaHIfKtT7qWaIeiYoNO4a71yRX1sI3UWodH2FvU6Q0VhAuBmkJOLm2KizN7rsNg1Dbsx6QX
zUUOIt5pKV351AQxqRzPOEXgUAF6dO1Cw7mv9kPlnFgUuTi2UizgyNb3YJ6bJ4XYCrbP6M/kaE8t
PaXj2Vevauon2UVJR2qZylVOB/9NAkRV24McY6enkNfCNl2Odj47R9LkwUKOer5QL1PfbOQgCRrE
a2lSbT2go+koXkDXOEdHD4hrz80xU5pNDJl6JZv9bFSNflLby2Y0GmuAFto1Uqlfnzzz6I+KeClj
VJ6tAsJMzuoCK1gZqUZGZx4NQv8r4FSWf7noP/Fz/bZJjpUFthFsd7Nx7aK5Vyg2gZtcYbnNUvmb
jyIe4cDXKMEbr3Hj6KKrRQwXi/+lkbjZc+EVX6Z8IMxZWTtlMLVX1lEJJbFUgeNZV2F+o6mUJwzu
m6Uoa4Fs6ZthAW4NbCV+IiffbPx2QpRYWgeTUO1JaV0KxqBoPU6OCUenVa2XLueN1lpN+6om2Ubp
65H3PXkWmen/aLPpoUpj83OmkRSqPQBrAVydJeUS1QVCXriZuC8fLI9thY7D5Naef0o/5KTzvLn4
xHVTKC5dtKtKJH1qLdSzHeMbEtQ8T/2BUGmfj8a3JrZnF1ySU4k17i0i4+8ladU76or7a12jAfWo
s9roWkR5fp5fMrJ3Z1M52DAhLrJHHihUJmKZY9f9MSCn2vP+B1KNGzzbqhY++zDtvKR2H2RXoYwv
ozfmp0kpwmfqwakCxhlyL5vU9V+mLLq39Th/iiILmKVAFVcZGZgausyav7ajPMoeHFiGu9yYXJA5
jGVF163RVmYrpUD8WVkDCmXSTo/gGxO1fSwr3KjYf1D2Kijnl0050CeNO+vz7a3sA4/X3zVObybH
MXCfnMxB+TsUhyJI2nMzdM3tEFTpFsNrm0X/QFU21OweohW1T7uu+VZ2KlXBRp5uAnSU8MRp6jim
3A6C6hCKEuqwu9d1QiATar87tQSh19T1eK2nYecIqtNZuebbokt1Nmb1+Iq39TdiVcUO5gt/kLT8
eXDMnK6c8CwJ+ukTvHmNjHbQPIwIR049mDTZcmqtfuh/daVk+7ZdgHbq9ssheTbIM9ps9JYCO6JE
aYaD/EEgfZpz5KL50WO/Xev2ZCzUEqncJ1sooKGq/hGXG9gv84Hc40QpF87boQJUd4GVPIWTCEu3
U9b9nKNZNk/ywjzLM7yyGw9d3j26uCC4/i40VeWxji1A2hOB284dxleKDpVVa8fuRjZ7VhgWotiF
A6QYlqvrY4REFVDMQ3lJsZlNIsxNlb0c+bstOwNcwNksh6c+dIad79XJsSgRqEW9MjwVLUnaDID4
V96EBSJr88doZGeNaMVbyx8CbRaER3vKBLrfX6fjUqeuBHisp5hCEtRgo/FVMdoFkBnzB2y+P04f
1Lx4GFrc6JuhARhTN942m7JDhwJwgztZt1ewZNiNhVpuR88Fy6bFxqp0svYR9Yu+AK0dvwy2koOf
j+ov4RQelBpwyx3erBTbQI6222hLCfX41aq4raC2fXVzAyPxUG2ucdrmqxDPurMwTW1j14kNZyf6
lKkY5ZUdRGBEeqhErfBFdH1974kZrBFm03/ql/NTqvPkfLvg8SOvEyC9+mv+7frU86zCsonuK83d
B6iO+WW5MdsVJDE90i5e52Ch4cDoTJVkekKd7lHfAKgjMDHY1chJ7DDZUPeOgMdf2kV+wZFULMOx
U58jhcK7CDH8+xQ4+7jAehoCq71vO6/YOzmRlmbIy5ecaM6abEjI208z7gSUVmQdyNRomna3UofA
u/qhnz12ndjHmV28BC0C2sDIdpUJvymPXeuT447GBoepEleczvpEzRXe9GXdb2XTTligYH84HWQT
gdchgIvzAJAk+WTWa9nbib67qHb7mM4XNIWKEc18ffa1h2rM9QcyEw1/rLzeCzSx5wooxiKELv7V
LrBiMDPn7WOGKgL/nOakbX/P4IkyPPX6+FRaFhmIVJve04bIfT8N9kNkWNqeDQTr03kAxdpSN8b2
dRhgiquIJTa8BeKl08a1nDAFPOgFAvuDMcUhRWZcUmtA7NjoZ1bykWBqEaY/ZcCj6fezotPcEQKf
/kw1kAfFZn6iKC3iZeo+pi3moBm6Cx4scl6rmc9yxq1rHvy45scABq/jrv4196M/mhC3Tp8ThL9f
xtFeOkqgfO9G81oYdvDqFjxMq1wdT1pk+vd+jdEnVHPnIUix7IuDxt5kA3qYH7AcQXCbQTo8mK6P
YLG2rk3O/aZzSmyR5iax9/ZewY9xoRSKeZV9SHMsTb+mUzYsAZ8jy/fRLIwAXt7kK4Xw0c9XcZU+
UvtMPJ8atANJnzt4Xs4OfEOCwUCWzOJ3VlNuPFf2zJ1yRB7ciRwovi3tPgpC7UAxinpItUo7+JAW
EM905HLpug3O/Y0SB5tWPs+C+eaAlTRiqkY/dHy1jaW8/Q/0lfBHIrP1HoSaIvUOVOeu7Gt3m3VD
+4heHovkVzkkD03JX88egMd6kaNsh6RFijuQdw5AsUJiN8j3NW21jAYM5WVzIr+bubD/2BNt0k4D
QWfjOLQAwzODPxy8e9FdiZ0t8BfvJsCSVvmpjc3vIZGnk+rUxWmcD/KVW03R1nLqS1g5ll3cNdaT
STH/fVliezTUmbpxuoJPG5UbJ0+YVJ6xUMO4irqEqo29swKXtewx2RCq0q+tAbdQY94pi1wP136M
2FBunD92z41iIVlSlKPsKsOGMqH5AwLM2r+IRjdu++Xb1jiPsHDstHRvO+qhrNL6sa0cnnBKDB5Q
N14sq/DuR1en7DgujRevBe7o1KlzryedezUaiplzwa+q5aO9qk2BJ45sqx1uy9ictcuOYPZCbcsK
ahxfqLSD69hSt/zHl8wrEZdrgSPWjjp559uvK+byVsvzjRWuObCaQ1V/ls3Eqf5sylHNCwzij8jQ
BXr+xJ/8PSlwaKTUTK6iuSn7WtRMcGF/t2WnPFg8oPeuusH6CMEY7tD6MUWj3dph1KwKK/o6JmlE
xk3NCXlA+lxPOZ50Jvv0/QQDipIuK9SoQkeu5QyItJsoHVYlarV7oVE2OOl5fbZIMkB+yIZ3BzAr
YEH7mx6rMeDtvn2qAstZGz7VkUErsrsAhsIuc8Jg147Ecah2Hz8nTbQdLQ3mLVatgKAHljBLFsuw
Gwc/grHHE7HW5xSkM1v9zLiBZsI3sGlrYF5YPkL/ubQDblh5X8Mb1wRLcdNS+iPhnnlVHuHIWXWX
mPDzYxvoR5H242uVVtbGFn64BrM6vvpl9iOmeS4tikASw9BWmNoMxyEPh2MwvyKJ1q57A328HCAC
3M9eRyO64bkzHEZ+lpbhb+NnWb7iFpAczApiDcEXXmbKSCEZ0elybskueRhTn8GyTg5wFx4wLB0I
RTpVlm6URsHHIOI5B0Vprc1+AkZj9meL0B9LEF396uIXpLXxt7Tw8oWTueklNK18p7j9sMbVALMZ
v/gkZ8zX4sv9SYtq2MlW7T6FA8E3AF3OtzSith8+/2didzgyAk08lX0/7lAiYHaoaJd+LpFL0DEj
Z1StqzyoaMLSgM2CbNkp/JTUU3lsObk1IxqGPdEaoIDxIzZU7rcWeilWVAAwNJwbXN7tp6gP7JUZ
Zc7BUmrqsTreTqVXxgdFRbsD6iz5jHnjMUc+cGjCGGexALyU2SnJoWLx8UIQFY4UMc+qNoezZ6Tf
vMozXuIxczdJITA8mWdhRPJ1FuR1Gr6SvSmAYfl1hTLhrzaqF41iT77zK0fptIVsW23+SDTPOo9a
CbS/VECgzD+j8DJ/4U2i2slmmFmIuofgWhspbOC6OlP5ar78dVIYRQjTC/OPk7LMC65ZYlsfJ8UY
Ey+Mrt621VSEFLtSFqrn7hI5h3o/DJG9l11RTrzgNirbpPqtLUrPI0g7fe1ZRsoeImof5aGKA1JI
FE7uiZ80j0k8leeJaIAczPKOTVkgRsoHxmjT6OjC1fAo14+TAUZmLC1/0+qWeBP1H92Ojcfdv2db
c3dWeaCwWPdveQfNEzKzhrKNVgOoaIIma7BROyS4f8rRkUpdpFOHyhuSjT1LVwKW4G9WpVAXlTQA
78r02CYGBU/xWL3ZEcbhgqfXwcGU5Zm80AZ2ZfVWGXx+0iB/LobY34YKFnVy3WgEer8eHKrH5WJz
sPBA1XiM7GWzTayNI8L06lAi8ehlw/a2BhWsX0fHvWAg1BKGTMuDORXmU97q+KH12huqkHpda26A
wRLNDmwt3Ab7JdeTdJeOownNMWLaZH+2mfvgIb45RUE7Q++Yb8+ulq5jxweWYvN3irIhFjJK2N5T
Gm9ddd0o7/lzxgs5CqDHuJq31x/TVYtAdt8E9t/T4brpV+pl5yE5HWj7GfbCc6pRl9rNeRHIBs6x
S+Kzq3cZYSsT4EUz6OaWkpHoOgzEj3BRPftylHKemesl2u044Z5OKMBIepJKFncdufEP8tS5mFm+
liECOWMAzZEY/nSSrbGHfpHZjcGDyGcr0EygV0ADL7skhLDkzw+nVCmbvR9YD12mkKK89UXFoQ3U
/CD77F4bL51t6uyzN70FDiQUdUUGp4QINWhTtkjteI2toDirrMzmwGSPX7WqwhBs58qhpBzuQP6a
93J4aszk3BI8vY1OE3iwUomm/i4znPxgzU+QPw72NBzt7rNhxlTHz2OFXQ63CdnvV6n3xwS8ma3A
GHdekaBeJhWyT0Q77j3P6Ndw+99l66P/r6ZVtimwovmMKLUBBeXODgNTs2yVM3cv89LMh4rE6h0U
f4gvQTXzZgqPd0TYw/JnG7/LXc7eMe0Ck1UKB3kyV5rK2bEyDdMH0poxJRtZyEpNWPdELZMtcIvi
4vmg++BrdMA2kme5kx7Gl3bS4u9Jww9Wx7Y7Z8Q2qbkmg6MOEV9EluDLyozDXT9VzmswLWT3qFWC
cr0hWimir97UsvjaKoV/GTwnvcizLSiw6HM0pOhqn9zhXpw/G3ZhItrMcfvVKmfv6TwJp1Rvn/LA
plhRx+Mgx2GhU6yrq5sPGp73wwOFKyRNLCjHWCjgyGNao9h0SvgIeKGwCBDX+xFO37b0eVC9RyNA
aCM/TKmrHirLJ0AdU+goBEv7SZ+wFyDsSIFrqf58SfWeu4F38yQH/jU6X2ZCwYWBHNwXpLnPt88X
hBMP4keV/fy84YVju0nzKD+LlA0Pm1z1Yd3Lj2qltm8V8T8CQI32GGR+f1B755m4S0rEz6zW9hQH
D6oh7H1c5g9qHgREWdXaO7smcTibMdk1kgkrhGEcFa8LiJhwUh7N5kN80u9lnzcPoDcQCxag7u26
cqDv5tSTxVrsdim7GpptMzgqjB0uIw9YiP9QhFffk7WMsf5QsZ3EaivYYs5lnX1VASM8y6gKswtO
tzne6Os7U5tVgPMprGrMc00FE7WFKbWIdmuerYG/Seg78dJvcSzA4CPuEYNa0EVBCmDaGxzlKzuZ
KO+Wo1MO4yDEbRCrrl9zbu3/NCzngFYPj0ZhYprTNtvW7Kq1q+JLKb/bHewtzE9/3wIqivfX/u9h
+YX/+P7LedjoPWdxiIGnrlSgDoqyJLGJZqIpWuoP5Mu/24lRoPaQvRE4+0GxoefqlCxANVtlI5Hz
3qDm686oI6TEOGrdNkUOqmGXZaW5qq2+PnZyjjXPCcPu55xbTnFOO87zRsOuj5R06Luhnc6ZSTUD
BkS44U1Rxs6hIoJ/6zS5C694W3vQfzwnilTc18LyT7KVwYDdwIGcboMmuEEk5vr+44tQdIOzwB5E
QdTHF0gO3L5FyOVmvwewT+yp3IMTOuAG5qR610VfGMsvRInQhlG+FgBo4hnuoMy6rbe6WKgLMsMu
gmcWVoqD4Cocraul9dED8JmrXOrhm7ukmDMlZw1uTG4tKBIwY8V8qylxIlhFd6wm0+ey29RZa72h
obQ2Hs56rT6KkwyzGi68WNtjASbDuxZ6VVRcZOVRcncZ7G8NraIZJpF2J8PJUQ2LTkTN9rbnhTpz
a8rBoLJgJQ1ae9/U4lsxDv2P4Jpmgfmj05R3u7fyF5tt+7JTsvIcK4HNukUJcStkCa65w7Qknup8
cjOIVHGc3xdZuMpQTGFjM4cVwjn6kLCJOCDY5eYErTDc6Pkt5eqaAgVmSLBPZlgx5kEHqFJ3LJsx
1innTBv3MncrM7IFlqNWWFzl+Ngm7yxsxC09m0eob6pBtW6Z34zYfZezr5FRLpM9GZ6jWIkLjA66
IssO+KP7J4Xt1i0OFmJpEbjT/zAjmmcA0fh5DfC/ysnJip/XmH/K/zwjnNIVpj/pU5T71Z7iCirB
gSa8KjZ6p8movAO3OFLqeFD7fey9aqR5tuTjqC6mOva1LaYfae6ll4yYxoNZG09yFlZS7Tq0k3Ej
mwlfooowwNWdrOY0zmu6YOBiYSew4yogX8lpVXdQ9cl9MZp0uC9he7WeNTt+EORY6Aj0Fc8JHxyE
HNdgsO0laI5+HYhpuLKQjU5R015kS86wM+tbhqvxwbXJTgBmgzqpQTOUM7opqK5sfuZLydk+Lu+L
qHbSrWxWJaULFMEgkZA/bf4ZVLZiYtr0J9kVIfRc+zq+7bKJzHS85Fp6a8mf4aomO8A0J1Qw/waK
cHVAvvx/Pi4ZsiUKW31tswd/LWejonEqypcJw4fFZLU9vzYOqPZkQbD0NXMdR01wFLHrbxOC8zsq
qvt9q2juJsbv8oSn+VwL3qoPmANly7TScImM0U42mZm+Ganz1QJ997VDBYv3bxICFT1Go4bFTaNj
VGGH3vdJKA/uaLbvQRpXd6oppjuDPfj9KDSxY9HrAfFjXaTm+q4JBMQz1o07uyHcXc4RBxTCu27u
t8xG4BbZeku5J/o9PzDb53J0tDvVCCf8ofp457sGaUNVA4TAvyWVad5FjroZOk6zxkyuT+zpWjW9
euRzdzWhtlULapBfvaT0DnIum7eEGyD8ZsVrqTdqavMhCcBWy7m6aYHTYqN6H5LrvPokSO4yLX7L
THN8FeangG36S0k25xAlerqQaauaZ/VSbUmU/JoF7DN7SVyvPUw+TvSym7h7jLA2GaEDxcqckjHu
PLX/Al+vfU3gduF04EyPtYUM1mxS7UgeP77XCrW/dzzynmWmpeuYVPljVKjagiJK88V2tB+Tqpbf
RjG7Gk8kG3SXQovQDL67xYT0yew2XsZ3xkLx7rfhWxq2yf38mVs1ieaAEPePVtN512SqpkOLUcBC
9oOYpN4aA+JzXrraZbBnG8j5BL1mX6w7ar9XKq1+9tMUuhR0cFw2izWkaLid8zTNIyDrFdupDzA8
6e3pruG58zrNr1KnCV6xd8Agt1SUF/kqnvv+H86TPw2BExkKjAzJ9QXN9v/zj+zdZqer/nAvU64u
9adAyxsIlgDWUVtUADDVbGg2IpuFJn0AYRAC2kVmZA2rzHf44v6azXqbIFVYNRs5LA+/z8jK1Aaz
GA1otUjpQhwmbj8vJuTeMsKxlHI98yi73DF1wD//miH70ky9zZDz/7qGnJH/mvFxDQCan7Oo3cmM
psx02rjkLVSnxYF4zovKvjbBlqZojaPsivywPwEN33xkRtH9Y7SnYmUaVlq3x1vo5SPrrMRiU7pe
is2E1Zyt+SCz0XN/UOcZexRWJXdytHEwgJv75DSnd7R7pbaeKVtUjrYbpasJe49FZhDPln0fB6u1
Bc/wktUucz8OH3Nr0bxEYaltP7o+pqUh8OwpnglkoaqkW1GK4iQDuPKVa5kJiLjs+Ff/ME+Tg7jC
H+X8hnIZr1Lc/cfU3xPk9I/+f15anm1EdXkIYA0XbcObQjrpqz8OuPlWJTG4uWmo1q9m24tbUy66
iklFKZ+by7ZRnIPXVRSKuPGjPITw+9Z91SiLj77YxZwBWLkKMeTXvPl0DGupVq6L5BHzbfPQH6dJ
PX5k7XuV4UFr2An/6v9It//u/0j1y/Wh7O8b/dh3rrnrY5IbfKlO6Cv9k51U/snsciziJ+0g+2WX
PCRw0hY6Klus55iL4TqaLksr3W1qiS+yz0iM+mAEHvp4IZ7IfFdsqp9CostPVMR/YWubHOVQA+Z9
qeEntpHNRMTFNgUihgaMEykUtY6NaF9kKx5H76j34pSh6dOCJPriZ3q8DIHKH8BdWOe0U3AiKeEU
la39kCl9+DzagbuNVRyCdD1wX+czTSPJV5Cgh004V33De1K2wrW+mXNFeA+l8CxfqZavbJPU+BbP
s1jTUAUp+37PladjvgbwJBncDetkZ91kPXVDOVmhRnfAfHgTVRGWgRsXjjzeWY5AvzdOQfcmG6mT
Mk2pnc8CQN3WhEeg3Tl6VhC59poNN6ocwpuakB7QEvyZU1gqXTAUJ4XqYoXbzVFg8QinwXQ3mj2Z
J2ydjdsBwLeK/EghRPaP/jZT8S2jvNCMQS3CCjXrQ1SWyH68NgrvB5HthNLVB1sxxZJIsd/eBwmY
3T76XsCbeA9C79u/X1DoG74PpvLHkF2Rw6DkeHgo8GaXuQnXwYNFbYKThlT4WeCpPc4pjNozs3tT
HWBz8Estg7LJ9+y09wGIy+9BMN5e/O7594v/MMevljokX6/P86fW6LInN0P9mXX+RbYiHFYWbMSa
+yRx0O+7qbapoMguZROES3/yLI/QlDbszLBzFqEyQOYhvXAoYBjdN27ebysHfl1tKtEKruD4xDNX
R5+ttO9WRN5Vg+0KaeYh7sb2R2LoL7C1WcJ3VssCJGgf/cZM15Dgl7qqKJRnUP2SqtV34bbk1mu3
p+h1ai6l7WGUbioeekcGAuAVwsiMT13sw2Vt2EEC5cveqKpGBMuEBHTt0pnsBEk2rhuhWkfrInK7
FY4OWIjPr4Je/derwq2grsT6f54XzufG8+h/nxcM5dkUtnffAinfGRmxgBHj0UcczyFWaZnzrUHO
WSXdd6w0anydhXsVwNHX4IeNHVnU5FRPoJrCrBheYz0/y7ksWdB2q+Pb1EGjCePSO6mFnq7SyjmO
0MKfMrKuMygmO5A9EE9dr1lQXoII6j6jfgHIWdUdAXyBUZzcrFPlTpfU5LO9gJMOcm1yH0vVBlhg
5C26lXI9NkP9IsY63/qdqqwxWadiR/2StHr9XhsWsOoMVxFReAAMtOJR8ZLmXbWGBvWo70ATULWz
WjX6nTcPBN74PSFe/Kh5mbof1aFf3i7ED7KDrr9QCfgFs0dtif1F8VhQZA0Bvfj5quiV4jHAfXEp
X/01+r87L56vTK6MK/e4dxcKiVLfCQVKt+JdGG1/kC1KLryNYglrIZuEYcQVIWnj+tH1NkFgrKjr
BauR+ey4idOjUqWfZCtPbML9qWeS/r+DJJ0CpamnjWX5KfcuMX7+1a1m0KJxFUw3qfA+uuXsf3Tr
9lgAn27KNffH4TIhFjnoRX1UzGS8uAJID0GO+qKqEAISSsR9nEvsYKVYsbmUZ+Ru8r3F95zFMdFr
PoT62gCZgys8qNZbn3xZz1DYjlFtHpWtUdJiyzh/teA5rUs3KEhT49ehq/C17mS7NVnA3F7+MRSF
s5kfgNK7CmbUz/GP8+Urre76tVa2X9Pc6I+RzLqSiAAoX+Tpup/TtXIEV26cs2X7Y/iPc+RLefgY
zh0KMJe2EM9dGgnbWg4Q32EMqPHFCiwoOfPfAjuaOcmsa6e/BrgbO3c4o/4c0GHF3c7AStO+q3HX
O+nhRMDBDzUKJry86ZaAPszl1PFR6WJ1jK/wbDCVKOt9RhFdeepwE1/qRbONI3TuUaJpT/UIziCI
smswt/K6Hp5gEIyF9iQ7hsR+qELur7KLoAUcoVq1eRYx28WufCVAKa/kaKgnGtLnNF+klhUcTdt9
DzpTfWyHr6Iwioe6SrTHTMQ5oTgADnJMHkj0okVL+mxfzlMgx3bHMhBnOSi7dAVLrqrJhrW8iGFW
ISHE6BATosy78iVFcX/C7o1sfz8VL12lTjCWIIHI0Zr45BKQcHcvR7FKekvMxsZcL5o+mdrarHuc
wW5vYw3dfzl5PIKbeGbvzcUYhBWyC1YD2cVzg88DqNRdNPgO1Si/5wWyLSe6jf+GHiXeyXPlaVHe
wAG2VuDHSfM1CZpEXM0+GX6zC0Rfv3sdZmMAFPvDQDzigdI2QlzzgK1QiMETUL+IWvUOUS0QMM4D
hGwPYaINPL1J7bVGEa3Vvm3e3dfE7kgFEbBCrk40RKCCuAUcVXfEASu238Eha274JcFAYdUnrrsj
TBY/Wir/3bipoy8ODBUYYF7Pztsfd2OLd5eaWxkEftusvtTpVENgAqlXRtqTPGg9pue1ajwUs1gj
Rj9zR9ohP8jB1ouqZZDW4LznUYuKTwyokn4pRxuvc/cpujSSZVxuDNTyARu3tZGSHR9Q6N+LYjLP
Sp4IUnxusnb6iji/7CwQWBmJ3e5lCyqdeYYvkx3tOeqXUm9IqqdrN66PjORjCqbPDclDLKEwcAH/
GCXZ18pur04idMqXjWZDSNTYtmoprh8zUJJeWbz+a0YKyPLOanIiNtkW3Q9poT4rMW/BLmpFaRdx
za7OC3jzzQT5A0IAintyHrJSKqROfitUwKO1r1Ie9NHmplA/QJdoHqBoYdlC3CJR0NLLmJFj8PiO
Ou0lZUezzUsYpDL2lEdY+AyO9uI2Ksvmeb7s90GWyf6P+blo3qOsMLlx1Hb5lLiwH5K5LjLkFrHR
x14APaB6sk00YxGnVNkodlO8aC5fY7UL+S47yXMA8Fl2G3UwHnn6g0HwNbYlLGnvbMLJK49ColVI
KhfqGum9wDQf5R5bDiZDQC3kPwblFj2hJnHlR4gjsJ0SU3lIU816BLv5IgP8RjJhYjVY1a2f0OYf
/UKU9cZptffMasrTqOmz4YMdf4aCupGlRGNgvndupz2bAPTWAbvxvZo39kxM0haYRzlADML1bZ08
ETxXPXyk+nl5rOHPfteBgTu1lrYCujE+ipkqjWDwUZsVvxnVcbJ1ExLSCvLQfcSJzdkgwQzu+RtQ
qD+p5f9i67yWG1eWbftFiCh41CsBelHetPSCkFpqeO8K+Po7wN73rB0r9otCNOqWSKKqMnPOOX5P
k7cZujr8Sary3WRo+rbEhgxIWHIuLEDzSS9ksrecuHjMip2jaeGlt6ruiYXq1iuM+r2MtZZ09cXZ
X2/WJFiPrRa9cgqW5wzlM/FWqBtQnkOUKrXijIRll8jRfoDf9H3VQKUhPTgmTzlsw8x+0PLh7/3Z
ZMAwXu+XYoRX87f4L+w5X1Glp1kZOtJCVFlmspv7KvkWCEl9fRDFAxpF98BGlRxUObePaGl1GEDd
++iQYFA0vNtL2L0Xi5i31WDFZ9PJ63urIUh0qGZ7Txx96//daN3cqql7IWr83ZKvO6u5ejmJGrzH
h9fsMCMSjaRkXvn2gOrY0tXD7LnpVtWIxx7yvO7vSzN6NaQihdPUusemLuQlaq3z9db1i2BwtF1F
esH15jLXRP5fTQA4VGpfIeE39Sp8Y9HN0Ps45s1Sp/PNbKA2W7Hjb1Yy3uv64HyvT20AR11LrTlC
nUCKn/1Th0t04YVIbobqGScjA0dLRpfr3f98acHhbP5OhAYXKzSZYGFQItvYXcukMmqmU53GwHTW
MsnMx+HRrjm5rxXVtbaq7PpDJ9T4ci2cpA7zSfbdmQglDtGTmW2Ul2OK52Db3qCvqznAr9+6JHQf
qOKpTpPgehwpql6SamaCUOgc9TaH8d/7YwKH/t5vhZ16E9xPSCGmcTAMJ8cc4ifLnt5Rn1GyrrdG
tP4nUgSoNK9v0f89aq2PhqnUjtdHr08uVpT4bOlH+ypwQ9CHKGvVtWkwVvaRtryUq6Ltn/uvN0M+
OCft7zoRT9WyScZsCUSGNCYErnvsSA86wE+sGGKPIFWnvHwDbfhVlJb5p7lZulr94eDyneWd93r9
WepFqEbho47mYJPkAqyoiXN2VfybbXcu50l8TNQBlCtd9BiT+gfG1MjOShrjzWxVMQphs6ZHlzI/
IetuoPX0qWznmKCRixBSL+g3m+KboLJiw06PDQxGSGA0Jr+jKvuDm5T2EVbBRF9pENtQ9vJJJRXZ
rjUmK1RvDcl90+uIAPbBTfrqrm8m4tnXFYHjeBXIdrBO9mwYb538ut49OL19kKJFjwVu9sUwOzu7
oL00mi8LVxGpM+vsUYeysxWJrvt4J3Ox72QWb3UquP88biQWKfsTgmoWZUILo6E4Xu2ribvInYEc
NbjerDH73agVCnS1v3LoFo8pu+H1weuXUDR3zGBivP/V+Jx2BUHFZkitAwgPxsBiHLXZQjPd65AH
vRwoYezwUBZGx7yTzs11Y+zLfL7LFAOF/9smk8FRdyneo787qy1GdX3G35vR+mjOo9ct9X/8G3lT
Yugay3p3bct5alAbz4qm/bVf1+MiYa5EPGi664e8x2rr9cdxah71VcC8rF+SVdR8vVlY2XD0+uqx
yY3/vv/vM8bsy8L0sf/n4nc6mxOJtBLPz5CKExLEAnFdKv55Tg/deuIoD1CX0IYsuD5Crkbsh381
RkztBAT0Mjtm5F9dfyPOU8jBo1wj14r7/vkFr4/+/VU171ca9Z0/6jAI/3bLrh2xVssRmgq3OFxv
NokNft6e4juHYeI/nbUyp7y//uxUW+e/a1++aCWJt0WpLsOAmqYzWvS3sc5JCOL5cCbkdVPBHb4V
JeY6lwjTu+t3cv3OFV3Pvvb/7/tfz8ujLjpWifj813Ov/5Jcf/5f/+b1X//Xv7TK27cdOsKm7fJT
WVYE/1mSlGQExM7cZNuasvlElfNf99ugObadRvLnYMcDB1FsSlfzEbHpbru53iZ+O5qP13vpK91X
lvUURTaN1Wt6AEdpBkwk4dbtf8YX4HoMfxTq38+4HoSuP/TPM/Tio3AHaDR4YrrhLNfrJErW1/Xv
q3u9cEQvUt9GTfmfl7x1x4pegH24ikoMK1VngDJ+qBSl6V+hCT58NXd/WM3gl1fx0SAT71Yp63Ze
tewcjNRRZzQWILww3xq8jH6NPfx0vWnI/OTVmvdIfmYDYaojbVcnytqdXTI6E7ATpWtFl+uX6wPX
72IxsUw1JjoEKqtrnRTiCQckqTXIMrmvX79cv7PMZWfqRnohmnQKEiG8LWrNfmOZFQP12gNk15fV
pSdb8aS8aN5X8ZA+JOgefa/ypvdCRffIjqw/xsxuhbrot4yxYkfLuKFHaJ5zNY2kc04EFTPw9ZMu
o52y3ueUX/yPKQEp3OAiUcgnTGfXGB7Pb12AdvB7/j64PmN2+ngDQdQ8N62BniwF/OF4NnQNmm52
ncdPdiNjvAD2W4qD5qYAm/X0zzNG00E4OUSogesCSvj6aIp8a6yMbSnL5hAhGXtvcmSdqli3q7JB
A0iP/nq/MmAPtCoVt5oaxGNiZY8twuH3nHL274/X682eCO1//fj1/n9+PNST//pxIZZwm6//u52W
tm9m2rIb8FBeWmiFhzHun8zecC9F3aH+XO+/fne9zy7WCIa8mvbXB3oS+/B3595HOxrZ3ihi7axx
3D5jxIXfS8ryNna5eb3vny//675aNvQ0r5UoQJZimiQAvs4zDjiP90nWj2css3Xos+6N53DCBfDi
9PIwzw0Ic5Mg86j7mJweFYDejrcNNe7JzZprZNfwUsXt767U7O/1qXWkxo0bxjcqJI+EUbO0z6k0
Ir9cpjH4rzstRQbl38e7tuGpUs7FQZD/uvR69ZYACtxg8O2JAEvqtyi/hTRZvpa2nt4LLX273rvg
HD1aPXy+688UbgNIMUZKZsZmfAhDgPdk6CVMWpbllPIf/LLTZ0601duYVR140Kzwr3dzcRJbYubH
KMyfmPkhQZ8oS4mzTs7koZh3+E+Y5M9t8Tsm1g8na/ZhoA7fKmOej2U7JecCvSEH3YkEyuu3ep/9
GKVJ4sX6QF1rYxG4bt7dVOvt653Xm/lMkmE9BpNn7NknE2QxvS+6WNtbg1NsRosKG/ExcKuHZGlf
7ZDfjYTvF7aw/uJp+pvNUfVsuVCmiQLdS4yA+oDnsoknkO6j4Vs6cdgTGv6DIZd209pGA5uSbHkc
KPAC/NKrKD/JCKiKLNknXvIAbobC005YK1qOGp39gHblLjEwQi4ciF1v8TYUgPBP+2I/E5907lfO
c5VFt3kugcgpJryZPAyViUTOJr1/HIdnPOdoeHIaI1EkPwySZoSOGAVdRNvjs+t6+Oz8/clTERJj
4MTtFrRWvYkRwfpzKYtjGBsleHm5Ka3hmQhPipYKJ4GqtytRfFkWDNYI9aR+kNH0RED+TT5m+PYq
jdOXMvMN9qUoIL4G2onmnBuXv5KsGshcLZP23CSLwEWzK6b4RsaZn2kOhFjVZnsGRIdoVFjuwUmV
BeDnMGOonra/yHCD4CvUqTYycZ81RvnijOYvJBWVz+zsaIfpD7BlJF/Gc2ij9/dm0MFFZtORCjHw
oJIhWvEz70XnU2usTMVGkJK8KzjqPShEJcwNNspGxJQ3pnaOuhQC4JowFxNr0vXuQ0c3wzLsYVv0
3XPFdR6o3qzv5rJ8GEv7XljGPrTgVdeZhkE12dSdrP25KmbOjPA+WhDYN2WGEqcKVVATuY+akLmg
UYC4AyNVZcm7KR5wCR9BdpwbYXB+dnJcysLCWbroxavRQW3AQkhmSNSR8JhU1JXhUVL3tXPr8Myc
nB/zR3qhohxsh02zCqeWMZTBbJePYWvdmNMzZ/c/idLudHLMZeE+z8q9yyaKMpcxcqOawecgRDwD
hNQGopion8oY/qoRVR96oT0L3fLdEab8lByV5VKl0yjpPMf0iVWENdvFECxFckw88m90yBZTrJpd
T1i1nzDsGkxo8s68I+6FWIrYJWvFSbs710HKspgh1EYjhKYgliDP+Y9KMZD9LieKw+oY5+MBp/Mt
2dk3vKj3vTWjGUgOEQJzsK9p7ac6kWauMV4YGzwxin+ZaTRvYk9+m5aHs6wtCRro//R8BN5ImSZ1
W3knPZ2zPdKIamfQb0McBs6Xhofyq0h9EzfXb9F3EpEVOkx0TkY9FjtjTYl2O/AlpsBGXSxvNMKK
XUgzJ+r1hpCey+yoLBidwqRbyB3OIB5EZF/cLvzWJOAJMaWQLxk3pFH2I0yBi7y0wd8AMDXLed87
2b1beTTZwRiU5rAZTbL+RdKnjCTLb2/OvivVvDq69dxMq1YMwSaEZV7AzqTBQk0VUVTyO81wY+Lm
bc2tDsEnDLI/1eLcW/aN10PEzCpxkNl04azGJJIQq+cJbwyds7Nn9rB8K2f0E9wCXmQUWz2WG6bu
0F7djnm5hIpXmX+mOd6H4nNwzEfyTSFnlARJ9+Pw4xbzY2R536NB1i0Y701dG4AqU+PLWPKfskcZ
OKmwRTPPHyBH4q+wWaI3cAO76c4Y1HCszmifGG4/QH3oWcRog9VLHTgGEeqiwDvVzjNDBhzcdgSK
Eel4KwFPF2Wvb6x5NzftebLT1RFCKtcyk0oZvleJ2ZPgW9+nSYrxOayOrmt9sm/4Y0aV60Kw4RQ/
bPXGxn82Hvqk/RXNpkvWsPaEevWxR+daPUAcE7gn1AXkU0k3bcT2Fr6HVf1kVJO7qcr2y2lLEnjz
5LPotxUABL8a+5LWifixhl+mn8/NcJQe7XWPNq+VE9bi0NDHQ0gwfGA2fJZtT5abuu+egFjFWNKQ
hgLM4w/EaUmshntsa/vHITd3wy5Dzn0+k1zixZQCzRzQH3gkT59+b26kW92Zdkhg1Qbv70T8f4yo
yflO0G7vw3dnmQXJ5CS7uZlzkngCfd2Ktok3SrT9NmmwFlI+l3MpAZkzn0NRb5DhTiLXCUonziMz
lw8zwkAtHNzMjtcFZbKCirKUSKeq80O0dgaCo0DVBLVWqgLqW4Ej5DAozcHdOF1BuE1PJPScfTmw
RIOGVIWNnT20bBR7O/ZIiZ/Fnbu02eF3ItxPGoa/B8r+LaXtZNpDUBYEpoVZnIEiake/dLp7V59i
ZnnI+erljAiJ+jUhZ5jto/KVeo3bWZ5cGue+R781JJVp38ZZR0eb5HB8wbkga7mgTgDHDWB3yXAx
D/dToxckV0dvI//WA/aTO41YiWAceAPMcjxrorMDVnpykQt9O9PP2kaDASI8allY3CXxLSyEp7ht
HpNIC/d1ZKuDlWgPWPZoCmK4pgBafTwqoLbX71Idxq2cdovZSVwepn2RjnGe0pH8eixO2pI9ZsgW
wh9t4hJYwmVbNGTg86F+6NNTE+XEGNvJ5IfzcEtvQiMk235eYtaVAUGnYO0UBOf5c0vsVLIYnFnw
3/azuOn6BDM9eEZ32ZUt8nEFj2hHG+zGqfj4Odb4Yqfdr7g5tXVvbg1qsdG0IZK0lIH8jbavlg/H
MoNSDWw3DMDcCCcc0oTbGK8PKF3q4Rarpt8Y+XeVJNFO4TQMZl66eeIsQATcO3blVyy60YF9l+go
dH1T+otPfoLCFRMxyPgyRPOai6XztYX/GEXEbRZ/LmHK+W0Rko478J8kilj7mWeT9bsMU7xnz8iC
qUv+OC3FiseQz+4KkND0e43QjYJeidtW4kZkGGrtqETSjWSTJVYWN9ToNpshTB+MivOUmF4ys0FQ
3OWPAo3nUmb6pZLzA0nhLjRFuFt9Y9937SGdQUnhmfGtvnylobwWhRkHihFdYIvB1YTXObp241uZ
kgRgmvIAc/EitNcEuErDS7iJor48EWJrbZxRPI+jJnediF8R/psHE+KziNp948RfDaLfTVX02d4i
88HL7jAAhfu86XZEbO09EgOCQoOd41T5UR1yhAzrp4wDOeczq91QqdyGmJ0JHm0+GJn9ccocoFd1
QsO7yReRBO5g/C6r+qA75UfqIclxR/RBlslKpbeAv8N7J61+8vyh5ki8y1IHW50932qd22wHfXxo
DGxDoxHlG/J0Q5plq+GUuiJQkI5RLOAvJhIPqhoan1FNm6pauu0MkHkX5mWg2eHFzC0oMBXzfDdT
TyZi/mCZQ8DE2o9lV7Fv9AwDCjpdzvAELvik5eYfGOnJqfjotPQliyMRUIIgCzHUfWj192OnRgg0
2dE0EBy502X2aocz73w/x5kD7bch8LfFGKdzAuWIFMqnfDTRXU0mqGdkzKyoqEHY8DwuYqZ4chMK
khy7+g0PIaEg5hoVM3k7+CqJ3hIk6viTICo/9YZ4N+Ws643qn/rGy3x70l6mCslqReb+ekZAOjzp
CCaML1vaalc2+sTm/Rgu8zarMspUlz9paYZDrdm/ZURIUNwrJgqxuO8yOBX54tb3SyzKwK6yfTrr
1u00Nfu0trOtNc1DMNkVQEA4Mb7XyyUg4fM9l+12EhbZ6UCYm3lwdwsZiUERVt9x5n1q/fChJ/lX
nMcwQcz+bs1bNeMcJVs63ng6KREV4PQotelMsEWPs/EyzKxEWNFuzboJNxEIW9+lTb7PHdi8+TSV
5B446T35gkQ7MI8yhztpQaZuktqPLcbf4M2yoHf6O2/BNE8oAa1Qgi/giVEgxWS7p9lWg+G2U5P1
Wti3BTFYqXoHovOQesIISpz5Ja2KrRm+5STfbpvCfdDDKNwtBp/DSue8V4AVPpjI+DDONgaXkQmW
SyAuIEqSFCqjbGCTsG66Rv7pmDaB/Qhwt07aF1uJIYILBIWMuxB/UdJpwroagWrIe7+iubNedvUx
m0kInYwA+LN+Crvy4uXlasTua9wX6JYajxVZzmlJAP/0KxptiSZKQzAjP/SQKS4WJ/K0XNqxcX2c
c3o6XhvUmYN+FWWNQh14ll16jkA3s9vh8uzNCIdKt7Nrw964qb6fQ478kT3X5/5EZIN9mKLqZora
L84i/UFv1bwj5pBZeS6Hk5nqxFWSW2/npN4MJkMIkrcnYxUvtVnQxJzJwsxgQ2o4V8iRJFrnqcmM
XZwA+iY1Zt4R8rYc+sIFeOlmT66LL8W0Z6YChobHuaPt0mkQe2ZTbM011L9u2T+X5mSPlcA3XPrK
HeVlNJpnTM5IQMWXbThcShWjHyjjNbleHyHhuBR8sAmFAULZKlClJF33e5zCu0R25a/MFIdwzb9I
nS6HrtUfDQ0jcze1hyIHz96nbx3JRBsKhHhbWhZNogSgeZnupMTo4FI2jDRaYXZ+TjcTfOQt8bRy
bzWjj6XS8bkiJo51YqNrJg7QCPuSl71UdqPvCzRHm4je6FYrtvPi8mlwQIHWRfpUqmAhJIcgtMWh
Qwm3curMFDYClrPZOHdhZB2VB9Vr4fw9jCOfUlOHOJHhsdFincQ593MhWWKvWbX3VDMDYdJzK8ZI
I01mlGSJOg4esTt9aT4MfdgtzvzD3BV7Adme+6SkGIV4Hh+r4acJw98ajik4ONFr3/DXQCY4JKb6
5VRhhWGcTonnhXR5jQ7eqCpI6ykVgqje9VWh1QfiPZ5DYdbkKz3TXio2NslFT9PIy4Jp0wjzA/u3
FmjelqY8Y5OZ9dTgLXSz7t4YumpnSe8PemHMjVDoUFTaeyNNHhJZLNs+Te5K04TgQgydn2T5Pu0N
sauhIzLSqfncMVlk5FSD2PFdkRt+xjs0mVa5B3VzjxBgvDGAjbXhvAQ6YsAg18ShnlKXfi/DWy65
skbL7lkUMOmAGiLRjLORzqyUNh0uIzsaBEnHMW1dyyr9tOfFF3EPE3FROQKKFFi85tTbytCfcxmN
29oSt5auUzJY1qFW3eKznqigkDMLiTF8NHp81xDcvdFFTE6gbn7mEKCgjaW8hw7jz6kbqGKAjGHM
t06GMb3UDOXW94GygARwrq3wdslZIBeO8EHcu89sfY+2HnlbN1zznX6VhPsSItAaJzSQYqPwvwZD
8pr39m8L1Zvvidw8VbYI91Wf3CQxn8aovLN1674oMhUAnBEMHKxv1us5UMsqmC3TM+56Df+mvgtr
65dutBDDxvnTKvhNp8VydpCXWWesOXDaZSFl3/nAWb9rsw52UsQBqJu+2gQL/mx4HNCj4VY56lF/
EMrhEEgZYABMyyrkvvXoSUgqYmXamU+wElkSoq4AhGL1G8c0O9/tCQ9KPM7uOfGDqR1roKhoQCEH
LQKvKdaF8ZJ7bbjlVMHYXGwlif1hxQ5shxIA7RpKEo839tConZMbXHEEKKfDl5G45T7OyNslyJpI
OQw9ZUQ8Rc4sQovuKn2UQZkWt0kricW2YKvEE/s/doR7JifyULb17zGRmykhpbokbOSkhYZzo4FG
sfUl8tl1AMgVxhzYUXyfuc3X5OVYsjsnOoWqPWTxC8wlWH8yOy+eQJXRuycjUanvhCVyV0Av8xpV
R5fIzUS3FyUzArs3R7YF5NNWRsdEnsJYPaohxkI0emRhGlUKtNWVMPjEsVxwUCMduQkb+5ElJ18a
TF0LL4qawXaZ03wwBu5vxvQx06b83DXqk+jD5FROnY5ioriJVFSyVMKNGlS7aWpWuYX9wAdLwkSk
65ydZPXDV5vsVVfwzJlWpe5kGyoAN9AQBYT1obbz8smk2tIqN+LTlgSpLKtA7xGZGkyuPRyse2m7
LmLJ8G3o6AzUkj5aR+EB3ba589ayM49sZIwzxW+cFndqWwynnvZNkJVJuu2rBgRfDFGNQJ0qoL/6
6ooMHJehdYe4GL4z2FEcQnC8qknbu5TZWzNh9XeXeNh0IZv1kkCb0vAq6CrWj9jr661lgZ5S2da2
uEcmrDsspBidcpoYaQSfrSPOlI89QQWOvaX0FWdfXybXT2fMbCHj44PAbSdNri2Topo4IvdExP98
mJVA+UT8eiQSbedypU/9XqP6DRJ88kBo7Sdz9Q80aGl8Pu80d536PlnQp4MBSXbOnCZBNsUHZF9r
vzeX53b49pa5OeEjuJSmTXSi+WqU3acLvqbKOfJYcNg4qdAjbRrcjRU7SeySLyAM0rCtqFkBr3Cy
Eg+KeggDVEulL5thoI1JrzuJ43flmtMJsvBhaWhFFUgcunQK0pGVD5l17u2axFLwC2KO/Sl6evZD
fUu81gjJK8tv2i41N2ZGXrnSOduLXAXezNqcyqcoDdOzR8alV8kM0khKN4yLBVm0s0867KJ1kuII
5vNSSLUrrPa5rs1kw6jiFVdWQ3iQoNHfXjKMdUHrbUpVIKUi6MpvLbayPKkIb/9yewUVOWkUJksM
g878LaaR194c/0wlndc4PLP1dsECMYh0VpoCZNpt6rkufZnL9xKkCuhfwFltWL9EniS2xkVwVA0c
wWIb2ZoxnESrzT6mp1sM3G+MshkaTG6Aos/xcyx8I+FAQT/bbM958e4htZbjk12InyazMlpU0A7G
RB3qvIVptWTbSNN816neDWfER+OkIE67ZDf1IAjJnURc5mAV710qBFRmGjGWOYUvuFz81XPzO61y
fjW5joU64y7GECxz90NZ4kOzFmgR83JvjO1bohwO8o397qTti8fnmtBEgIyKTFQMtWRIJX/KFEMo
emqCeE3UkcbU7xJGNyhEvTuy8/VdimuJ1sSp8mCFR/1SBY3TnHKLVSnJhnObrnjbileSemyTyYJL
edrSN74hB+8Ce9MtmCBO020F3jGUNKudrn1xoqr2h4U1avIASQ7I+YPepIxYpHFZUBmhrWThRFSu
1cMnLGU3aMvJgNsUn4Q2PHUdnNkFSCS8zugRE/b3eDKrSPpkopHxYvpQ0Kn8C3J+Qm/jxVSIil5S
yC7CG4p5wqiPbT+dtIIF3bHiFFRm9ac0611lTukegsFdaDHMwjdyjICsORUaJ4SPftIDbId59mOM
cGf3aOrehF5kh3R6FPZMay0ZQP1Ft3Nfl7uqJ0YzTMS+tkWQpChAi6g00VHb+xznLMcEXgDH1L+o
hvWDyAxcluZjnZcfydINBMKHXzSejK3TZAdQxdQEkzOAuehx6mllYIr6EiE7XHTW56bdtrzt4DSA
PaeS/d6sUBhrILJivftVWi1CHTEGC9oEU7XfehM1lLXtGQ3zAnmROT2SXd+t+sU3w5Xd5vDB8swL
sMULssr6QCW6E7zBfokslx6R9txD/GONnW9GWWwN2ezibHkHoqQjTvpgkgDE9BZFIFr5VHsmWXbt
FzS+jeXZR7VH4xr2eeR5h2iQPyXeCX9Y+5xCMTnpwADFEqWlTOt7MVysRc8Pqml+auh2LRqYHslR
PryHnu4eY/CAoDVKLnQvofyI/iAUHzeLujGyrto3ZjttjZEgPQXWT3nP5Ot4NEqdXwXMQf4/yubF
IUBXfdeCLnK51EejYBA8cUWEoHDPnek81yFLXrn8dBnlNVqPhW6udx9Gxanupf5ojF60vhZ+OmRm
MDl+TYrkxujY7cd5YMppUJYMy1aTW7T04tRzLvGQNmg1p24yp35blge2QHi8iBYA6FURmfFBqtT6
B+WHkFGNbg/d1p0ckHBFVfkaknUuZqB5Lf+3FubT2egbYC2wEWgVsC/a2p+8uNhtUe0ng+ZXwiF0
cQB2Lh5umKrjCNuaAKnDCUlsupAghVmnYdwXOKlV4Sfpfxg7PrneIMmgj25RlHLZspzSDaz8sYH9
Z2UcHTxX+wLnCa8AVikgEsdXtLyy8lDSgNtmpJV6WCrR65JqwBQ1sEeXhks3HhyTPkiZPNk0GSif
4M9ObhaIlpBukG+aXzRzheeXKVNd03jS0s8iBvJpzKoFpuFyiceWT+90DlAeH90F6xGBemTFFt9t
Za2/hEs27EIPU6BC3ugVTJqaVNm1RNfD8UAs0bDBEf7MgAfHYPJ72JXWSk18L0FfCrV+bDmYJYUX
sCoPpDCXj23UfefKs4M6r+H9Kvq0qXNhf4sDFz0rqAOo8dK8MaKyBEtd01eq7qxx1cT37I75JPyO
NoJoW0FggQ3Yt5SnLutPPTn7Rd20xNsvJ8sjinvdk+DHGS+FvlzETGhCldqgwU3vBtTfNoToivPM
dwhjOXcD+F6DJLKN0yAKdO3kxTaS2df1ctjZWfwEeAAMG5LxvuClbJP5kxIKY7wzktNIOljajQ/l
whZf2uKh1ri0Q9XvxqkIQvK1Q2ZpqVueGJuQZhTyy5UDsIYe75xT06mlLafAD/HGFWN8H3My3GQl
Bkap8q88nH7AJGfb1rCeK8KuUlKAg3Sa79n0eM/TNNl5jiF8fdT80NEuo1u99isEhUxIggYIIGD9
+jPr0a1h+1lHIwfjkN+H6i6ZqucapZOMt/bYj9u805cz+KFLLh8iS/60YOJRe2YfTiYvqTJ8h4K7
EbCZ7MSFtKJ9Ej46+WXGEK/rOBVaaCJ15RDOynjDWqLHBhhz0hh3C/EmRegBy3gScTivBOLX9d+w
3eFlFJI3IDp6bf6BSHZfRt0XKas266UHFT69kKJEkJXIXhlpnxiveH5qhBPNRu+3XIZdbnRPakz2
Vcjh3rIWjCwTmynlHR/FwdfC1cyiJx+InBjp864r65i2jBeLZF58p/UooGjnbQpiriIrgntJnMNG
q6hEi/pmZlB+WjeBXsKyMd+NpMSoAJubPkWFQzs/Flp5y7sp/J4eE0o6xirTGH/rprUXAD08qnTP
fB+S5qbN0rdFcMkPbnM32WoGvjx+Ew3LKEvH4+xM1UNf95XvxbUWdHw4Rbg6Z4WUO2RlH8Oin3D8
EfmavxH1y9I3cBqtMfEInVOjsEA7MxSqhsI6OmV8aw6quQkhAPtmOoUI0MJDaPObYwsrAxna1XYe
0s73nAj1Ma0gyXSP8unWGiPlK7ukP1ucSY6Sfanj5WR7cEp9p7fM49MJ6dJYJ3FgmiZLOgeZ7TLh
rtSRzsK3+VO9lmbxUhi0gpIMEVlkXRKqERFyovR09ufYjm96Sbq2+aWIBPUTA9YiifTxZs6bLXOE
zRi6aMCGt8KCIxuSKYBmiF9+IQUqWS0cBPZ8cmaONwnj/x3AakUXUu2GCpSBxvQfOQWScS7h5UgG
IWvGMKNO6G/aKb1dbEwf18sz0X+FrsCZwjCiLeNjbLOmA1e/wXCzQgEADMvlJiXhykd3t1nG5TEv
nsNRWY+kxAQYHDyf8HbO33r8ONgeaf5UiHlHNydF/tzbzbFpcVRWxXjR17H+9Vd2EtfctG551Cnp
2prqS4dr4g8xCU4A3yhc+SAWS/vhENqlVmhC7/VbVz0NNee6nuiLyrK1bdab+1L2R9q998z+f8bY
eY2j+cmq8xdP1Eda4T+uqO6mxsSC5sL2barGDFpAnZ39pLtudpZOd9fCmE/SdmsoFMiLc9FsjMFI
GnumhrQ+JH2J9eKlP2e1GdQzZiSEiGznpP7qUSHZqAFHBOYk6drtti6K77it98hXsw+3mtZdpbzL
epe4AAecTGIWoM3ossU0miRroTNOuxZ/SOCQOuRLwdaDF4PTbRaZ9B9XNSTm4KK1MmptdMDuEPPJ
nZzbJlpjaPvxLuwn3h0VN34k6zd6R3QjmRF30jz9P57Oazl1rdnCT6Qq5XCLsTHO2cY3KgRGOWc9
/fla69/nYpf3whikqTk7jh4DfbUvBf6JGTplIiPzsSF9utIy1Gk7V320J/QvnTiqtkv0BnUw9Stv
rkRu9zOkVWwNpH198VyBjckEKdGGGqpLenRVICvlGcVlhvPEnalKRTV+KTbMYy5MpGBMCT308wwb
sFeW6ZU5g/1VrOxmdjp9oy/Ub4zqQ1G6xyJEnADY0qtnUXiHFRQVatv56osYlU59C3Bbv+mQ2dvW
mzAZgPVTiiEigHnGIDvNwn0HI0/vUt+e0uwdQMwVLLOwf0/jw1CU9lYbu/fBUmF6DtHOXuLnJKWz
m7hUDpW2BZyASs0Q2zrHpdjZCyPVulF96hoVBsjLBq97mnMwDImLA47c5jyqIbZT10EkzLdl6FZX
tprFN7n/UC+5HNSeWNJbAsO0PuLhQZ1jFIssr78dq+Q97sObmMLuplT782DWLwPj3xtE0bZCETei
/4HqGGj1qGivFlXnjEwISFXqQjLjag+K2b+oLqqBlNY/HKZ3+JiPLjnasbdc1eaUYIS0Ix3Vu6zG
iQ6JDoShU2tcP93F0Li3i+q5N31ANGp1V5Nw0ntsr2VdsRgQzo7GjZeXl6kD1lQ0y2+ne1dW2nyQ
8d8ruX8szei6jl5QVveht4YAu9McRoHgwyqY7Emm4tlDwAlOwavJzrJt2HkvEptC++5uEDxHqHyy
zdtJV45LAmfOlP9MIB+HiUbV2NDG7AH/NzU64LBhTde1ar9pbXNXdmN1s/JtzwvAqnHqCZIo9FeO
Rbjsq0zH6vNVUeZvbphWu9Ax8fnTQqmZaltmGI+eDhW2Bg/PYPop9RpC4bzluUAprW9Nuwe2aifH
YelKmhaUk/O5gadVXQKg359YRTiEuqyiOW2eFlS+Nk5pBWOLaqBL1RZi6sBK+0s9engIfXiHzm6+
dYBIXlW9Zm40LximismlNHc/2uhxEK4qN78fpxojH1LW7ZPs1R25dfh+g3aktTf6zYuUJaO+vE2K
aufO/lcRR79amZ5JpY0ZqB7DSi3tdX0XUlHvYBWFJCO7grXOZEwXd1pNFDamyfu2shxJOJi1750k
+nTiZ883gWSZEb2cmSm29Kkzq71RAln1/M+E2QsE4yGLNOF57eHiRnsQvqVYvTJseMshYra3IDF8
tlf8gXo8FJoUPEAavcet/4eZuNCB+Ign49qkgj/Xxa1uXBcZMDvNuaVYMlUx/DPQSBZOeV9RSWWq
1dyYRCxXHfLKJggJkKMZVIt58jEtOh2g4ldVsJSy2WYeYOLQr+7bvN7ZxfDoQ7drxbB+zfoDI7TP
KKd/eoAVkLKsmWTeIOf+5lPaXmoadGZH26ahmFafJhe2/kgHSUfrAQXGdx/NCmCRAB4j6fzM0E8g
BBAxPhzjMtKzDRII5qD2r2Lwwy9Ip+MUZEzRdZ8RGDUov+hZo9a1EZ/iDu6hiJGML0ecike7ekwg
zzYotIadeWdTufDQN9oYNkg72+9fKGfTF++ebPU79DJaxdRPrAUN+DyDxC0st8ArUrZKBecLnW6s
/JWeYbgLSJmn3sJKMOd+NetxAMEes41OuW0VhYpBj541beXlqpp12BHKCxQKez+L39IK89DFLkwH
5JfzMG4BCqIUwHjc1nbzu7Zk8NG9Gxv0yfvQpG/aVXRbQSw0czleh4IRpCi88wb9um1Ka3/TK5gg
TYE414enTFUs1P1KhqCL5RX1ZijZl9S5JU7bOdr8YJJ0Z8uDZ5jxPvWMfTi3JIFeZGzprYIcqrt9
mw3vBTkTjRYKIS71EqCdkL+FAEM7b9ebzpe1kDYhCLMBEQ7OrVO+66jP7oYuHFDd8IzrtC+n637s
sSlM6HSGqz8bNc1hl2pCPjTXXTqaDygjFXoBm2fCtnWRm4AwYwEj3eyqhtmFbPDvK3Non2wAbL6e
IPwWgc5tle2YovquNMpDojYaChi4D79BKi2cEzaDneT0ggfgVgwSOHBKKAUsywymMvkcM3EMvGKj
JpSZF1Q1keMYCVogFQfvUzLs5g4HJ6dX73CvV5z+ry51aZCnEUoGanHX9v11PC5gADsj++jzmD1D
yS7pVY/JG/8LGDFlDO8zNhAg00ZoFf16BtbSHRiawhIrLRELAzPUGK5mbXluSrBE8Plt9BHDko6v
tQM2Mw+Tl7Gk4ejSlTJtQl92cBSSLKBsJeBwKq5u1727AAauNI4Co7voiXb1BW1Wjn6lvHqmSvWv
LxXukU8ak0cQhQYyfmkBGjC+qBk2xk7jI6xrrhOZO7oopNhlyrAm9OZmB3WJauwSx0M/hiYu6NHo
2gQYWhTbOF3abWb4j9VA+ojLa5aza6vuT2fQ3ncseDWlsjY6ACkmmzMQGneZp13bcwiYtHS3i02O
RquksQw4ZtDaZcZXve2Za0RJPLl4s5tvqqG6y2IIfseuvjEr+OkJLPUrRYNMzjf3jDwwwT2QqnSW
0b3CN/aMEBxq5EOAypd9QwR65dQgufJBoQbTYrXVYr6qx0jgDvWropj3nXQC6DZQJoAciMG+6IaC
8B/oHZjEKjQ6kP8tbe9Dt40PpB6eAUKR1VCwMczpDC6INMq+LRyXnpx6Lmnpyk/LNl4E6ta3kOFP
aJYwdOuOtNHt+VhmdjAlMMOMEbUP9UbtaJy7zltZ20FhxoHiFwHDxqSv84sxZT9KNVxcyzsM8Xyv
4put2Qhmgo2sns9z862Mzrfd2Petgq3s5rPuV4e0086em0LP1GF7nENrKienGX6HCpGErr3hxAVV
NFyycvit2+4qneIXFT3xrgQKkmcBlLmB/IT57hzDKz/bX7GuHZtyPldOEbR186FEF5Itu+5foyo+
j00WpBINqiDExouBWHGk8dPMHzI8C0hrzNxybowkgKX5MgP29U26kiJnkATuEp59CnalRPJdFG7q
NKUS2mVXS6k8WbF/kj92FhSQPaZ2Uij4R3il8QBRNBwTTgqB3HjW6zxAsg5wmfHBYKy01c+ADzfq
qH62y3Scu+5i9O3jMjvAbPM/+ffiqz8xqN3ZDOQjEiX9NstnP9PPk9Mfk6b6M1N6aAq8xMZ4hjL8
CBPAYyahW5EH8loMlWifFE+R5p2gzwjqeRTyqiBMJbl2X4ol/daAaBfTkWjq3FNac2OdLqfO9Kdz
kp9Lzyzq6N2ohbKXj9CK8EY17DutMgNn7o8dnCtF7d4l+bK+N7G9kx45QDdLop30Vm+1b2d+hsv+
IG8xjOXY0iMkOnkrLa4kno5I1wW2DXLROmild4q77lful0N7hVDkc9GFMN/m9/+WjwWfjOWM7uql
QfDGTY9aRc+u0s8eNNl9v0DLPF5ih6YaergciGPMA6XVdpkVG6oEE9+6nPskOsP8GlK0Yhg3rJ5R
ZA1ojgDXtwck1NBu5UuYdr2Pcm8nD0/2Qp+134tx+O95ygNfFuerpG0Mg/wmS6bXNqMPzWaQTSFP
QP5U7XLAJuN+KftnCxW89e9ZIqXpj2nS3NUtPkLYKFgAWQSyzsBaDklkvmv8r5clARWa4GHKzJOs
Ye+zAx053fm+yavDkppBkXKYwzH/rLULlL8nYFYHQJZgxMKd1863SlIe2lELmrb7nKwfYGHvjs/g
dLcxmL3StWd5tkvIwnIB7c/Se4F8A3O4tPnn6aIq1Dvx82azJf7rBkbGEUMc6VxkJuGrQbEW3SiS
uDpDPk3+VP4b/SjwRTaLa9X8k/xMjfGtGMGfJymip1yl3F7YwrMWoWGnRucxms+EpRtGcz59BRXZ
0FhXRi6OiuSjBcHWkqIXBH7L070T8K4AYqSLqZuHRZnOjfk+l/VnHG1YFVTgOvU71qcLlPyBrvP9
ShoAvN7NE/DJJbrTYn+LjAnSnlkwDdk9ZAFbQ2Evw9w8aDasaFoQcj7k69FeCcKP0TR+rRh06lI/
+tG/Q0UB6l53vK9Gp2UVduG5HLtfubNW0aRzuVO6fyuit/0lV7SrGRq+IeKycrTQ08p67KFEXlcb
bYqLLBQSMuWU/spDXA8KB8br83XJmtY7mTzksSyY++GJ9NZh1hPinwTicpepEc44QpEb08xfAeGe
0yY8ywN22Mwl+jGMhz9XY8+IGMz0pfoQjeOlXfIgaRlY8fvypinpZM0zxqEM3Fk59dmzGRcf4gIq
xcCFxIf6Riy3YY4XnZrEJs8yNMfAXXt8FYNJBAK4Gyf/G+zNPMP5gh1tmVei17gVE2a0qDfn7dFb
9mLg5AqTpHpKQorDLKqYJLn1bkqDodij7XFUebj2yLkNM2Lt+N3MoAXpTKxTyPlmq1fLWe3Hs5Nd
53b9lc4zOS/3o2lWoGT2NTI+9003XZhvDSgd4ySLBBN2O/v5t8qiM+xEzj93FNSie7OJziZOlJJT
YIKhkqERqUBhERuzP8rqa0r9W5RnNY1RY7EOskGa2T8Nd7oG6ph/xWydSe1OPomSA2ss5V+rX85i
IcU8yM9ETQL5/+m6MF5tbfxYvYsYt6F1D6u/UbWXOvO/KuyPOAXqo7HW/TKhdJT9Jd9Dv+VGi72d
HzITP8BBN0zH9U9lZeTSfCaEAIy+YouDUs0CMCVvrfMJ/fMJROEBFcOnsieF18MAnlQMcXMnWywp
1POQT5ci3y+mevQmn9kETncKr1xfWDfxzkrSfy81iUJIVvy11cBH0T+S98lp9sVWzUbzkoCWi7R4
9RG2RjvL/RVblnxZTv0je7Ti8cnSzrX6RRLlPUKQeI50h146zwW1v9vQhCKOJRDv5rCQYkflFh24
novjSEGjdkF/JJ1xWO8cBTLmMnAqbBIfSdr5PURwNWenLTw65sDPpC2fg7aaIDljslaUep8dIAu1
Px7l5iFsvJQhlbA4fyqX6ZzG3FlWT8QR/UbXlZfF9k/ri3JooV4C33Hl+sCP2T3ykmw5EognVUu4
BKBR69KsJjwrfrToph77iwHLg6zfUH9Xifaukytphf+KYPyZFjxiwv6pGmtampt5mo+xXIMcBfmO
lCLKkGjbuupu5GL/+17d/1Nd9g1/qqrqTj7G9zRtkyTqY7Rgm3k6bp1BZpvcM0HzYvOdq4GWD19v
Sm9eu56EnlXwItxL6ywXo/s0hHsCPy2rlQ48Aioeqn5UvOyN4ZRN04RfYiPUWLyZ8xIx6idBhOzW
Og3PrvOpqs3bf6dVPiWb4JE0ekamITMCXSHPQt6uDv1tMSe70tPOjske7w5iV3WwR5lZX0ea/cin
B1bBBumjADq9r7TUzmK4JDoEKKWR+GaDw4WY19Go3VPO+NKivVgtH1mdtv0Ws5c1yUlx/z/QElMl
h9PI0juL3rdYZF//9yS6mLw6AaHXX9yq4PjBlTYqzimHTCjvE4hg4r3YDjk7vT4/xeADZNvUPlGb
lv7Z1DtDHtJ/L9H0bGrjSdZxvWtN//Kr1z5LmA6yH2T7Z3xSMabfvvKqhGZAjLs6ciq3zHbD7KPo
By1bzrKtU5XwLldu21K/SVUETJ17KpenXOxzNE1vRTt9DX/I3EClA9J0AFMQf9A72shqTWZxUIbq
3vRRJiZEWhhuaZLwwVqqPyqAP0a6l6BVDh3ib2QONtYnt9bnm9HO62bCKac5q1r8adcjlWJAmAvf
DKImSHSc+mSRUXr3V/JtWrTQeNXOraKeKegXWf7eEEWEeOqyceBDN3ZDgulfQMhhOu1uZ2rrXczn
xXPB4TSPjnR6tegu173DJKKtJhD0wSoC22+2izk/pk77K86LyebA7+mIZuhgdXaArusxx9lqxznx
bjoGJmTX6El9kFQBrB/qaN5dQ26yfmevxV+F/YE21VH2zb/7tJS7HNIjeQG2gvM4/ExK9znSi9NV
cF6SKMhqKSxSQiTJ8DOjRcmLLJRRSdw5ZE86aGEx/kohoqDjXoJYFf5PMfUjNs6w4udZtQHqmKeO
YZUkGNTlCJPiWV9+eh0EM3QgazDYxzjXOUECV9mPBOo6G2B1Mf9zL7KbW8M/dMVOPKVRQdtLKMsn
NrokKDgBcQY96jaG2b0xL3CSOFBiNl/7HtvqZzU5Yh7mvn3TtHg1FWRYlwlT0ujVCb4JjJX41mVI
z9Mmb/GwDfKDqkLzipfFGyQNZkTOjU17cEYbW4yjgX8O03kXgej0Q+fgUOvbMHB/34DMiEPjOgF8
mzQ9vG31piXNk2o2gplnh+etp2SVQNpBMt5DXlXUyqkkgaTLfwbTfnQT69errg0CP9Qw9gkoRDGE
nmkhuu38+WH5p+TKyTM+47bYaiUcWP58rDuDkDImBMP0Vt2jAsemV2hHt2UW818DnJou6XKzcKla
VgfxBJBIO8oVjRlFePUt7NmRPVKp6FHQQhqYpud3C/QLgCz+eq/6Vagb8R4EP+7A6QE+wJSg2RAo
rMdY3ki4I18q1yvXyGTC1sht+H3AqCQ7iOOC9e9lbefQ/xvohYbWdzimH6V7LX+V2WlgcAtUz9a1
YpJlN/jVPvPs5851aPXG6+sR2fQ49jTSUFriXLZk6m7273fZs6GER4YTzsttPpbHdUlw9vLYYU6H
bgeGwpCdp5QPjL4GPkrfcuUuqyM/jX4ASkQJGd1BuVvGfwLxPOt+CvGrht8/S5CXRz6VTpzVqGfP
qCFsHIM5I5bXTgvo+KeLvKltKAkPzru4zKbGoU3NISMJYhfJ3lyjuHx6gOQeFDfmQqywQQrV0aDz
++Rt3e2+h5iCnMGwaA6IJP1zH+10ViN2qDXcgwC8kf+fgbf2VXQrB3w2p5t4hmyl42NX8+iSjuTO
DXDJvfxbTvtIpum647mg/WWo/k3ao59AgssGDSTYQUDgu8p3EoKJP8hL962rAydlNtScGOnnbuU2
Css/9UAm/dm58Z4mBVqD2uAK+os6Q/eR6D9Zd994rBkPNqpuHXP4lnMgZ0J+anr7K1fAps85EuPy
JU9F9t/6CJZmPIauQkro7Ex4IuYKFm95NrKTZN+AL/wx0P7F7xu+GLJlhMGR7jlzP+KNxJ/ZXh7M
4NHkVvDgEg8AKt/7S8sgABkL1kN+Go1xnSF+JnG6ZFFqRV5P4SFT6NtZdtAm/8L81Pf3dP+uO9C1
YW/ce3i60R2PRhuR1Y60H3ATRvpXVdeIzt+rjrKVeEj2y7r/WZslTvcMsu1k18k6ORUlLP6T90Cw
/Uib4gpa15iJBaKLOgloMj8rGSSwtXCrZo/iPSUolLi+zCaERIBwq/1Rcm/xsFI4Ga5AUR/FPs6t
vwPTvRPTKgH3kOzR3DyI1S2V+pT6WsDc2rU6qAgbETjb9l3O/DuyHYQb/+og8oFti5waiCM4ijat
qjKU/y+wSuzlaWQES4JgBSkIi91eVhlse4jDcRLWREg/VnP/WfXdndoOu6gnX8eHijEQw+am5oso
1phD8uUUP05fByX5G+0XbEr7E4KLxjOHSoH1msmLZ8TIYxj5lmOHU0bPIKippyno6s5I27Tp+JAX
qNz7IJkyiyy3Qt2Dqge6qALJH37lU5wJQROAwhOOVHO9g4spic32U9MDsYVAoo+KlgIK7Z7E+tiq
852kz3JZTDYdfKqLps5K+OH76HlvYuzFEFnt9DTHADYwZorKJIfl34lxg2jgDwzSG2zx1N8xl2N4
EffYev6XN3wNEXaK/dwDPBlU7ScsP3sghGGSvmQtxoO/kEDezPPNonnvEhSvZmnB7SkAYbXCeZNk
0/NtFpM6KYy2hFXva5ouybsCi4ZHi1nCNAKOoOM1xgIwTpLuQ3x6HpAT82d07UHEERVKpLimM0Uy
3kBDx6yTFsijndM20FT6MEBTS2Ayo/VnFMY1g9R7xZ2+qNH1DSU+t/5NVfvaWYy92JP/7ApE+a+K
BrsuJ07sTa3ZrKd2rzLCJrtdn0Ngnyw/pxNB8jtPr38lFJeffLR8A1iYm6Gxtws4eqlLdSo6mjke
PKcq6uJM+djEM1DYpgRNGcQZ8RPsTd02Ga6BzXHw/lZjAdTnIW4jmddcM+3VsijGEY6MwzLFv3W9
ke0ljnp03ICgj3Z9+SgeBgrZw6APZ4ZlggLRW8s8yNOvUveB4USajvMZRk2GBpd7as9/LR4a2ZJf
22hP2dZy7erOsqNdr7jdjYv/rEgdsYjytpjiTznvlkY7Lpn6rU47cbQLElKr0dPUZpczly6mQrIw
yWbFwZWxA7lJCfqi2UkqJn5GThhMo+9jhnb1/0yQHMikUs5+fy1eSR7ouhZDsiDLkz3qs32S0E2e
j2dhT8tfqcSCUTnNGZukPWst4KUsOusS5IZ+vQdhucsHqdT2lySkah69KIJJkPhVAuox13eK7u6k
7E3H6ZRNRQAm9qSFNnMp+SNduJ2+zPsOX+ux0RVnOnfJrvdNOmHGRf6Z4lR9p3qdqeI5bG9gtu9w
Xqy9A9rA5xrwWhGqL/IVUpSXAn6qPvRz/SVxMrPMwWK5J8CfpEPdo1yZxMgMCAdQ8EVDcSgp31P8
fAGIFni4IBsXBKnfNq0V9MFJQY321+LxqDVY72pm7jbF8fa38o1LOVyk25BHntTzJV+ARPNPZd/0
7BNmT16M9DR29+qgnMz40P01rvcm1ynVPkNrvzTQgXxQ7EyXntgoYtiV+U8NBwkV+8+i3I7YBqkY
OkbyrZvPccQN8c8hmtdeieLnB9PYj7eeop/kvfLBHgGqTT1UyohdzVCuf5uZzo3cmTQlSlIauQbL
i/d+jGIhry8Ozpd9TKfp1bPxe/PFpaUidzJHNsoUhKxsvAwBCU3Ob/Q9WdF9XmU3ejmco4WVZ41s
tXuy3Bl0Ol1a/cfuqR0gFMxjL3nsUtl0/Oqnch9y9nylzbArd/fG7F23PuF1oZxkwc1xeigUb5ti
POVP1Am9LqAA4v1hAWEWSrmSHRPiSuSaVEJRuGeYcPY/1n931cGf32ZKHnAhvpcgglv2/rRQsiSq
z9lRA2AAmKRe5XX5k0TKCR6Ad0asoC2cNkDjcP8MzYInPkr7iaF9zXPP8mDMtA680T0l1XGKpk9Z
SdVxHiBV28qCyy2knvtRT39p/u+dzWKcWxWASQK+l6AfROCDnlfX8pxGnrzcqXyyWuRPI7DMviXr
U4EtpwENYXJ3nqtiUpVR7eeinK4Kl2KMS5ky9yhtsxH+t7gdY4k20yOuxapxKarZ7qEnvpWdJU8Q
7CausLs3Ve8g3axmArZRBBCHBUtL3aGngDOo22aoHqC8OOpVFlCSJwzca4ZxkDQSGPIRD/M+xjkV
ZMyAhKBrsqml6nEGhc58MDNgZ1+LAEkkf1Ljkvohw8hruQLwxRbeK0axYnJ0SSL/i0ltmekbaH83
/um/WBWGtT3DRjv5atmdpqsGBjxGCTMpC6Zz5oj37OjQX76c9nNIyCeWAQbbUTuXxQ0jh79SMpfX
3ZFx4oJIk+6aVH7iaTyCM96U7YCKZyYlC3odHLuiuosZ3xj6645goBzGo7yduujBvG0dFU6z+iBm
JI6TJ4gWaIfTN+g5OVjG6F434wuTwnj54TcZp72hKNdiCgeCNqBX8ZGyrcbdTNyldG8WO3qpQOL8
F637Pql1Xj+0YNuYCpQiPw3wS4Iw+6bHLVEMeV3P8fIAPP1HNlxGgN3QUG8G7U5sibymDCrWyN02
DhknEcZYwVeljbdynsQCw7x7Vj39Csml55SzOOeEsSXT9tG8q9jQsktlYzv+8DBHylbztK8pJUKe
z2Lvqs45xJQjKmI658ekLSWvWjHLCd95Wb4On2I1xGzmXA0k6ApfuJojv31j9mkj213+7fCWKZy/
0+FFdujSlsfxVr5Z6dj4sonFrqha8ZulwKKHW2PO0KLOVkMvdRTptDKDxYCW+66MRmD62rH129+G
SZKxHN5kRczZePNg45ejhi9W1TermL7kW+STEtZPjL9b5U8+QwyM7f7vN3JF8g7NYAhyvtd9+0cO
/pgmN7qR38s9rG+NkkdjhgmSXSGucLb1M+RSlqr+ykKt9ZpB/xkBBmMbLNv/xCPUPX69AdgTpclu
tRnhg6a2X1J3avBQsk+7FtyjdZ7d8CwuGFXe81EOnByH0NDP4VVtLEz5pregPE7S6YDZoQ9/k+tC
83+lh712PQBdvvleAjIrsGfrS7adnbsbJYteI/5fLUGHKgS4FPTld/JaG5H6X9buSMOMrDJ8yjEt
LDOIK/en7u/+6ym71XKZqyiY8+I1mSASqg9aUX3JuyUjXW1Ep16btXJAPPZsUa/yXHXnhuhEc3hl
+QY/OjWfLUzjRV2/Rzb0TXoa+BQgaV4D7lyAMuGwxmhbWtFjb05vAwDqqoo2pWrAPqk++PGr6dFD
J3qZLO0chcprZgU9ga44gSJkJ9VKgvol09bFG0f7IhADMf4pjsVzvzLiKSQXjvTaYvnEs9ZAttbP
e3lfSvg9+vA0MCnCwP8D3bBtL+VmIhb5/azp96DeweCTt8mHygc4XvozlDe1lI6of9dEW6Sfb15N
HXwpPj0YEUa4UakM35ttGYCkuq587z4kSPem6Gsp3D8VKY3RJrSk0JzW1bdm3840VGoPopK6PjDB
8Iq4ELZuOUZkqUjzHZvJvu775E7+BNgsZULnkBQh9bfuGctEmOEcJpWCZn/TwklgkCPDREvWnX64
KM7IhbeS4MuLuVnR9oDNBitf2c2JSSRyMLIoc/6UhyPX4Kfl7dwiRCtvSkl/u6l9sy0UT7lfeRPJ
2cGZ0PY20neNrqIsj6xZxBCAg6GG3/k7ovpIFtIsyAB67l1Xus92UgNI4TMts/0A6sGkHdWYhoez
xMlbq8lZm5Ekny5y99MUvzoxg09coVyptbBgPUPXSQS+HrsLbdZJHdq9laMGOxR/dledSsJiVw8f
QhWwPPctvliYtmE47PZqBc9Yph6ljpxZdL9oPQ5MHakhfEQUXMTC/zuE7g8GfbXOcmB7CjSAAJj7
ho4A0SMMP/XcB5OhKvl/8UVyth2XAX4V8TSGRWJ/BZeMqfOc53QVKmI7vil0xw9p0fsdtYchvsUZ
3EnPKAR9RRSUB3JS9eYRbhzY735d46ES+BdNATm+0nAQtzFaLKEyoyfkQCuxRubLc1wy6xp2v+LW
DI8eg4eETtQ8riWmtdxKg6sGV4fOx5ukVCrrKm3OipZlc5SsVJKHtpgfFa3ZSn4mpV1phtKqf7QZ
lHazqxp5MoUCRjeWQeV1wBQSaNW6WymuyPx1mymv0qvJGcZqff39X4lYpi9a57eCzZRGnvQNpXBj
2/pLElK9pBYsLQQpjMjPGtRiqJFq0mKQ38nFSvoiuZ/mXw/R+CvNOh14gzR5bfMLAPjn2r2Up6v/
pHH7J9GJcJm7BkwNyUFQKAb0E25pXK1FI4oq0suRznShzRCetHdLxXfJTH3jrl2jtQ8M8X1SWtSD
KcJQapH+MEaHnkZYfabhrlivvioIZAiF5B2yuaSrLGSbxEOQxG1XiAwkWugsVYxbSNlGzfJAynWd
zuhYPt1O1gCg232RT5CGjKxFCkelrVEW5hHUWf4nj2dR232T9jspj69rKw0fbwDQPZQfa47HczP9
5bMbf+U+pZWogdEohWAqYjYlI2YyvL+14GfX+dU4Gy+SQ65J4zK5L1N6WYsMfd2/S6EhgY7Jqbxn
+XD5REn+pyy8sZtu38V0QingS/soStT3NC/hB+luzSq6kbKVPDFZMU84C5Gi4cnuaxvwock+Zc3q
WXnVgdrK40zycUcfda/TNZVO69jmgdJSrRL+hRhtMQite+UxzZXvZaCyZ7RP6yMHxP7aJwyS/he3
CrAL87DzZ2UvznLhiNpZ8u2Mb3K45SUG+4NMdQ6S5UqYI6c3VNBsIQyWhlXqsumj5RdJZDjOz+IV
3Zwy0vLdq+pnROMe+j6oKdXjevxWQxGpd4tnf0lowIQ4DUGsVSa17m9did9iZp8lxOyn5WVqGcbs
lWt4Iu/XLo9Ehz6Urmn1G8tdSF+wdqQZwzC5fZCvN7R/Htwc+zuwPrB7dBfAnLeq29yGfseIbXeR
Bn80gcqNj9JpEatR2t0PtNHit3VL2zqz/yBVQtl5crKkvFgpM5QQHUQ7xDSUIPPw6KvDp8A4fA/h
neZdnk4Tg/jivMhf0dolKytf5f/NOt7lxXQrv1uxY2AJIgc+Z65FYEvybegfAAtmvMw/rU9MDu5U
v4TR9N1k0c4s3H0Jk5smNAif8qFSpCwT59WbIRjByMilyetycJrhCO713dhN9nySbrwcLvmFYHGk
qrFcei/doEL9Jmes1OjRcy3IQpzke+tev44qj1EWAMYCkJPPlTdIziKgqkzUrobsn9kE8Duo4bdc
eTx7Tx2MWgu1d1l8eUYa6K9r+W75EKvMmOHweRPIG3FyUhweqxJx64ZRQI9Gd81jKwIpQTnskLXd
AXVMtiCiQp4mFciWvVv5/VNVZVvXSMCW6OeM1pyPXcvSh8jPDgWpFyNkt/Qs4P/VgRgmZ+bmzh7o
YxDeOV2+iV5A2lvnSFm2seUwZuiyn9qTVK4ig0GljZlPe6IBwLTAaCQZz91Xs2ZMhPqhlNnXG2j0
9rruVVSWiZXZUJAX0SZxjF0eRbdNj97pMQZrGHKgJzGdmNJu/PcT5utXxlP/Nd+d4V0eifxetoX8
TGEBXZzyKbLlEVD0nlu6iA6lwkHUcUQ67U7wNLKtBO0n5lsINttaeZb/7zXgLURNzAf9mM9NV98y
VLFiBMXciO0XE+ItxkMHqEc8bgN3nuJWb2bhnKQrKq9Jz0S6o7ZiPGscsKUYYGau18Z+VRiPMKbf
iM8VG7Bmw41aHjSQgfyt7Jcktv/6bLhZ3GkvwCvZBq6VMlzc38q+XTLrFbIzKDa4Y4y6BgBxYIWq
LtzDpXKTDCyqOD1v2WV5vo/S8uCbJx72p/iBUvyMHCLGlaItTKfbpTCvksLbiWOTFFy+UA6LnIGW
wbieZWP6TVZYOh7yU97i+d51QydEjrcA9gQBQJdEwAI3UgWWbks8Uqgr7CsReSspRMjulYaZJoXK
ePlpTOMxHl+Z7aahjlfgV9ICklqm2dtPTQhzhQTJhKzSuBg0YiTjb+jtt1ixT3KRYgqQO2CfWFeL
MjzaOSqEk/IqKyl36dvun22pB9VdH6C8vUx8+iYWrDj/+3PVfDNgfRYfZFcj4M7HYhhhdir+6ih8
szP3ea4rmCalyTWuQYMDs8oyIipG30SOprid0OpA0RGIVBcQYtD/vCVAFWRR5Tplu4+yHd2dpdif
8uCG+TnzlA8rTbfMOCG6Un1jd8XmkrMwVD690lPbULBcW3GrkRNX6bYc1/lqIO8BLheswA2KndBD
7BrHuhPXLTVbVwA5/8fVeS3HrSxZ9IsQAW9e0UB7Q+9eEDoUCe8KHl8/q/rMnZmYuHF0JapJtQGq
sjL3XrseZiSz/4o3YHsGbbKcpUgMv8cfKU9K5vxPJ/Cgognj2hgGAlEaY6PYjFGoOKTw1CSqvq+e
5eqkO7LUsG6y/yDPmHLjK3Cjen32PJjlP3LHmXXnVRf3/o/spMjiFxm7n2fzy71Zw7dMWiWXafhS
fNI15x3Tu2oXEsMBL/xVY+3tvxdI+S5oifjdgD37ljWZfHflCsmMi1zx6Bi1+t8eQgoy/OXTRDvH
521jHzN0eCTM5+RVei/z6J8nKcACpgZyRCWvWJZrDKyRL9/R+7okRx1d3PvRktxnU1LZdFdB5RFH
knh9kr10WdN4LrWxs8bbKapOcpqAeex7Sim1m7J6To1fuarJ+6hzp/fOfpJv7P3Dk5fkaiRSxCKH
ZmuNi3+o7sWZfOb/2dyI53g1ewJHEBOoylHehbJKuS9wDPTkQxvDOzD9ZKB3sCznRYq879sfK5DU
BqvjTuvVP0nBnaP0v5qXPC0e4ax8bPKkIaXveocnVdShbH7Jz0VfEwYq/5Y7iWcfasvcyh8p/ys7
A/kszRGAFVyc8l3tXPPi6nVwv/scfLYlFjvOEPJTki/zfn2xVuEUhcv0ExvdNsun+7fKb5+4YdXW
eVwwlchrT94gpfSUaiXRGiz43FJK9uw1zsu9YExbX/5E2SNMM/cAIOs+spF35H0qbhG3ADAX4jAf
jfycQA/8I0embVc/OFaBL9A7TLZClc8chBrKY6eUj1HG/Hvdy1FNb5ufIx17jcD4jG4Vp1QqB+mY
UX+FaJlTJNY/qYt2apgfJ95o3RDbIUZUijx0HqurAnUulXs/DEneyulvxBZKvjBnq5qQQZn1UoNH
M/+ObK82S8/EYibzVLDT3drZ2VTdo1J373mb/RVu9Hn/WTZXPNYR2Jwr9hLKKPZht26ulUVsT7U8
W2A01bH5xxtWNH2ctVQ9rA3rhInyzyr1v1Hy3pCDxCCzp06ULywmSVnplW0aytmlnKHLl38fTHrD
RzeFco2Wf5RVxcs4qnf5yZqMrJGrzwf9R9B/l6t1sRZvhQ7079/dvsWuC2HiJGUx9xmZGdNp661n
+QNlOSAleIxqniNOcfK2kwuQvB3ltgt0nR5T+SIHoPJxNQi50kRLQStTbiRSQW70daik7lGeGeT3
yRMjqtd93rQkCfPJy6UvnaZPj/wBF0Ulx1A5+fPAwhH8CVui/pE3o6yt3GLbFuLbnjNs8LDO+Bzk
ijHgEZAXqNTy9fne1InRa2B8/fdiIusJqYG1ILpmZXf5j8xIvpoyMR77xL6PLNMK9pKzEtkz35dZ
S4jNMGbXecl+/rOlZ7H7OfN1zdQIyhJPxlQSds35LFl/Zakhn6VTPMdD8yx3FxpLe5pwO3l7yIcR
O/eD8J49Rz5Qrh1uQcSApyPMpwsga4muuLRsdVKEJdebZnGDbmL9Hxo804xtU3K/qVv0tAhA36OQ
ZpnmsW6c3Jcv+S/JJ6JP1j5HG2DaHsCJ538XVYquuP4sGYtOdXuZken203utLb+0xj95vzmBf8lT
oSz7vBTSy5Ddeo8WqPycoqS7dQaUULkO67guuMrVCOW9GKBg80o4Y8z5yHnjXhSJdDxAONzKCaNc
KeSHRSbZG/hh+WQwn93rINPV/logh4b4qUKMIQUbou6vpiDMzmMvjGRcnj0/yMtR/neXOsmLXF7A
jgKTJVaCviWLiwpEPuAu+a0GqUqCQk9DTqp9sVG913jFRp2mKBfXf9oOIlqJ5chC+ZHLunV0hsPQ
z9v7VPpLicsPOe+Wu5HUPMbn2tA/7k/LLJY/fZOdbGznhTUguOUdAn7619fgijErlBu9nNNWsgNO
b7lY8iZsuFl8Bi3QKGHcn7OBh2rmymnQyNG5ryclVpyDHikPQI/1oI8j4Ji1AqVxbM1No7c/VmJV
D7YGAz9TD2VTR1dio/AAKCRWOJUbDg4cKXCNsFyR3pj1HxVZz6Mjim2VCRE6LknIpieyYMjVcpdO
JskS+rLrJjRtcTVlByUSClDqwZ/XKn4EJ8+VNj0kqM3ozrigg7emETfHGmm8jkR2UZXpJTG0H6vR
lENjFvAMka+FddIcTbLIDnOUS+qwAdyoK93tjApl1k8o9z7EcNV5AT7MI+JXiLMIszE6lCVqRH1q
kkdt6vzMgbtO6DBGMdCliYVNLSpGEzY4T1oBjsn6bN/MaDZPWjOj4hqsW1YoEh7ubQujfyqj0doa
JSJHVYRW1ujAIjJrw4EPUKvvKBXS9/5JK3URaI4HMxBfCB58AmkVvX4rRmH4a9x/ZgXu6clZ98kw
aZxS8YVw8I9gAN262bh1gg6PTaTOtpYlEgSHIiAscr4siFNqrQjGrv1bQMEqmgWSm8p7TQBjALRL
9TGdjoimx8DogNeUUzn5ollGMKEuE3QnOxoLw1rbrKvQVhJ7sxBSSyAN60qPP9Se4ldD84LegC5f
Fa8QXkCZVcatLMZDni6m75EDDQfafdI8Y+Jx4nuwiytWQg3SPEbLSdM3FuWbOi7/GO58Jq0KQF5i
ZKEuXhWG2mmenganmTdIjs5A/V81KIT+4E58M4x+xbL3U5v+rURCutVQPgO9LWTnvwqc1tnluSso
4/BBwWnSWA0WXl9pvqoxLs+1U6BX420f1HdYIZRxs9cHU6oOPjDtbZfWb5E0vxjgQNqWnApuBcOD
EhW5Q3FeI3yYisr6QPKtDCxJcMjSSe6Yk3tAlbMxx+y84s9dR+Wxxog9qfR6CgX5fhYfcoOLpoBd
kCwYGzXz0K36fAQayypdYOfWcaEBI/iTjL12xbZNU2aJ48PAHRB7YzCafwhTtrc9pkDpdj9SrIXz
P/Gwnl32MT81B7RhjUAIps97VViAxOrm7DrItiNrUbfRwGJaRhkcHWsldKLqjo5WFFslh/wXsSL7
GTzLUJL3nYgdSrE06OJq7SuG/bGsxU2rZ/OYx20I6AZbSNsQigJgXBv1IBntyZ9j44UoYpDNnJLT
CNNmQgjHlM0AqphUVQw/aUvup9RRt6OKWyJu4o3IEGdqYPXXtrJC0snASXRI68U0khMs9mNZ1ntV
KyvfqtIZP++TapvaLuWZ4Syh+cizGHsQd7q6LLuZUmvVJpxSNejmYRyyXaSNiw945J/1VxfLB1ha
0iMck4QU6NEzJI2in7YYtrnUYDPrUqxmTNO2MbhcnCrbTbFMOMxRIqWq/jZhh5RGUxXb8lGsvGrH
6ByfcfstX8xuYxZk6hJQ0eKXXSLGin+UtcZduDzXXoV0ZW2VrUrEt/FYtwvpPwlhL+UMFqHNsCaK
6Vo6yPWjGUKSJ9Aypho2ABk2oDZVCeBT04JqbqzthLQy6Quk5gZ5NKg1t5X2adIoP0bWGI4FfIAF
yGiwWvGLNqwLsne93JjpwijfWd2NZ+knFCL1wY06zLfptK1HjcgigBPaBC3WGIkycHGgcTnksRie
s0C1PJktO2e+3c4QN4mFMBtv9A239YLG0eg1506NGh3PiZUNJbzfXy/CHjUQ51QWb0ZhxfsiHxAb
LIAXxng5JqUTTImI0Ym5jw3Oc0NAnhwyiI5LQfe8GUw+5NTb2FNFOueVLVPzbYfpYoGPzdfEc+Kp
10k28hOoOyh5V/zFGZ6XQdWZaVQB9O4p6GztzW7xh+fs+3QEoqRxuMEJotAr88trVUiRlrhNZfWm
TagHSIJRinwKQbo828rogptOADnb7S/oY+j9jfdFzqER9MrVYWTOFhy/MoL0NnnUI3skNZoQoMUD
v444/qJV35bibJmrKb31qAiuP8fhUlMAJoG7sbC46791RDLyYIPi6jghRJa2W9nx00xnwjuWBDdA
CKqRk1DjL6fm2qAFerEdmwXenfdIEYnWzKC3ZzYKQNMEl+eV7WHUlK0YzFe6gIKrdu6Bwh3bbH7W
LllXhwVFJaWAl+0A3X4nHc9wgmZhVpSynuGEnqVdhkJh2EUDL0yLR9vu965BOKuzPOjFse/SdMvL
xsinD5+DbRFHV6lfXdSH2dIgE2O0Z8/xP+CBmlBUb2U86MemLPTjYBr5prVUBmr5fGwGl+VmhFhm
kemuAB6YuenA1Nb0DYCneIWxdS23OVausTfmddphNX6sNdyUswICyAZpyGZpAH5VrZVMJxDsHNb9
KYmHA6W/5+tzSyp1OrTH+88BvJ37BDlDazS6dzJSPioTJKOJ9bkdtE9NjddgLQH3qhpYdYxSajF8
1BODBOZmI5GosOSKGjNllzK27jzB8bQyCDt6me1a2U65OAGjwChEEpuVars+6l8mGIebpCieiqEA
+il/SQy9PcLgwaqXtz+tSTkKdeFmdThR9PI8dpl5qNu1O3pq2x07kd9IWoSUyQFoyADCDzmz/RHH
VK0c5yprgPCKg4VawQcxzkBZR6ilQ8EPC7/ljFBGxmORrxvT5Tyxtq2xc+x2rzvY+TUVQEVJTDbi
nVKE906HsLkUooTlyqE+Vdsp5FOmsyzfxbxM6q1iqM/TOmYh5TQ74Twx1TcGjZF6hanXNuqe81tU
s17loHS8mlpRy1kemvoIdrs+jrVFG4niqlgIzsin2fD1xNnoOnzHuSILsK5yQmjKkzMNEM8oEY11
+LYMrjcSKM4mqqVGsBdOOXzg2uHSicy3wsVeQFt6mxjkJnnKFYEMkt15u3ZRMK3aS+kSLlUR4Vaj
DJBXydg4HLsaWqXC6vJQbUoGCuMKn1Tz+1kPWCcoOJLab3DGLks+hjlulo1qglUaf2NJFSO/JNni
dr0aBpBJwOhlMbQYHO730mvMHvRtw3/w1QVyYtIVYIQ75rSxufgmZewmUQhPqWVvcXIDw+3P2Qj2
qlJOhlHA7Z07qHpZjh8mOgtj+c7WFRPDUH/YlCdO526VzJC0M/ahJNaNwOnScCFzggXQOiME1gDK
Zl9KARVl1HiTle5Hs7myPUPlPTK/Uo1PaPC8q7BmM3QE7TuJYjSXTaRQmBTEQDWDTVIA+ZRlciwz
ghnVN1Fgc/cXbrujPpawUeZ6BGqo0x/d3L+qyr9q7o+yBj5vJ5u4+u6/LbLcAYYjH/DvN9y/N9Va
fJPN42QjzVPoexUJ5bqeWPLzrhAzoG9jz6jyab96wtnYEu1i6N6LNs2XmPwB7n/eg5lQzq4SHcU5
tUE+mBtAA9Om7YnI8IZu00EmTtgalipbQlXtL0MW09OakcY0RT+QKUmjMet2PZ1QXa6snk3IEsU9
ah1rCrOp+h1T5zHTy+gUJ8mOwDvolW70ky/ew+r97Xscj1GuOrt4XVCYAmuYe/PGLq74VXVOOu+l
cdFLCRRN6drsezZ7otiSfR8zeac3X4T6Crykdo5sBZ1WbccRpUo19Ra5UelHoWaOv8R62Dfthxu2
HhQfK5s86koqnUI3TnHhfnakkPn4VLujW3kbU4mcnXBfY7ohm545oz8SE7kfFFJ1Egw25sQMGAQ/
cdWrs19G/CYV+RjYad4tknU5ETscJAXc7ZlmkTS2BtpqWudVYfGqFu1cIdBH4bme7HY3LF5zcjSr
DeVavsRasiF2TN2Ug8YKHyggLzd1y7QQJ9SwiRamybEJSql46FxyKgZwPwWZfoZWPDlCK6BRiR+3
UW4T/CrcQvt06mgggy0erfipU17yjmC6UTECQ8rAdKXWSfpYzzSezpbrBVNbAafuBSzytiRxeXQ3
ZWO+qTporrISV1tTn8Cik+xVsvGvZnPE+vNeLtNrW/Yf0VRCDy3TY05+M0sMcvxoQQNhzuKmt5T2
qzxtQ0E0IOavP4qeLT7RJFX9q6Vz4CSZGaoigoFfbFS7zgJtnM4aSG0/qumkggJ7mBubYq0lei1H
iYsiZVOog9gs2fraOAnvhSqhaLk8XDSJF7a22Nlz2h/1PL45nP9QWikc05p42Vh19E+qrgePPKnA
Uwu/Vryr0c99yDjuW5n6hExkMOyrbh2UMQ2wfKAgb4joRGIZKMXgbuY1pVlIZ24bK/uKymnft+4v
oSRNEa3EqiqUqQhpG64HYbcfnTp4G3fSgszUTl5WP0+di0CkAEOud5fGIEpwnseHbjIfvWq9NbC/
/MghfgMhDX2MsNNMIkI68BT0WBBNWwfUBnuhtg0cJoRI7q4s5hvJ2cd26Z+Fbn3YXn7uRxBo8FbY
+ttTZRn8i672OMIV1bWM6ft4WQpcnUQYKn15slXrgiAQyqFoRRBn7gPdTZ+su/HBMIbPmN7dpqFr
WUcWRQDsZjoWejgovPdRgSw0T+3qDFR/VB9TArv0jI+b2U0Xie8qIxIJaJvuayVdgLHpTqv65ZD3
mxb1WdTFVeiuuZ28uPPZJffv+oJANDXygRsVcprtHZJmSUO7H8eApByd/mMCOikf+cdtd3ggUYdQ
r7/DPOnHWiFftXPqj9K2N5oL+rFbnpVKZUjOvZ4KooQEgRxDHrMl0Xj212x4QLcfmjXQTRyxD67i
HgCalmE3DSfNRs44ipOaY/ipiuiBZN2Rl+1tldQOc9rcvuZoSlDH5II4eqsFq9G8V1b32BkCMQKx
H1W5VIwfmkAtqOVaru8tP2SLAYhoiYRa1fnVtOy5M8W1zexf3Xz3egp8jhgPAMv2XuW2oYsDH1b2
2VQsbzsIQiPzWHthdb2tiw3gjG6ZLMFGK7ulFpo5Bi2cJ0Xuw/UHmThu3pt9ZNLK6BuQ9NFWpN2J
ksrOIIIDbGkZtyMiIZIwQA4j/IziUC9ZrFpSJvw+AbA1UwzYLIm6yUvS+qfZAlOZmJiC4rPoDU4T
6bJFL4peT4E2KBzt8f55RVlN3cUwuWx2ujwUVl770SrsRXp3Iy1qLwo2j74XATygTWoBOdNI1PLV
fKW7ZRS3roq+HNLU16Z462zkKXl90DD97DjtdMf//UWhD/Z//nj/i8ZSt3U2Wvthmqpq22f9QNIj
IQGbZdJl473592spPfLTKoqU/qb8LTFMEdug7BElHXS2efHE8f6LW407A4j/XrG9x1bNlr3Jp09T
myZ4a9boKI6ds9SfmafebLV8ac0RXZ9rH7MU2JaGyeQB82jCerIc88rFsdYT0aWYiUcYbwbs3onK
MIfp6BkGdtz6PU6BBk6EKlKBeECkmGTBsqF37Qw7UkX3q6EUwFMpqGv9S0l4HmBOv7ls46Ow1VDp
ahJ/HHiYY1IdwIIWx+gJr1jFmYTyCQBcuiEJ4CHre/XZMK+oWsh1mGq4t1PzmRkqSaNLvCOrLz/U
WeISueIDC553yzAD4seIOPVmx8m2ANjnhAtcx4kwqk03VgVqRP1R9fqXqqxvpAjhemjjvTpX/WZs
FXUX9QOgXzO9rGZWhdCSGThxx/oZOrzV1ooDsPUf6oaDK+Cf6M2gBDFtFr/tB+p76yfSyy7Eswr3
K4WtpkaPQPFEkMzNjdoM83asZwG4F8snL9CRpdEti8o0yKL6IrM/ZJ6A49YPTQ0rDfqo7kSPrq48
aiy56B8ehrjd1bOt+XO5vDHZEwRkxRev55S5RKLya1f7RvDxJayPUqMmRPzLExzO05Bh+Ob4n1U7
tbdDRVSoDbxpx7yi3MDcVVZ44q1hfa8W0zB3iX8Nw7oUCrlG+M9CDek9xcD8rMQ/EEhfK/fcTfSZ
dI+WmF1VB2/uTkCji31uhWBZiYcZeNumjJ6JMmFVNEGvp1Wo6q+uVZ/KFgq51dKFaqxV2ckfXlr9
NelgOcvuMpFo3rlz++elZZLRQTYcY/f5HpOWpP1JYUy96eFI1H1SbZoIAYPMIip6aguvM55nq956
cKYOhqz121gJlyje5pN4sLL+mGnlltmsQiQETUCoaNz7BGwq8/hpm8wi0077EQit/fv7OwkF/5pN
yJFh98HIqkc6hfNRPjdxfDQ8dd07titoQ05nVRE7a5g+FmY2W6OPH+NBjTazQp90BozpW02Tny0d
yneaa1fKenEkMoPM27whVabv132BLTls+MmhANnoj0M0bfW1ns9s/I8kgtS7oS3OELSToK+AF7kt
UfBqZL3EdOk3qsrJRSlZhxSEzlQu4KIdryK03Vvp/NrEviBEt+D9lz80m4uAiEx9Nd3rklD7Z0lJ
R24R5A9pJNxFCtxjMljJshp04oLNgbc8yv5U9WKFaJhJNWVGWEP3bmNWJvKI8m3nrbO/WKN7cdlW
WbcnZADyj62eN8OOkw2dkOVyf8T967lTcJhvSvIpebAazDJam6RwAjEBdKvcaEE3K+nKQaK1Ls7y
Z2yJ99Qr3bzcf4GqaP37u7KT6YvEefn3r5FTueA7Etf/99hypVQc3Q5vXWUrS3D/a5H27WkxCpCJ
7tAhn+PHT4P3ZdbuH9JGuVYy0OkzsZIXXf7u/kcEwt3ZJt/x/qf716FeuMRo04TAXAPOlRuEtvrq
Ztt//0yu3LlOYuuwaJZ+WTy8NWvMeXMZ9cugx7SAU6fVaBG6pGT/7xfB8QA1yUs9vH/x/s0pExOH
Ou7ImM8mXUIikLRcOU7yJ8dlJJaA+t8+qFWBCFI+5P693DjTNkpIhigH07vktEY3ama6gVMPvMJM
5QBTy78ZuWiPQnSH+18Yaxpdegvhhj6Lh/uX7t/veea3klTx/v6n+9fbiDQY8l+04P5NTT2ZW6Ij
ibz/nx9r6tMB0EJ+bVegrSzjyRnCL1kO01CfRhnM0psLGGL+MkU0DqK4n55YwduDqAbO4GkRBZyS
y7MSLftcYZkj3KzdDJP1Qs7zLhUFpz6V0UCd1U+QVyi5G9DGlmgqnHqocNF9bM0MtgSwjUe1E2Ib
R9inAIsqYJ5XJOhpDUx5hHqZJ92+hT7iR6hRNq5WfK5EoU5mRy4HzStynjaNwvR/LUgO0pNHWUjm
BVXKmHufduQ8uBkLC/MUkQ4nWueHljAkwPfdNp5Xj5iRMehcXGltFXGTpGfm3ZNkOs9uSUfDo/VQ
UbCT7HEZ5J6cE1S/6ioDHE4y3FNPKpMRICVxSPYEybXNcXLpwjiRc23iYetF6U1XrGs+jNupXeH8
FPFFt4ndUYznPiIyK28NZ4MO5SMiPApXCMbkLqI5YbdAvxUsqySfM+I5lDFV/RCvty7P+S7hwjvo
+ne9hGmlAdFJcWyZA0r93H0fU+JNNac5lEOxM+Zq7yWPS1Echkkp9q4V7W1bjTeNteBZYRTcW8bV
qfr90PcfRuJendadiOLujgQpqizTrIMM218dxLBFJs5lYbzHrUOdz8fJ4QvtAc83nh8YA1Ia91i3
K+SFzB2YAN/yGZjPWnCOQuhP77vcA8GvRvo23X14NGsXD8aSySko5PM2DZJvOiCExjzeGLK8Kk4D
Mdp5A/LQhfB6ELTUHNa7nrXMiheY6+2tt9tz2vwxCqh4M7kMUxq4Tj/snUy5kNAkgrKNHyr9TxaR
UEPEfELgvMPGPUMZlbm/XgcEaqax60c6WZuptrwpU/sKK7MgF4YJUTsoI7ZRNcB8z0G4qb4drsjE
kAPYcrRBPKc/bmmRIEkpRUgbGYL1+JMsOi5cNkBR80HjE+TUoMJvNt2QzfpYJ5yQvJE+nIFLJ2gw
wfNEECR5YFNTWqMIG9Gw9X+dxlL8uJVWzspEnbHujHYO6iptDwPospY5qJjYNhNLNrO9nvbzsp3W
YVcx2DnbCp2g0XpbTGb0pgKgYuzOvZI8ukN60B3ssLiR5kUienX1jfCam94XQT0tUFTKA6MvuAbv
tWPk6PfaWxyXW8ajpxEAie/Sl9p6AzmgZc+ssONITGDK+1y2zKTJEs1ftEo8kbkmG0VvbtGkW06/
6Fg7hWOnS0REvlZ06JJAXbTXXljPBLpuhTEeo6pkFAAkNyMXrRX6mQmKF3DPMddXkMeT4lmsxxLa
LenZFAyN2Ltti//FJXlD9A9O1uBKQkfNYrrrmultbqMO68n8oaUicPkQ0RMsWycfmYTPG8f1QHKY
sP+G/quA+QsxNrk6JI2DklQuUWNcYrDijlb+Wn17nmyz4WwLJRaqZjrmw0YzcKVrNs3xzm2IPouw
3dOgIojO0nOm7Xl+1s0WHEvtWL5Gf+9Um6Dr29W5ump/Kyf9PerHHSjd9gDAh7FA/YVjBrJ4o72A
xa3208uEZBe3AQhRmf5gGiucbbt6y6m0VZfm/ZzV0GzYguvhjC22oHND7WkNLszZ4rGjg5vZy0Ep
WEeSJcFDJwnzdd0+r4IsJcZyGKrIHba6lQ3acvD7v03MsFwohUcCwBkj0hRu237ryTS/vr1mahzk
5P7B3QYx3pruk+16LxmTXSa67Q16Pilgt7XtruyH9G+gVe5y135uZ6g8zUoWQRv/VZPsoRdMGjyN
saFLfJa8etWS9lhJIlnKuD7r6ABDbH/1ShslgNO+0pZA70kfBSI4/79lGEHYQELrpBiXIFWWDxcf
DX30B4JE8e8QkOiDaaQgI7ohi9wg7+FeWk9cVEglSFvJMtNfLZXUb1jndFJpqHjme6r1BNB0Cf0z
cognbfy0RN8GBE6SUuikQviORtuzovMNnml5M0m5TnB6dfxTg8YvFrNOMmoYFq0goIk6a3djMmaB
paVbz/EuNWNJ34nbV6rCg2MwijXepBBpiQkntm3HDUnSY9YqHnS1/vJsLuzBfkCi/dYa7d9lxWGm
rMW+g6dho3jdGdpTNyAVKL/crOTC7+dv+niXIQ5rJ/uiwDsNk3OY4iy0rYkNu4idDSjsZwdh0Fpk
z5aTFxiamcbly2nqwT62ZochsmSxzKcbjKSvorioTf4ya//YokYiMpaH2GoI0tEAcLTbwaE/j0z2
VsTmzob/EPITgH2Yy7Zp0g9Xq3C9x9CLMex6HG+s+A/D0r3lLLwEnVCnPhveh16c66xAJElGpetU
Jw2FhR0rn4mnv5FO+WllXB6KxJ4T/e5Dxn735rFDhcCnMSfqd9OpHwPnFkTXsExyv4ReQk7GuSBB
vNRn5lXLGW3FkTBnTPzPVT6S2NIPbzR5AUilbyY9mk2Z6c+ZlX22aDWI6MSjzoRdZMWjKdSnWseR
kFCyNB1sHbDENbHJ2foVNYw5eWKHAcrw5OjfSsScLWXWk5gURZZ4Jh1oCd3yqxHsmB1o+JqthZgq
KqidvTTbwilJUOnFXrWGD0DYDI6M5Wuye05WVfEU6aKnc01fli1sM6Le4FjMMF3lsqKVdNCH69o6
YZafclp/mkaDTgOyXrWEd7YLw3UypLZ9qisbex5DyM7WhoazdqqG12XWrp7CLu0I3lm7H4h65jdq
Xh4HQ3ubcvulaCMcftaJ8iTM1/HGSKm+xvE5pRvoMtKMrGeheDb7nHKL5+yFCvmixy0tPEDZm6kx
HxbuXb2iS098BomjvwSZ9kGn4pkCMT6J5JarSkZu7RIoY/E+wz70K1vdzlF3dlCJozKjrpw4FXeD
/apb3Frlwvh29WSscWm9xRVIsrpgMI3J54s+9EEAADfyShyMtX5daXfNTd3spwasuSmOZqKy2Ftv
WZblgaaP19EGoISHgsIKVVOzwCJIkz6AdPPWrJzTu2T56MlhS8b6uLJdzF3K8hiH41RkW9rTJ9zX
nV/MniID2DFGoeal5+JO2YDgajACTpOgv4jGrJMbpq6ISDLMBr2yv7NpqS0LiJ0kKR3o/6Ms+chc
CMEr0QjSmmHMUmhQO28O30Efw8MqAm9EdMsJmbQcQmyLyb5ARmLrozXHdUjjI7+sGn511c2+GmzK
kckkjrtpiZ9MfT0aTf0nV2zuMGbLTYUDQvceS9X9KefZ5dyJmAFgFLXrlL0ydvlNqAXkjtOTWeJy
mlcorj3jpQQkEnX1IXUnBBKotYXKxa7EuzLtt/QLHkk+Xv1qxfVmjvmmj7O/69wyUVx+pv590MdA
5cLDObA6B7s7ZJn1oJp6FcCGrUPGb3DTLAgdEZKVzdpT1NS5d8s6Ogj8L4jVdm+oVyLDiqBZZHxV
VTqhYf3MmvGRGPZ71NrnTPSnoeq/RrNBIovLyhqpzIb6K7N4W43YwgeIdsQ0iMAxq5zGghQu2Qm5
HcvyZOuc+tVCe4XeH45VdkucGvVYgcObKnheqmdnLRFZyAGzO3P6UcdzYUwKiMdN1xsDqwSnu8oZ
OaKXEx7gH8It3yzL3Mc1iVQuokA8Hw9qF8koDNnttcyDaRVM4AowjEb51PXaOV3A9k2Rc1vFcmvb
oTmbs/KpslOTM3lNMi6zdSzYi5BjcgF+Zp1xUVubeBGyPuZh/IkG781VkjATySFaqr+psXBvA9Ed
2Nox+fsOi0Woyiwvpe13g5tTYHsX+pKnBbhLRmQChcsMA19l4EOIXhNxKwMjuUbOhenSN8pbaiem
mu1fGoybyunPc1k8aMr8aujjFzsracH7VNdp1674UxFLOAn6SdUtjh64aEnRjGg7KbVVbtx6YkYR
gwRW9b3TlV/CzmGV5bQZGTc4Cuz7Op+3Y0Xom9I/U6g+Fu365sXt1VuivZvPAFD6bbGkPYvgeELn
FyIoPCvNZKDQo5JS9fIdV9WXEbW7KM9VP9PWMLd4+egfaZYLYlOZpauNSd9D9tnEQfNYFupUHKEy
IXPIn4pM4/XGr8gLMxpvZJUBcH3QhoSjBpah/yLqzJbjRKI0/EQZwU5yW1CrSmtJsqwbwnJLJPsO
CU8/H56JmBuH21ZbpSpIzvnXuBjOngk66Hga4JHekCCT+8bE6uECO3r+jVLAHYUPZLj2Z2Mq/hMZ
kc+dFfBtIDXmlZL7EjiP6s83ar8QivGJSNvHPFbsh63FvEORRJvQJRXqNUaJQCDlnfLtmzOXJ7eJ
J5Kv14dksBknOqqAROxQKwkvlxaLuJuYT2PfO9Cv1a1xVC4Wy6+tb3REuMBSznGxraOdzlQ2k2lr
R9XkEIQC1Dtz9P57E1PhkzKO9I1nZKoyLCOO+Wxs1vFNceAvtN3DbPQdfs2qE9lGKMHPuGBdgkPO
9fzxwKgGYkMPdWCbj1SBHexsu2JV6u64mxhkYeEZpe5dQ97ADbidqvnDHuu/bjXAqXr2I1k6HNnr
CkXVkH1GT48coIQ3s3M3vtseUGWZTygiKP+EAYgJYiw//ekzoMCLPDUINsq/kH/EzuMwPoERHJNg
PFDf8OIRwcixZQAzEkbJwsiaks0PhpieWjQ0EYWcpxl8zh7lq6v6nN7eX6V09mlgFwd8uPVOCras
FFDQwTq/64Pm3LjjLdWOvbeWvyxD7HuSEpkaOQATTKWQO6JQFdFkdpyV5UNvkpWtJEXN2iQgukcF
2UGfx9lLu0C7j/qxror9vEx/6VNjrmcuZ/Gh29XB20Ne/KLTtwmk9Nhb8iHJEyijmQbCxTyhqsRe
3TwLC0BzMeV3pQjS77He7JzkkqTrDYmMRbhNw4BJFliTvKWL+FKajLfJ/s4L+hxjFCSabki6ONxd
xTMDqBKMXtnOTiagrCL71LUzHH3iGcg6ZT6h72eYUAOJ5S4Vjn+sBq1AXNaPdZ2+2wUFS8UZkxHC
VG/a41jnHzzzDkkXvyoFBly2IwG6k/83cKcbPUOHHk6/TV7GSpSH7TpxKq6RfInpN8XhMa6QxqKP
/ySr9bSyKhaqfTLIptsRIPZNAF9EUTzPsXjcxVN9dtbsgyohGg/RRRATi0AS/d801pwmxRqh/+PR
3Ko28ufgua+cn9LLb4ojbzctb+0WB2kXl7VX55WOXa+uwIl8EseGZj9QUbP9JWF3tJsq87TdIK7C
h2FNusD2/sO9T1guS3SbyvvfNT3YZ1yX58Zw3Z0z6N+C6Is8/h79xdsNE48UZz4OeDhZgxEsNGby
Cc2ONLEuMVxT2xGQ1GYpOO28IUDG6U5CWnSF8gccX1zz27NqjNNXj0w5pjr3YSg8Ar7Kk7GSBl2R
YacTZz+1w1sxR/Fgf1vbsyGRUNVxujxtZ+ck1lsb83pigT6zaVltqYU7s/F/erI+mUuNgl3T2xoP
F5KueL6xre78CQXO1G6uVLjy+qtc5KPrXQyR0jbfmjGiDa5wc2x+EWNkNGo9LhMw4TIxW409QTZJ
Lv84zQlO+W3Krf5QsLUH2GOsihi7htgQathBzbRFqakiBjov+4NfzJeeGj+OA33si/5VJnOEK+kv
Va74Rl87uXeX2DwbfvnjVfC3efunCPLs3seTqrYU1JWV/i6txG3kWOTYZ+waC/lnycOkJ84+nm8j
IvUyS5+ERDhcD5SEq6nfq/jaGAKhNaDlsYkXyMXaRESRvRL6dMqsXHEi4sIuJrqjigoFuZlMv6ZS
sM0248VLsDYO45cxt19tQBdKmtc/jq9t4u8jczabEKLtHKDhSNrmWHtlc2ggp8OscKeTrBya2JBW
+IoqAVSW5BeMd9W2rQzNnZm1J1noe+n55wBJ2eDKCmdF9kD/zwHyD3ptwYlb28vOa4rrYGTXel0e
FropuWCGD58QzryyiRtysHRTT+Y09BDaKntcsk9G0Xjn0r2wXShzFvzYfox33fnwTT9s2+zZI4fd
mGoJiV9ZsL17R5VbP1DLUyOjinaWcXnU+wVw7Gwnwc2S8+vgj9aOGMHiTDAX2jiL1qCyQ7LSaXT8
mct83N366jk3Ch59nFiguNyfVJuaaIaLiZJeBggocQcd9ERByYz+zjDgJurxUrVuFbocYTNTYaJR
/lKFRxg9a2yUGfXRK+fIR2tjZTPNZqP/UZjB84iTFwv3c7PZmoOEuOyCW1KI4FGAcO0XkWb77GVV
HvWLbZxGSTBceD7ii3D9ODRqmgONhA8JmbBDtRfhwmNbk1ops2/Zf3hFjJVJ6IReL/8ZWO0QCP9W
eZhJ22qmAmrJruQj6CjzWInIntw0vm52gL4/isX3z0a9JbnvSYEb7gms3peygwVrrSed19iHFuej
JoY5Yih+sAoLVQzjXuaSfeHWw3/uiEdTt73cUYBOUvjc6scV1TxK4/+GOliQoBPG4bIPr1u/Jj3X
89l2+1NTM04lxRofeiSuM/gbgFZvhRo8xrLi89wZTGRO8Y6cXStzbwLx097OtzUv8zo/1j3wns1A
MpTjiYvzyxleu7H7cLLihqwC2Rm+tkin0/Cwdbm40ovD0eV0+cdyTmxSaB+pBbrr0bEe2nJCgkK9
oKxpzDXbI6lW20ghUWu9TenmSLYj108QmZXnHj/lDlnUK6F+ZNt2YY5orSt+jbJLo862zX0v+fAs
HbzDBkr2Uj6xOR+waFTqhfmOumJhOFy83Dhj0xH9T9vHOpaPniN46OC3G+Awqil/s/FZ7idMYwlL
2IiNXoH528Vy1knK/JkX6Nuc6Rloe4/0KKD8C/WeMZVJBMkX+SgPImgJFY4pKJtdl0eV4E/aCCN4
tT2ynl9kkp5aQw0soHMcihHEIjHz0EqlG6pxfCXDREZUghf7wGySq5JFROTXS1nEbys6jpCev+Dg
Cv04Cse4Jjwb1abdDzLjWkjXvwYcBNxl6y836833JafOgeKEw4Jl8mRvQ7x2uH8BgjzsHb0/z7vS
rpkRtQArMsVxUeZrMKf7WaB6AgPNIsv1oKGylHZcCXzgu0AcgRbfuJLxdNK0tQEDY0B83pS9ZjGn
qkiS4SREzfqT62eNiqNoJsKPHPNGRQU/tQaIUZVB+XbVJphTTItnGBZKyZC274EDItoXcxbU5G21
4shwOL+n6RMGCjdHgn/GQLNsVyBmosvg8Ht3l3UPpZEwja/7sfONS5NaP+g2x3PvBqB8kp1Mp1gq
RBbmDga8pA64ybkgzAFvSb1UFxapqyxif+dSpXxAi7h3Gzq0l6yUIfkmZkSr9LGwi/48+NZ1tfvq
kNNP7cr4iBKVaiksWsns/WlmvwmnbjwrYMNdZ4DvNI7rR1lvFKBJRrQEcXM0aBsmYH4Il8r6SHij
eSE0iqNOv2HlCa2Jdpg0w/PUpTOhQLhFYpeUg03WX3reF2jRIV6735TnhKtNIxkiIuCh/EUk/nQy
gy33l6f2dsOJwAfB5A1TlcUubQKwBYTDZhnhFoybAUvLVO/QfR446++kD7ljjsu2nLR3co5vQ91S
gyCD79IYb3RxVfvAJ1reSe4LE2+cSzBul57GFZQff0fExbOCuXQfnIglwyhaVg7DA/4G3v14NU+s
EXfSppt4yl151ug0Q+UHyDclD6qc9j5bErgH9YLkFelAkTbc34N9KIalOw0SG1/bi5MtCcUgvXNX
kKa6a3IzJFWFD3pgCKPg7a1HF7vY+s+8cOK0X0AOLm4nqpptE4aOKBC76e6chg49xOleOA+gzZ4m
DrXtADSlU/hHP9W/aUpO+IwnUu48AywoFeg/8mkT7dm8EGx2QHQMoHyC2SHPVx4mXBMDbaS5yjyg
65KGcoedebYwMBbWsifmP3mujA8rlj91b9HGu3rsFwbCWr04zj1ZWdfFRLFgDPolxjOX69o9CRNU
wVmQZvieNZ8IEP8g8N88YLnBJOiVu7W52gPKSpWuRhTTX4/WQz2QR+Du1lgQUm9807fJWA3JbmgX
/0o7FdSsv6QlCcdFmx9xkvYU/5h7y3eqnfLh+ifC4UWA4FRjVIvQske4s++Ip3r2R9BOaWp2PP+d
dPslNMoiZZLjI52ERabc41gEPrudTvbuWumd2aw3VEO73IbUiOv4WTkryrIaaTtJ+diCRiS6FGHZ
bP69EUmDRPGqb4/FghKJMTQyIQiPsZ+9IO2IEO9Hni+KHdEfr747B2FfzWgXzfUJuSeFvynbP21U
T3ZjvdqT+eLAHZIG+I1Vkbo0NZ+dZrhblQ13zTPmUtJAP4+qeAKv+t12EpZPl+QRO2wGBKjmW7Hj
cMSNiXRrqe4cI31XZoagyhsuaaV+WnKEAHzhpT1FePpofut0+c+QY5gNwL1jtdJvyKhnTy3hyBVd
31NM8a6ssSvEOOIuQT1fbTeZj4QIvxrlh4NfoHZyO7QU8qR8IFtRaWSvqOtStFbqrRIdJdMExTHq
FpI4g57qCit+92c3YOKmUhGV7+J9KmFo3PvZRz/Hw10ixH/zUl1x29eQ5taJmvQ58ohqjtzYJ+6/
ZIwBIYzAyZkQVkWzs4snmTk4FP6iQ4t+y+JUGot3doHIe0rO91ip7FAifvIDBxV1Qzb9qoh1W7UI
dc2AT180lbjVhNiY+6HU6N08AyzAnah+1PYLYZQIg8nQudAYA+1ixETNVOQF++1ZK/IZYIZLg8/X
ngxzj1oFL2U8M75Vgabh00MWXRzpja4XkzVJzVenzceD5eAY6k0Dr+16EYZZnqBPAEbxsIB41ud1
BsapVUyxSAXuKwOSfeIMg2Y3OZg9/PLobdeqLNT7ODKQBY7ID5PU4pIP5s0riR6fnZNICn3RYJV7
78Ho5yYa4GfCFatl2gQ+syXBs4J+zkZyJ9tFZPNkMPppvMdE6hxtDmuBuj9rQCcGzP7TE5PCS7+M
jBMpUQkKbgLsC3i36ZmXTENEBDVxsRYKwxeGfpqlRzoC0onoQtCkfnTwE2Qt/birwInv6HuHMldo
ObQGegbs7W3o4/ov6ZQGsubl79yx+wUjSoFeGO9raqNXs/lJLby1Ow8vGhNpGDQznyDcvGUA6JIF
BX30U2g8eTSuTqywVOAgSt+1taxB7JphKw6n+TarJgqBQTfMNT2t6cg/l6zMXD3Oxl714mJ4/p8O
XM8kh+DqVNY5VlV776Wc7FL1+KIA7KImQwFl4QoZmzzeS5fnvBFnJ1WPDWu1cTIs4zl2YxQNiXAx
H68MGf1mz/n3S4mFBspcYtTw1vkJsmpmG8XB426//PuSf7+rLV1fKIBBnMnFvf1d0Hj/91UowJhB
wZL3Fe6JdFZMbWGrg+KUxaTNG+kqI9mjnHSG8lX4VLUh6plgmjxi6XLz0ja/lnJyItX5Omqk8SIr
CE27IyOZflTU1/pvJZzgrl6unHysFC5Bzv0wRKWLooagRhC+1m13vsa0hAAS0dLKdI2Hw+UnpdOr
SZP7pvep7y26O2+rY+irNQL2bC9ZljxJWcx3GqagrhiopO+cEPEQbGecFRa+N7MsAoA7P4jciurs
Iba/HdyX0vHS0OsxXbqzxCAwTVhB9NuwtDCoxmZ5R6vkYl06c/KFcztpGnkEmJ/nYt/y+2uQP9Vq
4N8Q/bnosAiw3dvUzJnfAqHHnshk3Lzl8q28br5acvnwmkCdOzFCgmoG2dRCEZEZ7ebpajG6jVhV
3S3ZMH2aDH+5VXitnMo2oOsl4VaGmqJmHMCpoFyHZP0GeZ+4QuRyyJv4iaDYw+q5L6NHOQOJkc9r
OrFVzU7Hwiq+3HhOjoajBhxIGc8GWmSDMTNRDgHd2eDP7EL+YRo4wXWGyBwv8L0mugrLq4MqIND3
gXAY0Wb1KEb1h8y+6oKWubz8+50cLAmx6jfpMXPnO891Avx7m93of39reJg82UZRd29X6r+/MTH4
/98XWZ2NxMolheLfpfvvqv33hf//n+mcPLcENRz+Xbv/f4UH2JWKnes/Slxw/3tht9ulvow0JmwW
QuMoR3H892e4065msv6IEvViyQjBOswvpU0VL/Pom9Vy2bq12dIXnvVRm04U7+YV7RL1Kc9W2BBS
VYuVTGIq2CNOIp4nN5GPoCLVK4VkcQrT6Lp7GIceH7r60whQcX7girGj7kKroZJgmsU+pRW6Ftq9
zMaiQi/Te+VvdcTF+tM0YgTDgnhYV+ToxRh21WMyLstDEuBLczkJImXU5MyC4y3Vr2VAUDcQjZOJ
TCEZerBn+cnlalPRnjOaDZV8ybPhtz/fCrNgD1pJ+qsstaP2GPJV2RTKtXRSu4l/U9IaT5ueTkq4
Q+pp6M1cWmol8cQtxqXcSJuxU7D7LrdC7lwYUJPFOpAm9BaMcYvDDlGo7g6eLiv6j19MIb+5lSyu
K4JJ8IXdeSN+oja2XyrTL2kSGutIzsHJoiuHIHNGecEU6bmQgCgImLjAKOYZ6/5EGTt8U8kUBhcQ
QpTvEzuOnz8t+FlUzA0pvyZVigaa1XFeIVeqFdRZ9vZhtgfIBfS2YStUvJOkiu20Lw4EgBvHbjlU
aZo/BkvAlkadU1w1aGaK12Ko/izFWD7P+QkMipQJNMd33mR8l207MR3ibfG9DKcimMLEP3HtS/4v
aymRXvR7OSwVKLpJAF4jzUNTQmRgsUlPra5sGE3j3I/ztPcd7z6veiCeWDLpVUFUTxByzmQwMkzT
aaawAqsSIrBlgRSo3e7k0/sx9ykPgji/5+b/wZyEIjrOful1WHdt9luuHLVAsF7ANjQG+B9kvRRY
I3j4TRX7Er5Ozpwua/AGGOkeLugC1GjvJqN+HgMb6Zix0GPFEUWY13dMNoPdIRpPJvmQJo0ROt3R
NL03T/4djf7RyhlTqLGTu6En03vEVerYy7moaGpPBwI5ALF7YinF0fSx72hQJM/HJz1SEHoob3rs
f0ujrI9cmGT+QvTBDSC5RwSFNCcdb35qv2fm4EZe333FOdtDGXDpGr5sHkCa6QP/I22tdoORDqfE
Y4ye24d6mfO9BVBzstQfjr4tmx6DE28Aoi5YjIRi6fyOCoPk5JNcaIaJH2McmBl7bHu48ih9xDir
tubKiLAAecq9wol6EzlfB15POttQX/JCVpd//7kijea1j5uvDSJGeNaFdDjr4hWLdZk8h8yyoKPB
hvD9fCmXfePQSyxy91iYaYHBaEYN0/PqZmaxi8NIdMKhQ+rC8KgnrY56qRFSocjAmMvOzNdp4Zww
nCFqG1ZeTI5ILfWC00B6i/FT26DNlpUdzDKHy8f5nB2nOr3Xgx8g3EuZaxL3wyF049A1JCoGgcCy
Z/Kzywn0jnC5KawbRgJOQcyypEf8+w5O55PMD0MjFj1ccg8LG8vmGJw6n/SZpkHtX3QicvDPElQR
bCU8PhfFlIjHGqvSMsj5rIxMH4LeTw8Vt8NR2QAFzavrJsDMOFeNPEuoo6vDqsOQMaQus383y7NZ
Gp9jOT2m/Tq/FkL8zpf00wqGmAch+SaF1Ty6DCdMgtDgQtUPXee9W7n/wkMN9gPmKCp8k9mUsZOd
mOEa04OKxqV8Rbt4zlARvyUJwoxEp0eQwF9OW9Sn1uUc9wKFL23y/V1F/gJUIaYqJx3CrMU3qHoi
fGYMcvPCnq9+RrwYKP1YNbN2M/ulzDNkSLEOpfcZjhSS2pdPXFMQLGaAg6LrcJvXjwS+XLJWnibP
87bmKzuS1OvmEgPu8uWW4wOhFs2d2/Ljuv54C+qUPu5ufg1UzYLiTM0hrjz7iKeS/Yu8HI6y2b72
BMkADBFllvg9qYq6elZohxO/eTSy/lCuoqEtIfkpK573hNoeGSFutuWiHQhIoFGM0CLofyhdC8h4
TG/5tF60Pep9tmbANspCxRF0FFHjuBKrPHhNT966zi9LxmBidy6RkHi5IFZfIUEyXkXwxyJJhEOo
e2+TDJmuCxVNh6DXuy1uJ0JFhBzNu1ywVRb5lOBRjZYCbRuxOriV/Cw9ufb02+zxyQhbw3kXJckf
zqvM82qL9H0NeuPObOKBpL+XyupWZCXTczm55q4QBrqCZcC0w6A/5ITHLqwtLgl/PAbNQxd7T8pp
wddJpfPW7BtzH9K1FCuDnPaOPT9bjfhjZ0lk4b9eevWgCFI2lp4oB5O1w3HGN6yv3upBNtVIEvPp
Z62Cj3QeHpKsP7eUpAdVd9euw4OfcWONGCVwCRHegLQdHo79gzi+Z0zcXej4+bKz3frHsk5j0F9i
K3/IXKJ4VkiBaEwIqV/q+zIerGhZo8CbVJRuik3CeCiFW4/SbhhSa0Rd7mjdqmV9jklxyco/K4Rl
ZXvdwY7R68akSWePeRBPEdjcNU/AFVSDk17i2A1ry9/zyCWqYXSiXC5fq1U/6jS+q5RV7MfJp27F
eDDipT+VYnlEm0rQmWp2Yp6uPmZopnjoOLIxMoRDiWSZokrTA1nUFrEVKcZEJ3Cf2TjFaPJ2LO2H
XU4AUiq/tnPxDkC6+ZO990w0yb4fO4qWmFNrB+PW0uN+zcbnwpCEXeILrzLeSOXO71WBL0kW+Rtu
rmuZCr2Px+Uv8VW/Tcu6zhncpsjMlwSKOqIh78NtiWqxiPLRvXFQwu2J6RXGzpyo8Mhz66CJk+dY
A8fIsUvCPZDUYJ5yyqvCuHyoBq8kwjC5B/x7T5kuUqozyUMbH416Lxdnk38VodXlbwrkLQQ2uVbV
5qicuqiux/cS0BxHvL3DU/2Q98k+wFFqd80HcmioCw7uPQjlYco9dZ5NE765OFk1ZAUS+NGDhotz
6MHJ6x7wNXwzVrYYpucCphOouHJNPCdkgY0239sd7QmeK3tEXt/FzEsWXxgmTPkNZUiVY/11O9zs
NYfvNA7kmiexvRtII/0ngAKqdNIHnaFbRL5EHFSPhE51s/mwwAALUz1204iNCDnifiWhnTBE85Bl
mwenq5J9otsSH4Gp9ljocexxlDDXmVh0qSQAjcrLXU7LNUh/H9W94Zw9yPXMYCdca+Y4JC8cH4b5
ZKvOvkvbdDxUkqIewzZ9TvLVgMOHyquUife5Ssml7nnkSDAb3C37ZEZFIVCzF/Is6xHFpVswn5vW
A89HJAwxKgIB8AUKw+2U0qila4GyJ33XBkpR0eHwYVrezT7HZ4Cb0Orbx6Z+NCqd7mOnRNuXBaiw
gJzN/rQEip+hMp8SAyWmP8UQCj5MvsMEHJA5PYyLDD2N84PISy6NtQ7HRXw3QEH7hk6+tlU+NRQw
4yWHQ0QK5Ifp69uYOad6S8Noe45hK7F+5rL4mZOu/iJYPN0ttXioRa0hUy5Ln2VhUHyS6cDADmOw
G3CyjuUeWheEHW0l21GYeoZx1/Rrsx+zKYIsRpjp3IYgsS8jW202x6BIsRO6ZeGFBWRYaqKPW4jh
Q9e+6zVBR8b87+Tw96lvProW72y1pFFv+Vft2wD0xYwmd2E/I0uAQT6VNZQvSA/UMttyp/x9K4oP
u1jPUwMYjHODBeufglCpXyvZBEftiasVWNk5HX4yx/PukIqbZ1XL57iJs4MccNmouTxIbZ4xzcT7
1WzyCA0AMb5LHSFHQAggCtIf7VsbFPQL1/nBNpIvW1m3ttaMc2iyb25JFJTZCdS3/9KE2iCHuM6R
I9slRAy3w1Dn3YPW2X3KNlTbvqa0z6HbzyQZAK5nWdOrZwouq0CieJILST+m+14vBqFuqSPCvMP1
GqcCrGh8iJMpO5TaRkTfSSSqJ9yebJF8w7Cc7DYMOgTe8Vu7BVr3QrxTmFjuQJTfq3iTbqBiKaAJ
Cd6YNlrzUBUBShIYaVRMHWtfpmDz+shjKo1qHv/MpSmvcPtWBAKdFm40ihOvpt3wfLC6+DTk7o9b
vmpLQBGQpNiBWQLvY8pn4wuS+hVA5MOvyLBKtk2LuL8wdz+sxKCBkAG8Vc0+J5sitNjXdlZh2iHp
l7/tAbUhbQsHkw+6nzzEFOn4RfAcOZN9lGVkKem4RXXIEmR0w9Napueyd26paH6ZUjlohRTS9Qwk
iIo+B/uDRXrd2jqHjHXGo/0FiwPCDZbYIVoQkVyyhMO8gshdGuhlWf2uct7sgFweo7tmZCCsfvnb
MGju7SeEUGxtjB7ql4GS+SLSY0dqKQEsAZk9ZXN27R97hPMvagin2va4T9cWS2WjIyIRTnOJ5MPx
YgfkE3tAHRhPDh4EVMTl09hJFU2DfddV2YvylmcSol5qvJo7V/QfZcpOoBGKDs5lSa3kYBrWbrRJ
5koJFfK2korBuW3TUqZpAU0qHHqJyIa9DBBRN7F56atj35pt2JXt3UC9LtWjHz0HRey7ONhT4p86
fz8qkuxTu4YMA1Ic0+JXN/I8E5bDhDyxSPtEbPPcoV7lT6H+QVx5gECh/KTY4b82mO4RsOHfHgL3
FLfvXPJRvRr1HRuaZHtMSEJBBi1oi4nVW1MAn20OQcb58UZl7v32emjhZuOV04XdjtT6qiLQFklz
OjB4cM1+JrP4RlQYIRb3jsJyfyuEsKdOxz7xUKCAzMjgAfMpb4Mg1PpWo6o8jvmM3SWvPwpEc07D
dLgwhmOO9bLD2MqtFIDqElX2kbPgfTGn7Nlumk+EILJr/iw+xseJFBHVXGsHMXBuY4HKua0G9ORm
fFxS1RxM4Vq7dk6TqCEJIAjsy5yaT1BsZAOuQOwY5TGWyq5G8k92hGaUGnpAdFd7oMo+qFyZHbTp
QTVhmW3d9duhQuc0YKKbfH3ESf/tWOJdKYvpaoqZSayJSAin/KXmW27NOPs6VaK86fYmlTkh+Xnf
vguF2hL9j7z9XVsjuSNz91Up525qy78ZnjZENwez03gl25DqQHpmeL1d5v/awrhwW1gcr+VqkVcW
TAheV7S47HAw823UuS/FRB5D0FFAVlCzAhDTbpgSrC3RiOGUzcUZWJPneYyitINSg7RThzgHOyMQ
9pmCJVR0Tfw7j3vs4NXCIo3tBLs5UEKGzYFriWsOMY3uPukmMeHXk181IHRIiOO9ichsrxZMHegh
oNA0CtNFzAdjaF9kBrs4EbEDt5c2OyT4/wVZgnu5S64ki/10MnnIKZXChI6gaSWw7KAmKIZOu5Fr
91CCol4xSJVRWrl/Ecj1h8WVNBsfRbviwnaG5mAk13+XsJ6mt8Yer5ngmG8mH+gNXHmEvJlLlGqb
3alh3MJA0+qnHr+TFGxb7VxdqkC9dZX5d7RjBL81lr0RQTJOSlYlvxWRbaAmE/ijYWKbZ+bES4WL
ky42OyJ35CtN1Kb3dDjVv0ofz9cy8Y3tnDXczdDkDF4FA5Tvy3rIH9QC7Z9Ufh169LCmLTq+gKOn
L4oCDyYONKNMq7CIX8RKJzprMupenN6oJH+AX/qwNGescyWxHg3aEiqPEdQBiYjZZTkLUFkP63K/
Yoo4Ffr3VDpPa2zHYTLH6uCO/h2ULxJcz7utmm1rZpZg+a5P4Aj7aWDddeBOkbCRUqw/nRmRiRJk
8rnts/Bzf8+l5OzJUFqjvqjn3ZDVD3OhP+Zq83OhIxN2swcSbfcmicCRkmzXVmM/WCxJo+FXj9oW
HUk+0Tz9zLX33FrLq2Hb5zT231zi7kvHIBNPXnJL3CWYeg7u4Ni7PA9lHqSMqlbYzSSOEg6KLGu0
k4M96b+yl3gBfwxtvWo7fWU+58e1k8u45n+6gcOhFcNrMA3nZARsC/yvVZIiO1f1l0sXdCmDlQme
97TvrPfS5LPtcyjkHtvkCbEidmOwrxjkc+pIKDNEH5Ujye9MxK11Ni2ebN7K9Og22j30wuWTwuLo
SfdPMU/GsSGgEtEBdUH+EwaJq0lc8z6dWYdSBCJzmZuEJtT3vJHudWkFKA575NEp8QKiMp1jnHnN
QjarwKJ5cVX6n2/b/xXKWI/gMFaU+YTVaPEymh5B3XVrh4mFFtOPcfX5NKSLPDHOnoFDoijGr8BC
ohjXvCKgaODu9a+lcTvzACElzo0Pll4UxlCMc0Ibp2zCx42ruoxYhng9gXis4sxgrFvzl94r81dB
56W/zARnnOfZ8O5AM7jpwokZ+xrXzadcxuGcutXyZKKkilVQ7AsV/PWSz6m1YU12Lj7bczGjK+5n
IsxM3wlXb/4JvENfNUhPRXlB7gXStthlCMqB8SxeaaMJ4td4lTSA6CfbLLObXbMfxS2m9rUs+GiI
yAAcMKq9nAiPUTn9sg04foGBhu34V6ISNCl+n5/dwoFK1KpkrGVhQcxk7t0AGDPp158E88eQLBSm
hTzD0OK4LlNyD+nSxSz9MvtDPIM6mwWgBPbynIAi38NuVVt35IGS0eO1FP3F7c0yucmr0rqrq4bO
CsDlVbYPHUmWsceY3r8Tss8jS5Eba7lM11BBJHv5OEPt32taxki6yMwwaoCl3pJ30OXGqTL6u7gv
q/sgRmmz1IYbVQLIbs7H5kIJaUhCNModm4GWyJKwLfHT+mUBcjj98rR8DdyWJCtq3rARpV9GPONa
mipSALiqZFciVurt5KgbNJlBcpm1X1OaUh/ztt3MfPYPIkDWQMhOkpYT0pU2o3gyf8gSxQXd3Ijy
m5Zl1e+J1t0kIGbBKdEeNCvlVf0PV+e1GzkSLdsvIkBvXlXeqeTdCyHTYpJJMmmS9uvPoubiHuC8
CNPTmh51VZHcGTtiReZY+3nVeGV2lrb5EmKsuwmqIuUpYuu1X2b7XgbFWjsl7EHtvU5/qaNEkcNn
wTm7OHOIW4Jm5mCFym5u/CBCSWzr/VgQl1EBg+lE4tPMseAHwwYvskfcPHsits2xuSGbVJcHUAkP
VQTLI2kBpAGce7Wcgbk+RlxnH49Jpgj1zW+NToaLayT8E0dscXIOck5E3SBXw00ai0PXV/4ahjWe
vzo/hbBK9y1uH2zaooAYaZ/bThQAXtsUcK6zY6vDLDl2nP1fCgWfBKL9sSxRlWQHZ5GUNmrcgi2Y
43w1iiy8MfP43TEG3s8qfE8icha6aAS5/HhGwDA/hLLdddiXl7QJTqDtfPR4JBVmZ/0kMQw+enIz
pC5aZsM2NVIcnDEb/toGjk0e2IzuWeERXI/T94kKtszs71XvnO16PuGUeO9zhya1wgNFzZMJVzE3
phZnpyTXDkjtYe6mYRe3BzcTOI369ynApeKG8bDxWFp5Bi+RrCv6Tueg2yTJdO+5dbgaCAEgAO/r
RpMw8foXfPXfM4BxTgzkcQMDBY+lH0NB6mx154RHWmly1q3pOUxachU8bsrUknjdoiNLUH9X0icW
J5m5yULJskBCHGqZlk9yLN+A/Gws7FkHDBjHoPGC+75/GnuK2wsZ3WG6B6atYfZFU7sr0668sh68
tKp5i2MUEdXKYlPo+SmsCHvNjTfdIA6xXR9H/+BOjBGYkPcp5pvVsi/GWu11WQjPdIT4keDVo/z3
0reEBxyhVhQxyxPYha8gUtOxd+1pZRv4khnfaDkphbeeutBmWVTv2yYV5yabTolvjMfMByXpGGxr
PM/c2x1hlEoZ8M8jnGFJlJ0KNbUUTfBJxN5prSK3Jp1S4mEw8x1bmAc9zG98tMa9lVnHpLHLnaM5
RBRuZl20w0pC4GS+kQHrfTg037rGGWs6DA5l+WBhWjoS7cv3GDWBi9nLojIBM4ik5iQ2w0vaI7VN
cwu7A3yGDOyXFm5r58JSgMvWsmFk8qgx1JX9SBgPlhcnbidd9znsL89dHGpY8VI0GIg7SwVAaBKP
rFlDT+nCdepWYcPKt8IFHVBy6kyGYElTuCd3+BoyUv4S8Y6tpnufN+1eFPyJbnsJXXqbWF9mfBgw
nvQBVokABXav8QVvMLBvmX2qU1WT+oli+Va4Ix9jh6JgSBDpNuVciYwyHosEqX7A3MSd+T3U83vl
+e2u0OGvAcAJ7rOrtpkVnETB45r92RrGGyzsgkym91WlBGPCCJxsWYvz4Jo0/aJKgMeAituxOMN1
GqDbuXOxHSU/K3Cu4LbMoamNWXPfoEETQLCR3ft5OUkI3Af4ee/FALU/0j5toMo95Q3yLz5sTpod
xGPCUPRypMWxDjLnRPmP42WgMbT8drJJXG0fBVoXyDw189S6nbhpt7SS76KyImhX8VriEPNP1RAt
Mhh9P1CYIChKFyly2lV+iecVcjk3Q2x5WUsrTZIe2kSL78xnEu+82y5OXCAu0WlOTFzEQbnw7qCO
xzQGRvYkbjJNpo1VB8kx5mfUPtvf/kQaqzTBPLj4GDlNyZOJTafK6k8dhZL2c4znAX5Op9uxbUDk
0M63U23Bqs+oGPI9seyPqTcF41PNmlaQCCjDvTH39zKDyN4G9vtkdvOmjrmnk2HdegyCZBNQLeTo
vkdk3uhGSF7qrgZpbHUPjK7ATrIFujRQBBRzfQ29ZHyR9hPvts/LEJ14wK7cOa5hq/NQnUiudbaC
uJSC0ybQutYRJQaZjy8giJi6/RYWQMdTwCbLvGml86QEH26vt6Ex9eD0JgBrtQtyEyzeF2yru8nw
fye3MI5tIDMoN/xMOX3uHAGFd/as8MNX6b6p+3gjvMxeGQjIE5+RtafEogzVxbav2q90MtfOcvjN
B44WrSee6jaiY9HDx8S8ssUApVFLDYtNqLUeDeFsU4K/2JoM+ArstyuwHecp7L4M0ErEIP110IPS
aZNuH4/cHVPsi23LKjcqjd9OVxcBI3+Ht/aaKGdcd2MEa7Es7kLga7AT6ZvisByNk71OZE0dMi0S
bGnqaGcRKksbnXGSFT8zVppuMoerTMNVncl6i57xFcahWqU2Z9xGo0g5eeZgNdzKjjQ0ya7uKGHW
MBxpVlF1/xVQHXVqXOduCv1hBThqQ5iEp4zB5ceJ4Yu23mNjQdAgbWICxe6gUIqclHhn7uxkKreZ
7Z+gkF1VDPCwiDq4dHATwlDv7MGzV0UMKgKeKpi3ruVVzPKnavbVhvvwvVbGdbHb+glPSXdAKBz9
5B86bKFhbVje81A2jKIss8ohEkcPBZQ6bLaJ5H8tLBB6QiMYCO279V2K8rwvuefPXvhj4QkE4xbs
6IHCjBcBaS9i3MMsgglzBAA2AxoiEnM4KY8WYTa/4PFmbP4yep2El575OwwEncOMC2mdpU5wyCYs
UG4KNsEvLiY44T1pg7su9s1TYYfPmGYJcbgD1yECmJsdpXLORCk5HdP3V/cKM3/CGj8KzrqozoPl
+use/CPBNJK2flXCNUDFUUEx8SJYt17EDpPU/BhzMsmo+669/ljjZIyy5UiZdOZtNScoz2r4TMEO
vHiSw05hQ5AWFIeMRFTXIS5ac1BkU7123MDfXuJaDPlc7KuG3D+yh79IUZDeoHFzE1zMlQ2eF8GA
zo7XvC4E1hNaaXRTxxgCMp50uygaN2MTvg2jHDcc5++TmkEyipuH0Ws+OS5DfbID5vvqNjQA8IhW
PYVRwBuakbYRj1apcB4a5jYClMCbi/Ze0mDg9lg4AvoDXIs3uOjq64yTe90KNHZsn4+lGXBFuuMv
zBwqCGdahj1SHpjfF/cFJras2tb0YjkZK63Wgcagu4s19yB7gIZZafIUWdHFt8Jg34tgHw3zYw8C
FdU+JEsr2p8W5ztiUGNtJSxq2Y0fGUeQSxZkSMfMd4fOqw4gkq4YpIfNUIXgy+Eq1Cm3tbloz4gV
w42I5mtdudm6md3faFRP8RJcRhcoFgjPtTW9r6YfV9aUvw6dfA884d+IcxHzjoRG+tvZE9GcpQPe
NS6NMF7MYX4mCiu347gM6ApB3hXYMBL7wZ5gAKVe9QPsPmSj1G200dwxlUDHXYKbbTucO583ALvj
a1BzyLX6g8u2COWED+PrKPq9PUhvNeW45tk8UwnPD9OHDROCR8EyHR1mIq81YHSjMh9Quxqf3Www
HMbcprZSTDvC62xSqMFF/TyN1YdtiXZH/Zy7ovazv4lLgiS141SnHjUs5u3dALz9ElHgrDpNhGkc
em7sPNpFE+ELgva+scMWxiPLL9a2nzmvZCu916bemgKBwA2JluoSgLmqiAcoSXRxbioOGj1w7uKu
6o1fbeTmZqpMvVeueNa+350w/aDkxicj8DZGGrEJnbyB2Hh9TziThoyGOM5OLyzHYXktmOcDqoXC
xJOHOXAJyJNrsmzK5PGR0AGKSZTU3SHm+XKT5dCXLemhIyXNVi3tR/kEQiJjG50kNoeO/OpY/ZYr
IcBSa9KD4ZpX0c/cxBqZ7RZ9N2w9TiNfY465eyZsfRPfeoGjdy6SA0dna95ro33A7M/Dq4txDEw0
yAAWXsVNAFmOudG3efCNbXfK28Sirbb9GYr56tWT4BTwJkWlLpGN/9/I7yJP3rLooJyVxxJu1ier
D9GazVs3ZoMg6YPf5nS/OOrckvqaM3snOcn0WYWFzalWJYOrEZDJdjr/GIj2oQe2WscAHvyuepaq
f80bZ95aLj5fo3qpfIxmTv5hjMBc3OpVB+jQ89jtIUOaEcS5ykW4U1WEH0zt50zjt6LMG5ljHOUm
HK9tPlNOC2pcWwHEUoEAvgREs1gTHk3FU4hDhEw0tiLkC+6ln0h1nM7HUXN05xlYhkCeQ/ZZxrnr
rF8/6jYAFwskrOopC/jAsxXeIIh9hz75IAzahYrfjAVJJtvpMNk9vSwDPSjEmfHHxfzFIzd116SX
TlhbJqvUeO/EZhjr13KCaFHk/SueHahk8Q5f6V7yLUy0HTwoaopYgeLkl37ANi2v/E3U8QSIMz5z
uSVnfmyWwbbv8G0q2TYtltvAu0IVWOtwZ1XRWadA2YzQOn/gO1crO6SNJqkl+ZmZT3a5OCBIdnCf
aD4UdvSU5MmKJSTOzri7k2V0H462ubfK9zgeKYk3Hn1WVVWOii9l9eU42ciRGe/AMFrZqms95o9+
+OzKkVnGnx46li+yigiyyPGfHXQPJn6i3jJJ06dpdTsMvMsWJ55VEHi/eNLgIKAulrKGjWElF8vv
y02ZBXd0M3jIIOZRhglcQdJCiMEOF2hS+tMqI4cGm/I4FYopMnaPrh/t8hkkucQ2wDruF6bVexvH
Z7RYTjA4WWYOPBAwCQ1yMJljBDYdn6nlejWla+wCs/myXbmlk2jtR49hN6pVUJTPwxKS9bySq81X
uzEmNyzbn9znIu1pLwMD8Fq6D2OqjgZDx409Wx9mmrqHxpFUTNjouR7hXLd+ISRMJ1NNV1oZleue
cjCkDvsmNU6eg/cCTeW1zkDR17rkhvXVJojgkNGvpnzoZ+4fKQHVG0NN5O97MIkC80gq3p1Mv/iq
XiuquWXJgztgsrvJRtq50hAhvr8a6SkoRptRZ8r3yryAebmKynsfp5aCTK8hA6qe1Oh9kQP4NCxG
upw4M8A5gPrt8qZmXfKUWBFMo61QnDUALnzmKk+BdzVEGtPiye5pDWmJLWWTZV2TPtkHJcbzJiOn
4iyklKokluERP9JJ8iQUIbLJDZDOAeyxuX6yLcrRbEllRIanYvbLZ3J/y8vzZnLBHQYZIJbNSySk
RhfX8UWF8lf32t50bpxwaXtb9WpkGHyMtGNDB3G8t2FWV8wcIXancnZ+PKQgmjZJSljFewJ13hDG
T+cMR/qMety56Odkijdxld5GPovNObgBRx38vYfg0O6Ep4eTfu/HxuPujJaOooj9SN6FU/7QShPR
AJu8XcuNo9F58oI2LGu+zblHryahD1ZvPSMjIj4587ny+p2I0RmDkGUkjhqrmNc2S5qbOunVOrcQ
HhM+CqojEB/4F6/uGRDGhtNKfbUpI8xdPBG8dpl7bOtq62Ph7gqWQezbMBnrkdWH+TXH/4D+MB5F
uiYl8AO84MmhOGjbNNUBw+IqHVwgYf6+mHM0AFHfUgpBzNxq7h3hHxbVIfXh6JeMmHXX3bIq44PW
MWyI4l+g3cukl/6LsjuEnE+dcOWa9aXFFa4SmwIwHeyH7tYa/NtpdnaNwbACsuCGUjjMMy2NIpW6
Vb66FtZEkjQGkt/Hd7P0OdjgicWgDCvbc45i0QgDve8DPHq2RfVIuliTypp3OrDsf5PA2mkHBGvl
ZizSdz+fr5A/Nq2P1dWKKi4TiJc1pxd2Sv5NrzlfeOxGLMmsAhiCR6ODXU+/piaWv8Yh+UBg8sbB
F0jUc3jI4YqXLlC25SKMjflqmHRfIaOYcXcEQhzhGxv3HYu6PLGvzEk9z/TBI3IVneuY62xe/BUp
Iq9b41fARmQl9pHj9hU2HPC97rGJGJtQ43+GptKb2WF/2SLjb6SvN9qcrqGNsW7MOCeRQVrFTvLT
W/QrzOMqhS2S4l+yJ/xNLEGvcFxWbU1fRj92cHjvemyh1J5YnDjAS7ipyap7/nVmo2CfNcl1oToK
nHT5kbkePeb2l2ji5zg+MUdRGRyBOqS5yDER4gCnz4V1aiUvgCseRjPgmWzgcI1N53mK+4Olfnve
D3Y23PWMufjI7XbfVYsx2p/dLSI9y9Ek7TFcSypcOn1xWpt2Cx/UlhTjN/8ndv30O0YsIoasd461
SzlFVyV7artWFFYPm97h/yqrdkWLSLLvOt6dQHGErOLTsFihCGHiUKDhnTapnYVIS2HhxVqCuyZK
mJ1JMG9hdG/2jGh18ik6hkT6A2l58J1fTP57v0qwt/E/MCJIPJ0DsH2pGwAbZUFnSFvwCR6BoYnU
kyeRlix7B8rAyh2gsw3Yeel6pFuEf6L08WVJadXipP76u+roEKdRuwVFwMpYKla6+Pn22H3ORkNP
jhNazyQZx21GMHaKKSjKK3E3jpG1KruZuZ2GvFU8FF8DWtU6KdDLqMVcW83i6loAxgaciZvWwmdt
VtUbeQ7zGLJLMUdKxTpG1Y3bifKC9j87lK20rfqozME+sH8RWLRACeAIn9hH+DmVu41/LITZXrTd
6iPdXrsAU+zFjuEblK25BEmW380hGa6WD+2+b9Py2Bp1efzvn94ZoMWx5/QBnYZ/+/eFn0Sj3zv+
ujIqMG8vfLA5i80+tL/ceFGlkb939NyCG1bGgxGTjexp1L4EAVU0c9Ww3EBXHSp/4gHA83OJ+T4M
rJ9WMhfGm9m2b4nhJL/EdRDI54SEp5T3dgsOy2wdAsOMkW6u5UvJoWydRU13Z9a62CX8tdCd+IRD
0on562bejsJEKAypxXpAI4LMdWZja7PHU1jp//clk3I8/f27pD+xhgyPf7+XqfBRYWbf/Z9v//tN
ryvDo2jO//unhDzWT8SpiYtPUUtGT3Pjw95Qshw9Mc3DJPv/X6zOBzETlnvXyZ1T34f2f1/85Zdt
LnO8opz3UGRfi4GKrL9///e9yZCEaO1h9Cb6ysaF1d1PDclGw7mLDLYocTUdQtgJu64EtggudOQt
nYFbtSEHN4iGgnMRj/4CTm5MB4Jls7yfZ++Y1rl/1Kb9Fbl88lIcKkfBgRWjH5zOo2pQyHKyI+uK
zmIP/BSFLtjplwgBPWfl8e+frP8SBdE6ANS0Bz7VHoXltMeJfMHx75dFo/M98iyQsaI9Dst31BH3
7mCm/ysL2pFnsmBdoSSPixHfShiTs8tZPU7+/RST6cBCJsgj2e1paH8pvo9Ps9bLNUQJmMMPEqlL
rVrYd2EK5hl2BXSitq03PYFW8kidcZxNYYB0bR3j+N+XZd+v7dS8gaYfH4shN/77UictIkHRYTol
6IS+x2bm71vk8i3mYtma6eONHA8yNylIBqM/u94KWI3YFd10mJFbjh4F7Wp01KkcoDB23dkwfyvT
ao5pYbCk8zFvWWNwxCXHs1fjTY+tpDm33GcPpVFuFbH/Iy431ASW52r6JFfcbyfxV7Wi8bfMFuuc
6IbVi2BbgmZgjBFPkiy/WGbI5vgADjslc0LvQUygx49tXmn/hJ42gOIH++n39dr1LWddDZIoZYBi
alrzE9IaHlWv/WTONS8UWkUtwrsYxQd3inCFrhSdUo5ISYVvdawmsCkOhREVSCEaKdKVHDys2PiR
167rLwkRenBbe+OaIDmqHLiENTUIF415M2pK0VsPEY79/ilQdXoyqUNeCXw5VrhSjeLpWEMJXeiT
IfY97KREyLv8kW5dY14InP64rayO4wDlfEi54bDiR6Ro45+Ko/LgD0CvK/xbbkPFmtLPyEtn5hGQ
3bBpYmyoa0GTJZzpedyo+DmNvPesiPeqrN9q51RTzzH6EloV9RslBzuO6sYWTtlNn/0TMUc4SIwl
h13YENFHOdR7XXnHsSJW4ZQEvEY3PhdA25M2tc+FkbE/iuJD1ZYAh8hUdk/c53oToasb7jrH/mFT
2a2Z5HcskAXXatmtIIk8BxbceaI0/ISsHKqG3smEybNh8VSHwdoqS3qw9WOURJ9Au+UmqNMrGklC
puW9SMOYfrt0VRlgLvWwi2TRLX1ku5R3HRuCd+9hdxcqOSod3QqHPlkMhUwLah31AzxgRaiu0v66
Efl97ejbsHd+Bbc49HqQdWaKcgWVm0p3c4/ds4IlHiq/XCVR8TCVvbfTatq2XvrQ+osgXYSb1Ikv
2VjZazs88qC47er20VBRf2O3IO4K+56Aw4vte4/hUji3dAGgETIgkh7sSS3zGMUXaVAZImg7nxM4
fhUEYWJimyH8yjlMQlFxq+LVX1rPMUkHSJyiJJY16R4SZPyrIhCyrs3CiKkoD9+qon6NjOwVKBeW
RKp9GRq05TxCfOVJl39nvI+spZw3nOAIbQMDvg2t+Ga0Yd+PbnifDfxhpcbY5PTwhWAXGxu5PDXH
igC84yG44YVok+K+Cvpvhm7nxny1pIOFnDrLZDDlTqJFxCaYiSnjEdtTfuPm34odkpTid5hFdChU
u9VG/DQrqLyFu+lYwV6IFygocIe8LveBDl6pQ2NrkHC4aGPGlAkxMBx+umym6CFCnozV1YIJiWub
nEMa37PxqTmokGdXBkt4nwyNAVSJAc5yaEr0DnWC3b4p4tvY1tTd4m/cOS57gpDlWQZjrBdgAsbM
Z6dosJXGSceS0Wj6d3qx+AzYK790YYyl7qYYsivmfRCm5qepQcnoyP4WKbavBpMduJCZBafnvkVU
oCLRgG+lXHjjlurHdTpjY9KPXfncmQAyFbC6ynfb7CDh+semU6AuC86ajfNAfBsHZA4/2mXek3ra
hiERxHDuv/ClnzGvD0uZKIko4It5kXhACEG7tLiQ68KDQTy3391sfrPBSDZCR2g9LPvYMjNlTxzm
WJ+uWInzDz1LC1u0YuUUyVsDw7YbqU2sbBezYDG9T73/4KLScjgpjn2GYzKKCwagIcKIOOb4kGf9
rVSbH4cgvm04lsckVQ9xoUH8zNFG8qexAJs/yhHpupiLAdkvvMdxCNNvqK6kQod1HpVfNk9P3gZe
0MZi7vEsnhTSfPHDmbRaYL2Iut2YOrnVUfXUW4a/leo8OFGy6xooOhivNqnfcrTA2NZ0u1kp9N6K
/SUidZqO7Bbtg0tgxk3aB396NDt98nP5g7sP102B2VMPz+wIDmUGNWO07vJ6albpgsh0i4AGydnZ
O736DKBA+F6ynZx9Yg+XUs/JHUR8gH92AHgI6QgePrkrCmsZ44TrXp2EVUIVbsYkO9blUoc9xntp
heNWRjgDioH9LEA0GsLghUJ8vcwtPC5dgizwhxoHTdCuchtL4pzNxyDGaFilQDZMYlCDSF8wmUJu
muLsiAtjb7b2fSuvAKSaZwLM4yPQDbA54czdGtKIGoTAKE9rKPggx/TKLfAI4K/avFg4UjnbQcCu
8/q+TKPiGlUcNB3dQFPr1lTg0K0+RSHLz7I/9IqbelAlNIiTuya1FV3/vjQfLDuClSY5XUfKOs+9
wFhdA79xosq8Zk6C2zUUyFkk41XcPcSf5I1POqeMxis8Xro5RlPizSwSc5U5j1gc2MrkzIKxDs4l
s0S87PppNcGzn5XDyqI3gSAH86BlkMaMgRiMw0eSuuO5qSrQkw0bGl62XUFuG98G7hR8A2y/8ieg
buYZ/Dgb32zYo3MCaHBjGuv788BgD6fXZhBzpm1DiVzIj+AqEx2gRLR07bK7y0WLmzPuuLisbNP7
U3f39++DhMaYytbIflF3Rya7XQsfE1MuiJQkFMZvY+MKQDu9m8pQ3A/LF8Tos6jpRLcbP7xdho1y
KtN7IyEtyQOMWWr5ZbV84cjesH2ml3jsKVW2p0ht/363s2S81nRbczDk+7i8sQbFY4ta6Senvsrv
oxmbg0cRrZ9yaELG89HAppRLNEfnZtzGQZL5fsSFah2K2D7Won/ukoDyE/JCaxYaDx7XxN6eRmPx
3QR4ObJ1ONfoJJq+Be4vz7ECAUmSCtZmk7w0i1+8G3xKStcsFMLbRimsb6k4Rs8N5HcmLPet6omb
R8XSDOKFZ6v610KH2sRklNZsIoZn24ZW6xpPf78Y6GQZ2ROvmkrW+8y0xucGkmmE9+Tx71e5TrbB
6MU74WI6bGQw4qB3BT4W7zaLQucq5qp8rlzjn1cXzeXvV3MX2XR8VWLn2OLBdXv1zFXBHdVED2pE
pp5tZ3JxXvXj7u93zXFazeYQrANDpdC4Q/XMp6XfKYyZ+N+q6tmMw/SQTr6zWKxJQPqMPx42z6O0
IJBA+K6ei3Cc+FSwDpmyAFYhLsOXVmb1qU9a4iJDeGE7Ja8cL8GMC3lrysYjemFt7RD3vfR40I6c
nCyHe/vIDPTt+3jRTl1eqg+APUdgqyxBilJevXKON1MeIQy4w6nWwXSum86BDhLSxDI37yBbCEmm
/qoeaCkoqfjc995k4FPTT4bKjTvFBevw3XVshC+5AqMkOV0NBAj2HPHAGlJSf6OpwmIhPz0WDjWr
8fAKtxy3YJgxd/HZx5Ozm0gksJJC34MpQ7bG+W7zodsQgeBYtzgWElb6uyoJHLpUMVaAkMWgm+Qs
ELC31G5UH3QSbrVON1gZbaThONmkgrk1ADwwtf1dWbHOb50w3nAjpVX3Vony1balizQSPrLJZBAs
HZ4mFtQMGAVqh1X+IuexWVMTeC8CYp8m9YvF0idp18OPpLR5YKHXNxmXpRbL4Ak5s+R8FwXERnmm
xtANGVp4bKnfeJ6u9Lq7GyowXsD/YbzFHVnGHvNWvBiELdLo7ajfpKMfjYoPdw01jI43ce6D29it
Ae+y73D7kfzFSSmyBDEnsoVd/C25f3kuV1M0sICfHPKvTatYNjgeWFPX2HBX4TkSTY8uxxg9DovH
Ba5Sjz2Xk459W4xDAJESAVJ4aiMG9gh+cCHh/plUBmy6iO2f5fkP9ujfW4YCI+p7X0MIp03ExjqD
vwFdwTrkSvRYLrS1W56GFGM2O+MdLGy8Hzzvmw0xMnTRwWFLrF04WIDERrLBgNp4L1P3Q4RwICtl
4aMg1mQlnJLLtBRUQNSPkqGwcCEocGzb54rp3IjZHAVRb3K3wQftsPuac+sOHwArn6hhvUg6dEgD
yJxkL2xVMa5J/75tFpIF+eSG9kIkK8R7HQcbIE6AV6sxIoZETNYzDXAlmNFSRKGwmn5zZtncCa8N
AFPhcEAMYmCWiduzy6y/6yrj42toakxcDlG5NPi8YQ1MOWEHwCO1XXPbT5koUS/xJ90nMpdrpOEv
MfvRxsY0zgQA8V0VdwzyT7IGw+lESE+VGu68KLrBZKU2U21ywIzIhZSgqDqAOaa2vuvYfouTYNgZ
OXkvypVZRwzzqi+K8VSmtI/5PItEQHsuJQYP2sHVTiOnWvepRmty7yq3+zWj+KuVxg+oATEt7knB
2rqw+osczLfMY36aEoMKXvu2K2HroqgLGG2I9iNY4HQY9k7jDhsn/57nLF+hU62jcPgV8yaDib/K
xWXg7TjwA6GFFZ9Vm+4r0bxFIhwOIZ93sJK3If+rG13QpoVFfG7S96aPn7PIe+7axtpkZXXFfX07
xuMPq4xm3/g2W8r0K+U2dBhpSUwVbrc4x6nPq4Q6quurmSbPkCc2s92x/o3eAJBuR687tYq7TWgP
1L46ax4u7o7bC3zvTUA6aY94/ETDXmtyyJeOMt46YhUJsBBM6kAZ8jG4CV5kRjc7W0H0a5yRaWGl
t0RxwExPHGm1ewcUDYgEc6s5ZxgCfG5zhd2viDsgkYWrvAIEF2QzT72ZTQFiwNp1KsqPCh6QCQOK
whbOAXZfBwWTWeHdxQu3Rk7B1U6Ihji890Dh7VMkRqpA4hSTO8vxFB7+etKzxwc3fJ0Hkt/49K+V
C0TRxmGAmD4xh4HK2oB4wZWWmVuuCuzQqGUfszUw17pXyp5eNX0iyYCDB02GUAaee3ZszcaBDDGo
ylh5KbKVFwrMtEYF+FhySoNf3EwINDK7KrIC+5D/qqQkIMSiQISbaHGGDAwjZ5fbkiecol21QPin
Zu5UaIwZOWL3lgPqZSpJKVfCz9CG8lczqd6E712lnB5VqqH2xtnzNBXeWqrgzeWZMLXzc9bOixYz
UCQQsGtrUvM+MIPHeVAcZdLFH46dsZuphPFkdWps/UJSkeQtHcIibagKwMsOe05VG5dECTKlSzIf
UwCTJIWWJa0gfvLLZgX92/eRDGdK0S3zi9Va2SYKXFqCHa8e96EwwDJ4T0EaR2t/CGGdg5KYUgv6
YREe8j7B+sDkXljgc8CY4gPH/OMF7BiZDVa0I+GKcMzHuA+f2DzcFtFEg1geHZBt+XGnbmcZ9nPR
i3+5WccbUmUzC3htDHd55N4zhqK1SY0YWf6zNX03zg8ez680S67B2KJFzwVJH4OqeuY0dPMPpxH+
NiRfiNnfIi8I+0rP5aPE9MOt5ByXxtX24lOW63dP0mfp9xzJkuJj9FGaKtde94CFmRn7LU9rrGWJ
i7PO8C+UnqBuVASq56w+T4kad0uAbVPdBj6vTL6wbvzJ+UdJz1JPM/BjG7R0w2ZbQY3BwdlFwFJ0
t4UhxKpvCY4UMLkBXL0HKVcaSoMgTMxzsAOaEXXld97Lf43FxyGxXgmZrQsqzGEKML04SJ4yDMeV
M6gP2AFIg2PzmLni4HZ3KdYoNj54hXzYI7rlb2O1ydNUgEVlxfIkQxIdeUQG3cK2ihgS0nZZSO8U
NvKLG+/aN1kgUx1/tBtEIs5GR+jNFxnpcV/p6rE1uye/71YE6Z9658Gs5pESKsL3kVU80xhzTGzv
yxDhadQ8IYyWEGnd0sfqd5cm5qA/5MEaguxZa6Qf1zm0PLb3rFxPPTXiPMPtXeADFBrwovT1jWZo
qDAUcJXra8+haTfA/ItLLs4xNa9z6LVrgn20B4oPWeuzS8kZT0gUUst+1Z19DsukQUFaZH73fzg6
j+1WkSiKfhFrFRmmypItWXKQbE9YtvQMFDlTfH1vetrhPVuCqhvO2afjoIlIQPkrcq4PvyRoorBs
Y1dniO1mH0MzMGGF3MbhyQRTN6lhDCudQWtg+FbszE+xH8Ju3SXD8OMTUkSfh6ygUOA9pwjMsQa6
c8y2mZxYCA/fesOZWyCLMHwQa5g2jeaoLH4E+laNI6wiJeQU2U3GHCj+crtpfHI0/4Kc6i1B97b2
/YjoUodobsK6UukhzuMsLMRfpVv9lhQsfGjx2TfrGy4VIrZGIu88/6dlukhyiygvfvXeOoQsjJJd
EQN1175XNt2/YYpnQlUHXlfD/A6habGT4Tbmt93lNgwsi4l6kzB0bms4eFUg95xCQFKCTz+U8bqO
OSeUBtnLjgQr9KIE9+ola1GhfzKcr5F4eyYaKV8ZuItiprJojyAWFK9FslKBhhq06Q5q7o1sFCne
QPXDo/JuG5R2Ta//MD2cGpupqfWpyv5uhvUeFcFLbOgbkcTfKfMNr4PQKn1msskANPBHb5H5BD0c
J5eCaoqNe8fZnUsL9KtnXAu7/8kUJ7aWSTqA9kEsLv5XRuJJfYtEcETvfiV3mjJW6jeGmg+E8LqT
PpwRVeFU1b+qQExmFoR01BModROkXDU26coSNmI30kemIFinlbnFnYbOViu3rN/X/+9Z0pzJHOeJ
MKcvcCtPYYvfWFXOD1TWdeT4Vy/s3x3eYrcWKYqmBzgbcIUTQB3JESYKSfSe/ffCWPMIcGXr5Qx+
G7AJxJ4v8POhRbfls98DlbYDuUZdIRh4uwyvsTXwrSOWI9mtlIcybLtD417sNPZXVa59E5I37Bj1
xOP0pKpmAjoCkNoI20uZuL9M119MyxtX01RflF0egzR5sx1g8iIijlBdhQpWuiucFTmaVzel24Bc
7odMYVFMws/B1elU3rdOKNCKoW0E84XzyUSMgqf6Gy8dXvHW/DFDZAiah0hMYnfvom4pQnqbhCm6
YxvXWjbljgCoGIUVgV1OhQ2XWfJaTSjHPIAasQ242C0Zppru8J129V5lVCde0HxZbQSs3vwXT8YH
9ExnbWewPiLrtfHVO97SrS76D+CK3ZF1AjHlSN+6JvooatIVNB3dQ3WxK4JdC6aNne+tIuNMWMe1
HMadHc+Kz8b3Vx6RcGP2M/rlJ0KmDEyH9oTU4tEyPT+0+IrQvNMrtKlAMB2wJy8x23ksy2WHKADC
33HCnrpoDE4bJ8hQetTZTlpE/IDgY9SQI77tv9wk+u2QMSx7Oy2J20O7pcJnNyG2RGenOVinrmN4
7kgX5O1IYmlF+JiKQOkVn4Ad8dbh5FjOf5vjht8+5YmTx1hiILONDeuazGbIkEZk1ES0Eguzqj/w
ge17ZUTbWk/QPyYEZcvq3xhi+DeHEi0ekbkAAgmk2Fct8i4+IEypr20SUf7CmS556HOv+irTOdtT
4klwoP/RG6aHJEn/fHAP+O3dd4PdVAdbHfuevTEg+FME4F4s6ssUhYfKCHfQqpaEWx01CXWyrms2
O7bzLdS0j5P8NZmGcivd6CEmpFts5ihGyuvYRA6KudReWZ3/FFrwMgkpeXOD4J1CnZJU6CXMAWIX
8t2kewHZukm8Qi5ICRlO7Yrs54NdN8+hoKCBeKFvTZPZKvdiTDQACEES3upUfzHjCmRQ535DAo2e
vGzgJ/SQLpbDP68q75VTKJD60QoyGgs0UJarvkt41mWzhiH1JcIh2daNjrgonhAbSg4HaeY0slO+
ikqjPoiQ8qSDXiHwEtgNSZ8AMcn2IV+smQf+L52G1ibNsGGaZne0kbBnAxbflpE69jznPRY/ELsc
/he1HroAT0OPps+FilAUbDe6kUSInngpz52sU8p8XuCyRp2+6pKa0V7XvqFIuvjW+DTku67BHjFk
rc9/EnlnitAyYTEFYi+sU3FQjvbpD8JC50fkVxB8GTWQlLEYGX2ZH8z95kxykMHS6pq956E0Kg9j
U7JAlum4LQKje+7NY6ahs2lHL9pE+N3rSfDhSkp6zzx0Y0PHDX/EdW49lmf8SiGRsHoW4X2mTybN
Waz0TmJPw5WR9j429MS6ySJEn1U+pZ1XPszBfqV3rV4s9JJsDVjqOj4LOaXJvRP6By3EN6zrKLNb
CeEEOr8x9zLhStf+ggzBSVw/sXQrdgXfzFBPL4M7Oqt2fLfiDnkQL4o3iafBxHIohpOFq/4QjOpZ
MyYHtJD1hruQqX2noSplEmKH8FBUjhbWdreIIMgfvgoJEViT4hQUCl5bKG9O5G0L8C7oloEm9TYI
Elk5q5GKh6lR8nBcs96yei/bCSkFTszIVU910uMUjiHMmJO5GTvmbJbbvk0+j0cSDVet5tKOzJ59
HjntHHd/Bm0ThH/DZ+h+z2YpJYPzYGfEHb1X9WiKWVzZA2NWu+HZNf0XT/nkB/kZqCNZ3QHgLEdX
0L95bOk0A0NtrY69o7sHvU3KvWgBjRRdst75TR2QEjtP4EFOMTKvViJnlxvYd8bhkHju2mj6K2Tq
zsJq0g8YTMlLauIfV/fG6Xq62rBeV7W2CZQsnpnn/JidwO/agKcIasIGh/6JtpUTdiBGdxBvRcVM
wOk6taCBJJeIzScNo1qMRJHNRAtYOzhYmcK95y7OTO1S++B5gillOyT9c08nI3JkES34CKbiV+A9
1P21BxebF50PjWQpjdCgoMhuss5CsmdIGFLYJ4mG9L8Qqp6nUX8yumRvJQqZEAon6GI2c1n00x7y
4L3WofeXDu/utNZjdpTM22oqruGgPIvM5gTmZlmsc4ZnzzrkodUkcRv1HG7HegjfcwG/Q1XWnvlN
vtXtFhZUZANQCkuk/T7ZlsjqS/QPSxKzUNvOqw+Ec3F3LCws4qr/S5r4XOFeX/bKRSKTJO+tR+0X
J/vEwlpVuG2xqXBRCgyZawFxirEePjPyyfLqaSIsZWTeYAczDKz50A3zXkvtidXcKnStS4ngeSM9
fADkZ0Xht8t8u0njnz5hkQl04sQ3+hRkSbDPKvbaIcvPAd3HSmo10sYhXeUha9OaA1BMPGeGyIEx
2fWD28IQzgPpd7WWxsbQkIqFwUalvB8hzAGOHgv39HiMECbAcFLAg0hXLdon25l+4yEzKftWup++
oTuHTdXWG5kYHw7uC2Y6yd2OsPsOFSBV0+Tlc6C6rZ352y7bT35pj1O1JkFSeBcrML4nP/+whvvU
qJ9Gpt2hTIufkYi8UeLjh9sgjfGIqqtbcxN91a73LAb1FZu4AVEtYOgC3En7Jh4Zq90l0nOottpc
63XdLcnYDfjzLn68JqGbg4wrlmUH0F8OzCuxeL3lvbyREoacwtuysvvQ+GmB0ZNIPFFC8Vsgdtf0
UxNpJ6woazoqNFy1J1C/L4pQRTsChKeF5HxwW/2L/e/IEQNcYqI5XyYMTqPOCJcQxl6lGk1uHQQB
XVL9ugka5F51n5oJr9PqbV783t0k7TDnjqAm4YAlPaKudjoEpvUknIOR6fydvKWUNeOTQEbBuD2A
N+/wXuSF9RwM91IjdJYwvLmmZ2NsyX9kUH5FREYvHLStvAwYxbLCYlzZT9tqQJrLjIvdb9t+jTbI
GQMB+NK0jR81NAQ5Mz6dwm4hPEOtOIdacn2Ouu2e9ZjkP28OjXV4ys042jQzoUDkr2OR0TbEUiyr
2mOKGz5SX39UmIIW1phxwTY2drS2RtUAbA2FFv6cepa3sOXQyzdPGq9l5d4KoA3Uegn7x5GnyfDn
kXDRsOjKgs/Q4Ezj90rCWlGpD96iPmeM2FH/BdyQPV0SPtdFqDDlGaazHxv1bBVAHK3jKHGZ6cjK
FrpIxE61FWdZBqxZJhR1mFf5R9P01LIiFVGE8tFz5saXJL0sxfmKGgPDAaIaSs2lsJILG71prVHp
LFvzNPhazyauxNnYifsu9P187UoI9aWjH/EjklFb9GwwTOeZAMFi65bOKS54bCH7GPvS6flaxBxX
WbH8GVnnlzGjvVJQmGl+GOzQawPE0MVfMzreS4MjfBGZryqlfAqZa0/43DZ5TmgvJp5Ws955fJAZ
G+XDZ2vDgn6irJ6zM2NHnn3KDSSTP8mYbIXE7VARO9OPK07qfjmQKkj3wSaj5I1iVnfMY3PvKt3Y
DE7zpofawevFGtTQaoS5YaevLo50REfy15RkOUm7fA0TXDejmxnLHN9KObQ8HyX5SESmm9OjI10N
9BOqkLSPtr1fbJXKSUGs+j+z5pR0UgksgCfWrjBQSrK5zYrDrBnsfV8Pn1KWN5Bj31ZSfYXuVips
tUWjv1lpYuFxbI+JhLYCAOAURRjQGkV/1QTDRkaGvQrfVKqstV0qhHJ6eNZrsMJB8iWDimqr45Yi
socy30deXExA+pAR/44eW/lqMi9lbVCxJi3pEGl6KXyK/waf1grDAHc5S/yVjewVMx3jOKbxD3vE
ulux7kWtn66CIH1Ip/wpjW3qGBgPBJeO66ltYJEWlSE7oQtRkCOa4RXBb81blHaQitDWAy+PaMEl
qxLRFPECEdyytZmWw6ZmJ/zSNRYIx9KmmKj1U9c6Z5M/E+uCYBTNsCwN8dMZRUK9qW/hMJB2NnQP
tiavY1leQHOAY5ZvOjfVJsBly0QaqKOZGNGBphsJFB6BFKUV9/ayVaiQzEHNAD3vUCU5P1Kf49dF
/6bTvrcEJgWzhogfHYR3mrDSDDMUi87gQOCsdD7KupdbvSk/pqbcDw2KKp8cFGrKrOCxTylDCBPa
Yk6HEDN2zwZ8chZmzWRM69DDJG0Kk8xJJ+Nd0zvtKdXkQffidDMgmVkmcC3Wgr9rpQXJx8BkdF/I
/Mp4od75+t52GBiwVyfzgUhLM9I+2kYwYrVsZl+69elU1dUKLcF+jhM3ZT5YdjjOxrxJFkjqvths
nCN6mpoaki2PqOn2yv/1JQZO24WZh9NmaoyS7SpiNKWMji7eA5tVpn/tPMMpRiZcY8SBIPzs36Ab
Fm414008jwCh16R6pCvPIsu+BlGY44ZdRyMntc4E3zJhViEEnnadI7gqGvOSKZdxayNHlgTAnQMg
fIJ/SfTCrq+daKlHo76wsvCoQpv93chz1mNpSTU/xpyRzQcK4mveiP83SDT02pzYkC2bDmmxb1RY
gZCQ2BxvGVr21OQW8rP6cwR5UJLnqdh1EvjpxH55HqHOrHXPCnjHN+N8Ojed08Ii6vbcETZRIljU
oVEg7PGQTvb1e9mpmytAfUYCX3XLKc+AiDwsI/uK+vd68mDfhdfQH96IqHnAIZxN1Ka+dEMulErc
za69eTaChUA3/sYMW7496MGS/QdkxIbq0g6ZRjoNTMAqzJYcD0wJebHeSuEikaGUjiLCWCOmQnQC
LFMDNk1F8F1XzZ3wyQOwmX2TY4omTbDQ3hoOKpgcoDow3Q/ZDRH3Inb7rUWpyWxJIBxm3txOv3BZ
PyThXy2baJ7IPZgo9CIaXEputEK/5AFI9HCK12k43tJQAv6KRLVI71VYv1mD+rBL/SgJiVlcG7cl
8Rqsi6UbL4XbvQ42KGGz37Oa2OVetpua8eBESDaV+/CT+Co696PIODZDgTzU5EWQD0ZEfNs+C4Mq
b2lPaD9gVia9y60BeBKKXggd6f9/QJY6tDVdfmopZchkb0aQoKNKn0WPRFSzLDR2uYvQjXmzQnoc
mzBAcVezrOKusCcSlor0YiKuSy1WNqH1Gfa4r5r0tcJCwPJg2bNh6HT5zGAel5Q7PsdJewpIqqvL
aAereK/J5sUPjb3RMtbHxzDJm2TNYMTAOc34CGWB4mAel7CRT0hUA0dS3SItvgbTeG7czVQN+6Qs
z944bAq72EexXMUz4sIMn+sOviNZc/RZWhR/jxNFeY9gEOUJ7t/kGzzH++CEZ0D52Ex2QaSfEze8
yG5LOY5sZWhfTbc7eKH3UfTMvUq8HUbxEXUF2bElTDBeCUdhnHFrYh79ZKtqUGyTLJd2RexBlHIa
NCTNNM4AH7cet2krT31fQzaemFqJb0FVGzH9gQV6cCE6ypHTF3wVb2oh74X9z0wFSb0MgbK+flge
vNnKTDqyfvE5Mz+UeUE5KzHCZZkZ7WY9Lw0orjMJFQ62wrJDMdL2gCvH9MoT8Jy4GPOC96pMPgR4
yCg1zxFhT46efVcdmExg6JhmrH3FcndQ6Wdjf+l5dmdfT7ZboM4q4cTVeR1nWbcW3IE4gMNImNqZ
mYCH3Wxtf14aVDzU8rXkKeUVV4vcKD4BW+4slT1nA6dKbKk7Y+P3hCBXTdUnuI9kwynkDqBKce1Z
K1HnGdY+wHtW7q56NzwRCwsFMsfvUUd8Dmo8pVNpbjtEh4vEnvXB+nEwgPmr8p9L1rAS1puW+K99
Z77iCGIqn3aPCje3At8RFhDo4bYsplxcgERd9Tl1vWRoQSjWMnZJTEu2aaaLNQu7Q+3X/2pL+8MV
t6N5Bh2eusD3bO05d+guOr0wF17QnZgi0uIQ0YeAHycMAgWZ9is/GT6bObo6DK2/PMHQ7ylEfcMT
ykQk3zOxwOOP62zIXSpAZ9dkdPswbRaw/JJSwRCPXth+qmXhbXOd1jauSRJgulFo2Uc1dCsedrJx
i3jf+eMhTFzsECNweJ0wSqeYoSWKzW6J84RxQkx9YEd3o9H/SQtnZCeTK5LOjZH63Nw1VESBM66d
6j0r/6NV1G8UEj9ZJtudI9j1w6giUCX5NCe44XmG+LYcP1GpvKTarjZol8pkONM8/2ia3tCFK6b7
7rNkZI5dzVowFQ8XQTpt7cSkLrOA2wGiKCwUy9Tl+znnz4g4d0wVXczU3+aD+5UO9sXpxFfJgmqF
CTnUrFPvNX9JT/BhgTw4t9XdT8x9yUMour+Y+D7Ot/GUf1fvekMLHbLes7viPfXHW6usXzeOX6Ut
3nJSBinECehwqyvR00+uiSfdh0oXkiPQ29raoVMJrfwgmU67zF+ZFsJ2zqc/2rtX07OGJVN1Xzhb
dhjkrG8l4MAeQsVy/q3JmU23XinYkkdPVjKdWOScjKxa09Yd0MDO2K1HXVMv4FUZiGenE7aRRy+1
PDhlACJS1l2mIm5y2rpW9jxyZSn82Hyp61GMd9pEBLCU9XrOwZFCFlsOk3+ePHgABQAmC8BJMb34
jfkudec7DpKEw0g9cOE0i7FGlWbggKC5OTTDBNgdBIxseK7GEhYx4X05c1lE2W9OJNDm4dwbu204
dBeS23tIrsWW0cu7x5c5GfnrwIQetzRxgRb6f9nnK+S8LTIch2LQ9eHExLSZ4TCuCMVM1k6X/WLq
WVdpv6XDJRDVXXCtrFnC+dwUWfYyFj8oT+PeqTZ+6cl1bPHeO1541Y30JSk0bEk2ptMJJgkeLdLU
p5eQLTGbtnfgi7zE8I2ctL4RKffXEfNKo0QCuT6t3ZYmXqInWzQtddIPakl4u3FnINmICKEyP8jv
mDVW9FROOxdBwcEwictmLDZmh9LWcV+nHFjgqxdTNi1ET0BMTDQP9TB9BXUSg7ToX64LZ2nX5UXB
D1qVNU+0x3ePoHZlcLuvcjCGcFmNtRMV73ETHuXkH/t+TzzZLeu7rVH05yEcn8Iq26FVqwnO2kp0
amkX/NBflboVLYORIAgv/Na0mE0CDMMK48QiIkJLtWINTWJvaT3BdhobUajAmJh51Us0I8TFbWON
hAVD6euRHdIk+wFQY4tTSSYdc4Zq26Huq53sWfdcfTlkRBv4NNFYhWGHM0tsq39OIY9WrR/NhAHj
NOhPI+dT55rrpAXfhehP63ZIthHRk1qcJqyZigqqeet8a4mHGAFSbVFGT3nTAtTUUSM03W2o+TYr
mSNyOQJypp2jvl8kxqvl4bzNZXYwmxab3qXnXJvIt10YXvQ3v4Oq6C5Rzzybav46JsNR1hoJ3xY0
mvB78K1D4JTvQW4/lcAEVsKYkNsC4q9oS54HFrsrvy3Phaf/NBqSxopVWmf1WIKK48TyyBL4aAXg
iczil8/Lf4P1yFPzWjpus001950yPK99Z+nS2S/iEfO7rPejxZrdwoSpNV25aLuMB7QHTaZQ+VPf
lHzouo1hICczXkWk/8ZY8YXqbzmn2gL8LP/ex5w/J2bhws8XRmZdLao7rWWRTPu+6Ogr+0K8sZ3e
xWxvyRb5tEZE3SEJIJNrf8bYnTvuijVBA4QpkJZhMDbHPLbosxaqpv88jf27PUx4E9JgU2C1s3wJ
nRyAn8uXYpX/b7lWcXgeMKbG0S+TfHPhK+gjHVUua7s/PGDvoUa+KuxOws8hy8feyqogxwnAg6GN
jKDssIlBa64t++IJSlFKAch9HeI+INmWJNXVR+KyjI5i4hrXjADDEAAO5jlvOMMuAiM+c8rffvIv
NgYgTqCqQ9VyTuN/yJWSpWi0o3LHU0TikB5vOn1ch9r4Rw1V7ruQabl+JSTz1tnxXdTOthP+dmxZ
ZWrmCmL2+F6H9pk/R1sHBeDk1AkPIWppoZvkudnkeOiiPQdPjSi/NItJVFZg2uvb97JAkqzbxU/d
9rvWhPUQdpQfDanmcJgE3oCztOuT4Lrd2Kb3yFsLK7nzTGoAK35Gzpi8ik3cUkgY2l61Hh5t39i0
I9k5jBfc0b9PGQWN88hj2ImzgjPRWSSmefnsRODXBOj9UJRHGGFnTwZXATKt9ac3u7PVujPkq1VV
QNLdHY0gmYVZ+E1iwyfZ6ASneEsPNV3pWbDxWOSwfdLedTE98KhhXSt3TKqAyPb9JYvjvagoQhKf
UibFudmwzGgArofuM1uHE35Jechk8GGQrroUiiEaXCkE43fRhX+Nj3u/jXdgoVi7ELpZ4uV5t+F4
BRFKBrYkaxq8QwphyHSfqs68iKLrmFsSIOJppEnVJLIVjOZTvTmWZkTxx3JLgnRddKxIeJK9Ned1
BpEQg7fnTIeSHMJJQ+bg6MO4R2GNpShHqSUH86Qp89rZuWJDjk0n0JGr6md76qnOnVMfkKqBuNod
1MNnfrAKSYR05kwx4Y7HEpTcgH9CeNUNr8C1mMpLmdKgEyn6D7zWeRyQqraEnKEFyajtMZghy2Zz
OtRLv9G2Tec/IztdgmAhNypiH5By7Qt1mOgmUSriSDe7ZlO7w9FovpNwzrI19UtKqmarC+as07oO
3vCXQ67tmFTZCteTSyhCqHnmOjJLfVH7JADL+tzH0bmuTeb1VFRUJncXz7oxm3oal6hqQBtE+7wT
XX+2SaZPdP9qhGvS9t6MOCAHBsrdFF9V6b9j/8aLQuumN+NZC4qL6afbHlY0sLFYiz+C+Fq76cUq
mquVdX8pCRnYzmIdOCI3+T5NQlgdb0Mjz80g15VFLx2RSEGq+hkwYoLNi3t4fuGwWANEQaRXZsFD
z/6VAsRzMTC1HSsW0lmK30H+xn20cTT5mZUkR/QEDmy88svp6t+ynJbtAKkiqcU1tJ0zr8RM2GHy
G1c6ilcXrpp/FsRmrpoyRNNQdJ/gC5gX68atqsJ3M023Qgyb2PAfjZUxv0jGY8GAx7eClzQzPnsE
Z0Cd1qkfb1xAoeizWfTOxsZado9JG1aQXBQJDfiz0PsC/Pd7umervjZ6/iPy78wjiS506WhrCm1m
X7MEZI1h8g/jywZ9GxqrSB+XsjlTq027kE6Z5OqX0QtevTBBmF4S2Cear0G396gquGpqij27yZ6H
wTykMAPhYfsfpubjT+ddjSs8DyK/F850tdWlBIoQuOMhsCx3PQsnpVn9xRiOUuXf81T8gtT8xcq9
wdXyqdAaYBjkmUTE+GHX1UfFuU7u9vfYBhdLixiXRGwMLQKEnCG6a7oi0QH4Svfult0v3w/ipnYJ
LxBzeQCDuS0yJmsI4yKRbXSv56YfaC575Wy51Z/1CSxI/BfWTrmwzfDa9HvKxm2sNzDVWUrwWc7B
D0O+LgzxF9EcGZUE7jNP7sxb2YDlGM06XE62tTODJwJJfl2DpBuCcCMZ/Hh+cCNW6oAZY8npiMEG
VZ8uxCeZmMzqHHFkjsEkRWeW2/7Gor+OTrduOpDF4gUe/osjKKhKKsj6SNbo50Q6+9xQ0QiwB4vt
W59TWo31R0XaQyvi5zTBFqx/GqVamwh8YwiHOmpZ4Tn0v/JsGuoXFdtzwLitGAD7mM5OgiVtsvaT
gLs/y907ymUc4UICaC8uEX4l3oDIfeaU29PB7IVtvsw/XCVOeu1tssLY9zI9J5Z/yKhyW0pJgwUh
iZzJGeuOhlFHrm2LwlnvY8YTmXaF1iSX7yNHBDCVg9FZ/6x4em7c+u72PuMs/9LNHN2kedcVvbA9
14NFvqxUgqJn7p8YNzBLJDERKv4Xdgu2Ss0pblZxlNK6FPMeOaVyq2vSNx+DBzco0XkuzYzEAvZ2
b8Vnge1SJBxJbkBAmIe+Oo6xw4cKCStcx6Z01w5FO35IBvVJ3MP17recd6fOoQM2oBAHPYxkT5th
qi3aKuYKNdTsWipzYRoGloRhNyh5Jorh0dTYJtoBBHVoP/lQG+JTCsd2yQYzYCFcnIELYlNuM5hD
9p+HAnIQ6KGa5EelkYI6Sonc+zAxq4b9tkn3wZGr+/HDjLj7ORcguo1PRTB8NI3+JCem6jkaTnxI
I5bxDjFKFRPbE6k/2/NQxI78OtnJjcRXXjln5shM9OsjmyaGx8FHzeMx1dEnRGdgVE1wDEMKgFbj
KFbA1rxZpT7TG+nIIH3/SlwZT26rPsKGwXjgID3TC/gc2ZuF/7gOo24xeR4zQdwtd99H6apz41Ow
/ev14ugNktNt/n3C9MNveHkTB9G8HrOdVR1mGL6z3RjdMjqaVQn2m8GTOLRRjYeXZmaJdJxITIOB
LAPheHbPxxWy+LGOd06lXRJh/Tnjza/rb9mi4cVFBRXapYmf+pF8HfFT9lgZypx3PAWIpvCjORak
465/Y0fzGTd2ycCMlCVHjEfPSF7Iq+d9c+cwOuwaYf4d0LJgJ9uQdMk0KS7UlpwB7G7DtfSRVPQj
y3wN4bkRjz8Fo83eSJ/C6TR4Ctnx0PUbSuJzWxQsrCus7xYDrZEfLbd8nleSyhPOMNz8VzFaGYtW
94ga/8QKqRHa5+ANFW8UGoHI7k9aAUJuCj+0BNcg2tc/Q2e7XKpvv+I8kfD6QKj5kMOI8m6inHUn
hknDnodcxYo483OTtwAPa1g8VJjMnoMbhsK3YBA6ZZf87nV2Mm7822TKXsg2+PUwsuG1uk0e1u6+
eSa+6sNNGKyQ+dcuBTpRq3Wu8/s/woFdNDEkfOHiJAnb/NeiDJ/AfDDaRqA8Vd5Nz0+0RHzUXRFt
CH9B8Q3iC7gmeQgTJBgogSShJ89+jP5oQGQqRxK4+obFe1LvzNndHkRGsW3uxmCxzEqYTuIuXYJC
tvmozSd/ynepOa8mjJU7TYg1gUIuCOz6xhSNkXs051m/ftPa6FNxYGeOt24KQnB8SaeDKTN2GF/j
EG+WNjP7dn6xiJsIrSPm6h3ojdvg08GTygWyrgKERQ8/TLjb+HYbQfnELsIIeOuK6Saz8qOwqQ66
2mqWGGlgm/MoZmO+7mFErlhuvjJG2YgYNERGlhrjOnTuyRBvu1K7xVpNe8hi36n+pK//tTysjCyu
ue58KjAxoSHmhQRxSb3+YdnNq5LbaIxPdaiWJMN+oLD49qEbGK8Ec91xiTU00/USfd2HaxZrt6s0
zL8t0IwpfQi/xBnUIE9Lm5faDF77XL0K1Z1clbIc9yPOatJ2RmybfuH8A43+bSIpt2DF6BaUW98r
9qQs/FlMeRyBr28WwvvONWHwNGjevS2oA6GQQFnkTqCegPSqvbqFdwKhcTHMV4kvirPJxo/S0cbp
+VNK8p4jSMRiv0gpld/sPPglAneDZMwJw68oxGlm8JGPBIjCIpYny/X5s8lrQSYAmD82DroNm6CO
e8Cy/vjBaIgB60Ll4mPC8Jf37p9mq2gVpdPd1M4DvnVeaomhiZnmnBY5crst3ATDi9LaZdmyAYXD
e4RZ/VF2/r0B1bRyxZeXMWvy4fq0s4YXvw6hy8y8dSRbtXWXsXVDWf4cDyTHufXcYo7hwil4XVSN
0oIZOVCPaG8PPutj716r5sHPv81m8pIQndqGZfbnmd5fTpMvWxSuWY+GwKn6jY1VmgrUvrFtYPS8
Rpf+7WlMkFD3EzGsm5fcrr/riad+IMV1toSvdBmsXYxymHlz0lLB11UOMucAUmE1H+ulzgCW9WvD
/9SU9V014rUecI7o/6wiei6S9iUt+4dNA7DKnOaBOGgPH2qFSX4VNNU3HhLSffqA5+ktxhLM/A47
k1kjAoXNSM7uBYs82kyzw2CafErvXWLjJ+CcfLk2JT6Jn8jz3EueGt8A7FBG9D9x3z0JpBelZ6Bp
5WLlFg6RESKMCEy+Sk95P3HTvZVWcFJ6fPEMQT4rCVw1wWyggJaIINCM9O24TmX3mhvun+W1b6Pr
72PLfucv/01Y+aEeY5dP6pSpkTgcmeyk0DJ5I9uASr+DW93nsf1isqSGRmH9KJl868siCk89lu0F
roi3SMUvmQaIS5jBuYvHHSs7dI5LkwUyW9bh4TfNqRLudkBOC5udE5KHM+ZHVmHwxyhbTT+GPo+z
K8JaLF6JSH3K1EKyiDGBZOd9HmKgykgXd+jKqwqUiKxu43+MnceS5MyZZV/lt1oP2A6HbmtyEVpm
RmSk3sBSFbRwaODp56Ca02PkYmw2tL+YOgKAu9/v3nN7xZtrG2+eeWstaKtMXxYGD+tlptvf6pa5
2ofvTlx2rgRD5o97RXUFJig1EW4qS7acqLeRbH6n7fQSTcxa2/FkdHOroz6331IDLAvejNZ3Xm1Y
CRCrGWk8etcUWAlgsh5UtMetlIPXUJh6dO0lyBjJQaDjuO4Ar06KjJ7KZp7H+B6XF5RjN+fBxz6A
aVZZYK6uXls9e3YLslDz1PhEo+Ow8nzxmrR8YqrrhOHymHpGtoOpXx7imDTFoPN4yF1Yc5nl/kzl
XWGZv+sK17Q/h6VApfFYDY71RBjSZbrapxVVN3huaRUJB1R6Wzg0qiS0vWEL4U632dpDgdWIKqV5
fQZ8KtaWh/pvtdi50qSfq7TmaSV1WnjHWU3hDQVM0JopfAxyjqfgHXWG93idU+kuSKDNYPsR9wix
Iky+XEsTfVyB9uqo9FoZ+bAufaq3vG2rioNeywf2cCjBPX9iIGleiK5elL26hA+Z+veYLzgtgK93
VpKdWJ3Mr72Rr4roQTdLf11k8ttow4sWMwDCu7XBY38MCQgiG3evtK0fHfHa2BrGzBp5zCJUOvDw
b6oJbxHOeF6fKu55Tc0kW7Ru8cqY5zAKdkm9afToojphTfM2kQnNm4p9hncdTIaAaqAUK7P1bz+Z
jVitTeTK+XYlrkw7Rqsj2Pg6OcFj3fpv3pyCIoWDccDH+mvTTFlowBoLLo9QdjeGOHM/E4kQewdE
slpjWjwLyOScftlox4P97hQIF3G6U+YpjkWPFhIzPnOYzaKg3zcO4ZSihCtn0RKUimijUFOXkJ3Z
GXTU9Dn1HS8HcaDJ5/nHc4FHzYIXCah7z9CycKjadaJyTUjkPDm0MMZ+xxw1zp8Mmwzl4Krfpqbu
3InQrwcd1e6NqxZHZ+rP8fyRIls7QnvvbfN3h3+pNtHWpmzOoynJWJ/YbiQY5zZ5j9cSYlBGb5Sj
1RyYJ7GXJrgUowZFz0SCyK9/1Dt7ZQYT1/PA7iki47kk+vqoiXKVBRqNzvbLJMDjl8Z7IuklrcKr
8K1HoUdPVtM2QDyjryCXOJmg02QE6jMXt2uDyOtm2m0KcPUJ0nluXz0NVgqHdYw2vnB/Btb4KsMj
P+Y+9x1JCfKWOkMGlkPGcA/UeVs0o0ZQzBcgOSoeJTrUO/0qzHyPqeFisyIsEGJI6tVXMRh47Vyo
gkadnks2xZgmcDWW6NHS9tTGqWOmXYKTfI8Dc10P3AVahqg0oPXkUcXQhL12DG58WauCY04d3AdB
xIsF5JyqFeu5YHUUTXKPAfzdrthImMjb89CNomOv3IyRI1cFGqPFFczaEH9qQ/GVMO6DHRffxXdp
n3ABTUp7winYL6JkCD9gaTNoKtaVY7bPQo5wyhro2x5cf8fM6ajnMtcITsP+N3dY6xju1+KQ2xQk
lC54BBwJVa2yOyt5aSbOz4DHnUeThh/EvGkG+2ZXXKoM3EbzpnPUXXcDJZSmKNJ1kKIBhBpgFEHx
DznpKFnQ5ZYc2VuigIuKjDKSmu+BvjJ70Wy7qdJAYne8qn6zaWxYm7qBTlLNsG0fh/E6HTDrNkWQ
rmZ2JbGrnmdV7QAD6cKrJSJGhh6djaD0CfWPwuYia1+8iYEVrqhN6RrVvsRp1SiJWy8sj0PO5jz0
HX9TS3d61DIzA/94h5GbeaVk71Tb9Hwpl+dQaYvtZKutaSP5JA4BkuyY6q5YJcpoV1NDuhusHJrJ
FGv7Jn6GJ5AA5wVI7/NneM1PaPXoXxd3avVT4mkfrWjalSXmOzeP+NEk4YMihJmrP/hdV64N13jt
NBM9n30c7hVqQsntrlRqWIsoDFmm0vgJsfVLN3v4fYb/XE0CTjsHFPNVpwdhFdXVfdtHDxBHb1EI
li+NgvfMu/gFDbkyokXKSAAzkRexoV04nIpw4Zn7xA64K4poWII2vlEzuyYRcMhG94WMOTAN1OgI
Z2DlJgRA8T2MDNsHWfQbZ8DbgV+Zzj02eStwZicyhjuJTtkrLMhWo8yV5C+spgP03yr8yqQ8yyEi
RhBOL1zyF+wIC10NN9dHndbmVlxJJyPHMajUhFk0DH16rh/wp76Go86OuIbSqw9qCWRTrZRiVxAN
yFj9b5eG6Rg/lylEvmXoA6Q05pWrhECg8eSPVkaSR1hLw083niJhHshooiDHGp0rTIIaw3tTDe1p
DuQG/BTc3KP0X9NO829FP+PjjAZvm8YTOurBbszemjqMWPLWjXRPvc2WzKyyQ2oa6DBBsW3t4iHU
xneLfb45YaeBV4QGkXwWCb5F4QKPDy180/Kp8rSHHqpBlOv3Ypo+SZcNXfWpVAPiNJgYr86ZZz+7
6NI7BcAoOOin72ijOVOPFiEYysX4qTLSqC38wNkp0vn7Ri6GSbylRsxYz+i/cC7uJq/Y+ZF7p4we
AmAIn70o9HUwMkvKOlqzyNy9jxYLFLFPWgMFaLrIxHJa7Tsp2X0GjC85KudYzDSQfdScozRnPO96
jXBa1KmPKXAm2ISQzD02KgVn7dFny4FLj4dBTtCXXfbrkCJ7wqFem4DFoeObd1PAah2a0xYhc8Zd
RwXjgfaUNNnqauJmI98ASKkQgVx2dvmDc5VCpQFduXaTT6CLpHGcF5KaJVXq+WXsgxPvGTswcGvr
aALhYRORX1SD9TaLvqx2e2JAlyHj9weuD5/gMGUuOPDR/PFK76GunTsjn99vZd6LnjOKr9eXcTxz
Jc0nA89cipYnlZzVaJm/hl77Yb7Gonka3ZiV3uUBpnvhWzQQsvF96ztpmbvYprO60YsESZX2P/ae
2bcEUkAalDPMYD6EvM5j2F6ciEwUSK+joePV421GzaCWaplfax2dFMV72k+DfBCdu6a1Z6f08tPt
bKwKWnae9G/UenYXduuvYjo4enDa4xQ+uZO3Ic/1nHb1l5WwoyIprSC675pIPKcBMTQiLPdUvdDA
VGOrkvS9LVyisTzJxYlWudTbDZF7RdFnCOXXYoHK+aSciX7r5HeVy1vk0nxAPdJ3GrhAEDkR+nR2
oyuzGKVbZt1Y4Shqml2awOXSZyA3xC0g2VL4dYWDsHC9eF+DbGixy+fEb7RafjS9PNXam6tauhvC
jABzOdFlo7YqJ8Cbljsj7F+p0T2IlAFVvLSE9+O55C3r+pLXrARd8hAEns1h+aZlmAxVYJ5EMGw5
ZZHrGsh4G2J4mWh7A+aEiK17aGK4v/ruzVcrXH+PQIg4CJTrLFaf/pheE1ceQo+UcSgpBR2NpSOp
WST59cg0e61p8MlC1bVrWQRPPbev5XYviEW7cXrXSe17WGkME5ncsD3aSLQvGGezQElWvrcfq5Bt
/tSCRtCyZ47N361WTThF5SM3BS/VCPWgHPxLkv7ocb7rE2ymqOmsO5VOTCPc5FP+HfypehPwtsd8
ZCfiUUpiNup57LOVA7YVuQmg/BQDEe6If3RszVr4xVMqCCKEPCN0gGMalLnYOte0j/IM+zSnU2V1
yyCpf5uKVKUqEAQ0Q82OStYjamRJ1DRIXHAIM8nN12XGHjZ0vA7K6V7nWrF6q99wjNzTTI1XdyL4
6hh4TjoNBsHQbfsBWmwsQPmQodgWEb1YmN7PEwYHLx4/DeC8tAow4YgTD5MSwPUBiduq6HvqiHiG
mfU2h1danawWjXLfZljxTJYTkdv6S4WQObWkOg7V6Ow94yHRvA/d8B7S2vxIVR+ucW56upluQN4C
M2SDXlsJ8IcReQ2i0j7EcbeiZ+JgJ8l3A3hcwyoQgZKY8V3vrumZcGDIdePY1T1+5SYPzwR/sN21
lyknx1wa7X08dB9DOtYnv1OXPEhATKsQS1HBxIh6Q4TEUDgJoQTNxYsxi2YUEYY+ir7pQW6RG0X4
E5C3+azPpAyTZCyLvee7X7aRn1rIOmZKDK8pcZp5gN/QWJZ8BU5iz332dSY6tOBQsLb0LQmyZYQw
GfY83bvxpelI0jaJewwYSxyKXm5Sr462XUUAJWlueEydTd8hewOliRE6vhyyFCzklVx5bDQZRaOX
mqLk3IJ6RwoUwChJKpCu3dmxM3M1eneTAiIQl+KhiVEQJ9OEuMIp2rI4JxmvxSwdWCnxxtTk/yip
jZoEMeem1e4Do5xWfjYhqvn4AkYkE4Bm72nfQ7utdrBEOojcgbYXWLy82sKAnm+9UDwXqfoZZbMb
QSIwvy1tsMLStDAOYdHwSNVLG9AzPfWVMx+LR79ccQwNBPPkGPTvMsmDZzoXHspmjlITqVwNPrjQ
6qPKcoPRj/W7JU4gsp43eMIZWldfqZd+952Lnd8J90q33UXiX0i+YSEayVL1QXP0gzerqs42/cNV
yfPUYpO7xCT2JpwJmqOOFox0zjaA52aMEmkABCAXea+dyCiFr6X2EAfDs5Uyl+xGby0U7WTwUO15
f79aJqOfr3w8F/i7uBExX53SbuDHB/ZRTQGkPOcUshVdEvR1sJz6HFWr4L60rAcnx3mCjPGbNpll
iGgc8Pw2vXkFDLQvGXBHgaxiimOXn7GosajabrfYWaq8rxLsd4Gvt2sL51oYpe9N3J01yTNHZXDL
MgP3M14E5LX+OqAikNWDBKUnnD0S6Hup4d9RJMZDhzUWcgoEU0t/rm39R2/K+5A4+lEYkAiGKrh0
hHc9IPjYHvwaQEr1E4v0tbTfuNgv7vwHMT/fcFrh5A5YIKtvDtIvhhva4CJBhDVvRibXpLaU/TQg
3s/HM+I7eK1iSP3aFICj8UpOJh4vYlsFm3JgMdHFMRHIwSROoZKadL8R2xFZ5y6pK/I2HQwNRk+z
q+AooRQsChdGnAd4wcSb7qn6uQiHcqVeGmvMd1lYmaCQnV0T0C06ivIZbiTdWT15gZh3ocMisk5G
GmasoToViN9Dj+SuZQgyFX4FwMP93p4CJvH6HcP1Edz2hI0PBadHtRCase4Dla80ZV45aTw1EVAM
SjaLDQxJ3Vbs5tNHaCMTMXf/glL3OyvwvGTjqaE0daS8EvUAy3KKzGJ7r0ZPtjWujvzWH6j45NEt
tAeAxwwD84YCW4cwe8kTMzU1gxCG/VF31hf0pBulnulljLBOQ/qwGv3QSBp4HMcgHxDMWE0EJM28
qJEVgX1eQ6lM/Obid7EpQ11iv6D3FU1fFnc6PLvVmJYfocPd1FZ4x4qCEs5hzLa0CwICKDleadJY
Nv7vUCU7fRiLNfFxDkeYAPFc2bCIOfxI9FqBc3ph2Uzfwp76PcRfTTSEyEbieOi3axExmxcI1xnM
XA4KZClpmjOXZZE8RhmHQMscfxr6qZcJU4xegDypM8rryjShE8GjPNWhgptGpe3Y9suMJCCnrL49
6iTg2MWyyiWmsWlp2SK5ByrGnkdruF7e5EDr7hy0dRMcjIwsKcbGJ4nDqO/trTnw2pNfCAsw0KrW
UkzLLqnN9kojc4blzMFkgOU8D9tHid++5qG7/MOtyrIKS3H0BoLnxxjBy4zkjyT7l9HKHAai07aJ
iN2nmbGtplw+YdmcGbuFJ8RJahwAVMS7hbX0gRzCvWRy+Bi0uKOK2SxKw4m7DjvbO1ghnmcL94ZD
QUA2GeLZ1oyGaSm9DEkIaMAfNe9mt9HDIGEYRDlrHWwzZoT19BYONCcpBufzoS0BhDMGK+Ara04H
HaHSoOYGBnnCjW9lX5XVnr2GuEhS0E8cQfxz4f0SVoRbw7YAyR1gNWAb0rAAbCGhKVpsScCS2giQ
8Qy3wMTfPNJZgRlAPMlwrmEKEG2ZddxSXG+Oh+N5Elw62HpfA6gaKBWcI1r8oZMa9jyCPEBU0wOn
vmXQlF90hQUblkprLbg6F3D5FAYTxreHLiK9yljONQZs6+RMKURATTSPBELaVeTmN99jZqzV5oOm
zVV3BowWgFBfod6eO60Se79hR61sELAAXS4NdmGpG/A+wm4XGOYO44DHDqx8Fpp1aZzupFw8wBXy
flDrd2WbXC0HvvXAybctEmBDbfHjdMFjVRg3BnrrwIm9ZZfVb3r75pGxNxpuhjKtLz10HKrVQmuR
agyX4zKrFmzcIsq5k29S6ixo6rMXOcUuNpN58rmY5uyPlNJwYi/JT66Z69xglcC457C16ffV2iq5
ZOLSeR6j4j3pIcNFzGlxw3Ihlf147Bzn2AP0MOL+kHYGjziEuMyGT9eA6bJsfPP5JB+SuQ9+1EAh
BVV+5YxwqqKfslPbIr5WQEyWFKYdNJND2IhaOEs07MzdzwI+L2N0AvURkq5tW1/E+lPIzpSCjiMD
PRsfKjXYn6XVvxsieaTuMmbDyqJQNxhpuk4jJsFRliS8b9ZcV/dd2r0OQXeE7ogPwSY81DdPXdo8
1yJ868ETkdLINw7RUjvU5dqj8K2BKaJZ4F+RDT6kMEBTIDBalWGR0HUvWpWvAEay3gZ1txJhuc0L
niPKNR4kgGWto3WkYWQI0kDOFCqEvoFlfq15HbsWTAVLhtj5OpPVVmCXJznGTNegfdKuwhfj23Q4
5kc0dvFgA4WYza1DMZnZgoSlYQNDMXnURgGDDa64ycJDVFJOtpQBw7+GTPHI+Rp3KVYThKXKnV4p
Y4btivLaGHq9dwFPi4R5TWT5wKPc6q4UdQNYqS9fvOQZfMS+sJuTkbn9igM2ME3P/Q1976Y6pGQt
YLaXzhZZbPyMA7mW1o4HZjoW8iUwwJ410XYSrMLsgIY1Rp9o18b+sIM7thJZxAy2ZMhSZdGzGzpP
9tVz/ZdhtGgR8UFtFvqx1ZuDhuHxPrfElstWrWxCm0vC9+DjsW9nXvxVBjAqanMXMvpZ6g1bpcmj
F7NNxEbmBnlPAzWu1NKDISr3xepx5Hjm7ERV5O3I0gld22O9aKx5jiqBkhY151PpOpuIjTl5U6yV
ETlMGTGsqkxiFFqoH2RTrmVd2RtJMR65ZZ1qJGB5pvlAb1S/quMe1LcUR1Om9SZSdK5IMtqkASPs
OCVBxKPBctWVZXLl8b+eFUVjsG6J3rSPbT38wAf55vzfst6kt2CEoBQE1ZlaykLkpAlCY1p1JWQH
V3O5JQybQW0bslewwGNOdbW1HJydQWxco86H2sGnm0b2ZMRF9JZEw3wV21uXtXfrVqp6jK12nY/B
oZnuQ4fyu4jEwToJZUIBV8wOuaI9rxIJKoRTGTyrkZbZKH/1pJ7OQJislpFcUDT5VtOgexdB8TuR
ctsxb70Z9fis10SwdRwhS4sUOWYbh3oBN40oj9n4OSS1Mc5R+jB5HGxxcvrKPASpc28M2HnquCRh
MFonmFCrbkx0HsWcYZhux7q0D2VhvwaJ5ERmZRvNyrKNktXXhEp9DAixH//8F1VHrHUGYwVA8uzt
+dFIrXQ5o8fGIJXsau8zQ5FhS5u571I/i6OmzZxDa7F3Q9PfuUF4GgWQtUFU+kpDU8AaDPAK66y9
bhuPoaNyblGAZt1Ky2Pxi7Z2uOEwzFjFBQhhlerRTuts1WfJtEcxvWrC5kZw9fWI4ULQFce0dZy2
djsdMfJatD9vf/31H//4r//4Gv4z+CkuRToGRV7/47/491dR0u0RhM2//fMf25/i7iP7qf981f98
1r9+zT8eSZUV2f/zU87RV1XUxe/m3z9r/m3+5/vy0//5260+mo9/+cc6B/o3Xtufanz4AcXQ/Pkd
+Dvmz/z//eBfP3++yyNRub//+ipahoN8tyAq8l///ND++++/XO/P6/TfL9P87f/5sfmF+PuvbfiR
f/z7p/981M3ff+l/k4Luds9zDMOwJKP/X3/1P/NHNONv0rJM3fNscHCuo1vur7/yompCvkr/G2BH
yVe5nsljQuerakgUfMj8m2PayL9UZ9nSFMiGv/7Pn/0vb9//fTv/ytvsUkR5U//9F3Q0+9df5X+/
z/MfRpGiIaTl8qvoujRJbAs+/vXxEOUBn6//r9pt8BNqH/nAPSx0UFvk8k6dG+TbUOnWMc/GM8XN
0T6w22Eb8oM0OIcQVXA3jf5WAX5NWX7ARGUmlaw5B1C33NIXS2MZN/nGSZm/liytp8Jt7vvaLe7m
Q7uZrXvKqi8R6MCFG0b1qQvlxkFf2LYurcDlON7FskhZ8/Dfaz3bn6puwGb5otzqSbctW2s1JXl+
cThAZYmriKDsALEy4+eQRvlHtk5NvT5IbJRR/fXnN5Ngb6+9OQRLV+LvsssuOkYsiIA6dg7xdSaI
OV1Jk5IbfLtg76sOPyU1lBSqjAQuovRsjEFCxUEOb16zPwtYoRuNMAS8H7f+pkGISjG9oZwU2vWO
XsNoM0myJa3Kk40z/zmjU3b7PigY0Ujd2iaytlZti/Af8RkowW/1xORnwYECUkwNN8eBMcanjdu6
inF6xp117Rl7Kd0gfUo47dYURnMwSGfAbygOICKyuxDHIolfNnuYqVJL6+/QLpMBpzc9RAHkgONA
hvcYN+mbYcO97y3/zvapKKD1+yHxRrbCYmRGB/2ZaHHDSLCNqZmY8uQ1D7qrQdEABrnsXqMFaZk5
Lg1uTk1JRdybmwAPl17tgLTV1zq28RKyc94YUnh7K6qetRKSyqBy/0Dyw7nnFXsDV3uHGiVXfWdM
u5A+YdZc7872MLTi5eWIViKy8cJH9/D4wvvUyIwlXXlMGqWYgM/KgjSse8ys1N4YugSkxoVCLK98
ruouXaX7jFD53gvWgxdMJwb8ahmOCJxJ00+PVGqSB/fbtV7kFhDokNxDSUYcf1G3sZ1IP2gDXFMI
IFvNq2hdHXv79Od/yLavAWOGBx/+IKBC3H3UK99Eo5cHbTZZh5SpE8KjhspJrXt+OL15uYJDjI0e
f9Ujv4OzLCylTo1CMUu6Pzga8F1zz1PL5GMT0S6Lg9h9gaOGF93U6u+Yow+U+TKc5NWaHAQCTTsn
IsEIZdSvtlNC8c7h0w/tmZascj8kswk56Ls5uIaoPHyY0Ajh/+EjqlNh7rz7bCi+NSqTwN5z6+eS
CELTtdlJM1oCGfW4dHRlXZK6Gfd+DxSrtKP8jPwnRxzkZtyRjZlfFKO0bUpb4qXT0QKzPApH1qRM
m/oYDRG5I/iLCw6649Evs3AfUg7y5199AuiggzG50u1s14ZluQfBWJ0Cc0IL0bCjcR/jdJ2ibpkF
s8KJgmxtalE8mVBa0X3FoTMoALddMoaF31THkuKn+Y1MtZ4AHAklU0/9q5VVz25acqiLRvVYCbVP
pjLbar7r7oYCwgc3BaanOSypAw5ZBVPH9jIbMQIF1SDv27R/dXVZr2onSY4GTcwrb2zjs5ZhH++T
casZ4A8S1w+eYbljaCDSyjFLS47ZUBNjxtIKsM7BJ2IG8ulI2OHVUkV6Zid5QmKa7uHuWiuF2LrN
/TI5mqNd3pAe98Gorr7TjWv4QT9VgZM3gcvHA/w7phGZNP24w0x+9si6rkjH0mRbC4VXJBv4r4YG
+Qjruqqp11OKE3KeNGpb623Fa1g/pyp6JInxhU0r2Sibd5sKiA5ouzHxvQ2V43cweQVzLGcQribc
hCG70sa+KuaSR61wmeaQjzpEls1MCP1vreBFHNOSXuO07n+8AUMkJ49PGHu806pp80s7OpBYNPyP
tlGQ44B4Nk42gzKMS5YZ0HnMIXGrkuZHKGtJPAePi6rIKLYYCwfHZdhUaJSCd8lnGdEz2WnpR6hx
sInDNttauU1Rq2NecE/s1VQctTTZu/ERicegOJ7JbznaGE0Soa0txUYLRss2TDL6KyqGOPVsiEky
LH0h49gF4x3LnO1pdpNAPGUWnfHUG/vepW+yXQ3Q7MAiDEg+T10EzZZSWgpaEWV+MwuDyxNzX7GD
XBLULDZcnmh7AxSrAvqCtXOdktvQQM8o4lnUyO2Zb7aIiT2FOahOajMopKMSTHPp2PAHKjoi7yVN
qf+TgUF1GTKGxyVpTeD06qo+TFVr7WojoNuV3woUteVkBAo4k1sZ/UfR0B6ranzUSgO8ylxTZVbJ
Ax3xr0039asyQQKUcx07iT69eM09+ElN+wBVhQfidEuz6cGU9gNGcY6aqY/fjVAC3glcAOQGGvdM
WvHTHTt/l7GoitMY5d4R0Ksky0n4B65CJMp3Dd5jOvWvZgqGK1PgxkVoFBtTYRcEDdAslZxprrH5
3qb2jwY1kVtO28VRt816p1gVI0jcQmda07DvRdrY4T42SZB69PzQpDw6ISk0I56ok/DElspXOk6r
dzPFL5gG+YdhVB4jRo0kMBFocCatmBts8d5i9aHQaJgNSO4GrwhHmf4zxvsKK3l4qJvEPw1RcxsK
LgzdkuE2kiWXjRlSpAXyARlpYxYarTwzwFRpNBXmA+9tQ1pP6grVJTYnIB4Yer2hXvOmMqmtVLNn
5x8tKsaHcLYhzSahdai00jp02MlbHSNx6w7WwaWwaQUZcFiYDnFieKRyR5nQR25D5Gt9rBEDOClR
oUPnVP4sOPiDAlf1KRsoqHcxHq3LowOj7Nx26ZeRxtT/RhzGOH0aY+WvrLbT13XXEmumbB7BECIN
JtOKS2fRT8mDghJJ0VT5EcTymacI1SpVcAzC4gqqE04ftLkfrMEggoKJSCXcEafHoJd07gF5g8uQ
lbeyZ5uDzzpVOAp/QjAtbZzYQ9k/GdSaL3kn3TuL2IYuWkpN+5HgrbDAK1Lgss1oWoEdVK0pmPxk
qmEg1K0De+bvMn1hpjNdVEkOwid0iO9pJLAZbcaMM148ohe7Tm5t3STDONjh34CKzUwoF/wCsBhs
bBQ+oRPT6ciB5dPHqDePUCWfHBdPdDbOIe6at71mr8AuhmUoJ0PKIJ55+XAkpERpiGF8ef48Soy6
OVEzMzR5oBnq05YFh2EnwC7HFFEN7SLvbZTxzNN2rda+ptz0rvTluWPepDCx5lqvk09k2kzBOe5D
g9nJUOvuXQJt+DxWl4a0zpknw0r1NfrgOATbJAMFqktxsgogK0yyLA8MJGUMT5PdfSu9ttAegh32
WX2blQ68/AB5h9V4m9JTbOWC9g9BLoGK3Etr033lNcg6CdjfIZRXQfdio3UvQ96Dx+/pTUhfeh04
Zo+9eZvEbDV85mQ+ZrmVlmdEuLWroKKwaAK+E2M4zXCtZRoPx7Bo2A1jlV5otIcv3CE6eryyq4r6
joUeQ3nqG9DvDD0WfkV9vF0BRQ65pZ1blzgVqEEr29o8FKMoVfvRNK8t0JiFaKxl13OpislE2Wqm
S29XZGOHV5fZLc9vEkBVya2sFIObyYoeDT3cUwbwHAJSG8ruOHmueaqN8nU0NZpJCMatlQlJliFn
AJiQcXp5auvubJMK3LZj/ExzxwKkAmQXz8VSq3EPTbq/p2UG2TqnqQ2xgQG1095HQfwx8miyNKAr
5DZXqWl2Gyes1aGG5VgnKl17UDYYLuKYukU9mJcW3Tl0yzfH967+PU0KyG+9cSoCvOB28lwUQbDU
evsenO/SmZJvj1bIpZOGHwMjTDhx47hwWqZa+eCQrK8ifJ9ATnlgLKh0059dU6uoD0v2Y+G8TVn2
0bCILCtekDVGyh2GIRyaQyV3iCVrI8/lPkk9WPD0fYBg65em8sSK/lFE+Uy9hiwXyiOy3gTpcmVE
7dEv6oMfr/ise+nPC6BDD+FU8QaCB3wEwbEmoIAXLFjR4YyXs2Avp3ryfhynaD3GBgcZZpbFPjXB
Hrb1kc6mmGDJ1B3t0b14Gg4Viwt0dJ6RO18irvyRBZUnLbMZbd7q91lJBS2D1thwTwZsVYyf0RbO
4YNjKrLlZX5zaC/nYAw8LuzX0xhSzVIR56FSW6/kTZfJrT1YGFbR2xEFsbJEBnJrGm8SwQSlxLCg
V6CyrOmsZ+diqk9wuZp1PxrfaR8eSrsE9z4GFy2vPvBzuatqzmGmPetW0fLnaWM0nOLeXkw6HTS5
xTAI2O/WgM68qSawqIqAIs8FvyunbcxCEbE8pvq0aQyCWfZDHpLf6CXbOi2NzDu2kBgJrGfMpmrd
azr9f1SCRbfYrrN9axy6nIJqX83WCbPdRkGnEGqZOeIRWDDS3ygzcHZw9VkYNLte28wr2bbVRN26
g2J0syoUWBYCOUmTXpg79bc2FR+AP6iptHs6oMd0x4iOIjuGbeNU/i6IJG4caBbUoj+1bGIW+tCT
k4h41DvCWglBHVzT9fcMjdh/JvGWkLyxZefmL2NyzCwir6UADqRC1Nu0PKENj8smQ4rmzLmTA26e
sXS+ExfueaONEDLs5ElglOxa/VZUyRm+Np8yutu2IhzKn+9l8TEwoC9YhRxWlXFP3rNc2Xun4J3x
XIKLGXVuRuyfbMqE8fiz47etF1Pt0giksEXXtRQ87ft8TlDMEdeQLWXfsOf2O8G+h1wZfL9ZmdP9
jdQaJkKA+Ka0OYQYuTOVhVhn0mqDT+sp0vtHSe9FxjF6mTgeRAXIgIu8KuKnnD2IY7N3pz36u2sm
f5F57jlP20tbGJ+xzljAqoudqsUtdK0br+uhwYi3TlqQj7WaBDRx3JySEsrMeLWE/TlKjSNJE1yI
NNMaOBl8y3xLvCTC6uYi6vf2TfdnuF1EYtfkRuws82nsnkjUHwzJ0R1f2rufdO+EcS8lVr4V/dDv
YVSsBqlfhF9ZOyKLRstWIPO7a+j7n50cmCd5XsTAktVbjM0lqIIXzmA7xNCnTlB4bLnN+5iEJHIn
Gk19sW1686nK4TtPdXjJknSjK8ZtRU3eoaTjMWB2uO4zAtyp55xN7YSpLV3T3DKsdEsdNa7HSPO+
om4A6soaFkqguNH/Zu7MlhtHsmz7RSjD5HDg5T6QBGeK1CzFC0yhUMAxz+PX94Ii7VZW3a4267dr
mSaTqCEkEnD3c87ea1efIXAnMBHBM33md5FZ1zl5l7P7FhrMgrqw/4pBZ4IBJ5m6vsqCLbgkbZdm
lf7Djn6VgUXS8/SoYK37ZateDJU23NBQkMMJJIhy4dBZe2vxFob9/EaQ6GuEQwHrbHh0mqI6pBrJ
2rAWjNK5xa35aNshQuZxO/TZYerns460r66RJRguZzKlxz7CQG4ZLO5G1vCvuJovFdewZnG31Z64
M/L7QYY3gpCc/VDM+QGb2jnHOAtR+Ce2QugDAUovAZ2eTJKqXo5KqE4DRWPBhcYUO/GWQNpLsbAk
woC2HCb3jeOE5bG0k2Crk0gqGCKAljCIvRtZT+wA3VeQCd/YO0zdiV8o9omTvIJnfDTGjLIeZjXV
oLkVOu7iCvNEqKqfpmafpmR6SCdg/EW9y1X+MFD2b82qS/0owkS57Ne23vwiDLzYhrMkzLmwNiib
aC9OYeZjz8Sd75jXhA0Vq6mawdR0yHD9/GZCizowbn1NubXWdorGM8SVri19GGMk5SYuAFiBNJ0c
6hZ6CozKe4yeBNNBw5ly+iragvykLyTTyTyGUT1t5jRHgU7IooUEq/NwK6ClCCSpnDNWxnyCA10M
tMAa8yHFFjp6Rb7Fa24xbO4RrCtAThThnLGv1sCJRrcs3JQJms92NDe46Qlzuc9fY8UFTIdm3fF0
dah3YqDmdD/u9cy+LbcGTB1CqVgNNK194wS59xJyZVyxM5egAntAu2FMP2C/7OsZ2Q64B7Tvnnpl
OMNwLZuvNhfZKg9dUEnxfJZSvbZWn517ZlhGTf5E3NvEjk7Rxk3N9TBIEws0ghncu1YLrHn60dHa
oF+G+AGXYgcidN0o6xf53x+weVAKZIp7FS5+oPxGAxGEwq601Z2I6x1OWno0MEn4t9NrHrjvGTYe
zXAfZ1SWCH3V3jBgP9otravxqezIQXKHSFuX4PhqiGKFab/pxUCLNssPei78wrrEZsqtrryXOJdv
8yDEaqzncVcn3JkBvGrfwTG2Si622UeHXpQ/4XU8E6+tb8fx3IGiYWVhvSYijPb1hAfQ6csrKYvL
iSeuHmIOSzbRoRN6E5I/Y+Er0+IQDkZ6WFblHHyMBjxiZYI232VqPFQieCIbiBkuI0q/4CciEeo2
pjb+1NMu2uSx+aWh8CH8On8zYg2Gw4KvLVLnkCfSxryACsYQhGVVbfHssWHagsTN8rHHtbXRWoQx
+fiod4ICpFANB2oiJuwBKX8UmFj4AzRcxnjMRuONbIbnSafYtC3xRuf4NdeJWEezM+duQs44HeuZ
6xSX2t5IINUG5tpNQybwPU9jFpYPRNBZKKqqq2KfD4AZdqpCLoZ9onQ/ZRTu8j44pUFe+jlH4nUy
MHSnnbfWSP2hlupJBisxaQExwr+lUWRh134BGqi2swwYRLJFFzfyb14sHRldAVbXiYZzn/fTntPO
GrsP+KrlTY0GGoYEtu2iitdINtFao/4rIO4g3QPJRPyoQBgeHVvORbQqR7/tBrkV/QImWSI3RqJ+
GkthoEiRF7QRoCgWVltWw9oF2xgN7Hx40+3tYi+qEbzmugHTOL6XGcGhxlieppC+lIeUPbJcJrl2
/Ssq820bi+xo1M2jazkmymN0+U5nd3tNN2h2TwRZUl4YeULUKuXfymIcwImKdRegx8YjkfXWTg/0
8InDEZjbnRQe8qAWGYayd0k5nqZhR2vsLDArFoX7Qa/8Ubc5vgjKp7r5hUmKHgKZERthUMCjzbzl
DrAP6Rn7OjH82prvZEyvM5ks7OSYx3tGogw0rDfLrR8HEDqJ2foToAiYAvrWBiZMjPKz7XKxNeLm
AW3Ss3aXhtkHSe8aYWGErFInr0ClLrpbDiUDGriA4ydVLsnVdfeujZDnqtpEjRmQ85vCbUjluWpU
cmmRKYZd6a4nWnW+0Rn3IHi2CBtcP66mLYXugIj6DTmkhsjp2GItstnXIJlkyPh69SmJDd61nsRw
yUAnaMiU7fFuogqA8oBqcSMktYRRMWhXXBh0S967SsPxi2xGRpsaIQjTVuOHoVg8bEHHNBlR1rTM
/02Xq7bOd1Vd0SrrCsj7svihisnYqSh8qTDlpiDwmKCQvBLSEhatGk5a5z4Gc/VpdVN2MikYydYJ
A0KfBOPf6a7T3D0+S3jqrl+k5RGIQkifaD7ZLkux28yHzqC9HSue/wb11KzaQ4SSEN8uPTQsEgOt
W2o43+y+3clPVWICEJxYd5rxh5kPB9A9KClTwy+GU+dat9mCdIJL8epCZtDKV4ccZNnGIWrE1kLv
qJbKANUN7HBOL2GzhYAL8weO88oo62sP+NGox2Nq7m1NOMyExGs40MYpGmtnKMfe4agB79ZBLKrH
ZCFVlMcZDpaZDA8czMyjrlv3OMa/OGjleD6AbwS4wG3PgA2Brsix0utYO/p+GK1PI8ZMbJntJkiA
K1cxaDDRZe5+wV72Ba2cdIgrP3IrQHzGEO4N593yRLcbe/LBGXKcuib/6ga6/uSL0iaQRb2Zm2E6
5DWHL70tfjPrO7qYaA8lFciqUgIqsXzC0SQOHaYQzW7Ppsh6P5KclbI8eC5ttI1lFHfHjvL2WHgs
PkMZ//b4nVfA6896kU07SE5Vi4fMcFW6ceb7aC09BH5RH36Z+lBvcrRZfo8w6UzoQs9ylP9oENns
pqQjmpep3tolQ5glRn420Jt8L8TThJbh1eCiw2kqLrVdVpwWUTQUsrnm0/QyhdMHlCQLWxnGLn1a
q7j72RQka1WpR2p0nz81bfOLkCa1sppCB5MGwt6WatOLATblJNpbbNs32wjlqsNgsk1jtYP5FR9I
u3rNuErIcQNLC9IHnWbZHuuEtosKaAGVE2VxV/OThZa9pQs1Ou7S6ugKtzxGIaNOXRiwnepkgFWI
5TPpT3kwwc5VrHQML+x2bkCK5u7RFIN7tKrh3DrhfUesGdhgB6Z9C284SHv0+xm6/dAsjuH5+9Gx
tO565Iv7vq3ic5vfBDwUzHHe4DNx2JlIn/zQQ13WeaQAoWupgvqjV+EWLZxJDnP6FKmRUzFCixol
HYXPoB/tIbjZcDC2Vg+pnAWzBsDLDNYpTYIk6TZWdswolSnsxpB64I9KvnRl9U7qiuYzvjaO329E
umtk0PtpjQ4iKois0V5bhuxbEoJ2om3u8li1OxWUtDEguPgxCXGDCuttmZowtBvc8kboql0l6lsY
oMOkfroWHvrFAvAX01RUb0toYQ5gxIsarJH0HyBL6xiweJVmu3qNVGztyjxSx1A/oahl+c+2lqo+
sgoHATEeX6rQz02gv7bSmaCQxY+daAJSii3UqjGd/iZXz32W5sTNVO9ZnWGZooAuIe4dzd7EP8um
i2BhYxngLQ2j3lAEPDE+pNVrxA8e7cyJFsIaSxf56C4pr53DjK5gfyxMizjpGQHkGEd4lx9S4q78
oqZ31DGa2XVFzfAiNn8jkd1ao1VeZS1KX8/SY+wQJQYO+cPGimd11CklQqPFmHymBHnF/gW0Phyf
XXwCq1y5nzC/MWdm6Xs8TAxmwvKNPGRYeL1Nra8CfwCgE+GVvi9GtFhputfqdE9Q3cscIg6SNW1R
PIS63SVvgKio35MAOTDUjQ0nagcDJAVaGDwxPmmOU+2QzGa+Zx2YU4LZwDk4UFEnhr6MaMpmk7rW
2is53A/e75wjLdlVPd3jmugJrUlxGmgzw3mtv41xoSFVRm6vgC7sicv92U46ih9pPS3mr40HJ8Kp
zV9B5om9HTMZARhAc4h6MEUh3tnaIXAATTjmTxPRD8o8BEwBnXKLsHLSnDbcYq+RPam7gQgL7D/J
dEzRnnYa+TDtXriTvu1D9rbS2c+L1nVwLXefZlileYq/QkxIZ9EhdYuIGYYUIjfTgOSbQedauQCq
5vHS6Fa0JqCL6Yh0H3quqlkTv6rcuEwkR6LJJXc9odpMHIkDdvR2cTltNbcj68yodnAn3smjpmdb
OJeGJkE7jMMJRfpdM9DGEgFiOi/WsGGU2gmbjIfAgTQuI+UsiE4NqE0fGc+FgUs/eelg7x4YuFNE
zrW4i1yCVvPgwZn18hISEca8ab60nGkBfrGGOGRoONbPCMy/cIsPq5em3+nqVU7Hch68vZ5Kd6s4
+I1i3OFwQRi/tAjq7meCs3w9M8xfGXWZ7aOeFvCARH1ElrZKH1Jdn+768hTJIjglJMDCX4jI+4pQ
bUYdTepUOWDoBE0mI3oaKk7kgUQr40iuoAIHE9KvRzAR+7QmMwW9zn6MDXx6Vv6r0u1wZ+attxp6
9SxpNJNDyEmh8IiBDG1CiYu2eQ0CUKNlwyjcILnq0NZ0ijrj6NRs+t6YnABc4mEIAAKOkuNJ5FLm
IuvD45dEPw27+VVH3bjqAQ8vlu4TIPYAE2N/KZGaya5FJD7kKKWBJIwKtZDVJV+arKibtZc6E8G9
zjoJb2E+kUZk0cJrd7ICLlEiueRStZnvFPwRcC67TAy74JOkJ/ydNe3Flg3X5pZbybxiQwJJgEbe
eDZIayflk+gHKBWbkjnUpmts8kWSZMvJ9I2cEVrLzSHBib+uU8bUkVHRmiFEl1V8DZgMzBTa0VX6
UmmAvzWwDJumMsZdD7HQxhK3CanS1zUQMLIrI+5rq7vLbK4Zu6LOqXG9K0VHcIJHxwIaX9yKQJlj
ZjLtzwwDXltl3pauuTHVRGFTMNFV4ecNDR2QiN4EiKSVo8PA9JT2qzbdnS1rUC15bDEAoNMaAAGj
aftgNyBBhxadP1/Edd4rFNElVS3LhfRwjvb6L91xW99zJSIE6mWtogygTEczr6HLMbai0n+MSh05
hr735kL5oU1SxTaJAXbibnWjIWUmRGerlSfTkT9k38YnPQqAPna0Niw9BrZqEeE9OvFBKwLrOIJA
gu+AQJPUhxVG6b2Yk1uUoTqmYfbgDtyXeTo+65yI1lk+QOkmbBvh+yWQQ8b+VH5pdc2yDMjHxeYA
F4qmt/44IFUlzpZf3cmLzyhM612sws9eV9d27LEx0GSycxzNSK+pxCFKltsh5+bJU/zMWrCyQsSc
yNl2RSMUv2vmT1FZbyeHZo+FPn3V2jUBmUszKIloEi5v8rIBY9aol5yCNuRkk9baKY7I66yt3t04
VbxH0ttesLEbFKiXScebamj5tKm78QAPX1wAioXbdkBW3jE/1nRE/q2Ey6NVQA+KsF98nt22C+MN
nhqcKWRZhXD1yI7yjuzfEucKY5tk7u4dPbE2Zuw+pHCKT9Hc3TQPl1fbNKdA0E1im4IWmj/UspuQ
6oCIIOS3gF11Lc6Oh5aMBl3ka6K92mVr+lZjQFDsGfQ4mFoAYaDcW5ddmx7DcvjUY+A1k/vl2JBB
zG5yNnH8iyY83iKH8UTe5quUNeuWGPbOzNDnjWxwbkKDuKmuxB1GfpvAXu1KGnPESWjjs9miqGdX
T7Y4679E0Ma3OOV0OJfVFnGStpl/TwiWbUJ/7sIhP2H15s5d5sGRrua9sKvuAdlqv4QH0MwnSeEU
dfqwrztS2lPT8c1a/8EEB6Ap0If1AGI/d5pqO0ShTmE2U6fqHusXONUm9YpzAYPFz7mxV16NDhcj
575Hl7KJ6/IL0NtTHrGAewETARlBKRAIF92CqXtmn7k34JaSDuGGrbrWTNHmchExRlx4xJm9ek0i
7quuPvL3Z1teO4aZ5Xg/BZKdD+EjvTiJBHCILGqHOeWpiugoeL31NCZBt7eqdi9t8dG7qXZqil47
fb8nbDyWnDuyn660gwNSrrLjnGZOj4lNHICsf5Ma6BxNjXnBKFuGsx3jf12ngDb1xEV4X76Jhui2
GhvrLsSzfJ4NUZ6T0Sv38TDf6Z1kdNtSpyQF0yDFS8Kk6K5wBnxriewOYcOkJrTHL2j7yYcGTRX3
hfFAZwCf4hDimJ8d+7Fv0htLTAS1d2yPnPXIYuNJU0nFVJ0D+dgm3lY3m/HqORs6lEv4ByYjhK7H
iTCttRWU3avoQehphREitEzUHm5ztkXbByrsN/CBT0JAipMdWzcEG+qEz2OxlEbWG4dOQhKtrNuH
ZDq9EWcJIbTon0TSCBRi8jNVDF/LLDlQ+JSHYGIcUjlIp4rHrBP6Y7JMx+zl97opndDyOCpetJEO
QmUXe/KKXmQRsgnOxtm0aFFpW89xrF3S9eSypIE8uY+jTeNWjtF+lAB2AMFrW1ufyPzGnbfGyHOu
yOTVzOI26NmlKTAgMDUizcnkH45dIoac8NTJMYSN0purBAGub8xZhWaeDMoyCrIr8T/ZNWrn7Gq6
tLIQOz2CR/7rIWPOAyQ4DpXlaK+0HmuCJmzic0vrmFMB4rwr/KnHngP2CwHEIs7SIRjP1eQclc55
yHJ13bdrG/NaXh3RE6EQMfE9E+8wUT6hbLJyk96ueY/9p3uOW8q4foi8bRDBSOIg7rwMRQhcLSqP
lAcdjXukpwO9gYvDGHnljV3mC9mv8SwSwtAgSRJFRDRckLT7qiUwxWkaSgAWl0BnOzTsVl8Pk7Nt
BA4xeFHFbsknkqyWkz0CmGP3v8Ru+5EnffFksQhELYbkRKvyo2p+Z7VZnVR8GQpaj+iuMRSaxXgy
E2KDjEjR1x3pI4OEPmZCf8AgSEvFtV6sah90rKOVjemkFdGudmnWFuZU+zEzdMBpRgg3sE5JjzfS
SwNGoEHSzeo3b0bNorsjSTRHxvvYJifR0tG1FkQBYeAPQ9wABmCp6724J0zcek9FuNdMdUBTDdkL
+UPCOOiYl5emBDbpRa8x9m+3WIBNxP+tONzrm4B0RX9MkvEoLYCZKFisbUm8xnrAGh6NJIOQRVTB
/Gkm7lPFVkAvBvgCpJoNxlqOLkN1zD1w/BWeoTDVPpLi4I2UI1pVQwnSx2Y/eeNHPnQ/UTyCAVDq
DEPzTSfo4IBMfcDmvtTmOO1C2XcXbXTrLQfDdM2O5IcNosFQjWizJLnTUWgLn8Ym9Ka30VLJzpoi
jwwG93eNwAVTMiN8F4tYO1h3OSxf2SDhDfrkYtK0odbVEYn+0ILG8asKIa4s+TtT6jWiDsnLkBTH
ClqgEZLRhDIHsc84k3rdTNGzp2PhZex5Coxko485J/uO16urOAgLO9nm2EyiFsReKzdOH+CgSayT
E9D+G0bzFgDG4bWy61UfDY8gYvc06R0kh6spanZxGFw02AubYDJvBQFh4CQ2jkXlnQiMxpk7bTqS
v/E/HWpYmX5S+1i2GEtfbNXdw6p8ddFrbmouLu8hEvQXdC2iKdfVp7CG2WKb5++6EuXc48jIz9LV
A4z2i513sOVt2mcWghU8bqTmXJBXEts7TGepag89Ws1YszVQH5oboyjMtVGph6pgsIwjnZRCLFyF
eylM92OiI7fWegrnvHsZw/hNjNdGPsOdx7SNmvvYOOlP2UcQzREbVBzWsFYQyRbTudKwvouce0ln
asHtQQO6/Gq9gGYVnQFHjIBv0/SFoUS4q1BOxF2v0eSaz55XPaYxtR5QpJOsgsp3IQSz1Grb3kSp
K5bBePGKrafZxK1ArlbjWk4QfviM9itMdFiko8lxMPVCSfdC4ofC4a2HrkHYFd2hXBCgGNvdyRu0
huMggum53VXdDm6Vd0WpyqIEKBKshJrpfgnyg4LhHC/+7SQb27vvN1IE6lBY1otgQ/3zUNbFBFS2
s4vKs5AXcIHjiZQuLL98REK8vHy/pyLvr/dscOcQYTGj4fOlGVwW7U7Emi03WQKzxHQl2VOBRU5Y
iJK85/p0SN/IlDNuJ0sxCl8+/OebqGrv7MgMj15SAWMLu2mrJlXc2W7DrLAsc3/ohIVDijc96nc8
WWRrOLS+RC3kfUCM2E2wphMc/qCxKN6zu5n72Qy0dWtsFVsPS1JsIeml4ZbFot1QF9qXuO3pAMav
xTDV9w12V9Gp7NC7enX01Gcwq/yGbNiPEuWLKHTB4YzlO0nKT+QiwFb49ohojnXoZX4XmUNzdUx7
/7/3GuEh4v9/Nwj93R/0f/6jjehfvuo/mZb+P/QaCcw+eLL+g9doTTQjcUH/YjdavuOP3UhznH8g
GgWXaaKe0SV69P/rN3KNf0jheLrt6Oafz/3Tb2T9A+iYjaVId6VjOzZWpL/8Rpr9DxN4out5tjBx
adjS+t8ZjrAT/c1uJLDZu/j9dZcex/Ifv/rf7UZeXBFZpTELjEagV7S4fcIB7FfGLsFOG8tiFxFR
/J4TbOBysX5oBmCRqDGdQ13r3XWKNUb/jA13fTNB+aicR7PJvqYptrlZaIZ0TRuyrqbuRZ26MLIv
4SDlpR4p2zBn1xV6HPaaGC++/7dX4S9n1d+dVIb4f/4wj7/G4YkXNmcqd/FZ/c1H5biOHbgjwjCP
LnMqG/2+V9YXMARnB8lv9GVt1PcZ/WhS8IogQdJcVZ9Fbz8UQPdOzGh1P+1n889N9Ofi+O9+LV7v
f32+pYGt2dIFmGHbsNx/f74nZhjgnkJocxOxENWoHhsLSI7jeKd6DKgEyKE8apVoAAMRP4FEXOjv
FvP/qg7Hw//8JIHA+denybF4clBfGZa1GN5c5/vzf3uaqsFVU2NRCk7AY1jDgp1pySca4hX5WS47
Sq3v8yLJz6ZZBRucnzDpJ6QzzsDANHIK9BqAe+/iCF1cDV6NMNWhOOVItvPQUefvT/axSO6GdDrM
5jAcTZJrLxM5NxwqmPTW9MAv+oQFczIJrco727t8f8k8EhmCpeazRV41r7qhvYGrgpK4fMP3l1mi
/fMjCQsJLn++7PsTjem5GyxzOsnSfAZZBkQAZr3bEZH4Zc5bCcvfy85Iz+iEdm4zbQqqnUs+t9ox
msvtny/pQ46tUV8emEFYlz/fW3Cw7IIpgMpSVvXu+0GbwQuStpFM238+qE10mVrqv+9vHtpCHCJp
nYEi4KsWYZxswwn1wJ+PvT4F+1wykGVu4l1IwabZga5cJn1z/v7o+3ED/tKfT7YNIb62DD7CMPwg
dklcEiMZml2FYgiLbnX6fiyfwIFiy9OnndlxqMJqJS7fn/l+04XsdWaPr2R5vFCSNnac4Jhfft6/
fW2tSR1PIGdVrHqQeJNqM0/NMskFE6R4pbsA0mob9ACx0qX/DVnUvRC8wZ2PzetikGpVtZwPvh/P
yJwGztksETh8RdLRtqGSIPlDjgxtC8TdavxdV7DwCozCPOPxByW0YA+lYWGYbv5i1pQC+CyC1dwP
UBuqioPuXM1M12PvjnlqYULRDJryK5UO5C4WGn8cBJYcrh/GqcinagIsOTI3487QqUkHnjykF+6T
BzV0hzPVpC/nqA08sLMJ2nOX2/I+yyfsBIBNto030+wrgelB4yt8hgAzAg4YuTTQ9TXut/rIk3nn
sIqvHUzhiGGXMb2WDxsMDsHabsN7/L5gNt3pzdDI9+W87zoYwDnSzPsqDI/5oxXLt1iMapVQyW9y
LajXBWDaGYsILq8l2ZQ0xWjU6NJG7Xut0ZKtehhscTzTKHtPN4mRbT29O7pde5uJ7h6qUPNt5tZB
rYWHiZMf9/pj1trhuiIqccXM7oiWjpMTmpmwCsTagc58Yoi/GUL3keYejMIw+EzU8OhYwXlYErOj
hgljLriaAko6gT6BHiwguwxxBwl7J4MZG5kQ2NsoUcbLCL9on3TQldRMXnOjkdwYZfsx7U4YPg+A
+eFB8QpB8TknYfEcqq8ZVKVp8dOXO8fPNNwplrig5P2tC0BooBs+Q33kgASorSWDt/I8UqSbfA89
wM+7HfHV45rMh7cC3romnWBDELOf5++sGj/Cyf6ckbavUK9aoAWjy/fzy8bxUo44k0zkcY3Ub6Ps
feJWHiwZ3M+dQBsPKkZWN8fqT1GcXXOzuiDnIOrOKa4BpTQdSCbmXWgiux7BFEUjg7UAd9WsB/cq
J/JPgirtdAo6MxVfddvtFFLClVV2GvAo8CSpVjJ8k1+956WHnpDQigBqYmiA5+l2nPueHV20FnvF
UGn6zhjBrmhVuGc8GR1kmV0Tq34SlXnfYtynMxQirXDdOwQOlUwtf2xtslIyZz8NWAv7ARsRg9Ay
VsQdzENySCZcDJZuY/gt3+uhCPa1bAHu2XdJ26IubKJbZcLu55AzrrBpImV6mCaRHplqQ/Z1zW3Y
FtGucQgzdToylmxepgjS21iYP1SqISjU0rMRmnsVYVhqPJnslJKb2MBWBuAQJWvTLzzE18GzrF2q
b2oZZH6UxsUmFMrbqtYYSCOjwsahfCRMUW3MuTZuSQTay3OOtb3ECUs9e0qQvbPsF++ZOtZ0m45N
y+/BCN6vcKDvpavd1zBs9vowkGmZNcfvN7L2FpHygMzSCadg7RDPd+q5Bv96VxUmH2d2uYUh9HPA
tEkCx/JYgJGaDILQEvtKoHLLmbr/8w0WhL9/+P0JU7AOVVOJHWk6TGX6glj4WucB7iwyJ03MZaXD
bT4lJEPFjYvueaIJ5ZjEeCzxthzD7PkyVy1qNiYHU4Ytm13O1MujYyLSqqRxH2hkWczIoPw4mrbI
UIyNzRAOGVYa68QXiQeitUHEYl7ATeWrIbOoYpfRWgajKSqRWYyKUj0EeWszwE8ijTU3lywAhOYZ
7WnakYuEDdOG21PsyeQUA+ET0bNswCAulBAlaMbhSb1avfGO/RlKRu1e+qm4Jrn1FLADbAoX8rAW
gCClJB4Tih4wb/ten25uWzG9t1/L2PkNtONON+JHkQa/YdSPDpM9mcotLBGsACVXMRlhm7jEN0on
lFCXuCPdubvP4+Y1TxjJhcQL0CKThIf0i+sG5kOreVsGNb2fpQF+PZ1/ta9PutNh8+hOEfkNGDHc
Awylm1UkWKcI9Z7iDt01HoqsJT2rl0v2uZXhc6s7aO7mo05nAdko00UCHIv6zXaoi7tamMeYWXKJ
pF8Ot7jnWa1UbaC5EEe078sL5mlWREuH4EG4rE4MnywYSFehFdOrvU1PgO5jLJC35neOU54tdlAt
+oi99jTC+FtTXpLJAthmXQf1ZzUzDQavrZp2W/f6PT1jBHtnL8XzSTbpguVmYuEZ8SYPRImqekbN
Vhrgsbp3Zgo9mHhiHyP3VoMWYSOYbJ9i4hK02SnwMOuk+bvXXwxj8eHEtK9c417qsHgqhidVSogh
FsNtRX4LqEOUez0+2uSYpuMVDcoOgxZW0BKzSb5PPFTDXcHZE++hy9iYkB56lOkib5i+cGGgusjn
az3Y98ZEXE44RRwOqkta2+u+YT9EV0yHHGAdkpOEvMY1NNk3eEcZc43NEHAQNNh+cAygyHd/Z41j
7LWAJIQqhchKoo/UJncNANHagCwm65heTtxwSWuBOHiz4wdDq8CQzJ9mix0p17w7F5ShW5lIIGPj
0Hrh51xCJSs1skddsKB4QsMrDWtUPE69C0oqHQV0jzAnXE8VzSSwAfMz1F+ayIsmDGn2jNN2P5XM
zOaxvwUxeB9hsWUrCHGJ08YbmzhbetWgxkpeCHx1elj/RqlnxZxru/mrIZ56g98bIWqllTsodldt
EkjA6CEwnUEPRiTKEQ8LUIO5f0un4dnUwte+rI+u4pyIQRljoTAfTEXwnokwln/oRQGIXLcV6Ykt
M60h5ipzsDhnc3qOkDFbGl0w6D+Y+HrN2qQ0E1vtaRDhw2RyuoiH5rdVI41G5OHmgCum7ouM9nQd
2/mDGsUZHRPTeTe4uumtp/vGWDJgW4Y3XFZq3BCwS1cl2eTd4kKJDGQuYKlDcJUuHgMfGCNeymqn
pvlU2CxXZj4ZZ/p9bB+2OM8WluYRw5fJXHnFqJUIJeGggbZfi8BI6XvT7/IIqjQUim0xAPKpFbxG
6EznuSmyvcjhTtkS/WrfP2MnkjudRdjoZH3EfEJvzhDvQpmnNmzIkYoH1BGejXzZR6z0Noemn+lw
FcsxeiuGViAZGHD1G2wRiBqcQh6pcHSuJL8Lc5barFUIDbIDEoUSvVH7nGbep5HIpyI/l4XEQNPa
V7Dg1ZHuGkJ5Xe66lrtX936RpXcLY/eL5Fzm90LbWpyFTjIU95aZ/M6CefDHuAFlhpOAAQD3pp2C
iGMCEnh3VYqmja4yI4c4BAOpt1RL8UQHl2DJoHwOGGVM3jysgQeztC8auoQ8Xhdy6cZD+9gsPFE7
hEKs7P5S9/KpqhZrZoKomKun30cHL0I8Lzsj95fuG8lTcMC0AlWJ471qQXkfG9WvqUD+qJsxI50Z
qQX0Q2KFfE4QxdGNB3CG3+8ShQ5WDHBLfvz+qj/f8P29qOnd2f9+lEktX0XIUBr3d0xOjxi71pBe
DiKX1yAg3wo49ho1DKJThImCLiqj5jtljEt24g8Xmd9KRUvVoTVfHQTAIEXYmeQY0hpmnW6CpDbA
H5uDfEp7aW1GJM8cOdA2WYCfHcFgXhJY3lmMihrjM/c07Mh5so6NsWGBTdGokmvDAcp0wXL1dLgL
zIuhxupfGsCrQ9jdnQ5JzYgzqOUIXsF9M1H9rUU7Kzee6SIRZd6has7XMVNXqJnyTkkVYWMhFRe/
EjR3Yhvh5a9x+fTgO1FRkfglc+nsywFHhzJxRc4zlMic40qT+G2pk+5bSoKgkBbhPHjM5tlPXXJL
+9l46incbDqjAQ6kydPuQqvlnqnZeV3trirly4CzG9Cyti2wO60sHBZTap1bwn+5HbtPfcKo5wy0
kmH7TxwOFmvrllQD/KZKslQAHEwmeJTQWdBoZfLKn10c8YcVx84lMkUNXuFnvEJVH5ebKUabO0Si
ppojD5UxBI4GCltMn3Mf+yBqH3UjJ+jWMrF3juQqlTqQ/lkiJANcsP0vls6jO1ZkzaK/iLWACNw0
vU95N2GVpCsg8DaAX9+b7p68wbt1q5QpiPjMOfswfGGXD1Ec635DN0dkg2kC9bC8gerJrQ+DNYq9
LFBssxBBUiIeKy975um1JgWEvoNQQXzdhjWUTTXaHXWhqm3lsWksSO9I2zeAM0iPs/yFZzTeL7jv
qqYilHjmqFEbSdbhRbah3PVZcK8B5KHWr//ZGoiJ1Rj1aUz6//+friieBqCuiDX1S9ba+6oZAHFl
8c8AYjkQg7Hr3ZfGY+8R2NFivh1OaWmbeylAu8Oyh0oIk+bUtsPHUoSRv0tRmbs7zF/zBrfHp2xB
xpCauXMt/REIJEwK938n2Wemi9Q0Wr5Fu4aVYsWkbuiy7I/LU8LgHSGk6cyUQZRd2G5w4usJo4ul
Wa1q9WiPs957pUPvx7+nauVuZOuJi7T80zqKUag1SARJYQTzRyA6B1BoIQBjV4HTDjgzeAJIqDTU
p8F8M4g1WTqB75LHgCEl9pKI0q0wvwYX8Q9C9E/GlOytkXXu8oBZun4IRH3xXLy02WNTM+ocMtah
oWNdhTV62Lvn/ei7pDkoroh2/mkLzNZjTQhKyncy3Ro1Pvf6lNZQwoq4IW8G8WjTYyqUANkAxS2h
heEbhqYAgRHPQpyk0yExwNsnefiSPfQw4qoAVZEIySAkHo2FCcoSM5v+Mxxr37e4IP3ebddViMAz
kH915tKEJ2yNDcyNnkJZRlv5CCnQNTxYeD+9Bh5Tl97bTC6fFRzaTJhnRzjBuiL9d6iiAe7ifSF4
bkLX+OoCOLad2f1FqDrZTM4+YVnVs8p5HXr0bKvR+C519Sac5j66zG9D6RKYiKwwX+RYvRX8ULyc
nLrfNq71VqH93XjcDapn8eWaysIdNvNS1eOWC2TkVDFvZvOcTiA2HIjkuJ2VtTJv6KA5bXoy+cpe
HsdFpdkpw1gz1EGjqgnr0T7zWgRDUb7sDaOJWIz4NU17ghCXdS5Lrw58Nqb77FKOf1L1BNUTK7hx
UjwJpYdpyfbrYCMQGmMNQqTm1COzJAQ2s4MEPtlg6uqfqxGgMqN4hAADwGidXhs+CI/ZpiLihLA5
xJXeWB59xz57OBNBjbKvLoSbr5HgT5vBSF5qG03knLaQ6j295e2AQai++i7Zmb0rKRFKzsJafatG
A9LvCMYxW7JrIhGi20vA/NjselizlUeaEOtc5dONhMdhVRmmBOtYhDsZmReRPLXmgcG5gexqsPep
8dw0PYnG439+z6w+71G1RYpAkTb023VrM46YuYgw0mnCBLoWpjCuUjPf5mW8eJXVUaq8BLHVq31A
3GNDvLwtRL2rQh61NK4vzsSQi3Z9UwoMf6Z7jS2eP2QcH0OyRFl925BgVvlgqb3BOIF5Pk0OKJIT
LqBpr2rhr6x+DXeWGKNWExhLovTecJ6CJc7SdyriCQBlHPL5UCQW6zq34kMvtZSgQto2E27dZTa3
eP89l5BM6cTWTnkHlTc0UzGSJo1FKejwglRevIN98UtNxj1ZOC9BiLSwBye4YU5Tm+gkM4FpREX1
1ixHeRrn7B4K9wNJNl5EXj7kBSFFrUniywxbu0LVHKZE+7oEyDIObk9gGBuOfsjVQY8kI3DQ63re
CJ20rIhJdfLtbNjjgben2S/Eew8L9Mro5gu+T5orB9NJa3IZElxIyI38TyzxYQiSuymKjq5EARIN
nXVjxvVfazfYYhsU4axmvpvZHk8mmTUTYzEzA36hhDyPKsL/T3E/mMV3gWl7nAE8kD4OHEHRXvAf
bwwbnRmDwCLlBDG9kWx0w4Qcgz478PuMoabLQxcY87qv619Ao8FgsdhBk2MToY5LGrP5GEAyJKNt
1ffmu9NDTSDqfo5isu5y+QoWbvFsetYuSryWeAA0Ci568qFBxR5QWe69Pn/Omzg74Zz/JeLCPdiM
iX1EA6NkJe5M0avdDJfOq8g6JbI4HIwfq3lN4kXXZDErtf3xMg/Td2dPb4g+ADgvxY/2zVMfpTdU
MD9mgO/Zjf0n3wek61e9JBqkO4KNse/OoHezfKnMoX2Abr6pq/BFjRBBPWJ56xi1PAMOZpykwOF8
WhQU5qROKJk4OVquk1jplUraFs93v6G9HzY8WIj+0UZvPPbkDGtGkBzsBNr6t7AyxNFyk7nVeIUx
nQEPQrTsJJNgWkxAOG/qPZQW4w/cwdPIUySERWFhHYSiNBLD8FmhIWYH1LwV1qBOfRCP9yqMiJVr
vQZpzfBkmPWP5TRoRtfFUDIRdyabuFiSxKICmazt7GJ3YArHEKWhQ2ta7+62sBemmh1A8dtWeb/H
lXBEm0QZm0WPsirrc5aheyLMr/RR6mt8T/Y0u3sjdm48s9iS7TzeDdSMvHbt0XQdlDzbaZ7Ss4n/
mYgjEt5427Zg9xjGcg9se88Zj5MYA2I/Vp03Q/rB0B6gE3DzHp6PX352lW4RnZVr22WmOSMg2S99
giWN9EkSn9tMbMKyDH9a7n2MCJUxb8H2CGqbDO6xGA8pxygv3V0GYbvJK4JuXP0dMw/jHYeLFrnM
Furu250sUKcdAa2SlhsyUUhvxY2yDKtLJ/lHqmn+aBqkjyRhcQdYUeROcEhHjgDTad+0jfgxgdRC
olr7w9ia61yY73mK2rOmD2A4SpcUGcubQ42PzCreI9+ch7567sdPu+I18sHgHt2q5OJzxBHqaLkq
vC9fCZLpIjUQvgPbFEbFYplAHJLduT1NvH05CyE34FM2+k3ZRMEFeQ45SLCWDStCUCuL0qCKUnDT
aHup0daF3Z8Ci6lpo8E6M92qXWefD7hv3YR8E5wRKWEX+dWOsDOwKVqZASHOJbWYNJo1qs9gbwpc
HyWUhOAzS/oHinZvi2J7YYJReCQTQ65Y72prGi5gIYC4YI9ZhieCgeCBC/IzDdmawFrHtPDF6dIw
No2cjRXVP4FT3FUFo2eoi3nX9tEuiCGKsdnEPjkTktbN5F5mE83zMOFqmeHEm5iaUmMbRzX6JdkG
u7ka6BIDcz2lCIdcn8SNPg2OXVzWhzSkdcj0w/9+dU4h34IQFP6C0YrNp65B42y4HTVfRb9EeBnk
h1AznOfO9mb5GYPDAePkwgf36WAIe4vWrEyxPUTcDf5iFTGhmsUWS57WWIc+47OggR2CbHgkBi56
ATNfrNSUuKAUa2i55DxD8ma0YBenggQikjqTM4beF11wibBRZ6nj4lZ1YnUA/dis1RJUnPI9t4jT
aCambJcD/WfZYz0hfDOZyqIkQWDpEVG0yTFSoueDNwMXj+u0pF7pKc4skz2rgkYA1AZ50V3OxDGl
c/jq8WZgQ2zBVJKSkDX81HlqEh0NCqJnn6kN+C+zi7oqatrPqmr+i6qFUh2SZA762GsAEhPd2a79
ABF8KT9RB1dgQta+QH7cJOqifwSy4zJsuYgzVnS6YsCbcMeUYYzOn/+YNtE+u+JQhv5wLJbHNO0A
Z1NGYlY+JYspxC7Pjj0fxMACMClkuNIF0x9rfHOp70dZfOE0xounNMLKe1kzM/Rgy2fAZ5b8P6uS
2GbN+ZzUNtjdIn+P02IrRckw9BDm7W+RZU8KBVjjkW+XE+UnkxoGCJwEL42/YKC8m8ZelcxMZ8Wk
0CqN3xDwx0Fbwb+0rpoNnXdrfifqbSZaflf78Y+wxR+32rkgTyMX6s8ABSj1ycr7F1VAQmp80Ikx
J64VgztwI1SEDrFoafJEnGyxmRl6cdBsq0ruFcCRaTnzfa4IsBo62rGYFKZ/Stli0nQWHIks6Dfu
VJOcZp4q6x2paH4eBoEyGKV0FxrG3gB2bLZ814bpk4rZPTEVyzG+N/Z25KmnEffPYqTICrv4gZDA
djN11mEIQEB1VTuvxqBftHKiZdJVDA+jTyRYFFVvmdOU5zJyYMXWf1Hqu99JLtepb2L0gOyWFtWR
vutuqOpAsPIxN2t3zazzzQtIvopJNQsHbzhq0f2Ypmu9uwoftU6rM2qxXzRU83nI2BdN/MDsjBis
jaNkFOgc4DC5yE7ta9JRAUgLp+ScyouFCmAHk85+nNMK69iU/yPwDkBabQwbthEo+qJfp93KnoJR
lvxVnIDsOecaK+kRsoTK+vKgfZjYoh7mNYFnvAZcgb/C8f7zzcH9KD6iKLsNAWpLV87/7ES0UAL6
c/FJm82USNNZU1A+m/QXWxyMet36kKm0iaZLQJEgHoDYy46I6+oljJkPBjAa0Bosdk4X6He3bWPb
3FkhZa9nMwgpkvTuCUI4/c7flQkBaoHmkGdYBAkCimRV6YMTtF+liBAKurI6hGxWcSK62HbTn5Iz
be0rruIp+WlHYhpUKl/EiEMlqxlekSHcYhEkfrC+RSmC5lqnD2zjH8Bc6aNKxSmcEvA+LRMluRyv
sjAfoDqYO4fR7rUprFsZtcktR6i8m/p0fAqrwIHwx109wmgvII+umrA7GS4pSjmWFzzCF2SLGeBZ
mewEw+Sy4FrsaG/IEzYatA/uKRSjy80s37g+zrWvX2dzGdwZhD2hqSGAKuR+8L/CMnk1l6YqZUTA
n3fzUQgcaSwfOLulxqQxfldtR4MdxHi26oRzjAsvy5f8Fb/fRzBFelHau8aEgkOWFCWwf2NEjvC9
Urg5hRR/2B5ZdxFHsI/zWe4mukcDlSHa/TfmjgGSJcc5WASGVIyT6r57mdyQ+YsqwvvEgoXtk3vI
t7WWzamJ6ytIQK4aMGA6dK8sjjBQAFHrWP+ep849DAmgK7fBuTBJj3l3dy485zkjZmmCrIR7cEkn
DbcN67db19Qkr2Ys+j1fAZm0zpqKV44mbv6SrLA2MLjtsmqfNNFTJ8VqHJnbk5f1Kxv9GLctMV5l
hfY9pCbxo+EZcJlFPpD/E4ZErhhQwVSB1tWJHnjREFZHkDlglKwYkbORi0uw+HgZ91GDXGdicXsO
Tf1HqNDY6bvToUvB89byqq/Mtj8ahN1tqrh4wpf57E3BubJYI1cQ4tYafb5YFCC8qDBe1lgVFEAo
UrSwdHwo/UZX90i8xbedTYeUCHcdNtgIhX8T+GMVs7ddGDLpd2TPJiV9y+pebNJUiyPmxIcKgaRd
FHhHbATDnZ9cZc3kMJnbBw1gf13NzHVQln77WOV1GhwSXtRNPGu0TVbzhf6AjY0/nqjB4AzU05JX
iFWqBNTkoMTfEFWqEiLGzWV/7vQZez4RXD07YRrSYth3Eu+kNJTDMRbFDpUCYmUIXOuoT551bkcH
nMf2xc9KNsZR/+EZxRebiFVGEXCtyngzY4i+EP1HtWeR3MLfAkX9Dza4Yg9u4cVzRoPOnF6l6c9u
DDAkiLx+E+QmFRaxdpndPHjKY31qdpfJjt77dgh31CHvMseUk6XFEzKmJZ70FFrEB7aSZD8TC48H
H6ZNGUG3s12j75lIm6Rb7tr+Ylc8nVYIGW3MvI1TaH3BEqaZTJMd6HjTEfIYfNw+/Ff1INFgFWO6
oAWw6/ZRqyDBEkDiS8qiaGdK54l7ETwQ2veUF4GqqngH9vcP1U+w59l+D0VKKxRIJvMh4HALD0A4
tsHZbTBwQWlB4QNWAQ/2qfPJQ6384CXH+W0Qed2ZKjsBhaw3rZjsI1SbzRT54+OSF5wjoW5Kp9kW
aYmhoBAOfFMzQ0lWvBTs7uAtttGDyvtrL8MdsMqAeBQnOYgZVB3LUCZfCaxGOUSrwojOQ/KKWsRb
NxyiTKvU3RistXRpHhwoAKCW2Ki4DTzEzoBi5NTZ3vCsI24t9JDruk04RaCKUIY9sMJVDN2rp6Gl
F/dojtIeYUhVTIcCLsqYhRJXZJJsFg9oQXwBROv0C5c+NSbnNj6Dv8oDnYrqPACWrhSYidl4zIDo
BS5jFXTo3OrJiKyflqOLMzosxsRCujQYWqwZyEf3ILE+DcotaBX17PFNhvNuCEgT9VXBcNvXhM7N
hDkiPrFPln53au9XY/WZmuJZZT5DCbN7A4yLzW/OXnI7RPIZtmtC9timVuwvlRpWGTMWwnF2KmPk
OmShg2oje5Jk30l1CyMewjBxHgjUXrGFr08OH2M9BPs27p011PZpV/b5l2A/22KyqjzjMcxxww9d
+tzYOZuVso72Q2ivc33sjYahXDNj7vabhzRn74frchfnKGzKEp6GbpPvhgjadOjeC5+/tPCtVs67
oXycAH18bVlyBHX65biGs3MreCXar26CdPrM8NmlYfRFxv7eeLCrK7BKTgv/tjpBOxn2tgSWQdf/
5CJCW6k8v0kkwevMIAwGfmGT7Rz0behEpmHjKOpUlI4b2PZQxiWziWArbc5kP+CAZ2p5qIHptD0C
93hw8GiSiyV5SQ5uFBxCaoE1KarMlrvpMEGZ2miNtZowR1a+bq02Axwzrwsj/i9SkJIekiky8eQS
yw69zGJIG/2VzFj8wOOJ966Z/wS97g+Jjn8Kw/4Dg8NIzae1ZG+fOzlxohGjbItagVWS8V9Fp7sh
NIRQDthvvZpBZPGC9QgmjcCFB87Cfp0aGQG0zQ+8qHPYu+EXmqmtOUw4IXxjI0hcJX2F0Q7Mvqtv
v0VVeydfmEBdNlP0fVT0X7NLyCoZxHBy7JX/f/x6RBW2ItgAxeZMC1XCg2b+ahGKDh9XdWsfP9B6
qa3Zclw7zHtH39RsLJYvmqhgqkmmFFMM/LkbWUSwlsHO3nRfTaR+h4AM4KTbJGZ6z625PqPH0FRx
F7jBF1AI8W5azEBkn+OSnh98I0pPctbho8tqDaaZvI8ni35iUo7e9BWj1kAwMklL7AUesIOaD8yX
j9O3K/tPgiNQTUUEAACyPHFhvrPc0hfbIzG2YkwpGGascyhaQT/SPyRLTHrpvXRDl5wzb7xHuMx3
TagfGqX38KKD14DYN2CUG7cI2o3Mm2vgiIF5nX4B9MtHX55vScO4TqXA9ZD9SS2flDsbB9d14UtZ
X1mLbwcHw4+fAT4sFIFQyJGmkFbQnB+iNkYhG/7ZVgewDAbMMQenZbrzQyxTmsCxoh8F1ZfKVG1L
DMorv+Gf9MxuWMf/VdZ0li4eMWNaeGcw7tdRUOxLHPp4/CkAtXLfTI3GIswgcjNZe4Fa3ubAdmb+
CHMs0l5mInM8PtRWBD1xVs9QBqB8E0mZLe0xhpeNNPqbMhXneTj+9sKJUZ30yTYavedGNDkLRWvn
9vLqWsNTz/veVdcxGDp2FP1z40ZoH+BHhTYxOqQvrR2KRMdqbXYqQME7Foxrl8t7O/EAVZrQNJr0
U1XDRuusmp0Uxh6JLHEPqg+YeOXxFSyGy06ND0HhgSfNicguqKUOzWB8FVxmEO6od5LOOtUuywSz
vFtzuW+1IVGnmeii+37ddpBRRTNTR8ovx+S7zgcfRrlyntvFrKIzYpk4GpJOMt+r1M0Y30iqj7do
yLZuQ1eN4evP9bJkF5pLld9hZSGmyjD44GHIAnF+tKfkkZPnSVbOykM/IDvOjkp4HsOGDyRKGc27
snbZ0L2Ood6qKLtGYwMwRLSnsvYzYkry15lAPByiyDkh7EkNORgtxDorcKDSgeQpQpeotpCS4Vr7
Thomc5Zrv+FKx0/XUFNhlt7LEnoCOUmaY8t/GCO7uVhpUDLQ5aaNrH5DkRJtsko0W4g+2SVLUdCr
Sue3MmRc0QLSc+wmemsdtbErrP4ouL6cSgGmYfvwGrfgTAyGG1pa7ROwv4yCm822WYT/SjbsOzK7
t2mBhEN6CMIQJclN3CbTFrLXNvlKS+ncA9/5wbZu72C/ZwblejhHey544x0ZBmHYcX6JFiF/QnDX
Gv3ZW4PtYe8b5Yu5YOczDybDMJs/CXzFWWjn4mAs21i9fBlHq2O9wuioYU1/5LeL0hJM/cbOO+cU
Ugk0WsCNmsz8UadDAdFEXHutgwNgDABBRLmYHcKc2U1udhjdgq4P/zP98cfRaUw1Ot+6dmAWq0l7
1gxXeYeuSU5XXwWPXsaEf5zSWxkwkBoY5RNVFT1m+BEv7Jw2+D4ZHTUzL/OM36+DmZGxaL8hgL7b
lSBT/cCGG3Km8xh0lP6tFXFzyqm9KxYA/JRXoAiUxVTpe9p4wuvnkVwLEBV5Yp5bIkvX7kT9zPQg
EeM1j9tiHVrBn/PE0hm4xIh6D1biO5kbMBI1G7cys7dd7r8venLRJMBHFDQ3NWAPHhlDCoNosgHf
gW52vWbplaJ9HPLiuZlmzVbC86n5x0MyNpcY0XfflV84MdmAzQ9Di3wi8XC6htpkSe58E7nC3iLO
xcro85cqQ5/mudBipg7Vhuz8hZZTvQUNoISq+5s+izZ7Y+L6hNgeBtzo0pEyHw3t8m/wIzi8qNbC
qrpnSXC2+uiYKV2zYFJn4ddMnBuuORsjZR1WX+FUgZeMOtC/6i91+xM9eEHoNzk5Edpz1PWju5ZM
58LM4MZhro8V98VjhZ1N/JR2abN96XiuSLE7YfRJWAz2WyhUeq0Um3yy1w4dpqD9bKMGD83xp4+N
s0571GY54JuBsLzRbjZ5BNCjnySIZ7b3guiv7RSbb8yvvB1Y38+M74UM9fxg3JwYhVc427cEJccj
ubzbQucgKzSLlq76ShpiEbrlWCgKFzRgkya73HWOvt3DalP+pypMFppNtYv6VG+2u6kraqqZpdlU
zy5KtlXb+Ckod9SLLpx/H/3MtvWA1wgq8ThoBtYzgTg5AQDlUh46csgDGb1amXnVHnli85LmwVIS
wvNXh4Rn5cxM2S2mR4bTZvyurI/cCx+Sfu/XtCWW671xxVkbTCG7ilwpanTukbYMbl7ujYfRsDgq
QAayXIjWYew9Er5LES1eU8U6oWZrCDEOKG3e0ZMDeGGVvAlURbZSiRIW5s6YspJKy/jH6LQkUQVK
MyJwa6O8x0z/Q0+PoL8jwDMgeY5zZYIXDnzLCItndwmgJ2zjiOiCnJeG28FNx5ekTWgEzXjrCdJn
erapvVJPeZiwrKEigh46wxZv6caI87SbBXIRMp/raidfkwvqXrwp4jMhmLWhHTthtMn7nB81DA+d
0GgxTQRgufqSLN6InSTDFfJGTNLBWZGekAXgQLv5ox4WYNH0M1iTtQDvWU4E85FkbibzSYwqr3Po
FrINjN3QmejXiwgpfeXvhOM/9LyrKx8fZV1Wyb43/R+M7sQ3vzq5ljcc3GSrIoPCo8LdO4K2FHlo
EIXu74OU2TrIiH9QNfgQi5xWJuCDIgu9cjdqhrpUZrLqd7GNz4l9v2a/NJFnJVBei7hlfpYqrtmE
kzBwvmKqka2ZosX3K970ue5RfBJcmFg0kfH80pdoFR02rljwyBMwrYvwCT6OOfXLV8RUHW4LurGK
FR7i67OM/WOMvzuayawjuDAlZcdBFsqYhxRuzPyFN7zUSfWSJO5LHf1nxNOnrelxdWdS5dk4oIyd
AsmLVPFS0ErxWdN3u514cP45sfcaxgZhdLnfon+i67wy0LqNwrtO8fRjWza8GWM6MYQZViNiN+Sm
1mPsQ/TJqwe4rXvblFs7109G73yURvbcjt7dR2PGzn/4sorYQu5BXd4oPqxyhg9oeIjBWgKNo2sP
UPdkzK81anKFrgZeqWuvS9X4myy2n2ov5Ffp7W01dJtMsK5Opls4IuDs6qOs419fS581Yv9ru665
e/eT+Ygubh1Dn2Zbwo0MAeZsRO6wbUpTEp9R62tnFieCAN4a1yqfZ1efvIBEBuGM41FZOFBsB8uz
H/8jwD2/CzP/m9nJnzoQLUvwSraFkNgdGdAQfdDMJMhHlwD11kunMM/w68BaPWNCT5Q49BWgCpIE
qxmjgJUA5K9Ix4EPgpY7Tm5REXckpdmYmbKjD92R9aeHkRh8urJruc5wgnuV0e2TPrwxFGkRKgcd
cRDhu7JD4BXxHaX2BQzAg6Qzx1IdM2QxD/Mc7GUkn7hMQfp6+aJCJwimKJjNFecIvsx6TLKX0Ghg
oxR7chr8zWSJBw8vQFzJY6ABrrPGfCcR5t0vwVUQaU2sMqcnkA0OhgKwXbVrRu9CshcZnWF06YD+
RkakwGflz4Tu/gL23QIdR77gWC9mjHK8Txi9RuFj09mvLGXfYYwaKxvzzLoPmSBWczngEk/WHc9W
iH3eoKQs4gG0JS09SsyJrO/TGEb6kGcm8BlT/rMYozm8EhDLYcpAFMqbmjLc/uE0weQ1g/8hrVsJ
9cKZHuwJoLzHZfztZfkn2mPmBC0DpoJRm7YZx8iJBKXKGvlXEVYE9TUgkix8HaI53hrTstxzw60S
eXtAByai4szs454So7Of5z8GiAnpRDQkVV8G22ZgURNpOGRedrBAqDHpuHtL+giZc0cme3+1/jZj
iYa2nqB5lCfLHf8VddPAM1vO0aA95SFfvl1FkrwzgYGtop8I2e7O7P1s+BzIzLO3PNu7ZU+kqHVQ
ZkKstuje+T5ushoOWeG8C8WZV7vWy+ip++SZh2ERCUprZ+iQTLQRfIxNhAAcdpqc+kOzo0fHT+qv
GD26l2Dv+tarzTGE4YMQAs6IKP7s3IXbNrxx0x+tkOGJPQQ/aYfDgfSGFUDCZ6tjPxRzjYBPoY0Z
WMgFtKQC/0PuZTdpoJCZedk38SXAq77O/pfLb/pvZVSfvQqlHYgea4e/ax0kBu6HsdhbRFvHPTd5
EBRPZIAcp2DByqQgECxGwCjTZb+bEzHt3EL+jn56av3yqUSEkDvJiVqHfKx5/rD8XqPiPg+pes8r
Uz+gS1v1eTef6Zh3nUlrmGvQDHO4V6H/1OTqg8E4E3UkG05kXISp2dcab8XCZsSRwoVHfxmZdEmj
zR/FHWi1uv+apA4gEjJT46QCnZCOVxNT1JxrnBGmR8vjpXhcPMkve0A0ysgSnSqafR1vs9544JhA
YBAaxJox6Y1aCDjlsuxLU7FLoupZLwSnFuVx0JEy3xIb5aTj98wAD1Ev51Dup3crKL+jeDpEBdta
QPUuRRir1qypko32x/qxbaIPXFePSLqh5FlDeUL5k3lcuKl+1DEBfSj/34yZ91LjyVwKSRZNuiUe
pwRHJgIBCbVcM5Uebw40xaUhw60mvEPRmfA0yqlk1eedLLs75ZmxSI0KWi+mXq4TfPENPElUkZM5
/Y39ayLrzU89mve6m8a1lQNI8KILpsgOKHng7aF0MGOZKblQSpSArI0LaGsimmOj2MAiBUrbdzOw
lTC9KyHEmQDlQy+b+FKgj+tF5N1yu3FvPTokliZQvii83l3Kz2PDQXvLjNi78ptTc+bf7dLj+pAM
9zEsf6XnsAmTe+UcaBC7W41xcBGU+QfTGrDGxYFNTSrPRO5hnRpxe8KlIEUyO2LfIiV59IkFNvGY
6oPdsNJom7siyzjS6nus+RWOeQqpLA8/2Rtz9dndATXfNUH/CCMHjFi9TbH9lD9tAkZvYE+WRh24
20m9ipan2bP7N6GIj26bU5p9kjjNwZf0X5XbUbMs8osgXkWdmE5B9zv2GYONfPgdc+8FJwsxVSSm
Ixjy9342XKrqnLl+DJ9S6JPPHKkxCY2KQ5zmtIVb5dsvPUMpv67JvK4nfHi8GK5QryqPyF1kxDlJ
8R9bzM9s5kfDr5MGOn52E+Ts9nkIidee2xzasvlQDmkFuS75a6T/RB186BRR2TO5QGv3Hw4V+yxY
zehIkluBe9E1B46gjAFFOtUdVDr3iBf2uFARHfypC7iVtsdmW2K67l/UBtfIpMgt5id/bB/q2noY
Ql4WcugoPuFPYqPwHWRc47MOzQ8G40eqFuC4k4dViNkZHgBjARYXXbQtg/Hc4jOoZPntWdU/f6i4
2qhj82WE7LF2tAB2IWxEkN9aWcTblS+3HIr9xsQOXt8JOfznZsWeohd6vOgfWIIm3G3+NrD8/Fzo
+KpyskL6pn3PZd2e47ZZd3iW+F2p+5wRRx3DoltTsR5sxFWJHbwUuWvs5g6oOgQ7f9MGT2nj/WcH
K1nl/AgDRWCX185uHBcWFMFBxFBztYfQlTsUSvmUF5e+SG9gC1eTw2bBHq1PR7TeUTniykrwWmfO
RSpzOgmvfI3t/MnmympF+F+ZAb+dBeAwTzW3sWnrgyjJCIFiyeExqG9baLkSvyQmmsySSX2J8poX
IbIQ41CiEasTbmCHnxww6mmYIhBkZLAxnHJ85d3djMERrU/y2LbkQaWENx2C4DsuVL8vo/lF25yY
aUVCm1/67tUa/auhkv96I8yfurS49vZsrko+bzi6w5FiCnOR27/3AjhyUVjrKAx3Vdxcpcj+0NGo
VaMYxqXooNmqrhV21p0/cvvmc7URhuNdu7ki2B2kPUJrks7rWZymOHqHrHqHkrHJDZxRXgM1x67a
m3QDMtfgKG2189HT1/nKI9QvFOIaI1CMM0CPtumt62JY+o1iPo8Ik8Mpeo9Igki9Wu6R84GZtlDj
DqDVnWCuaLjpNSIHK26POi+w/uweTRPAhD2S0GaLnuxkZiq5DAvYMRvau+cV9uIk3mnfbi+eJc69
Io7Vss03LdsbzqDy7NrR0YSjOLUt7IYEyWi1DzPGXLHVM3Be5Uv8/DigfuvBfKGnMje5X0mqAJp9
YULfRywTEJDwYM9cMWWOGYLsJcJ2CF20GZWSed0QNRNU8c6MdkU/yn32MEtp7Q1y5xzDR3dRt/ux
cF6NrF+kzzXgjUB+tFGKN7CQ7+NGoOVgq6b+h63z6m1cWbPoLyJQxcxX5Sxbzn4hHLqZUzHz18+i
zr04g8G8GJLb7XZbVPELe6+Nlw4nnK4TPjxfIuRrLhvd7o9G8qFruPFKa6ooj1mh2Ohz96Zuwv1L
QYqpP4Qvt/Ss9kZz2ketUS9wyp9w59X7NnIZJOfM1oSPwNmMTlOJ7khInxRME5u4k/cvJUm3KkW1
EbAiX/XUBMQWa9w/uP2surD1VrwH8b6G204PwWoO9h/2KlvXI/QD+DKC2Y1vEM40Exg8Oz5kZn+y
m+9wanfZrEJMI3eDpIgXB+R8X+CPRdT1aahUrkKKaDylDpIsOVD4xdSnqn5GR2Yu7MB9NUOvXSeN
9eVA4iNZAriy1+fbfMoopVvJNKkZrsJEguP5X7i3juQYEXOYGMlatdhIq8liLJU+2z4/poMblzEK
Gjcv6pdeSjotnfeGz648tBxbNdVvqI3+osXLkVZ6jIOgKSkN31Kkpl+jwdVFrY/cJ8SQhFmGRTg+
ga0lGaZpHL09M9Qtlj59BRfqSQvGtSjxuovRQPxZQ9MgT3E1MpZeFRJwhCdsGt+gf5LjcAhV/oV7
tF67qfXALvuWORVsTxqSteQ4CCb0qRpD49yv2zW4VryabKtmHkKOqokZ0TCHh/ZOSyCG6D/a/qv2
L/D9rGs9cg9L45opcjCQAiIb7saWTDZmTkzGrPr1jE/QqDEm1PFFTtGLTUjqyqv4OsdGQJ8NNyMA
nC9YYFqJn1+QWy3HwDhPGsIvYQXvkqN8TXDZohNTD3yGBLuAUz/vHqG87/So6Z8biU3Y0ZplqAVX
IwsEZRtOrUbW5tqUPjED/raUXrVBujajagsk9QwGCcZRp14+h/wwo163mx582ApsKs1fJ3i/jhUi
II77rgTpF5pg66IUc3ZmCMi/+B5Xej4TwPmqeJrYTenTg6fit0TvH9i8xZssk2t3sHlbQjxYt0OG
BU3wEwA9xLkx+ifiZ+3HMNXJIdLjcoOG1MYD5qabwOOkd2zXYHY8fhR2kM9wVfI18x4VF2/mzogy
zoVHWt2exR+nE6l6muQe0IUiu8nM5b5Ur1sTKV+T2zdC2toD/w8QaZ3tLAPixA6NTAGvTwgPJFBP
1br9q6Mz8xxY4HUI0fYNLI+3KUiJzsiWlH7xA4pIk1wvXuCx/gmQj79ExGM/jnZ90YmlPccqv+Qp
vVJU/I17+Z3mhdy7ZvSEtLF+kNSnUXzJ5LMHK6AaiI52a3ulW1KeIK7lV0An+qmpHW4Gc26tKOSm
c8J+UUe2ty0JzV0OWCZwO2IzH1wuELti8SBxilHIXfO2/9UsC72u1kWPk24vwpzA9KC1+10I4eE6
DQX/WNdCpPfRvFBVwcs8pZnbHws9mq7ECgbLIZtX9970lIvjgAFBBNgIWeFUm650NdTUvf4A5yJb
jOjqNAa0THGkkfxiaBWrqeD1MfQBo5wl5mXVpZB1sG6sAOVC+dCpCLguuSdOYzIsz8pjrkXZS2DX
4wEIAOoAy0flGsyvrSBdZhBF+kIUubXu6qA5xWPnHjMH1G1Tq5MWJeZlone73B+lNZNqO0I6b09S
26YOkiKXrL+z1UrikTWSqJwmDM9dVS+7ureWde3WZyKuqwNtL4mZCEMePHR/bPAn/13xj3jVKUyT
8T3jldrimnbX96dqolnDxCavMvKSp/nLbMwBi8YX+i11I5ttZWV2u15/0hyrIsk59kgia73r/VEz
arcA3Tu8VT7lTpDcgsFoce7SexVgnD7/eZSV7mVwHW/GTWi7Lu6eSx+vxP2DGDwC+EwJgbqV8fH+
uTgBTWHHkVhreW7t2Xgjqu5k+TgO2lvgotCcaDA2k2X3ZyZcQPPx0eS9VrHlClBeWfRI1B8ggtv3
OuXHsBS5ma6VqZM/2cZzN427mk3ohxPn8bZR3LN8aDDHpDYIa8ibtfQC4yXQsu5G1AZhC0G3ywwz
h82UPsXktL34mYOXpf6RaZbdDM0DXR0p7UDPJg6FWQBITxBQtEhPwxUZV9Mu1rplFdrI3ax0sCjW
nXxjoZZI1qHBqC0RXk0dLSzWGZ5FkcK9LrC4YUjbZ8iKBOoik6pAack7RFjdleuei7G35Fr2bn2r
qqK5dSN4R2EV3LMLsU9zM3jQipHlYluOn9hjod57FqZPKocty0rVoYoYBwYCWfc8amaBxIHkM3t+
6sdluFaha26AKbfPmR2qNVKeFxBcJSH0fEXcKUgulna+P7t/VdRRBem6uo2CVYjjkkBAlkx9DOrq
XEGGSdaTRQ47+fNEQJlmiNomZWvkk+m01BvAxo3hNH96/wtDkvyZxIi8CJ3hzRbK3lb10Oxj3TGu
yJWsZRlJa8fkJgUg6vw4bDO/5gfefx+4uqG9VKa6aYRgKacz4LaN7mHyUrI556dE8VqIYOuL1Nxh
2xA1d/b8bFiXQ2s8s0qkjcoz/yeCY5rrJelFRVKebFS6Ky/wvSMWnfLJccpn11PGfgwJ5CnHFnqv
zTltqzL9sGDORNWH2ZkCmFDOL3sWWrD4PCemB3BxfpT6ujYXhORs5kZ/brXqeywte1sHY4PxpzeT
8+RTZiSIShRL/0rs2LTv5eRb6D2khZ/Rh+TcelqzBz9Xn2D796skb+yTlTXFRcoMG0xfZT9Gfawb
xyOBEKrxWm9ya5VMQX2tXOGsABpRas9PQeKTa8hCqTG0fhs6Ubkxy3J8H6vgx+tASDkRo1mTpLcm
SrKfxBUf7ax5GkIvL6407NEh7DSgAiUqqVS9KjAUt7pDSl3mFjWfarorXG9zQWoJszycUmBmrNhD
zWRzZRWkXy1R1Ws73wm7J6rA7GjNWU2+Gw430yAaUYpTwYu8ErC5vzuPM843449J96ZNFjTjsi1w
K7vSKoEnEW9nph2/uaFvQ6KD/ZgMiyhxVoNflR+sPMhYJq1zQ/0oLr3Zik1CM/HPI7zUxtZNOGss
wcsfEcv2UZX6HuGM/duY5Y1yOJBl8tT6Rnhq0Nkue0Y9n1bfvLQWSIo8MrVLGETBUji+eEW4ouE0
45Gmhf/53P1P3UYOe3dOFc6r8JOQWvtXy5tdXbbWB6U2ixij3baeLDiW0yZdl0rXdyD84nfhwrmo
9PHTzdn8oiE+2tUYPIUVaN1e48cMzNfR0L1D4UqT/5r73nVW9D0/wBDTXXVmp/lsyGolkRsLGLGh
YqLcDxX4/SJ/0FPmlahfT4nJt7Xiwroy7ACvRDm5NPnTrSU69UgzModzoqtXTKg2aDqYrg1Z/Rib
wODufzAKYvsaiy51PqycULupSNNP92fIfbqzoYWX+dOZOewLCyNpqlXQCGOdyiCKzN1k2uVlNLX4
NsKdOiVNLe1tnLeb+9FYsVu7/O9D8l3FYXq2O0rfUtfLq1khQ8qHejjreNgptZgFwKJtCAvDHQGu
NmfiQwkG+vR3sEN8F36iP3Wlh0XO5hiK9fYvAgukrXmbgMHTjTdgbQeNxJRbndj6zhuRiTtFeK37
kK2MFz4Fg1Qbx+7hfOlagyTKVdS4ATC7vkfZbtRZsLt/js05UcXC1V/CGt74/UsKFkWnLoOTUs7U
0yTw1al2eybt2LT1hHsYpqAYkTE3w49izJvbDHQkS5LoApBu9c3wKRzqbiS5qG1YnAkzW7UF8RRp
Un2UkYmUJWo9LuZ5kv3lZjpvB1PQv1cISKem9rYSjdwNsDaSY5b435H3Q27ufO9PD2YNwnFlVrLZ
oqQ5uE76Ew+d/WthMFHx7P4otZYegCwchHT+Tlg+x3RVpyRz//dRgdH3/37u3z/999HM/KBk05dt
6ovPFiGDW/vRLzeemdLcdDd7GMZdKHLKGoeFgZ1m4PS6+Ha/v5vKxe/O5GA3zWdxRopd4CT9LUqs
F6Bs/MYCNb4bdhuvpsYZDl5Fx1DEtGZ03erRSAvrGIruCTCeeiQarH6kJx1pRcmj1wRA0Cilp2rZ
Nl0b7NWEvfsG4G6P0amJ4S30TP3gsoIEm6t/T7r+zwP53wfzH3Wq+ZBlfaK1jG8lq88zMGmW5Awa
2fMHNNCZRVq46xcnNVkWMGkd4bbstnU2fxviUQ5pn//S721rvzNe0rKxH+dnXWWX7CAmq8aqnNdb
v3eDMxqzABgRRj283QSizk9NjkQ8Lwb6ZBjfVCSU4/nyXlEEPedPo0v7cH+r9nE6Xr0SrZkd8G3V
aNoH4jb7t8Y6E5owvtOfIF6NGKe6K0zcsM/n6qyNs+QoJ5daSEfv0WL3CzPUI6YAMi3BJ6f2beD0
PflRna+JUoN+l+VMR3TEI06sPbXQ0pmxAD2jWVqbTmsfa3kuwACxVttBVjReSt/05ye9UkTp+YO1
T2Csn3MHtvHkJv2xF9wd6aQrtpIv9UDnnQ0fRfVSRJDZWVO5TIv/n0cm+2yJzOSCJCfdlgLLhcPW
4cMR3X6wrI6ZgSf31cQYpqzKEzH1ZOHNr0xlBf/7aYqEeN4CIRAUpG5T7Ntf0SMyjPDbDNx83QA+
O6SsuKpomFaEEThnBuLOESLjSrXsnHLg5AtZv2BQDVaEjE7LUicXJtd3dlR+MuZCNNPLHfowRPR1
veIOF257D9H2RPYvrsKuf0U6zClIfEhU04Cbiu0F3gjeOJguhy54sRAfmkb/24z2GV33tUmyrU/G
8tSMK3gAuzyn5cvkznLwaVsBQcg2btd6q6r6W9PcjNACpEp5XvxhIOl62hcWw3ZnkgWwiLmASWPA
x0lJwhjGP+ihAPIXTwWzuWhV69GtEBjirOhvwTJf5L1zmHBrJ1BDtqYbMdaVK0racqNVaLxUsIdH
06yFwjAyldTfHmqzLMFyLGMbYtKqm6VgE+sDG28sBiOMzTYzULShDltrSKPULUiPsMVt62K4AFX5
0OZNv+O60S4FPkHEDt68vss+Gmv+t4FmkuQN4EKZEoRegK6Lqq1YS7SGWuFFR2eQ5NF5EFM1pNZ4
tzdl4D7rLYgNoTM21ZkAgOpRX1Ym260EyYde2GfJ0/tnJ+jee4LByGbJwpEk4JCepotqsj7JPlm4
fv0OWMXeFPN/MSNJyuaM3QsPHQaB95ukk/xwkQ4JK2R7p0fM1YVhvkYJrDMfCgalf1ptGEMG8+4a
lnqx0ppNZfgNsbsExbea/V1OPfbTspVrGvdln+XpRoumb94Cu8L9ttBML9sInj1ussdUzf+WYbC8
tRJ8OK8UtWKjUxTL6Yscs35fdNkFakwJRdEId3VvE7lYaLtCYtuZYLMiumehkUj7EfT4ZxJ62ook
CGI7I8XlnAAKsrpPk35BC9oQOzHGNQNMErFV/oo9TrpRPUucxo5+c7crVo6CVFPjcYoA1y90vd2F
jjdsh1mdzwBi7JiI+m2/EmHNKNKw+kWTs+PApxXKQ1YGFgpN/kux6/0UU/NuTI+Bwm3InTHcluNL
XRvemo0uIOBGvddm/tz4FiOYCXnZaJdbdJ9riWt7JwhNX5ZBdSsys962Pr5C0ZABVf6ZeDcudfKu
9nZOUAqb+ItjzA4+o3+IBWYSK3VgwNQbGtWey9eIj1w1Z2F3KJlyghEiekTLFw3gHXVJc/tIw43X
y5D6YXxRvefcjKjj4rZrtW+oQ5ygdx5LF1hQmcS7yHejq7LdaZcFeJ7zNqUyybC3ZGHV7jr3URvA
zeFeOUcdIrcRCUuW+X/buVpxlNoqYSACDPLkUyUVwQN9j0gnC85EE2B+4ITORiqeJycp/mRMgx9c
pBueSuKTQ8iZZxibPCR8K0eu+GC7Dgd1Ded3aBl+5+0Xlol466TWV45oft81YJo0MA4QQTMSxbon
8sCg+klvJHyGN2Bhg8CbYrUXJY2xTbM2lj6ML3aM2hRYB8iE4nHwtW0ScVH22FPqVp6ZoRiPsa0b
j6jvsE9xjRB3d86R1j+2ZuacMTlsGBC81Wk8cqym+xbJxGOSOUfyIhpk6uhK4QK67EyQq2RBVexz
aiFsf56gLh+bJyFqcuZogz6B1D2imQMcg1SkndfJ+Mwe3ULlnxLcIXr4X0Aoze3+IUP/bZPAfL0/
61tSBGyQBPt7fR11wiC/lDCMFqZdkAi4vopalMrauui2xaEjLI7zJg5fjCn+awP3+Q1NsS7y2P60
suijKbQj9DnjheMZMLM2m+Pmm6Zw+oNpFRkoBC88saYtzi0k7JVih/zCXWMZBXH2I0ijseNR8XO7
J8vK4rdU1T8tpp/njIxmhsbGBUZWfc0Iqbsyt49D8Qm2LiPypv6I6VSe/9OFifG1z60OiV2cm7tU
q+dOLcQ/5vhE4lq60+7jFMeonwbd9t5CiHgc14yOzOV92JO2MXzEDn2iZlP12V38MlFlzk6OL6F1
xi5GmrESRl8v4cRbx/tEBVdgrha14DthedJYu8oFOnyyd42mQV7hi58iwF/UTEP21jculC23GR9N
7tibqC7LExq4dWmA84BWoU4EVten+6P7Bzvn5w9xToG2sfeG2Q4vvEdhOBlVsLYzTR7jZGCjRXAw
g8OGBaM1cvA7k+I52tWFF+XkpyCDJRDGMZ9MySAZzxGGfn+69OiSN3mGQZ3m3M0dRkdT7TVgt+bJ
EmxsluNvA2yEayOV+RDmaJhSPBcLl/N0d3/Kqsx8oK4c1tpkwhG6V4SROqChsfuV7PVnsxbNTll2
hd1gjkMtizM3CLqg+8OYqKKzbssv3zQV3qiMLoL2aBEGoTzF8wfhBzG/oNl0A1phz4RhPN4/RN6A
SPTf5/dHvs5EGxMb7IOgOltJ5V/uH1xd/OeRVXZnTYzycP987XrcI+8/9WDoN4ewTYCAXsP8DZMX
t/KB1eT8AQVFBpB9rmAZg0BtCJL3YbC9p5nlubdtJ9kA/Yw/Z1whs0WcVMqqH7LMepVBGb/EUJ2g
9Qxq1xMi9uzI5kcfGBmxNtBXOTojKgBT7LCN6y/3p0MGSp2319PIPQ2rg1DUz7b1hMyu2sdDGC9p
H5JdVWNRDaWVPTjhVOyaBndvpCf5A7S+fpmp0Tt0lbHVq2J4L5oMPaZhdQfPdbUHM9Z0+GllzZga
k78/IoizTPO71HKQloEqbxaDuS02cWePNwbYr33UyPba3R/lxWjsxjGwj2hVjJ3GMHrZOQpC1Dx/
SghgOt8f8ZdnhOOy6g2ESoZeYHWY2NIhn62OidFA+UHaWaF/cJA8zVNIN/KTvZqMZ5vrsdat+MjO
s0SZRHbIAc/HNtPTdFVTjrwpzfxlRSH/KOc9L0qFxjHXLlqtOa8a4S+9T4hspTMlv/9e/316b4it
JOOOE0y8ZG27gw8hP1zjZNfZ9D4y/tpbwEPXjjYJLGrqNWESeVPotReFrSoihNw/qT4YyPdSY1ul
ibG2gVi/BZTFkYhXLZKszb/DU1lkWwRj3sWyqZKqWFbHYPD/unbWPoTJIB9g4/y5N8omfIhVPUeT
DYZJ/qovOuhuHnsTLx9ObuTQOEaetvY64HmIQ4ygcufRevYcZwgkS41k9KgysmcHVNzKjPB89IF2
NXo2eXowZj8VXS77ZuuDeNwaJqEJAaDAEp/QPuAV4sWLS88Dvl6SVDOPEefzsethwuA+5Xa/G/VS
7RhCZDv8PNGTnOvCe9vs9NHGmwr/w41Gc+V6vInV9OgP5rT0kqx6H5Poa8ik8cch17IkkgVCtOnN
3CP1MrjBQfU+qjkspGv8Ot1zZA7ymHAfXOjzU03TeAEIPtVrbWSr2HwUTHlP1LjshgvH/5xmY/s8
N5SybZZlG8XXf78CpJT/OfAVhiRz4Z83vNTDbgkJ5M0Dc3lNGaG9AhdxurZ7nXpTf3BH/5GGBduC
06FxSBlw5f1+TLGgRHM/mpG5B7gSWuk/x9M9GwbcpFzpYIBYv88acjuur5R69ZVpuEVtNbe29Ui/
jZKXs31skWdmI7E7cTYiWCihcE99wcDM0YZwy5EerJoy909yIGHIo+J7irUhIAKqsj/H3Dr5lsll
H4yoPeFtcXokHiTe+erHsqy/OFqHBndsl/c/476AzDdu/EMSzMyAqtCPtp3kKIoysrOdHPyQyn6A
4y7BymC2hIG9mKkGt8bD5Z4b+nXCibnSlQ/3C5AGJlLAXLUKLYTQfbf19QFDfdFarBdRvg6YhNaD
037q8LF2fYjroRbBX6utmfrxLbxxNHcASywVsJHIrWhhtwVle10dfG3226Xdz9AZT+NYOrsUF32X
XhIn0R6tboR7KjIMA9ktbFDLJT2DMnPq9hjFzb0cwcHYXAeLznwKRdJtpoIzzGbSu65mV8NQ13jd
atBQVYW0dSSxgjylpeszDraScoWpGVSwHl2HjK4hTJ03ltJElA0o2dHz5wvnefA0PNV1dopVH6/B
XKYmwVYFo10sfzhdeV+sTa0ItkIIPDSAJxfZ6O8D7nHLfnLoRbGi9HOAr8qYdQV9tEV+X+Hykq+6
qyu8TOHGnHRxDih200m4awbrn7U543H5LSyEO4PJWAdZQeguqdCnne48qgl/LkrO3ZBAXSKH/OIB
EL70MnxUXHF7szUt8IIOF5sj30WPSR+VU7YyBOJijxztba8R2udm4iw0nWW/XU4b2rUSmeS0Yvu1
9qVzC7if/SIuSt011qUiQGVj3Qpbt7d4qkggz9t65QLDCWMUrkSIgOpxDHjPAX7qOXoBwBobqSpe
QwkHu15pAy2LuhJ1h/jeJS/dgDOPOwjiw2jScyp8aisUZgx5SgRETSiP0iCMOmzOyPSbfda+ZhVC
JwXwK0pPDAuLkxT5eSisEUpmdVC+0a7DLPi10VUx7xDJDj/8t2ZVMOMRxgEbBhM7/OkMmgbhiI0/
sANNWVSlpfwJjGBDqsG1n0axzSH5E1BHonzjQm0PzV1Gpmwsu0ePPhH/FPYnotXZFAq5LWAWbLz4
Iai4umO+HBn82WNvM2MDXsmMYwSqCfzIsvTX2lyLMX2t0TGcx6HdETb7QL45mmeXjAo//zTbwmFQ
IXbQoNbCHCqM5SMp51Wx1XWS8/QBoHd6NjxUB5qGRSZo3Fnkymd9zW8IK/N3UJWe+2pkem21+YqK
s1wUAJ5oJf0DEAvSysJ8m7UAlyCP1UxyQo4K+SfPo7chqBoEZYAHQmsXRWCyAEp0JJMeslGD8qbb
1QaRL+CtKvj2ZLZMCc471XaBVrxJL31nVwvQGhThbfWIkG2Wl4/WFidcx1tpijet5xi7sIi3Vlbq
Gzdlqd9PLvUIsPhNO3PChpe6IhdCGeBHB9EQE2aSS2mE62ECNpRPAk76widmmHQEwJcp+9VFiZ7H
SV5Iakb/pPcC1L5gZC9CcmpmrnZg9ZcqKnCAk9Th6Npeiulzjl2wS9vll0sfQlKOvxKjQEHXCftM
dfVkyajfOYokZEdWCPvBTOpmxzilo98oiGLBWEKyPZxO8LLipzFXFq9mHgMvVsxCGva6vrF3HOcB
m4B/TpFKnxHNvqN+KrYCRUJvc6sBRY43oY/3WCn/pMo/u8MIJcp0iX503qHZfTZueHT9EQBCunJL
66d10KKgRzrZEwQAXC7DlqIwAAXnafo7VdS4NVDx8D55Cgz/1gP23JUK/J0ekFVQODfwhp9NiNvb
I6pOkV7uWNC23QTFil2S6mH9TaYMDFfmbCtUrQyRisc+H20EY2DEiEnP8fLs8rA2TnrvwmUiKA8p
3ah1f1APJGjrXYTNU01Oe/RcmN43SAKgudG6ZXSzaAh1XbNEYNhkwvaMeLsKbmm6k76Rzf0nQDUb
mh7/84gTukAFVbmmvZKdhF/ovmcUnlF1Sudr02qyb26jUJ2gJ3R6W2yS3EMcQ3W2yI5lMTwrw082
orLfWUpswg6vo+TNHRVxvbKoddgrBmRST8FDH1UrWtgrQ8pD1TpnX7rYTXPAJVHOC+EeE3NDKfKS
Iu3fKItcTHknkrUJu/3yWKYO3DPV2RuTrEHd/uO6+MZbUTEpF8ZTW/30MaTtvqbnQC65z5WrbmSJ
4BUw4phaSo8vwXeGx3lX1PYNTvxiEkWypNThpsTLrZvM6nS0IMvaFacaJU/KGhFSOIQs/hLonGLJ
e9lxAEy1ExGDDIeXHcDjZY/avZhSZ9mh5FuM8O+OsVLs6YJwM3ltS6vcPSCOZbOts8NpPbHXsYiu
IDhf1DDDdl01wCQskRN0QFoauFnMSiL+jSJJECCdgpgKkl90t9I8+Qv0xmD+g8RR/rREbeEgUjDn
wxrQqIMIdbZBigaciCAshQ1siMFjiVSULNcWWHjdO/0yyMSbEQ5ov2c8mpL7LpGHePbMpEa+5VLn
/VdilycZJdzmkfGUlT7iew/3gkROzPwWuBX8l4aVbU+8w5bkMNTmZUbrZvxGXvhsNZViqdmsBnqD
jOTOCAEldkciygc1Z8Irk+Tz5HuoPf/it/5e95KapInqpSFE6Dqm7aOVin0kmaNOGtOAVnLghrVT
LtnobicTfFgXKRhghL/mtvNkKohufkAAQTs2DLOBROq6Fzxw75/vMTkQc9CPtCsdk/gaKaeVr3yd
qbSsrLXdm86OZTvOjY7ZbGVUb5osp5scyVL0AJ4uhsnka+PxIQ6TeBsnengJLTddsOMGaVM3f2L8
uYgSp+KlSt/TXrNPDCjMbF/FEFKHCTuzUgqjmDkeROuCLxyVIBHWreFMcuFa7YhBvCGvIQ5PpG8u
KkwYGve5ZVZTMuE0SXUjYgaLZCxJ6r1szaNLHbju9PHcVFinCw+NPJb/PZKyaqXVFnYJO97MNz1m
7giI8SWs5DT89gbjKN/yiewiHr4YR7zPyXtcg4fLXfkRdOLbDT+4NDGB2zCE9GqOGHCnbEvM91L3
rAcjsF8m4MZIG9twp4REoBnaR6NKnrHlUYlMBjNy1QDNRpvTJzZ1ufcTTsA/R4XcKskvnG2fqCQR
e3m/AdxEn8h3ug+CpkyLoPiSphAbpAabyYEnV3TrqZGvZkmxNdUutDuOFclixnAh8EcxoyAM/ktw
8HrGHFwMjf2A0uClxuAWdjHMqAjOdhcnt6jHzstCMWct47r4geKxzlcWuvAUKZGmPceFzFD9oLdx
G+1lRBu3dMM+XZNiFenNInAdcs9t6tDBWrL/x5w5NMXCb/NND9iJSTLqsIGEPF7HcumRdLWSjtbj
16yLpSGVfgnD4dUJWI5YCowKsng8KwFqMOngIraTx77WkoPwxmyNRXJapMHwAU1VsOWMV0XF2BmR
mNi0VfRsmPW3n4q5ya6vog6+0vFiKSROU/fVOADeJCudpc9BRTEFaSdHOE3ikmTGhyzZWsBnA6Hu
aM8lvue+sRHEBWdfIX9sJwOTNdUe1pLmx+3w81TKJaBN9ktHPSdZ+pj6xTsNBL0H9hE7s8/WGNID
44DSdDyAFbwjxd0sCciVjnnhVl7SPWmIRJKxsLm6vWjbgbPikLNAPcb2kxq056R2eF17DMz1oGer
XuIbRhKUKLRWjtA4dkzXXrQ6UF+yVqSGMBmDI0TKbPkauxNIrSLI9vV86hvJJsodDVQE5pUeNRJL
ywVxLlgbOrl39oOqnkI/K59jS1wHLjfXS0kVNpfA7migqUli1r5ptmvGGitZRc2pnfAjbAdHnvPE
+KnCDNtKNEfK6v6Lbl5Tv8uxJxfBSgntyfCGgyt0DmXTOA9W/IKvaYfkYd9r3nPMNnyh8vSTeBLc
2x2ONslQITQ2Gkr4hbN3oC2T/dPMKsbuUiQ2MunCPDrSXcaM7fE1K/KW0JuXwR4OnQeer9rDUr3g
yKsBQqRPLSLLpefax8rUucJQ5FGeNJugqPaD+WHzW/XImV3IMP30URwuZAQcynMHfscNGsOoBiaq
KwjjE8r+1tZwy4I4gkLkdX/qsf0h4Ol+jTV2yfrzxZJXkkH4Ih3aUtMYRGVQhGYaLxz3xgVTb5Cl
Yly7Uns2mA+vhgLxQoTLy+7How1k0PUjdjTsPox+vmKjnWwA+6etzpv6pIeAJ7uuGvfB5O9Mt/yx
qJs605st9Nj3G6d6guuMANR75J44bHvseG7v/LhSPhk+Ru1E1E+tG4eICsZHDDwnyzC+wqDY+hV9
q63VnwiX18JVv+bYg9ix6nJbmH91nER61Fr7PB1fDeF+cAqjL/RWhA8Rmj5T7qsHvYrbb9rjEJMI
dBXUlWFCkIPPHJYOcKcgVwYJHa3bPnQaO3vIgjn/TfNBj3AHy2a8KsGeJmrGhyL0VlSMXO5m/mcE
YLX2KwJzfIEmJhbcQScmiTR7Q5J+jk3/WtP8LFjVWUum7FwWyNFEi0KmZS05vpkJq06hvDdrdL6A
VPx1HMAefD81pHtNRb+wQuxFh1qZFLk3TK7kwomrLaxhCQ5RpnhUc7IaHVD4eAafq9j78j3LW6fq
LUFXvyIX4CuOQFOSTbE3A/0H9SwgCe/kjU22JPlvQgbC0o8uZOjL94Y5ExMK99ntXk2nI+epq08N
awLNZzjmaSzAY4NKwigLPAI2Yg3lgdLq6FGxPbCShBzRRjtuypLGnOWNJ4hBK/BudfWTZeNvRJtb
zJKkzRTg4ONgWEGRpPL0kAs7cotAJr84tfM/7J3ZbuRImqVfJRHXw2yuRtqgsy58XyW5Fg9JN4RC
C/fFuJNPPx9VOd1ZNY3qmfsBEgmEQiF3uTuNZuc/5zs/6aDvbeNSDLpFRqE+sqO+Aw9HpD7wAPkI
uhElvEePja4XsDOkgI7htE2Op2bPUrxJT9uLgTmXAeVs60TkBh04cptWBJswGD9qBIzJ5mIqWIJw
z51ysqxlSco8kA+prl2yerhr3cZYWwE1GG2Ns8Wprc+giU9V0N0l8BA1JznGmf9pqwN1h7TN+/lH
G7JLB05VIFRwwvuoAxokix4OTe0f+rivVkRMVyDLCaLrTgKZH3mbHfBWugPOCy09Z8Tq5nuqaPOd
IMU+TewTOqgNvhkd5+Bu0nNXHDVGvMQxX/Ogvo52fhsK50yr/a+EaEE4u7uYUQYsYtTBE7Kcg7U9
dl+QCwRE2CVU0qc/q+c+YIdQzwlrYAoel55ppEvL/hijwebMXMtF3SyymimsoJWl0Li9szE4i1S9
VBdttJnccmfFZ6q2kGHvSxN5ZzRzhTZzw4CZDqCm7teAlx96F6ROFn7RPZoRI4RxYxoLb2BHF5AS
mCYGoLhbCLJmCkcj8JD4CgiTSDiTjEUbxC86aPM2w1JLvRaEyvi2RHdbdFb+q3nqzbUbsuOYWhoG
dD/Z2f3AfcTnGi8rxNkqfKC8clhgvrmmsjp5SfukZ7LAm+K+OVbyDAmE41tkvKclQCuzEHf5wALf
UVcoomfM4JgrY0Ipo9E9cOFf0rx+qqg0IWDLqWRuzhtbwgiio3tApHPIXMNYVr4MmgZRNi7AHtGf
Y7KpxjQEOyym84Tk0lvbMpz12ztRF+SBgFuzS97kMKrQVXHRC9puC6iJHpitrT6oa+xGcwse4XXC
6vsqz4Cj5M1m9IyL3bEVHPp8j5AKuMbOvcXk7eFbvYK216aMkZNW01aRJr9Kz1wVjeuvnITxv2Oe
JrabHJZAh7g5KKecPFaosPZ7MQvZEGXrNPjZNt2JLMqDsGaXge+8zkqhh7S9wHuMA1U23cLe4O+N
83fd0O79ToNRE/QShssqob4HCH9PUB/rQN2VB5mmrxlUEAKyhJ1Hpog5kOyDVpz6qjHw7493o8qf
dUiv61qf1rPHlnqaFXrbMRDOe5aqVWv5F6/mNlW3Q4f2BQ9jgjXZjVQ64bbFy1d+KQw4fQfvI5JG
uBFaAqeifHYyC5eGxRE8o5q0cYtdrcX7xPR+2syAHBTbuE1uk6a9xmNwnxj6eSLgMt8su6p6bnF3
UhJ2NyhWVjfOtiEqlvLFnUHm5ihdTUG5OusJ5xruW5vAFt1yoFmjmr5QH9CA/YFhKkwA1dBqm7VO
uyZt+ZTNdkFlVMzs8+Ipr+xLo3Nxjdx0WZ2zTUQalmnqntL2nlrh27oRMdo5aXwP9srImQXG589R
smtQFaVsgRZ2a3T0A6Z4k2TI+NYav9CEFFczUKXI9LdTlD7TXJChkHrngj6MGiPSqWzj15Ktn0jF
2aW3bm32MZtjzQIHXvWs6nF3CAQI88JfCa+xDkaS7+Aq1MuYUDp9hnCTYDHlQgP7FD3j23ruS7H1
Rn1fme57LPx93KkLr8cJ39xtVrrTMgK5RsD1pxnlsy+eHVRM/skf5WrUmhOyEF0K7XiMbEdCSLEo
6fM++5Hqi1LA42iOQ8dtnS3fU5uZ76WN16L0cfEHNi5bJouB9qhbXCgVF2hh8LdUlT2iPHujtPHd
OB47oAB+vQ4xIMCBS/aA9R4Uz1h1Dz7MGtjvZ4uNkoxa/UYTfOwxvRE6YBoODipf5RWPH0bTQxJ2
2N6dA5+FD/zuxA/IlcKCQBbk/pcbY89Kft8neJyjgaH66Ev4uxXAs37Wpydxxd/EZMpsWR/xpnSG
dof3BcnPd2/m32MYKJcF3thmUCLKibssIR8LeA1RLFr+EmBp5E4xws/XRYAMF7qvgR99aWNsry3u
QHlagtPqsoaPHt1VJTuCvohId7E42ZxWNAEk16F9gHalIMrZtpLCJpVxWrqUO0EfCeBLJ+oxTahZ
Zw/1Hk3NuS0YeHOuWkBGhxpLVmAKRljz7C58W6Ka8MlgLI5BN9mF1Zcd9h1r0AxVklO1LryBF25F
MBdss0WQaJTsRKDmgMAgIt142e1kNBQF2ETUDPIZBMeVRXlAhTdvyG7Z5M55YCqXrEvPaoigJA+1
DSpY6my7yrx9Z58yUThnURyOl6TalrHzrJXj0cvqTRFQ/6MzLUUajylNT+0AFnEWMaqS1d1UnlTZ
vVPPsVGz3cPLVbeV9EvGU7IriQlDiMPwwn3FCfVnZImTU6oHaTt7GHoomVRJ4bCeI75rURqALHoF
NzCwX1Q0UnWl38nY4j0zOI4Cl2mb/MlPfC41RNuFKA5ShLfK1N4aRUYcapep3Kf0I1WwxjMLXw1Q
8h1BpGLlpTmJS9X/9PJr57XPo2m4W28wL23oZBtCMAmxxSctBnfgWZc6prIWayNdesTLe+NnMBey
pnZ71IsSlj4eZCsdAoZI6j5rPKrYonu7eM5l8RY1TrSJtfREIzBYKwywS6vNOfkjcyPQeO/kBZdm
rKlFpemfFCfwwo76dcB750OPXOZa/YTm/9rH4T3lOPTJFXfBSG0qXb00lXG/0iNKWzPj9ft3zvTH
ouvOHNNJHA3IS9qNO6E+i5n5Y4n0Y+KzfJD0cOOoci4p8fHRR1DJZOag6zevsgjzNZyMjNK5OxzO
V5I/5Dux5tddd1RA+4kG5zty9oAkpLoXsl2S4KGWi9ujWYOnYWsU0mAA+il6zitSxD2fOW6DLT8z
cQTHcEXCtOpOlQx/wkx4zhvoXJFyv0aYTAxMpWOcaxrIOi2hWt4zTx2cXWQvrI/5LtOSX/rE8NvK
dqaG/Jc4CeY4ssgLwrhPqg1vGU9S3caCYHyWWfFaZdVHoIN0czk6ZkifkB/O2NurRVuLzz7HwlJU
7HymBvC8GG9x7lGAneK4xmmmZwC5hr67R6UhVgPrcEzaDRCL+wQaXULynQ3+hWxmv3HAIZkkQgxc
FvadHpOHgVmY75CWyRDpDALH9DqmFyG0Z9MckHBs4wzaZUC3ZhrPjALV5IbOlCV1su0qSMN7qbwT
h3KwlL5xpir5wfb0DQUDKwgM2m62kCbERlZxg8YWeMkdwWmPveE0j0g2vT8sXW9YKLwAK93snmu+
7vnNL7SoY08OYe+72lPm6fv5ws2cp8LAp01TFsc59jmCgmDJtb6gFh4feqddO3qMF57L6Mqtiws1
7x8wAdaFDQ/LLsCKc+CZO6HLtLjF8/Lu5O0h1+HYVCXicxIHGxEkK6/TIA/3WAO74AoV59FNg4/S
ADAYTPPGu2CzL7uHUU0cTeL7fMBsiQ9pEejDntucuyh4cSXrkNGZz4SfTnl2cnMaOfQ0XIpMctl4
3haXm7kdSarWDpupYjzP/LyFY3G+lFZ08UvoE2wtfZU/+KibbFP9DfCUcxo4WxPSV+01dxCrrkYa
fejEDCdzes+pSVpaTv3EfOyq2caVGdWxc+i7bzgaSDK+7D5WLrs8NsXeg2nnH4NFRtpjeDPMZR5x
1D5obAhH271WKUuS2Vfgdjs72U4MjdHFdh22sy0NJfomoEwCpW+p9VP3CoV2QVZ6ldeGvZZ4cqlN
HO9qp/zVeFd4Vy8OrjJgSgh0WlofQhZD+rgv3biVejI7FrkpWRgXsHxTYjLV+6jzCZpGBwPZYxUK
cP3UKazLhi+PznNaFLd0rvJFccnK8CkcOWH3ot7PBcQS56mg4V7S2U72L+mstYZMwM2fm8UwoYdl
GW0G0ObFinX6NnG1tW5QYuAFyJb0Xh8HkEFl8U5LVRU7VzxmG6sJK9Dj4dFp2gefDKOXDDd1DC6x
ldMpL7Vbe2t5lPRl6aihFdHTWne4FFP15mnNleog/RaewTEpXefG9Tskn8y6ph+MDfmd1Q1LEeXk
hnmtA3UbT6BI3TtCXVh03WKvuhAUOMVQ5GSAVGn9ihJWXHwUA4oy21tFsxcYRf3xzpLUqwQO73Te
QUByGNd6LeMb2O7lXD89jUOyAkKBQA/SvWevyycmmnDjECnr4uIpkr0gXl3stBZ+cckqrhPzIbaL
Sa6r058GAL1kAHQ0JNxPU2ekGYusc6eGDbiL2X3RPTScNLaNMaa7hAWVWwT07FheTDa8mySjnKj9
qdhrVhOT4KwVGyvRtOWYNWdcm5RFM93htv2QuXBqXAcb1tTu51ZnUCC7fGBXlUTi3jXQ7QrxKBLW
NMWaRkRkbuNLn4NoLmv0yPKyC17hvsUubZ441Jwst6z283xAg5C4KixUPjIWbABSjhpl6i+nmA6r
LqBnojRRqzLmPKQxu5FLH5Ix5MLhPGjxM7Nvd9cVyUNdFsaq8ypO8WtfTCFW7leSPQh0A0ailuIW
YPp0Yqb1VoMVo9vlIci2WOKwtutfVXdWU/6q+qzcxH0BOMcyqAxLOECZHiCNXg0kcfozXBSYn2T5
GZTS+cBIpjL47ozkRNcnZ8ud6hubl6WqsPjLjkacEvGxtcpNVs7dKvpnG8DQICvxvKssxYUnuLLd
8Cbugo8em8+51etD9x40wF4TY01ClyYWZ3oPhqDZIs0/B0h2YZC9dCmJLbfAj1kr80hloNqAjn7Q
s8wE5pB/pr1Us180WlUcicaKAl1M/m0x9y+X764ZcirlGaHp7YqemSAwIvhADE45nEex+tArJ91H
9U+jZfMaAkpasfM/dCawMrY40g9gNGgHEFVPo4rrbeK8CI1NElImZgizAZ6sfY6S8Ae77XiJEOw4
4SqfplsJBZVjN0zGrnloopz8PSXxa24gqxa4GvOcD0m/y4INIf5ZUopj4Ry8fHbkmlcHjxQfKNSu
unhv6xZEi2A3Prdse6V1gjoJud+ZHrD+X6mV/zQta9un7hW3/JX73vyeORTXYrVgRCOJQvZsMLoA
7m++h+0W3vglKyaMDSM22LND+qkK701/glz02lMthV2PmYGf4I5NKSMlobSQOI0WycVpJwa3bvaF
s6xdEAtkpfc/Cl8ZKz+hlCgMPuIIvRhqA1V+Kfituamqbypu0Wl2sMIvM+kwPGqwNG3mZ0FpGssM
ZnOBw7GySrXU84KEHE59z8Wcg4M+bjy5Cyzk0TbHxggcsYdWmf5qA4vIdMjFldnxg1XVH4lm7Fw8
z7CsWwao4mIluOFAfhiDUzB23zPc5nLk8lmkdfyE52lsUVolRV/coOMbTLtMpzIOIkbiW3g72pVf
y5/ZUD8MTcXN0Eb0lXFzn1vEktF36lVSNpiwpHpE77oxM8XvQqdF0H/OkkA+AzhjzpseyV8nYmeS
0Vy0TGsIj4rWtT6nOwb5f9k70yNnAnvxhd55PxG4WDTDgJglsLSLap3UAH5GYBLFZGKAob88bvo7
fNFA0NmMND64QRV8qUQeGR0ea35L2AbpXRKoC/LkvE+ZAg7pVTo9hkeg/DDzJufSeSrbTQU9dHJT
NQUukRFlLyYsxsUEhMM5574JQ4ysSNNu6FjTCEtUn1H8MxjJ3UAcWuFwuFKvTr4e04I3PUyEIjFz
PQrFIkqjIXiuGST+PNbxFeYhVKB4REUpqr3VsRdkhBghzkUfFKhsKg19xwPbAHIRJ0uzsgGdY0bP
I9Qogw3nsiSixGYMV11eK9o/s0tOY2bkMcIzSpj7Uzboawm53szrZy6iXRIZI3tQetos/drOOLc6
/xI9+rgS0409nc1uQo5QlGCE8ayqE886GPkvPSewETHtb4buc7ajL8mlr+lb9VmsC6pGJ8yErYss
q2nDM/Jkuqih/K20pmTyCOGbDaYAYF9TuRgg+vQde2I0b47/JfhOjZoTW5TOWjPp+hnRh9GIKVDK
wEuE00dlyO9R/yIEa24hoZmKWZ8y+EFS48hubAPZymVulYewvi9rPWMwIS4lTSshlVO0bDKz585M
pXhTEy7CL8KzguGU/Rw8JOzWfaaEG1dVUq7Z0uAnS9XdgFuMX8llFmfVm26wboeS9BqwlIvXoFAD
Cn7Ro0TbpZ3z6EXZK7wmwGbTXel0kPkiHCvm8N7DSA4xTC5byei6pF2JKUm3j0oHBB1lLfC/oTnp
5siQj5GgJ96+v+CXOTBlkOcdJzk3gEcEzZl7pR5ekln5mIyTDMmCg/RhzF/THZwLZ5cBoIBAx8aN
XyqRL/7oVLBoljLnve0n+2BByPWn6SLgwK7hOTxZYmOmHVWqvqMYWkjG7TnqlrePmuEVrWNkWpq+
msN4HNDWu8h65gMmEa0csAvBXKdBdh583pOXCWqvZXxPBThYIeWdMaYOnH4xYwVME2oR75hoPItW
W9oJ2rCTQqFN+1vWzVVrTBcKgBamneFHBo/F9iBW9LtacuWOl4E8emZi/CqRcWvlX5SOTgca4GVg
76NCwCSmNdxMg7LAauYJWXz8vobA628zlsv7uLyCvhFLJGDtaEi4PkDBj8p05YuQ4pDFyAYMUyB7
aVP/7KWcb63oNWyaZm6Aibc6NT2vLZjkqMnvxGCQYlJWyZ1DG9YWO5ArS9/Gb6e9FnrFk0fh4CH0
md2WQ1i8Gmb6OFp0Dmu2Ux5H8hSnIIFTpZvs2ZnVPsus5HScdeYWFKd5nkpOv2YO84Bzt0O0Na1u
8rCs9+hWbLgG/81hg/Pa00y3woBrHbUuU4/MlQjTivQ1leVBd1217Lh77FPRUVTxCC9VPwijb1ZV
hLNXdj7pia9uzl1nLbhZYrGnGp/OsqaOry5JjUdkeZO2PFiR46zssQlvzYnbdJIy5/VM977K3exc
Vgo2YJRpzAgx+nBCL265U6y9kW0arivMJfMLiTLGT67y9jTmhf4wv4g0+AV3heVQLNzoFbwRkv1m
Gz1Vjppzb6QMxoLu0wi3LdMUSlSRzUWPzTLqScczPJCG/5RNFUqHfOwDER7SxvolLc5v2FbuSYxx
2powu0KJcYlgtqCudZgzffPa+dxUc/wN9BoDphXhlxPBX8LJQLsfYbfMIIwsHwPlbpOSyX+c77U8
U6d5Ttl7PXBtL3k1yFStIe36C2iBxCoFaPk6nsMByRb++Afwi2bdoEuaajP5erhxFS9QUUcrbHPs
jbtoDc11PlsizVjyHHuZvXIzfO8eolwY+lfN1V8gaAAnytNuDerQ8fYlk7lV5NBaEU3FL2vCs46R
AtlmDvRYzkckGjCqlnmXadaL0i0+Ef1Z0Ii9s6K2WMQjTFJGIsMoHin/NO56Nph9firtILp0mhDU
ZG5C6ssXhYt1EfOISacp4jeT5HGXw9QWBU5dbaD9Jz+kZfFUGSCV0wMHV29Zata0GWODcGPShJse
I7DngE6WEEv10aSf3q6W8POYefeJIt2RATOgIim7JYtkbTFJVPQNTsfQcoyNHzGClAQTqCYqN3jC
c4RedPnImaCxhxrqQqrWlqXvOKZ1ERXGUTcAxXEwS2su1UUvxkA8tpc1BuTuq2nzjouFAy49I5gD
EaVDsLo74VXs+TWmLVqcPmt0ox8CAOjN1AUEWIJlno3pyqnxFbuUXa6N+KOAQbU3/PhJuTJa/vjt
3/727//2PvzP4LO4o+0oKPL6b//On9+LcoTIhM/8H//4t8ci47/vf/Mf3/NP33KO3quiLr6af/ld
28/i5i37rP/5m+Zn8x8/mUf/89mt3pq3f/jDOiftN17az2q8/6zbtPl+Fvwe83f+3/7lb5/fP+Vx
LD//+PFetHkz/7QgKvIff/7V/uOPH8L8fp3+/jLNP/7Pv5uf/x8/VnH0qyBn+M//4vOtbv74YVu/
24anC1dacM894HM/fus/v//G+N11LbAGzo/f8qJqwj9+GObvri48OILCsAXpKB645mfPf6X/LnVJ
yY6LxCGYdxg//vcv/A9v3H++kb/lbXZHx09T//HD/fFb+fe3d/59XMsy6PyBZmsLx7Ady/b4+/e3
+4jZMQ/1P4ys8jVXsyg90sSNg+9yhfv9xikE/ICwvzELZ/eXl+TPJ/DXBzSN/+oRXZxixNJ08u78
0n99RMsSIvYcQbWchSYf1Ui+FDtljHjir9xiBKsx8DBonUsqnHgzKX/KoMt1GpWPmPHviVmZSzKi
N1RPCCIv45Zpw2aUow92MfjSaNxe/OunPD+jf3yNXN2W2MpNw7Gk7vLG/fUZezoDh6ToeTbSvbEy
m8wmnQA8g3/9MEwB/umBbN4OHROF55qGNHjIf3ygOpERYw3BzQvpgjlURMEVQWjtqbFje0nPer/I
AqhlncnwrzhlOC7XEAmxC1GtDAJp25rcHEh4f2gC258T+gcpJ2c54XpHbgAHEDEinL3jtxr4a6ww
RUZ37daGCQkSqzpl3LCXcthoGYQ+V7Vqn+P1rCSqIHEF0hvtVtkamWzZyKUyoZ5o2NBbjXqEMX4x
8ZyytZ02DNEbaGCM2nAbL2QOvhnGvNpO+TxKpe7gHChOHWERbVXPAD8L8ZfWfvwOssVYJ9I4so2I
V7VQr2PG4adB81nY5NhhSeqAwKviZwS9YAH1fdOnU4SVnWRiCLmKG8A+nsge6rrYT1U2YOyV5I+8
BG2LhPS7JjKaTpILRoR2i+DwCsdf3s7WtNvKPLEJYIxG0VVrYFlsO4rNYqkzy2UStdB0Sq0CnGwH
TF20q1KhHduRjsXMYI/uopXAjLuYXXpljvPajCQblOLeont1z+xahFtoMOQT7nJEib3tAaIyiVf0
9F3EWaiT1nnPzDDeiIj2aNwDHJIwzCQIUltPR+PPe846GnDLoXZNxmbUj1BiBxUnq6GAO+UNYC1c
iATb2xYAbxUmd8x5KSsZrWvgO2/SSD/0PELryO4aTeX0cmkOhGt2PFNhn9m45XtaCM8UtN+zo6fr
l31rqLQd7m1rG4dmtCJUbGwTjVQ+JG7q4VDStFK71Lnm3pIVoeyhSYKXVAP1bGHn2NejqT0HKL+d
4WG/cFJxFDKcMK/zbY5mY59PaufEvkFHlQ3X3IuClwgaFfIZ3Mfvfx6n8lUXUQACx3Lukrz99f3l
tKWVEGT1sPt+TIGcDJqiPVc2RwGbxk689og2Q4/uO1K3YBAUr5TC3uINaznRCQSodUcI/KaAjY+H
ljVGUWbTOOqnBSGO2opiRYp0YFh063T412yMzbPo81iO05UekUwLthVzUKQ4xo9MdwACRN6RwSsU
+3lZC3l5TRl/BQmmoCJ7qOIcR1PdrmIFPKFymcb5HYahqdCv5ryq8Qpuqjw4ZRaXn69FX97g3NB1
Nh8w+D4v69khwkODmr+OZ4lHYYhyMkJn8JGXXWKhUDOPrquGHx9iFEc9Z9xTJ19BhkgzokAtBMYw
cng1nQ0HxleILHpjLiKscZjNqT/P2VxFVefsRoHZRh+wHsxoEG7zLCjsAb9fraa0UbDoY/xejMEj
vBVYUWgJ58XIm3LjeD2UDGXv6FYkakrsjCdZODa7ZVSH79caXfamTQCZlX3GNDz6mn9fgDBOyCXj
RLxkQROyPXIvVgGkYl7wvx+6L3glkrSv2fUZW8PjbNZU8lZzZYpmjwWhZu5uIUfBYEUFmH9qlfHq
cJYqVt9fjxkZNdrn97P9+xfKlpEUyUuMwfBf8Uh4NCzk7o3Wi5vY4EWzK97mgRC+nfhX22hv1Py+
FxMUAW6QdTnAkmE9/X7dqoGG1ZpNnDU/Udy7qWvcYgN5ggOz9wADrr7fDNz0Qem/8tv8CpwW6M+U
uysh8xTCtrafBo1whZ+9D0PhzZcybokxWJGHhbPnsKnEUAepF48YJlXGv5zJlrY/9PxRe2P54bMs
uA/m80c7tUuqRBAX6RbiWauwOXojnRfe/JG3BASYNtwwL35NguqN3Jg3h6vEEj/wshEhk1m74hXo
kU1dLbvTU9BCfsiDmq17DglwofYSkdGZHxbbgqTiMYk7mv26ZkvGAJGfq2XIxSOcgPn+yTDo6njD
T5GY5GpwUZT8dCLPYWzvxMzQcgG1kuNZGhGGZhB0FxdSf1BGt1MNp7pIT10FNpkJNPXsDnFKiKHG
FKC4ZdZLn3kdEe7xG762EJpxkPl46oJUbsPIob6O2L8wcB3bQ/pVluybJd2xPvQfKj/YjEBPWAEz
ekhQYRE4nQOLQLkZKl6F75c4LM2PtO/3dtVvGKh02wBn8jKvupcgt05xRGWKzmWIv575Lblj6hoY
1FKNuB3IKWl8zIJeS5c+9KnCwGTi/QoZOpN2j05Biy6FtpORcMBEJBSUzlRD4GYh8QX/M73uudB8
Fq/w/vunfD8cFY/3HKbu7XkFaBLnxmaQuBzhLEQeDSgiQkrpef+dpEGrcPRriDsoKclXY4GkHifB
HJs8lXm3ScIRx+FA04kq+i1gLTg/IHrBwMuTZqs9sJ7PuCzTJRaV22IcPIrb8wNHb3y8EXeZJrz/
/iq5FyrRddrWJ7pWrdQLNrr7nE6sJibk9kGZKzvkPQ+AyYtYM76XySKANdw446WvlNxKh/WnT/tN
TzsnPXUQ/Al6r5Kmf40r/aWrmcIC0Uu5XjlJBYw/lI6ukYFI2dkxWf+STnnKr0ifZDK9q4P2HVxb
u3GRTta6/ioSLXhgErkfmPwedPxeiwL+w2YI7lR1U+XDpgBbu9VNCmDJj3grdiOUaPQkIAoTOG9A
+SPcFY9aDsnsj87MuA2YxlhMdfIWxLvvjlfSilxZrISMTzE5ecK7LetUntpXsvo/yc0uG6VTgJQF
OOL5BkPHHco6wWI5Kn2LRMkpfIqRKSRjo5BITvhpi4JPBRYUNlgcx10M0Fh1aDK11IFpKfeAursX
VgPSOUO1o2aPRSQa8UMlvBXzq/69cH2z6gojfR+kTU2ruDFpt+VTwedzKhmG4KJWuIkLnc7vxLGI
hYMGS+bvMQ0D+WNe4g0qbXD4yB1y77agvnjdDaSAHGpEt2aoPbZMYriratG6LGvzoMJgX9H1MRim
OgPyMnHZNRQsUqH4/eNiPX825q4/tzXR9oYX2+I+yXNfjz1PSzNGhjaBs/m+LY8YM5Tk5ZWtuSLb
n+60xLxnlodzJo2MrcKz+0DH/HAa/ezNnez+wab8YmOByCE0erBtY9mG1ctUM+/WmJcyGk4j9pS4
J1MK40/04NinzKx/sohjglY0HtQE14jykVKuzlbI2GjQMAoNFfDTCQ5dW2xFcN93jCyCKvwCk5ky
1xqeVOg6W8SOfQEGeskwTB8doLC6QVClewrAXa5UT7F36X+0Zu3DhP9omLAf03C85dBIy960VX7t
Hipsi3EyIiZ/l1mwSlut4H9GdWxr5wGKtr4MGnAtRhs+ek0Cd8xmD4v/leCpZmGrFBidEuwoiQuT
HWKH7iPwqUeHze/G7YKVKwptQ1lLjerguccqOjeISGud3ljK1l40L4C14XJncEmudT66VGiSJUKv
+alLG6J7QYTNYuHaJxw+XPzl1BCP9z5p5BBpt8/o5fEJQqq0SA8WbAK6kpONHMLusTEpNEs+J6fP
jlnHRxfzHAo7UXRpkS+nweGsU9KBPj+lD7KNnvlNu1WgY19rWEbmZsfE7Y+6Pz2ZM7896V1EPsbd
OzOv+hufW8naK4R3T0ZDpCjCedRRKWCG09ajYgeNbSmcYlXnVXEQ9bzeBJFBdwlzz96F6zRNOm3w
JSYc21PnKREbMcjXtjH6vRQmAnjLC28tGRrF25bQ7ELAxV66JgaxPBz6+35kWUUDTFaaWRoLKk7z
vZRsfDp3yA9kkyj+iUBDdThJ9oQbnQ0wumiZ8RmtaYl4kZH902ujr4H88a1NDrXvmdp1TBUCmyOV
22bu2ioGetStCLNM26CYhve5oMY5pSEMBNdnH+TtnRH2Dxr9fCV10AujcprjOCHOqtqyFllpQC2z
EhdwfM/QwH2W87betHAq1Z7hPbDgHROgFhQJUWCRTvF+SkbzhuV5iz31hk0Ko30B5sJvtwOeg6Ov
umFFd0+5VooThHTIRWKC3NlZNpyioBab0S64ALP0HCfW+Bir99j3Hfg98tIVrTxTulXhpQr7AVgX
hkPp+sUdEmCwiWjoZXH0V3yOtr5hNTvXSK7B1GtblaUrQa3lxVV2vc78wllFAUgfkmUZrOlmryuN
SHftX8UI313PFECZnDhp7p50k7BZ5zFz6Yz4RfO17GhQ8MloyytwwjIDAFS2SZthP8Rae9vN/7Oo
cj3A0rzB18mkXNUmZyVfHNNCEAyvXbBHZXewZcO2qmsPyrTbg9frNF1orsC5mCzJjST72krHg1Gy
FSePeBDeMByNVOMcQEPbbGXoDk4/FsdukBaeiKYj4V0aR1nr+qGPMuhjPsEcy3nOVHCuHCNe9PAX
u1G76XtwVKq/AlMhU+shrEyJAiaH/YakDQLuhqvc28VBcF/KYtxP7mTcpqQCblT9VVe1d6jrL3IM
KyNRDFLT4VxPihkQzCdOCxQoIZovoWs/fash/19i/G8kRsORf5GN/g+N8Qzq7/29+KvE+P0v/q4x
amiD0kOskq7NTcwxPQvh8O8qo2a4v7OHIAJkM7TGyWHxQH/KjZbzO1lY1D/dNG2hSwsZ8E+50dQR
J9GiiPRY7qxamv8vcqMpZkHxP8U0R6D6wTMUGHlNQUWlx5P4q5jGk1MJY913FViNaW8DWC3jbKRO
pyR1bv3WdCf2O7jZ9Wo7ZgQQbTSvrqvsFWVVKqERwvBq42ZSpSXfdB1rO3YmSd1sq3Vac0jaYKif
MBgEwzXt2UTtspH9B1KN2RnqQuI8LT5SnaHCJvYgwBycMKQgMHJc0HPYHry2uEn0tk+2o4zbbgeD
DcxSAOdyU2P8G1YDyZlh48GPjNYyFoRMsTv5HOowydUbIgs9RdgkHeQvyEMFfYrwbmJqEBPUOoHb
bLCo25FF4slsk2MswMOdlpmh36ajqiObjnMq4pbIajEsJVlbV6YVzB88QTxq70kveSa97giMo0yP
ocQ3uCsGcyoeEjd2wp1L5/GlLyc85QQ/a+6CYOMY8lJ5PK39ztXuYgesBUbLvDlR0JA/mm4WvyV9
mf4CBUGmCgu6UVGa6VTVsiz/F3Vnthy3sXXpJ4IDQyITuGXNE1kcREq6QUiUhHkeE0/fHyj3sSW5
5Tgd3Re/LypEmhKqQCCxc++1vmUuErG+Cs5RZTAwtDor4aBJe4nNks0dSjoZUqvqmC9ybGOT/1hV
6BD3zmQV2W3pNnO6SXUWh3tvTOgd3lj2FCTbBE0xwp6allC4SgfXth4z7CykLGOmNywQUHY88e7d
1ppvixkZCBKwMYsPXCDCWauprdWR9LcyOnWeZkZc+n5ifPGysfZek66TCEMIzJgA63vwJFDhmwkY
/wxFSLVpgGZPmylOAnmrKhVYdy68CUII2l6V7weG+WCmGXHW51r2ktgvOTE8pjPRQeKo/YbebOT2
zTFSDXUaRQ2GjQc1gvTe8JAnfa8UTqieGq/r8Pk7Iokvcxv6HnIXd7ESmYI+wgP9vES+QDNCQjoO
Yxasde+75lWRmjLaNgnZnVMnRzF0lNoeCm9773dOqq8GmV32vi5SLmLHyVJx5prU6Okdl7bnJWDK
eNbw0imZrXF+cfM+GPC7FkRcYuGoX7A/hwgmCB/XLZlsXBv+y4yOlOZJhElwR0pRKO5UP8PEnpsG
ujFlKreQWzQmjAA7YYj44mQOaWVhiPwStrcxcAsT4TmzD69dJB/Q9I35NU0iiV5Oytxxn9jj9fbr
QF6EdV+z3T6xEB1dtkqoEXRLRtYmtNiqrnO62WiSU4J+GJ5iWDiJcTD1Gtl0mu6RKVj1duG4madZ
6zje2BYPv61dQSlgp9z0DfOE2FaggOOawFP8T15H85fuFqNZaFs+AQWz14BHqGiMC4TLQzOC5AC2
lof8agO6sWwtqLXkmsZkh5a6hP/X89dMVZPq6xgYrE8Jj+hm19l5+s41puHFsGOofzc2iodgEeqo
/lNrYfQCImRO83hXuAJNemB7mb5KtFP5ilUmRBtZ5G26N9uhjqKV05YKkmBpNk2JWF7ptJOoCcjc
PaTk1pnrdoqIe3GhWMpdZMgIB2sVE9uiUiJ9dihhCKkkOdnyjC9h8WZWgJCkUJQX4eDtse3hyrtx
JkN866ux6zd+7UQdbvUGjMPgdAXVvyNCSTwplp34rhC9kzzQJCIsLa6rZglIAjMSXeYSAzz6PaAN
UG+RRAiaKWJoJ/MSmfXifbEMXaTY1RHmSGvn9Uk7PWVV5cmt6UmF8RwEitjQRIz1Uwj3iR4szW0y
uvFzFnBRYvaxHZyFcYgIJdFki1mHtK08a966JqaKYm2BYMSAXWUzKGuAO8iKpshJ7mtNW/CGaYDP
0+BfZkHMY358gCnbZyS3KAccyftkxPvjA2zUrhgRCH+iN0xQIxRC65Q32RieXSvX/SfiGdr6E8Po
kB0RtzHMu60bQfksr4HMyRI/4JRJ1eceISKRUz2Sj3RfFmFhf0GljbdI9ijFnBvGedyvIQD7Xh4A
nFqCIg9MK2e21k5NzPQYGAljvXVTYQ8cT/RQ4R/A4RiSvpnwTKJIN3dgVXJ/eHZTcy4Zb5O8BSKW
RG+P2fxWtRLMurBTEtbXLmbE/KNXdumnJo3Kz1lCoYyQyy7B1ZZGYZK241gGmqYkbKeW5gsBR6gY
MLYiMzMl++FDXJdDdNRmKLguk3QGVQoxVzKRVzAyIVVXvWCd8MmqavI5az7bsVdqvlWipqVbgmCh
/4J7akgZm0taVUfcAZqWxjjoDxkmAVq0I2SKr2VU+cODB02ruI8NOmsxrAOuEGL4xq4qv6ZB1Rrf
cIHqJV82HNFaE+3a3ZqzPzYvbVMGqJJTWyTvWhzV8FHGfvE30LFfrvOC1mmLtnmqUFrEqf1IThWe
2yxCdnXwikCZF+zlZvik0PRWn7JUSZompgKKNhdBxcZl7CxY0D46YwvPBZyzp3HsUQclpQ6j64zg
tjxXUcLyW9XFbDyPSqN2wvkJcHco0KIjCKqJrQf/52nB9nDskib8jNHP894zfCu/GKMh+s3/l5r7
f9DAHqT/76rp09dCf/qhll5+/s95vfUHfhalPMuU0mNYy0LwvZJ2nD+4Qk3f9FzTc0xTUeP+WUi7
f5jM0hlsey5Fru/Z4j+FtCH+UDboOR7BvkWxzbj9v6mkLQr5vxXS6AVc4dnU14gKbLEU7T+uQxQB
A9l06rMfFJNVvSSZl4H/l6zw2T0iOfKWXJKnusOQB4Gg0TC3E5apQBX1yqjtOQh2+TQaXkCutyuK
499O4/V7Pf/3Kf8vk2zXhV9BI4hEBAbaP0+yLVWGkRPoL2YVJtPa040/3OhONWoVRMAo/2VRtq0f
F2WsTwTl2S7ljS85E7b/08kIp3yCLhMlpD7Zw7DpPFpl6xld0HvV0d5f81h4wySKT0YVNPoGAhxt
6sk1YetFhH6hh+zU/K4RYkK6HVPwMj/CXstd3/CrYD0wATmQz40UOrIx9hV64aIbVp7GW6EEo7Eb
gMdwlya/FthUWzNUqOrY1MPeqKFv9/xjkta7qcvhm3YL+GG+ESSEWw1966FAUg7LTW6UFoJyMCzy
vZ1rbV2EQKO2bqDkv2jPYZyg21Dm6JrmTx79OtHrIsevCG5xCvsFPGLjuR4GX+X7ekDifFP4Wa2B
TFkdIUSuCqeLDhhUb4VDs/gUpMw64GSpLsQ75zFoCBlWM2k2rsw8gxmUfhJqYNgefrn3Azkyff0J
1WLR+q+sgZKeQtL65Lav4s4SdHOXsU3/mTXVaOjNyqQScOqSLlHbjCa6ulKc0rHrR6zP4FJEMW7C
asCx77B7IDIkcmsfpF+Y8wDJ1KLVzquuvoJymBn5jdhyrU09KCc81qXTui95VaIN3Dk+j9Yjq6pX
ow0La4hEq5LNB5kSjUUg68GEJIhdwy8RcdYEp+VH7fVM8OuMEuamK2c0yMS5SbUD3aCnR9Joqu4j
WuUS/e5U2KQV9DkWKNKO+QeI/LX3fTZShLTCNEjK1tGjk8qp2DRBY/U+QsBBLTzIvm/Jc6Q9Qkmb
Ez1X25tBNpOs1raPnWYXSdzU95NFgzs406t09RIFgvAOfqv+SNIWaS11OzYTJo6SPWrin0wDM/8d
RnWkhoRmgxod06Z11qFGqHYERC30pXYrR13sjqp/VXBd+lvpFiHJnJqq+oaVA+BmAoFpvGsGhyq5
Q6cKa0FMprwrbdOzF54BqTfm4AzmJm0KVBodnncm0V7dW1hz2ekWOwOdNBhzUFjqXjgu1qgWEw6G
KsEYhE1y4EEB0k6QUQ0MaXjtM5eM5gpDMKMEW/dgyGjVaX6GW4G0G4gLXxzpd+6zE09wLzSKHLnP
MLi3bPAsD6G7JFq9fqA6F95udtxIbSC7uNWrDJcbn/W3mi+g2tLgzOYaI0yM68iEoFOW8cVuLBS1
GiC5d5ATGauEKCS9t7LgN4KPin39TdZtWd/atsk6YI2RrQ+iB35Mt577CnqJxIzV465vQABh3rdJ
uiFL8pR6c5u/ouXkHd1kRumEn8IFAAsNLvDsDxXDPbXLmR0kK9fKEpeKxzJE/Cwk+H70EUmcz337
ChE4FhVzwGxovVs7rUzE+Ey74m4rrCSc7+ImZSY1Txljy8aPF4pBOpgFMYKdDB4G31OM1/IaQ47x
lQkVUWZkmXIjf/j98s5T7G/PHpZbz3IFjx5p+za7OfHTctuYFhJF3hZQm2rcBpH9RcGf+ZdV/cdO
0feDuMKUPEEUTxO1SNf+Jk2bRhu2iDQihk5jsZpKrHjFHL6403yS6XBv9dZzrcX595/sRz3c20H5
SJZQprUo7KyfDlqIVIFdDCLcytMdxTNZvsqnQJ2qhzQkVMUIgujw+0P++Kz834f0lrJBKsHK+OPn
DEFLl7h2ohvhRv0zjDQuD4zOkh6IJo37/+Jg0qKsMYVlizd13t9Oqp81+QgHEVzr1IU7d6qsJzyc
iElbM939/lCLLO6vTh+fa3kmo2QjLsDhbNrL5/77oWg4mIVi8IiwGU5pLwrqE98hPCPHEnthK+M9
/v6Iv/zyOKJjcSItgpW4Qn/amiF4SwY/L5ha+gqkg2mMH+12grej9ezcKmX3r0beheXq94f95W5Y
DusI01Gm61tMQH78oEM5APB1OWwNkWFjaakeRoMY0N8f5Z9Op8Nd59q+iTzQ/enKDKFJOdJuqBRq
j11XoIGbmPqrLgMU+iUMxd8f7h+uSuo2rFp0ii2Emj9dlVbmddmsuRHm1lG7INHOzRgr0kds19n8
/lC/nD/PYownBZrQ5Toxf7pQyG/PM2eEFd2Dqd4DnqFhhCrxvz0IVSPiUmXaUtAW/+kgKKVMCT0l
viFwhaaqM5qXEWXSv1wKv1yBdBUcsZwzclmWBeTHSyEwOlpnOd0H9tIbaOmHnrx49r1nk5QkZoHG
0+8/1a+/Jbr2Ni1Pm6erZGfx4/GcDoxXFSE9Kqrxg+v0H2y3eSbT8MPvD/Nrfc3nEg4njirb9rkK
fzxOhxe7NKNlLUb/uaUjAwekpJm5xKaPUXvTBwRrgmqEl3mjcAd+NEBAlfs0QyDz5Nd0jFdRTajh
iuJhuPz+zf3TOXAlBlxle5R/8qdzXlp1TW4659zRDSkjbsKDFY1oQpAAZtoxXv/3h5NUQBxLCNb+
ny6ktgf9J11W0JQtV3LMwAywtwETRb+HJ7/1L0+HX28Om0bTIvWm8LFZY34882Fi+4PrLTbOETQK
Nm2Cs/7bW4NpkMVyzRPBt2lu/XQRmUEXt+bSECE50lkRlf3QpOnn358165fPwW9GuBaKcwI42KX9
dJDQNOseMlfCTZ58LtvxdnTgeWSoiPBSN5FYLS7HGkumggvGqP0ZEsc5KYajSaTI79+LbXLOfngy
Le9FcUX7HjfpL5WFy6XRVYoxvdlCOTKT7dwMSBey4l0cerAfRwRUsLmtYpVMd3Nzrb1vRZ6umT7f
2AvJb0gwDYOs1EUCVWdcO15y//YW/19PP/8ndWIsfgt4TP4P3onD69fsU/Hlh17M8jf+nGtamCd8
Rdlt0kuQeA9ZgP4ca9riD9d2bFYlH7IPz0bu/z+7MVL+QQHJ/1KsxNKxPQqCP8eakn8QTANGCp4I
wjIt+d80Y366okiOgZqPaAf8Go0PIZ2fFgVyZDAguwgUIzrc9xEAc1+L9Ow18xEQdbHx3f6hqtIv
mUzViUd3cdvQFARuhOsQ79h5LLCMkRejzrQkGOil9WPtNRKzHeTf2czc7d9O7j/0Z366HXnDlLeS
M0DB4tLLXvpUPxRnMpUS4zOzuQ7mOLlB4K5kfIqE+WzVbG7YAabDIgqiK7weyVzcKl9CjNXwdBNX
ILcwNr9/S8vv6W935fKW8LksvTEfHwQ2i59WummufGZhbbRhmCRW0czIzfIOtcd0bi7utEyGDwYG
dCdiTsVI+J0hG+sWFtgz/ZPdlHjXWe+EY/cffNmfKrx3EA+Id8ii7NTmUqA+XJotjUND8D/X6T+c
Stv+5X0zcXR4BEv+szHm/HQqQfj0M+1mhpL2bpZNcdfrBMDJkpsqEFDhdXwSxtBtmHqQIijG7H5p
5hcEBe/kCPUq8DAWgEp5YnCeP/X2t0H6BGaz3WGGBtqmfa9jQKy/f9s0C3854VTJbDgUdwfPdS7d
H984nRxII5kt16B4IibwrnP+6yUsRHfQgzz89S2tYnE2lxdpBwBg3r6unTkAucKU768fNKZWnD2J
fd5mUrHO/G465YkznbAl6+9/evve25f4rsk7iWB+vf3I2//os/UomGrVhhNfq7Jp7qyWzOA4ufrL
y9u3ncykdzSUn6fBBIpmzvctA4/7biQJVYn8vjWadMWQsnP3Pn0kp2nak5vjl8+52O8h5eF0mcv4
Y2HVK9/rdx4he+/1HML5tifrVsR5fIynoN15/vDeYuJKEHFnA69N0lVRDHCa4/98bS4Bt0T6fKu7
t5BPo79t0fGsijmQ6zYkwXs9dT6i7VQdp8aozm3CFSI6gm9Bzdfnt++FqFqruJZHbUXDOZDmcH77
E4vdcC7J8j7aA2/OLBDdFVQnx6nDReX5KHm4wdvTlBB+GA6o+XNp28d0ebHR26pNE2aSVIDlG0ND
5qXIvJe6ZXxb5clCA1DQW5IpiU9vL65hCNpYgFHmNrJPIhXW314G1whPob5r66aFkogxleyiFycm
lNgwk+ajaT/FkWXQxZpHrBlDuX37NkGw684b6hdtYoVMnK9Jl5rrfu6K55nKZAsvytjQfSqeDUTg
m9nFAjovX/rk8aysdmgO5KxZ16BxzmC303Vj+zUhhUb7GLK+X6o2eUAs3j2+fSvPkR4DwQChs/yE
NTYAkhQdnRbpQ6Ln6SGwi+lhTNBIS/ZTh+/fI9HsLhzF+u2raPmxJOIDjCTJY5DlLzQZGgJooHgu
UyzAIuvPg5l1DxM7vwvt9O9fdZnTHR0dvDSeyUQ4DefylAVVeUJ2x7gONoUMObDb990VFKkgsm0m
RF64t8FirsoBtxOVwpeh2bHmLn+CVTCeowZ2PL3WDQGP6OQnXRO9PVdAfZc/hmjfkK+F+4R4wJyO
lz0fU3tkIlhOMZ6REG6XShBU+8tLgOv7lDZdu+7pypNkGRnHgaTeI75mLMpYoctEnkzQXSRTW+Gd
3YftTpBlw8w/c8NVUDdEJSGOJ5LGOrfIW4BGdOkJXOFNYWByiMPefchd/wywt723vGZl0S49Uno5
F34p4ZrQreBIx5x+YFK4l8l6Hq0Yf10q5G3YDHgl8vK187pkNyQFGukwCd+5BT4pSHvdBiyNdzL2
YGXEKXddFDzSABMp+uKkKZnLm7c/WtjZOVFRvg291oavmz0IcMDxVJF6Xvb1us3TdFdbiOAKNWDA
7WuMZgzjDnh0N6NrvQMIuk36Vn/APHMzSAg/mWe0JFPV7pnB6wJE4BZIwfjeEuqcriLfCW4L16Q1
Bo7+VAXDXV4IdU4UDVdLtNcuV8bedGRJweu7j34l7Tu8JhtkHMWtNw/TxuwQNUwYuC+a3DnkKWs0
4s5DNXrWw2RHu7I16jVz6/gwlWymokqcU9d/SLjXnolOKlgDhlu0GPk1YUVFMXBM52truwHM9miV
jCmVLM26YCZ/CLwl6FALG1AKzMxu2wxBbbeJEnsPsIEJSQlHVNvD2SNzYUHfkXFuVdMus/JXJxZf
Sfw2cd5XZwdPCjRf8sCQXW5It1y8erIi8MPur2VAvEwnnAOtyGiDKbSCRlemB3+eXoH+Wtd6rD74
pQSu0i5QBtkNh6gngAYZP3SFYULbCzV7VUTwD9aaDMB1acjiXpFDR7qXeDKXF26CFZdqRgwCCyGB
GMFLEIl1m8zuU8OKVGetJqDJvBuLRD+bOn2pDRVvHO03Kw2T+JITD38kD3g7tbK9VJBjL17acj0n
ighIYX+uNdTBymv8fZAxO4CF+lkYY39Le+jKrRE/vb0Uob0PQGzDETobWxVUNJ4rO7uors2AOI0O
RkFbvNR6mp8STx69Kd24For1jPQkNtbJJpqAz1EyEt80u9M1j2Mb6YbxYMzNziqEvpfjjtBo6xwU
vnlGmrKPeL6DPTU7ft/REF7KPiPKob/4SW3dBjZko1JM3iVPQOoS9j7Rx8RiUQatcbFGc2+o6PMc
cu0FbUaEZREcYoK/XgPmdY1jpmerCD400hFbU3jWCYV/RZLgtcSueT+AqKsBrR0jOZA8PM4oehdd
zi7rzfxGgE4dmQDWEpwYLYKTHRLelLmIW/rWjG7b5UVXIIWcKp63htB3GgUMKyWUjNg0DrUaSc10
SHAqfROPgsr0PpAEEWciip6WmJwgbLbk4Kh7rK6RXlvwlzdBFyVcsiCBADYay2catE+CHgF+G7Nq
9Dkru9fMtT9EGaIbLQsBBcZAIBeQkCoqiKK2c3Uy2B2VqNxDmeK6NJo2ekA28XkCrkYl4+iT3hV1
FRNAnzYnEHlmBTQ3adWnscUsZSe1j13EgafZ9e0+L3rEfXk27iLVX7teoa1w8CQaJUdxnMnbWXF/
tur5OZj6kGd7pcDoBXA7h9F6CCgm+i79kkZWfBk8tG1CazwZVMwED1g3lTTUCdPqvWt1BYmEBlvX
geZ4OXvf4tLorsFEYwStPtF+kYKcN+FEg+jDBCbc6ozS/Ib5I48XS+tTOqIenCGCbHNzCo85S/BM
WOtNXsfzRkeDYsKQgXuqu1c/DiHYNC8iQpSejP7acqTcst06y+rVtDGbIjUT6wh70skqm3MEU/NS
VY3a+H5Y4MUpYI6xMuVMNlcd851zxw1R5AFLEJeZX5cVrsgIz41wn7WXGSeMq+8QdiuMevqmrydQ
kwGUDCucVwbYH6SXsKwcFd+D1oPzAfa69DAtSWCXW69t70Yzao5jNuB5mLInZOfescfOAewwFDtC
z9uLT3hlWPukSbSqP0F1f8FGpbau7h9g2JDuKJCfdqI4RRPQmNALg20EB/QmU0OA3a2uxLov4Ckb
hdvSA7SNG8fvnQ094pbAgM+LJMQYqo86bN2TQ4TcTa9Rn0GjRklow4/yElU8+YF/1BEKyMhanJlq
/hYaQ3oiFDQl3EmRuZcOiEOQ7fEUD1auoyRACYVxq60e6rd7NvK21lT2h27AId5VPoKp5SYYkBpB
obm6VlWdjNjgEa7rV0m0Ho/qOFjPqN4oGAhcNOxjsdSM/XAqmBBDnyEAvRqi07KtbdIcfgYTkpMq
Lx6Tr+M8DnjLWRTX6RR458ZQh3TCgvBWVnRLbQH738sy1zwHNZks0xjER1zF91Th3i1WJAzdteHd
EbmzpBp/gnb22duR5Oneobrvd4AVCBDUSXEkXxO0WQ1lYzDd4TxYul24IU+6gVnV5cE584dmX0JH
PLUSZmVt5PDAlrXSkjCS65K10htn66S8AEN6k1nEy/T55a8XKwElRqQOITeQq91wqLamFcSkKlX4
uQILQ10HIkEOywjTd+Z9mOaAm5sIgZIxfmr1KJHWu0902OO9Y7YlVjN9nVAt3mO195UaHwoslGaB
wmM3jrC/k3l4QpyIbj+MUGFNE/jUprydwAltMgbxq4nW2nVU4iNx5PtaVd6uWtZfZEXtyon8jHzS
XF/wgzTnOL24Fbs5Ys26bZwSNgKIi2e3g+2/PgmtwqcGj05tifBZGPFrW1ruzkMvCMNIaTRP7fvK
N+DbaBKzCybQpqj4KGxOJfHrsNAJWc+t9rEkrXFKCF8sRX/ybC78mJx3jI7Nhwo82I41w8r65taK
jPxQJQlhpDyO8n5wLlMNT4CJsnN0HPfOJKH9MtYjgGTiZnZNy0MlBvM65fO7EPPotRcvtMC7d3/e
Y0Kq+6AVyTokY31bD0N8m7V+Dli9uOiG8LWsYCbaKfuY5x/s0WXO7ohPxC6eYHh3xzBJxa3yw4Rt
R03ps0REGyr82KP83Zl+Wp8inhT86p1uPUYjkcF64pLpnH7cu2XarC14+VvTzMuH2qqALYce3qOH
ua8mqk9RnIeU9Mcgy3tYO2N55+qzGr9K0c4f6T0eEzs8z71rfgg81CNdm7b7ujPErSwiDPVgpq6A
h4r1XOXtS0vGT2n45auCIXoKEwH+KEj7M2ZqvUZtTVI8IluErX1YXnDc1TU51zhWgmYgRWSpEVSH
4tdFau+EjXdmfHksmX0fUjN4rFWsd6nnDnQrcP8jwOy6TbxsBI1JQi/15DfPa6vjxAwZOpbXcsOM
aEkdt96jJ/IPyGx3RYALDS8P4G/j2UA6s5pCFlzQ8mePE3J10e2CehiMXYnYYeXpoeBXInedkt5B
lN0je96Y/k325EHxr1WTsyCnTNnZu29s+J5kQ2YnirFm1aexd4lVp7CgYDcuTDBRZQvZNaxbZzUj
YzqFjaYTUURIUxsaSIg83GfDBdg7K3kNm0JeQpe04CHo2XMixYVtWFibDO3AanBC+6Sj6hP8zOIp
dJtbmJYERpXxdG5ND75kZpBSIpxr5nP32LULihMm74Cg44B0vTz1do47qhbFRiIlXg/KzfZxd2RZ
sh5a16emzrztiOKWOIgxuB8NFWzI1ioPTBCjc9Tna+y+DVfgOOONk2oj8rZmtNOkZ+fj90s/tHN5
BV4hNoUTpeu0baK7hiy9Y0303GFCQL630ndt7lqgNLNvPZ7Lw9u9+CYmjISL26hpj34SP7ytgGUK
gDMus/BG2gDLhTXXAAWbfEPs6rMR4lOcDdWisQ/3hADghIsDExPpsh42tt5k2vtY2sMxAYx0CVpA
Tkjrj4NRhLd+gW4Uz8YRYXZ3aXszgGkLvRZSGMNueR26yjzW1ZdiAu0bgOED7fWtQVjxYIdYO5sJ
mX3dhNU+Tid3B6mwP6IYuWkCYvkMkuEPGiHRljneuDHbOt0gn37SBhlFeki909uLhel7mwYlKSgl
uJ8k8JK1VWMEzUGwb+NOguma0u6UOdLcJmlK7OzSyGk4uQGSODvNnrIinFsgbwSOuzpv1oJ0nouZ
ZPnFMY0Ll8UjpnEEL6GVPo7B0kkg0HvblENwKlNoOoII+1U+O/MGFDrXo52oSzpw8NCOT4UqjAti
2ugmd3UWraWh2zWSnwLIoQbkXj8i4CdQNmQnMCOw5hdFGFPro93TY/goqyY7IIy6ZHYY3uctaQFW
087bvLY/zUsIO37vz2hbdoWbFvd56pCpo4K9FRrJxpqD6rGux0PVhTgVDUAwnlNETx1O+lTN+emt
IAiUX/EUYFXBooMsO7vAN8tYYiGkhkkkdiwwPnnL3d3bw0rQFjsidrvag7TfBc6XaRnwaH+qPjh1
fkSC1ZzNjOZyMnSnptN4+Cv5gj/n01jisnQb5eKWH4J9BIV7Vyl/3ASGENsq6B9GEJRQVmB6jF6q
TxjsnxoAMQc4/thEnI41huy+4/XtbpkTdOxBMJUH4pHhMwDzZIykNiMZyd+XSqXKr23p3pIixoYl
FU+lrvMnV1kr8sYP2qCS/H5nVs2pDo36EjylFoy7Ip8uqYsl3BQwbjLk0fdEa+0sg5WYcjo+Vl7p
3E+Vs+qR23VlZt51bnS0Q5uuWVqS+uxI/mWrW/lGxQKjqB8WmBswAYk5oKMQ18WnnlYXz3/IymFl
CJwx1XhsWGq021/NGPa+nVyk4TCGKoZi50fK3r5BH5yUFrQ/lOZJv3tzlw/rzJn1yrEjfUrizId6
S6+kT4eA92awM1HtXehLYBBBik6isDmZOMwCHI+x9T5183UywQHru+R2MJvsVOiwP1extY5jX13K
qt7FhVbHbu6ikw//LLOS5hJHZn4yyYijZTFhESjtq2qe3579HVFbMwrBG9v0t0XtB9smM75SKLOR
DK7NSC9lbimbDRO49ixH7m2jbSjVF95E3pm37E3Zz6aPb8WdlBFWKTe0VtPA2uXj+cCpc4vOVB7y
JiUsSrXGafSTaI3HES9BVuitSb95oFjHeIVhXGKWsqB/kJKx4K/2qZ2+pk3vXzGVncqyn7Y1SX1b
lXAXmZUB82NpvaUN4rPcONFb/xgYqjqCyoGKC51hb1vmK6moH8qY3pffNN0xgfPilZWgBCSBtxon
/aQKxhFuka0S+A27pG6PXjW6p7Q1aFzN+fDkDyaLQjycR4x0TyVPt9jNnPVM0OS6LkRzH5k8ClEk
bXsvZwtQRls6eMNtg7diFcCew7lSEP5XsufGjt2fnQ5KaRGVZORUsb57e8GGp+8c/4XzBUe+h7Lt
WpE+28sG+W2X3KMSXlm9N4B1CgduuoELbQzmw+yn4cYIpXlyjNw+yMLd1u2oQG/gEQcQ/CgSm75D
DaRAAL1cteWM+6l1ZL6tDSzvUhAZh5CWkBHtibs0sUgEzWb7GMCSOgZmcE2Wp3yf449pANXv6Mys
KPOc27wZrNtQDONeM7eqiICEaI6pIrSoD2IV1rvvxZ0n3zEADjcCkw3RVm14NVW7jcdmvBh0PqPM
QkRIamvZFPFDOeXPbYmy723d0pG+rey5wWGlifTJVHhyouzZAva0oysXnnvq/BaOle8CbBGQCp2X
v4omM44KiODua7dguONcjy9mMz+SFJgVyAV7EfvbKQDWGlpWfwgdol4mVxak3QY06oRfIGxtlsAb
iM9sWByQpL0ISR1LenWqY7D9FtF0ibgqlTfbiJkTOZw2NwbXZePuwihPcMF1L+ic7z0i0c4z+GvW
adIi+k6Y53xk8+K0I9P+pQUsFelCE9HQNwLy2BmDWruzSk3CJPj7TrTmQyabb0RuyKMx1wVNhP2S
s9Un73oKUjpfIQ3S2qaLHsWPTg55kbwawjKkSwxOFGwYNZTHzlTA2QrhrUcQGKfEbGBVNTng3Y45
BfD+nXRgR4AXS3fhmBOGbmhm8IxgjhEUjR3K4IIn/Yp+u3GZRVntZrvpNgHtBmv07s2uMfemCLtD
wcOuN7tHR1XsPsJvRdA+GOxitvwr1rTqojyiS2JtU0fOO3wVzgkrublOVOI9zrK3N2ZGEyTO2uai
smPXV9VLFQWfeZ/eXkrCw0wPGbmXWrexWYOfluIumRrzuZld9+SO9Bj9glhdLDcbIUl2I/MWgjpi
0DwL3KMZmh/noAA4a8yHqHiazbo9+2N/VhhIzz1uVFqKooPZT48sncz7fAZ+PWNC7/FM7m3VeEyU
gOuGVsRFFKfBNiuub7VGr5uCPlYwX7Ht7eNxnDZpVpprpLwJVIq7MSKaujXILXwgRS9np4kT0+iX
OVgH9waAk+7/F0/ntSUnsnbbJ2IMXGBu00D6rCyjknTDkGu8CyAwT/9PsvY5F5sh9Va3qiohiFjf
WnMlgBAc7Zu7WM6xEemeZbzAH07iT2oOkX4OVqFTeL9lWr40WhrEVqvDh+PYtUbmAMUYLZtr6tDR
oDv0/2Vm4uN05xGAEwZ26CbUYoEoALp5WJhtpwTmtxlT9RDPa76z+0EL1VaTizrNWPb1BmkNesEe
x+BytyAiwdjCcOPUPRoJuC0Mu2Vy64f6bs12EBvSfhjxmG0djB21Dj2s89zdaIkwaT1uMxMvu9lW
aWjRwXPIfBz+xSzKbZdN+g5GEzSxeeLty4J0GLwa+opqiRZLYMJj/80f1PLauhMu64LuGPq0zOF9
wgy2qeQ8HCcyw/CJU3lIaHWECoJXmIJDxj/pd6xiOQZfpwiZ1tRni+rBPcm/ak9CzlvRLJz+4uI8
5iJcXCzUCeykDZsrEf6TddxtOpSKnWLZDRKFpDlaFTXJ65YwpeCO9rChpxSR2eHICf0c2/LVtmeP
lneT8LHMfxFuwTyt3HyPdgj6vnIMSKsFeJLSRfvM/NccWOrWhkqzaQSkc9z6JAIwdV+mftZ3yarq
O7j2Nq03J5tM67Wdt0y0qeSo4ZWIi2Ai9RRmTHAzlXkPLzPOoDKmspcfYnXcuX6Sh+U6AEsN/P7S
K0rK1PruRlMq24+M1JaT0RiSF/QYT5Tuks8szVC1MK4mIPUvU/21o5zqm7FkHgUgUE+wPx910MTb
XBIobShdhVi+Q9oHHM2+/1IOksFveiFyd1nKNfCKAXSj5vhTS2N918SqCDIX9TTNj6Lot/TS+Afd
UT9GgwNaXkWPnm3xGzEJVgTPezenb7XWNJeyLb1tN6m/ZlXIg4wAo63E7B1a0HTymw9y6PFeckME
DrjyMMffcc86G+6G+KdbhTgt0XBM6tjiSYvdYGqwktkkX/ecZv0dnHvKMWr2QUUzIKKzCYXYVY3H
FC7J0QCdS69efolp3LPcMjtlSftPn6x/qk4eJo0Wp7ryXnsOiaGM++VSx+bOGMQIslJa566XoaKb
8OyTHguHxn4pl1A31A20+Tf6nEpOKul40qdq2fEDHU90NOpH7Wb33d9ErwzSeP1Ml+AYwxZZNkK0
eSAdwnyiSvtDSpbIRct9qg5kIED8OxqrtBjPANaf/W8Qg2wf0wMFqARRCrjJ0KgmKeNAk/bRBOxL
+q51A4hjLtI/lWEMwSjfxsa1j8rip5woHrCEOe2A/sEjK0bYIoDRHnIAYRrjM9ggh/WvA8UuVkbV
+GIZ02Wy2QlpZBZcof/SWol2WstHgxq86ZDu92ZPlXDJHP1kFNRALXqaHZTXU+4VKdLWC53XVDao
Q1MlLpI0uCApSwh7pbKswLbpjXGr6Bwr7RG5QI7LOYlunErI79rTQrylyK89rEyrmbtz1iPGOqAz
V51qZ9E1HS7RJA+MM5EtdBQ+pe4Vk8STNs4A03mra7YPmmOk9iI2YUEyB6VvFIrPI/UoSh3cO36i
gl6M2D4T7qVoTFDkqjcOhnLKemVR/VBVVl5bEEdkEXndswpd9HFO76ZZ3V2rMamk8/9rhD1s2zld
M0FFzJrOqI00kTqTtkrZwdU1Kggp3Th21RX+1PepS/yLLbVPf7LbneOyDGYGK6AWdaeqbqZbJtNd
TEvqsbHrf72dMgsv+1UC7uzjcy+S4MWlwmk9eWSTgxDf6afsQ/fnO6Kb8cORIxBOMwLiWfkXWWXj
hZ++u8fcPoZkHCgai6NPURhsPJem3ixKtKelHOy9EJKNiKQt3EAILOcyv8yl0mkZHN/4S9pdP8za
3u1M/bQwUiVUUs9gTvLAcjn2lwk7+1gCNFi1GRln1tbLmwS+dcp34ALjq0mmqzYOSy+Xxxr+A8JJ
LrbRpCkYmXhgY88bsF3QuKcnb4ZnNz8SB2r0gqa187LaCove4XCbD91rGl15dbmXuGje0jTT3I3Z
ELnGC0Y9AvRNck+g8osMnj6jXBsewqOK9OB5ZiLEXm/reOTtbFIaPo5K3FLq1iqqLT+W0gjsGcGW
GbuCSqIe0i2tgxS0sJNdcV6eu5ZiEsE4pc45N2dAsmauH1J9XAtCSKgVVn5FtOseOCv8zWi6x1JY
0VteDuGcP7LY/hwkfKWcijLwg0V3TwCWNT1tdyaWXJqqWCozR6x3p+/QOeQ2FyrhJCMd7dWmc+My
qNoMyLw8iq7ViarM/naiSw1Mnp+FFhgPPojkMkKWuicGnbIL++GQ6al9T/MfKhbzJpPDb4gElN+Y
fXcqTaf+kcMQroZXAY/hQeWaI5rmlBcwHQjMm9gfMJxGqftdIMm9QN6S4qxidjEuMzlGNXX/Qtn0
QPs4fBL77iXCOkHm5Z0bUTiGhDSQyaPQY2y8ApdaVdytqCY8ljBOnwdvOflTlh3I3CNlRCwzSOTS
TaEnKcSBqaFsg/0l0AEz2uhDXd6LFGxQ17AzWnOAEA4bcZBda9xBzQ6biBairiAKhjB50epPx1Ll
MQIia89qOeh5EHnzSJFV8nOM6/ln1/O6sIy/Zp1qATEl80q6xrh6pn9SVKCDYZu164i2T3UKLe0F
JOZvdGgYW8YGAVgfGZbIih9K47DZxsNEXUVJg9dqyaHrAwaqqvSg7nUEhpz0+tLjh+mdnqjMVO4Z
JSSsihW+EWehV73mfopG9HmEGiAGUQJCKMvOi0Q157Rb6msJk2zmHYm7i2zN4aYDc5y6yL5OfoJU
vGQHwAvZK8DZbkvoyAlIRGWXpBPVqUvH/5Sej6+D5R/SBKBWPpgrLcmniUtr3uJkoZsDzAdtN1sL
EsE7IAh3rbtaTq4N8Q+w2PgnfApyLViyHRI86cXVSKU5NT1QKqVfch0vdbqrcNeA2ssM7VgZoDPj
hgotW6Hi5ICMwTF0ZWCiAW7cRY94j3Xt1h7oqtHitj4yox2PZaWor3friq9nraJZ5/q9enjpezMZ
4Ird4S+Np8ZbRTRx0+XqlUGff9dI8wE5bEqmN452zqHaXNxS3ZwJ76CBFrWJ6lmdvcLEnUKqUeyL
xe02BlOq26Tr6AFW+6j5tCMptbvL+48dtZXsosmRPyoAYOcUSHwzTNoLr1F6bJlTAkMj07lu+lhc
8s04lJiTmBDd5oJC6KdDbHwMk/RPljMYu9aFZKkr2jQzg0N9qgYzLDzkJhKgzabwuUEgE1UhLlwZ
eAhPgRwoglaycG7PkU7XVxqdMQxxe7s/lZSg3XGmrPG6xdqlpvc3cfGzdBy2S7fkxVo5ZfilhWPY
+29axd5lvWBkzA9UY12fN9fy5VxaCXKaaV1aWVM0kzCKtte3cFun6xtLa35QvWAdHbOsb9aoPqbJ
J1K7zM6JqilJnQCjgsnqr5AOOFgwOK+PPXBdukiZPTrWkLyRCStv/oBC4S5YOSdTeCfPbcAUFdLa
Km2QtPHZxbmG0Ty7nWLIQatPK+iEx72C8Z3nkQ4mP/TGtGHwOqq3vOsww7BLqTLI1LOxguRcb/ec
8IiKfySt8lAYkuKxVf7Qxqxf7xH6kc1C3GYfi5tTJyg6vCFvhRh3c4/jsGWkeEkbejRMTdP3UU1R
rMZBttN0D3AdaWizGJ0rpxB6CVP93NnGb6vod9ZUcFKM6upYJvSYJ2NH9fNgn3wtz4IkWorD5HuX
sdU6WHTddLSr1ArgD/Gz0I0EDSVxPqUbvy1iKAMdSSUsUrphzNkNal98jJVG3aqiHMzvzb8xwgbV
FHRkPfVkaa2R1VzXg9Fzta1r6SUdZ9Z8Kx1ipEMa9/ssa1+8brKPCBndoWcx3RbD6J+6srt4draQ
hK3fG4SUIm7tM4LMOk4vOdlQZKLl0aNZDHVBED9DesnPo/Lzs6e3xNQrsVy7OQdKUeaPyPLOFV5J
CnqGYMyshzF5nyPOjU9a/qC1Yd9g3O+wiFBEtZGZKQM7m0r0MOhMM50QZH+rV7MijctHA6GbBq8X
Rhd96BeTHdrc/WesCnwVg3203Y59S0dz4li39V7ktJ3Yftvzs4q/Dw4HJbcXUJjKOrCcJoQzcKpQ
M68CNFXIsL8+Gi5MjdbBxtJ8alOVsSdI6lvWvulqyl+JPR0WhFJ4qQBYIreIA5PlKDQYqPMpnO0I
qmc/u8vBbxnwit4cd8970R9ySnVFxZtq3WA70djsrDw1T30/hqNmJF+SOROycg+6itWUvzxIJgxn
lSbb0HSYvy/2TVnGy1A7+SVa2H3D38vxJDk73rYCvYd3QksqY31nQC23dtOi6Fl0i7O9uupMUw2h
VrVmMCd8hkCK/ZuTy2+4vPWv46c1DDoDax4gmtFoSVr3cD4i/6E1R2ZlB2785FJ3KsxiF4+14hXG
wLzb08VaMOFHHKb6xIvrM5Wn/tcWUAh0o3JYqUBLt60N4/bUYMGJqh1jHQf7ygJufr3bsgIjRNY8
oAZBH//+PAJ2Nt+ro3IavOHCbHzJKNGNm88pmmiWSZKXuVsN4Aws2cGJtx5qM60nxLezAk8evaeH
SdNfczeybilkrFUpBglyFrR4bJzUMTgpEXG2tMF4DBwhMyZ8K/G+BvBXgwGVEB+8VUuUbBNCK+X1
M/foujkEzkZv/5PcTlutGRid00MVFDWQpdqZLwS6MZxk+UuDlH1XiQYGhr0geMe/7Cni2/PCXMPb
C40f0LbtIjecK0+7YpdqL3KAR+hscB+INzZegehm/2WsjdA0WrWHEb1CyLFJOCJKzx3t1i8Aomg3
wp0X6lqFi3kdqWbcz+d4LQudGzxQ87odcFx8GVmheDaa1e6HZ9HJk8fk03cbIcQZRYGBjffsT2Rl
bHzztnSb6KWtzb+iY6/ee3BVW6TWjddF7a3MaFb2bPVLFAphgoKGE1bCCLaizGGzQbPU0suSV3QB
iehTSyzzys7X3UwA+yO8ugHot2Q36wO6CMv/VugNfiVCaYjSwBwWYeEtz1ftmGMDZPPmVJSuEVqA
s1LA1Wf+eBV2bvVn0Zm7TeulNQu2cvWAzzIPCykGzDW6fxRGSaGaDoupSLLoMCT69GLWeJu9nAaj
6REtdnRGaJqoWTa1Ld1N9oGpoH4bUp7Gp+Zk0jB01IzKD+jJ+G/Smr8xSuPew3KxTwbDuRRTZoPJ
apvV8dqfRFq/daZruJvZmv6SZkwojI7QzuaeuUPpuTZVX/a44/wRn5f1kq5eL61tXg2OmBjwF8ps
zTT+LNEJPFXd8OdRVJqSH1i8YQ56ZNcj2Lbl4Wb7xSdFG9u29znbc8Jgq+6C70Xniit8XKOKnast
WRzM9TJQNkmpg5+8Zyvaqo8jPWzNlXNMbv/+vGhgLU4AXO5x4yb3pHYGdmTVeHgaF1Ok0Y1tj/4R
54gM4Bwgf6zraCoNRKWWQUqhPPzOQl9A6K4/Qc8et2YqMWBXM/5Au35YULLohn1LBFvzlYJtCvsm
nCE59AOE2hSxwdBAEZJn5cjYW8nZlkO/WQzLD4kr9gcNaQTg2oh1gj68YXHLMNYZtk9SoO3Q0cX0
bApnSOdwkPp9U7Tmz4Kyi1R60QGMRHmgvYU2adW6n8P8idHut9amAkeOaT8IWzOolIO716FJXIse
5/I8NXxdcML2vOY/OguHRsVIZs8E2gmVbYYmxi4sfcJ+lNQNIBlPoSi1MlTAbfblVM2npUX7NpqS
4IjfMppvIVArVseXXLD5zCtco9NY5eGEfn5YUBtYiPzqQiIAucRf6KUSznhVhngMcfFWLLFx7Fc2
OktxHWYY5jC2gNWr+9G46yMNvxHTnMUVd0eUdEUb4Fc1Cqo2UkoMYcozg8UGCJL+dGyrPmboeJui
fWeXaYR4efJwoD0XvxZehmGR7pGyo4Vn1iCpaurRbWhHbDo0mZ/FbP+wuT0/kHSTYM77jR7pMEmi
Kb8sIi/2E6Up+2HKxj+N8NwL+BP6upnL0Jan/o0pZO9W+DvGXCCJRT5d2UnsMjpkk80g9s9zdwvz
5drO83QqOvGryRXg38h2ftCMQvlo1uKyEtGL6Vch7aa/3IotpQGW+UjL2Z1p5/xaLPSU11V96Abe
w5Gdjm99LP5bNNd6szEi4SSw/wNJF0GlvtT0Ve1r03nrV0S5WtWlzDPv/rUonGQfc4SDZcvyXCRO
RKbnn9d5PM36nhvIv8OmoQjSY2dTAzbB7wPoUZc6NHB07j1r5aZPNefdW6DVC24OvOR9cSJJowKk
HjcwNSmwos+/GR4sGCo0lpUJx4bhT97BzLA4rmYwuy0Oip2Dmbf1jVK6sHM0pHc5VcfM84xtPq2U
+ojpIQgUfcc7HPhmudZGtNF87OLlZTLt6e5gX9piCXZDzj5UJLS58aphZGt5ryYcN0zMuz+GdnVv
gk69976mPdJ6eLdKQfMiqnuYxJUb1kVYc9Cmf72aP0DRSG7VZTktSYPA6kUPcl0f+QJEm96Lcgev
znkdSxQWzkzvE7uJc2ICUu7mCEh/pN/WQrPt04JT4KO6QRq1P5gUinOVshPN+vnG/zjzeONHNFLe
oEpNHZ/G9bmXZ7Gw8y7nHs4oJ/b+6zCqnG68OO/KrstLwqH9onqGh9RlLztiA8bFmlS7j1NVH58L
v+GyNDPKvgwJlpzJq2+pB1EcTo4HP3rGckDb4M7nZ0iceb1Ru4XsCNPZU+zYJqQTJHd91KOgjMk6
1My7z19nL48lgzZlsWGCGe2yXOMznQz77o90T/B3ZBx2beeQVuoeydG7lEbehdosnY1Hecfe1mNO
5wKY5fMknFJmgqbywSdUn8vePEh7FGwAMp2eV97CinKM/ZKv4mw++HfH0sC6xngiKlISRYbgDptt
2sics5LvGdfnBcueC53fQSembWGim2ZKz5jOsNlM46nlcLTY/gG8YHvHX5BsgfP/bO1Ue63y+L2a
KRPWVNcdNI+1YOzxoiW6+YGPnC5sBwYSOsk+Mz3tnXG8zg5z4Fvo1S4rbK/cl/20nytRHyur+y2m
OX+1O2oK/KHSd+7iKlYMeKNyvVSx1+5UsjTHEhITm/D47ev1W96fBmRADPL8JZIaDK60eFBvJgnZ
vVtQW24MbKxjbak3XYcheBT0Iz0nNvoS3yypR6fKa40zbvJj2oNk17VY7nE/iVNfKHGaKYA4mPEe
QGFor560HofY81g51nmYpljSY8sraVTlV1WbV4dqBB00NCZGmalFT6mG5jNiNx/ked+in7KvXdTR
l768+E76bdY1L9RIx2O50GgBFGgpsh36a79eIA6Y51V2a+L+3wxUK7DmAVPB/7/E0HDPeWylgZtS
afrUGWS+NO3XL5+/xyoxboSVPmatKXY2poWX1IjlPSfM0njVfHP6ZscpjtbRsfvp6L9VbqS/Rkfa
Z7Op9Y3bomtYTsvJPxo/m7jFJjQ0TNKZJ9dLfv46seWqrc5lw7fVTKymrD7YaiSuaFO5zskBH3aC
18ps1lNU08iBCKsvypzFGpOGJjjrs2q5O3dspoNXJOoKEjLajG1PG7jIGfhZOFvSofgojK56KTIY
SwMjif9lXtgmRJ+z/44fxWmd6CDUHCamss7ZeiGJA+fLGwV9FzKjvBh9lhLD+jivZtQUHEaAGe+v
oSFOUIy9NyOTQ3DS/WgyZPOE0ebGIkShV80lzdjPPF0VqzymO4N1Vr4RwLcaPthcAPk3p++knzZZ
Kd/dGT0q0ZPqZU7L7m7ZmNnGHVbx/NaUkf4ydo3xQk3PTkA33Hae6bKFmrKbFXtUNq+/ojQJ9X20
vKM3XF3LbR9JlM9X24nCfI55dFFqXD5rfLKagO+1Vhl6NW9czWc+Q8by0mmaQdaTi4hH3j869UEa
y0xji/w0uYY48pDykjWoP+HAdONIToMFtU+2SSsMM+h4a1mJvFZj9xFz4JuziaipQgbXMIRocZ//
7qkfYLoX0B/cvQwkmM+pNfwZfJ6r1GwYzgMQVouLZVkZfsD9l9yGok1u5uReiiZ+VYOWHgs0i7ex
iNPzqI3A2rK1iAwYN9IvmdiuwNjX6E68t9ZV1OrZ0kk/3w0ejsBk3b3aC9S3UvNuTbTEV0ovtODL
u6ZXJKkc36XLZvSb3y7DC69s4kNDYm6brjqe5Se/pTUvYVri1s9V9Vpm+oBtvqOwWiVHI03aTS0s
vART2OW1AKnJONXLGAM0hUbFR55OB0LE/kth05xO/yWuPlkfWwM+jJOJ6oLNO1zN7G8pKATN9byH
kRO5fmqsfZTpp6mglquoco4Pmoz2bkJ39jPctHjJ+IK7mEdiI2IpmXFq3WtfJeVpLPVmU7VDFxia
arfP44lBFcoebmdJDi8R16LR4kticVOw27i6ccz7ZWKLwK7r8DTzCASTjdOWMb5XByuOo5brWMb/
ZuIxHLm98oX5s7b/eqkJnwFPV0QE+tBW3+LmbuMD2vimNQAA9HiisZilhiteCAZDgibxVbSD9dZJ
KtdmshOOo6xLb+HjpcYFl+5HThIlNPLSu9ie8oiHni0ltTMzEOOit6zwZL4OrsupXGUXYwb6zPDJ
DjTGu+RN5qvwnPyeMw09cGD63RQmE3B/nImar5Gu1CCEuRbJYRYY37usY+p/5sDQcJxHWXnGuxrP
O0SxxjKHYEejyliHE+FG/jXOvy0SMOOh1VOj3ohV4aROp+siG0KReRxkTGXPGaaEs7KbmLXf97el
LiOffmKzPw+c+4hTGqeYMCJD+bb7FhdlfO66tfENJ4Hd9nPHFBUzBt5RalLbpr96zdJfo/UiG9zN
Iofrh6ilaNnpBbbnrsn3sx3tbFFD+F4v5nrJjYXQ28SUaSPq9MNVDs7iwfbJ0xY0k1EZlyTzvxoh
EwYDlTSLn/JFrOwFMozzljnY97QU7otrF86eTZ7P2TpBAq3jd7sz6xPHXo4oGN72zvNWXbVmryyC
ajG7TYKotOuTdeMXx9RVefZCv7yhBxihtWufOWJvLWbYirTZz4b7IdqxJBSrvyFKT9vZxcnDnRNp
3sx2Qjt2Jeg+2ygTzHgouH7sGo+pY7nx53E59KlnbOzZUFs9tfZ123TMwztqD01OfKtvBOLnR5/l
w17Ei/5AT7zEZn94pi/JhkKRZci+HWG7n7gD+ONDrf0sdJMEnbkQBWBVW6sJSRG9FNQJJap56SEo
Lx1I7mTdlDpyCz1YbMvazo6aqD4A8/VHpMn2QFp9PsMB3FjkN19FIl+1kRnf02tayd45Yn4YX6U1
HujYPRuEVPAhanTllGbwtRYlf+AG9S/EE/50oIvOiHLxVrcVXR8JkfMi7X5EjfYwmY9+y3X3Fy8e
F9p/e+8wF8My1On2dvVX9AFq4xYSLwPZvRFTE4tEPwcFG7hrupBr5v2xHMs8Wzc3iIoo6n8maQaJ
1h2TttNCHED2nuQR9GU7enVZ1wziVuYsSbZO+kaFSh8iktA98bzVTvbU3frMqkNP1AMDM/G96rMS
O8LAekHIfY8wQsAUD+shHsE1guOfKdvjNfz81PJcyV3ud3bYZ9TizNBYVeIT4nC0AuFCvRdTTcRz
yF+wIhONq6d4J8zKOkQseVueuuUH2KFL4hjaN34UdfC8d5b+rC9ehOSb2zuPIcAkq//w7DZBb7n4
S1vEvMVRlyXVDl5NaTHK3p/Ugs3UiJktdt5Ft1nZ1XYYsZvoRZce2UyG/NDdDY7EPoi70nsMeLwn
9pgjEjSHbblsoKMnb0PikJbGO5P7NaMkJeVrPdZ/swiPdz9htSrNnWNU6p2mlRFHGyKcMJwB+wRn
RriKVL3IrH+Z1xX4yxWE0fxPUVmYNGuTKbruonEn7n/G0BX73gITqsZxDBKCvIRcmh8MFio6jst6
D8Q6CaopqcKZwO/WGuz5pI/5b00rSsJ1CRxQemVfBuKrdPjUNxs3O6UMtnaxJOk/eJWsuiPFRksE
C6MbamxjsqQtycIb5eToX2VBCLX1eLm3KtoM2dZtXR5s6XS0wVf9pkmK/uLOPNnaROAoZ5AVxmrU
Dt1qDpRNprGJqJKT3jCUIvfoIeG85yI2b0xFvuf4cKGjpyH7XMyDK3PhSV9YYl4QeBBv8WIML5yd
N88XuARwSQdnSZ1Z2pD/dEjFEpO4WkY+bTpMJhSIWulOxFBUT8A7q1eCz2Kful1yatcVd/DGc1Z6
FNmswSGfLoTr/OJFkhGElmZn38nSw5SOZ69RhGfzVu5T6A5wkTg9FlgpqKPzWSlc7ApRkstVFmNX
2pfDXgfatH3O4J4XE/QfecxxnY/+a8fGfvVn33qtuvxjJYk1s8Mov1evZjLewUpyeKyg/H+FmkSX
8yxpNh1VukfhLArYpo76aSeQym1pau+0m3Xv89rNWdMWV9opo3M3Cyy2bZfcwPLd6EBW0xkeSVfo
33SvE+HoKqJnqOI3zfXR1mrtzWvS7vRUT3VTq3aaNdXb1Pg30ELFUGz8rmH23VmR3DRyHZmwSOxj
8o2IM71uhrmh33SXsJ7RsSPh5Hj1scViO1IPVWgEh3B86GEU6b8q9RgJHN0rxynvYykcwMwMNnld
7LMB5+1QjvZJtHVW8X0yK25yKkc1JLPr81I7/v9+ZQgeViL9l6LvdfL1fIZdYeAq4XeG6FUwlZhv
Mnvoz2hSaMOZrt7Axqa3QdY/iIjwWvtrgvvfdDb/RsaWyUpMUnDObF4wAgdaTe7A89i2w2zFxdK5
hCdHr3tttA6cqvxLW0l8rXg7XbMGezoHlA39Zf2rYNy1m2woJDzCZCjXBcYizQj3fPfUXfVFN+8u
I75ZohL0edbuauXUn1TK75aadBBBRLb7joMTt8TOf3leEIH/9ytUMoJEPEj2qvM+98YpM/Stmbt4
pjmQH/GHfIimnk7RXPx9TmqE2f+lVNUOnvNZtQ5pU9PBNpQxP0MYfCTAeI7WKIm9rkeJpeicrYzy
OhzW2jE5c0T13OJ347Tfc22tM17ZHelMoVLNU3hY4/t3U2NRsBPMOKN/fX7fTyfY8+JJ1+AtxdcG
mfjmY/6LS7PcF6tYJXoCuaJBoNBh+erT6H76mTxENmqxVff2eRQEIHq6vtgDbYiM0Hkwj1YA6xjP
2NNM6fLlgAyJu3sHKtWJgdX0Mz9zv3dfaEz/A9eev8wQGIkgD9d+AzQEIfhWRDRJd+Rk2fetk9fS
fn16MvEj/r8VWfkL0Uus4cI0mwOhLQZRpXMZYliQjd78WnzKO9speuimd/E5bwdZr2fH0gV+5Hd6
KHIsYeTIeGEiL/g26SiGt4xshvTV9d6XyTB+EHFnhA2fIAfLHUo7/hN1WbJ38P/s4s5s3yT7un3M
YBfAQ4aLDQIyG2lmUV/ffmcPIaYjHBV9/6dkNNCwk7WiZXyDqoQJAVDjgzR/foq9Rgb/Mw+sw3xd
HQlefTyji57NRiX2ZqpH+somms7ecnZ8ukbimq2vmo/PvC0wisMMdZkQKYtvNydnp9Ae8zoe0tJm
OMrVvesUzHuGOFEBaI+cAUEFGQwLFAtIBNq/XunkLttwFjsMOKZ+fo67n1Padboucg5nLlPq9aLm
Hd7L5pSSCsDiEj0IW6qL5RdXnHtksfBvblp7zIOlIa5qjaXL2y8NPKNw3hdaB0NuG3Iraxia4JJx
KPGIrUfmiQ2WpOrk1o/JtWlh8vEnvJUkg690o+tIiFJO22LyWM75ko4Wg6UTBG2cQZ1CC7fd++xp
t+dDXUNr2sx0RR4yunoOAIqXsOp/CvrkTjlMzJAqOBuQitJARHjjPbKm/124War92M9YBYE/uHoL
1qTwqXBme7KH0+JfnmnyPHd1hYmI3/MC3AL95szYNNEnwb4fqmzbb7qJuQxFIhQ4KzdPjAwN6u5t
XC+D9xaZsvxCVvRYFNazZoL3390bZKDOT1eIpX8DGEYbKzZORIkPrRHf+IK8A2sPciz/gfPzV66L
78WsczDv61j1eXGf6fICt7ruVScPdirerTV+O7JutVlqhsh1zul50RMLg4k1vwKuQ/Beh6Bw6n6N
Q4fqobFx3hiGPQZVRoBujUwalG2Us97vJKY6rAtMwNUcvff4Gi/Ux2Ynl1D61+9QNYOsAUA/g/T4
EGog9F/jbnW7ygwqAm/bqNOtqz4K92g7xsnUkAtGx//r+AvJBjqmDplt/WSgbH1GmtlucwqBdpgb
/z1Hom3V31qvm4+9QW2pWxVwmddRae48CLERYEICcgamAoUGMomi+7vwe3/vAJIN6NjpAyzdxQ6E
Wrx3quxH0gDLI5HG+DmK/QB+/G3i07sMEQ27xNNSCq6pkWZWIVgzwhTP/RY9nJh6Rs2gqRWISin9
hVpZvWUD9lIzKX67q+s6ogyH8Flz6+woyLlXN8xi3lOdgc1zNajbnttb74fNQJ05nDN75fdzdHn+
v/z3DOr8OGpBHoeAZtcdcAm1EJXDvMuSAgqyLPaqoXNpZvh7HROjDIRBMCUWy/hQVv0uMPw0md1c
c6tN9l5HUTwvUfNe55fR+022m4inK76TQ7vrEw7JXPnzz+HAE0ncw8LZYFrTUeU8MF5itTt9uhf4
gK/UIrGI6HoBdUc6p6eDCuMH++1Vqgci4aLgsH1w/o+5M1uOW8my7K+U5TvSADgcg1lnmVXME4MM
zuILjBIlOOZ5/PpegPLmzcruaqt66xdcBkLklRiAw885e6+dKBxa0jY3cn5UufoeunTGkKLl/eI4
s86xyI3+obIn+gPWwLxN73Q4KYl+5xpMNueQ3SweacA7wTbw7feExgxJkLiqsS/OEnc7guFgJPcS
dQgAafexsWlp+J7drSyht4dFoloP44fT1h6ZhwPxqbEwD1pt7K06HY9xnxIblVVyF0maw4TlfpRM
g/tG1q9jSvHgM4M+FH6BAnxSa9qkwdExCaxe6FVI0MJdEfMZpD184pWTprPVs71MM3WrcQe1aYe4
gzvC2DYhq3HtBXnP/YN8ipkb/DVh/NClVZ1pKrW7RGMAquXFT3qy3sbRuemi0I/3QJ8+6B+JlVPz
1ERw0m8ndJXAIdZ9NFJe5xii6onNPQBTULfTZnCs19p7o2PXIGauDxXhYkgiB+c8zoflpYjZ9w2g
1dcuPq6jB0EDzlBk3MAkGLeqItvFQU4XaVKn0xB4T+Rzzbs4eWl7eU9OtHeLzca75VR6nk+Z5Hkk
talJE7fULdAjAxAnut01t0FOgV1T5aO3Miu4OVxFMsAjM46xs0+Q/mMESpODPtK8HCd4TXsnE8m+
7dj0k/QJD2I2vY0Zn1CWTtlhIEWXeyqrV+Hs+kaZ9zaMDLRKNAcrfRzOTut1a1m1u3FeGwj6cfGa
oL00qX5XeupjzSnI7/bBu44DkkKnDHZi1lYvcrnGyFfpFKenRS9fOBYCRoQ/oWWHzIxHfmmtflnk
40PAJlPZHlJ/leyWUhJRcUTwQ03Pq7EecewSpx4C3GKqFV30obpghNnYRTG+63n0PGOvz7hr1nqB
ABmJI9IKiHq+x1zDGKIdwd7GVavHdOcVjL1bUezHyCHYx/eqm++nLEuY6sLmkenrGpep9wgpaBuW
mJfUw2KvL2p93KF//BagwcciwIGu7bwoz9vGtNflugrvg9bSHzUTnwFBXPC2dIJdua7pNBCgcDXo
tBYovXiG9+Y5owG1XpTbgY1J2BkN8/p7R0Ov7F21+uyKsXA+RPsmcNx3U4u3A2F/V/A7d4n/kxED
UyB/wraoq+dMt1ZONfZnEzkHbRgXLtMAbYsYAf3ACnBuY9Hfo2OJaazmPhMhhwB2Tw33JBQeK8nI
c5GK8vt9DCYV7Iu4vzYk1qzKFOf1svn2JHwUJysgx80OcqWN2zyvDILtAofSMDNvFvPwohcljJPe
ZFyv4QhihLKTRK8c/JAVkXVO27Z3XSKjI+HeI3ZJZT8P8b095fj6zLR+0TW9OQ4MQtGgTvWLi0qY
yFTwXbYnqxcCRD4cnaeeKGS1yN/XwjXAio08suNaXeI0XwmE+sjA62oTeIgdLIzmm8GjcSllX25x
/RIb3dXZAdwaGFTERXReGBd6kPHgG18aNyPADe9VOvu8rEJHkhknDg/w8IHQQLVPEo9x19BIFKfR
I9JqiFeFEsxf7XZHmcaMsU4PnVfIc8r+DBmEaaP9UMXVLEtctEkcPYwiw5JgilmDrO3ZI9Blxf4J
+mgdGUkKbdLS10nD7ag3GhwBM8flk0Do5kJ4GLgZboMNhhR+ZLtdOgwYGNESmiV2gDw8RDXzltqZ
18PYV2uHduvIJAKJsf3JlAmzSYq+mfxYxzhj2SDG2IjpS7ihtbZRaG+Gea1YDvz9ggsbVhrhhdLY
b02XkfkoYSD1fcYohkJvW8+rcupGNS48t6DjOPVc5o3lb7NWw67HsDZIsSE0hb2yMQKflQy9U++9
5QyKr8tB1fo3CAqYRLmRz2DktX0FIjQepX3XzbQFkiwBSodUrURDs5sa6T7qhI7gncxnWYExVg/0
4695WpXXeu79ugqwLKkG8wLHdHXqEfzR9O+u/sck3fxm6bI98rBfAYj5MH3X2Lkm6gZhx8Mlon67
GF4E/k7lAJ1EZNyL4jakFltpiLWvNIg2eVK/QwajrY4HmKiXNkOLUs78Iz98QRzSMhppWwJ9xM9g
LFq2QGmO9YUDIMQ4YqO17PaWg9D04VANHQUzUqUZT1AuQ3E74o4t65S+ZZbehj65n2SVXwy+ui2n
Qsf/YZqz/MAMXgvCJPeLtrsEXnYONLa6XRoc/xxdcEmcCg8FVjJGb6AigM/Rur+GdbRfNs/6DNIY
PAScAlwP+PStRFK0QfXo8NkbwyO5xQ110ffOSQ6+KoxvsRBfflP8ymIScgojuKsHhHiIWMf3BBwI
zkL2LFp/h+Qv2SStwy5wRCWjlQPjliDN1xJO1Xtax4xlG32v2Pxv2DVE98ag7wNRicdEF+IRE5S3
0diQ0soZPLB89AJr+lx6Zs8YImY42dwpleVUHc2SFIxmSoeNrqv20IdYGLhAvCcs3P1NyHFd/H6V
ek+xhYdapLiy9Wp+GRcCaTB37fINU+a5134s7pY3lcHkJ9XLz4gQO5CAqGe9VKEab3J3RoYNM9lo
IrsvT8x7slw+yeXoOsQODI7+/qXvQjnz6EguJ4l/SPdmWHzzY989RTDoT47KvBNMiGZVerG+N3AQ
7cuUreCIWqh3KJtdcii3PVO1lS3ImZtSJQ70+q2+j68aGtVrUzuENimd3YTmVNCGIl2nwfvH275u
vMs2NA7W5BIzk6skuWYhtVSuI6BbfsJyLgjtUV/FMz4vdc12w0ONzDEDaAbOrQElbJmDlEKXeVle
L4coKe6FstpDrBffxwVIF5oEdWHDR51mPbZs52hFwfZbrvp+rozb+VDNgXieGyCba4gZKuXdUpHI
wqMsIZXg9+F3lZIYzW+O9v+I0/5fQdghnf/Ii7FCT9b8+zOUjDz9X/MP/vPkDEP/89Vd+KPK6/xX
869/6j99U/3vy9vBz3zOhv5PL7YZe43x1v6EZfOTtk7zz7T1/+6b//Zz+Sn4wX7+7S8/8jZr5p8W
hHn2z2x2UNL/YGT/HxnV//ErUJ9ZWDef//o9v2nujvVX1xGmYTkzgNqzXZJ/fsPcbf2vxNqRtkfv
cs6G1sG8/53lLlwI8GTuEXxiW4aN2ecfLHfT+6twHCJ7OGk5nuX9jyKqCb2Ge/1nPIA2/8WQRNgL
5P2fAmtipqlkUzMBRJDl/tRb5tnggnq6F2bFprdaZ3YdhvfEKynuQ700U3b+hFeDaLsRXdXSalJg
4Ywvok7j6tNrirZ7QS3ekixdB/PMTzNbRMqWz4Z2A7TOQkzthROSC48OsxWyn8AD8xq1RkOOhY9a
cdXJUdjr3rJL/9hGGYDJxJIUppEifHPjG20B0tVlYnZsU1KF72SoS/w+vV5GAl94kysgr1SmI5Q/
X/+m90PZbbxyJP6kUhOKcTeWbvI8GYnDpJTCl/uzz93xFPb5CDVOOl75wD6hqXZ60NJTRliYsqkv
zTF5LpR0yc3C9Do9JKVjFIzh4YFfXIwoD5otZk+3VfpwdUsX5XpURxma7NHU3piElgWlk0FUcOZM
rbfV4knzHjuV0tTNnbpMNobrTvV7GhY9ycgJ8LWfkz7U1q0VQkyzvMyguKWVqI6xsiWsZj2K8lMk
fDrKk9RSDbze4LF5K8jx2mdOOdjbaHJDsCyewhbToif2Loljp+U5qrOEZ3pUTuax9fDnoqTFuXKg
+xX1SOLJHmhWRiywJFl1gAl9xTez3Rvjris2EdBbsR6IACrQgQ9T+erlul6vR7OmR7wySF0kRHxU
VGi6Yw3OTlPAkN8sb8iGI0t5R6APocKxd8ciWYUvXTyRDOoAGCk3jKdksepRllevLbqv4t1GQO9t
ulpnZ8QnEPVnD3a+PPd9PTmbQBDZxkxfa+09sljbv4vCzKLD51D37kt+Xf1RVU6GUrfEGvIzQq6O
cMFo0nAbJWOIRNKmt3VXwbG0n2ws/y+5VbjmT0EmVXJopY7Mi5DCMuVfUaJAc+ktORd3CsIatHrM
tqgFDj3coXYcbVQXIYTVMpKdusEoHGkGCQ/gFTb+oEACXlWTQHg+d3YY2Y3Oy8AIEmVPlYL/SmlE
TNeWrnL0g440T8DUMYc3NtCNvYriEsxv3IaobQNbIVcoImAurxExST6CTw1zbzHFmNBwrDjdHuGT
B9rbMXtux8YwShhvbIQko5Y+m5I9BuWq2DalA4bNzl3ojqEJqu1da6LaPyZJUdcXpamu+4a4p2nv
4sbWaX3rbUllQ1dGsxn0C5A2jiLnejsYY6vtiXQpABqXbSf7vVMPRr11bVJcaSbo1i8GFXW65jZp
FDO+KW+4kspG0DxvwhR/DULFNdqncrhpmUGr0h3nzG0P2D2MR80x6TukUwMKqpde8GQ1OjU5FDyU
x2zUuk/bcPRjjLUZO1VK6ZhIu2y21sD2c+XG1MuEXiYkLbtZix+E/TUwTDWVAgAxsAZWFy/nX5ug
VRcnMPPVdOzQfhQfNRnMYCJMExFggdTTvY5OF5AAOTToVqgOtPgNF2/LqNGvkugOl4CRbGXXk7Zi
+/N8SKmiZ0cfax37U2ImsqsO0g46xaSkz2YY1R4GCyNwUnnMaA0xygilVGv28gVsSYZR2OUnp8HK
hACVxOVzPFhBeED7OYpnva8YdfHj+15bYVrzUdj7vm08JCGsrRsN8ALLaKpo4uu4JH0+dI2VbSJ4
3r6aRVMoxr5TmFH1e0l60kH3qmMn7SQJgYLUKaT7lr0++meSVXfMa7Hm5ssKzSebtiunMdnsEsSK
8AxDkP9mAPKGgqNSO7qHM47bxLXLNZv/EXsI/JhxJQIWs1L1tn4PZshT67ijJOPTSKBJuZrQNoiq
WNBb8GKIth1Sn1bVlKYGygFw4LTrHcdDvhw5wQYxBmZioOMuXqCsGLNDyFDbYOEV0bit3cRpac3a
5nOm4NOsijzTwHM0CgFknMKEYkCuWyMEvQDIC23t4Yudvt6xezfct6DWmjfbtypk+WXuvJFGVNu/
gBXSUJr0cm6fENKKaVUCttnQmTLTNVmnctgUmTHG70YAJK1YCwtl3UcYjFZF944bdju6I3barGLr
yEyJdNBs1ftJkLzGeF0IQDWjQa4czBfEx1memGdSo3GSccVa7LZ5LFcDGND3LknIoyBuzCloT+ST
3GiFCL8betMw5vcjujRbEYB+v/ahCtWRUVJQfzREUrf3Oo5TieqSOfOqAMKn7vIh0YZ9WIK5/RYk
shZbLwgl841MxLNtXhuaO4Ubgn4EllBuWQ+Uzj7PBUDGSPqFy2dq05GU4NMJYaUxl9CjqDUZdSut
AwfbgKSRYzxrtzPqN6R0g/9cYZDU10w3azgAmdEme0JjsbkLT2PRXMF8DIyVXw4B+ttOD4IBSGOF
mvITfaKt/ei4tKke3bAt3S/fmUisYU0yx+zqT1mb7/gSpmfAs7u9pGgc9GMDSAy1Tgyz8yWHHT0a
K9HKydvGmc2ltmorsxjvgSblhNQQsgFc2knzB00fPeMV9ndYPZH4pIUoaIZ62piAaLzrwJoYbhvl
ZpeiDLPHoiRx09kZaNXJIe58gjLtknDbO2SlTcqd0qDzWkNC6MOrS3Jg+4wtAR8ze8I+QqMcF3IP
vApzUeNDhX/N6YuQ8GEHoglR9StxK1O7exsQLdGN1iuuqR4DXHmVjYYjBF11Ym27gaTYtTM18xLM
+IGHujDApgogDkz4naG1YSmX0DPdBg7BKpniUsfPjGPlOKL0QamtFbT+4e8G+UNV+2IEsBvD6K1H
RNGH1B47ClCt9PpvYyaqX+YQOwOeLLgOn3hqRvWF00qRwRqrkEyOJmQrhjzVtSdnbTlZbzzzzzL0
R5BvZv9dJgx/1gqd0dzEk5q/H8QgInZhY2wX16aK/f46Ka8pN44UXR9sexHPnlMv6jXUTI1bRKTU
N0k0at9xMET19wgWYHFlKybo1Bq9YU0//CIN+y02T3gybGBLuJ2Om3RoXV23BEeqSQDFhLprD6nd
E0dx9hnOqxTchbJd/aTCxB2C9zlsYHzxmrjth3M9jmnZ/QhlHmRUk4kibX4pKf5Hldd/o6j6r4qz
/w9rKpCH/6+q6ilvG/Vv//GrCn+QUPS7Sjt+/e0vy7f9LqyokXRaGoI4H539AMGAfxRWhk1hJaXh
OqYphWX8mViumeZfDaKLdM8lKcviv0RB1fP/629/oWT/K/FolFw6DxBhzj/wj5ry78lIlKO/E73+
L0lJjnDnSKE/SysXfAKuUeK2hMNdxUPmXyKHrLCW4IZNEx/20J78qN9nie8/sfkEQ+9VEKXj5j4P
Gnlh0eISvrfceWrVV/l5ipJ2k1N3fLSct/tyOBi+yVQN3+sDlUF1CmL7Y3nVz+5IK+madZgl2qEs
4p9I1fx9X6fmqSZfC3Elraa5YY1pqEfnX6X6E7Cy4DQmMUGXy9tl0GOwkmv2+863Lmd5S1N/wr/o
QaLL+GN6lYkXLTF3EAXdsyuK59AC95LUEBaGLs+xZgeAP3RDu2c9QDHkvzdan3TXeAbsBViEjq6L
/hR+qr9nudfWBQP1p9Yklsu0eh2XMqbmvo3LT3dwmKjEazTDACKV/agHkbyH9ovIZxpThpJj9rB4
VNGDRJeEkW8EKu5UdW+pABxtzz1+pAv9OWSqe/LpyjazzAB2THwBsIj9vrfYlWsCEhulXc64O8BS
osnnSjVvsDHUdWIi/xyFVbLuAkgwFSr7Z7cZfgEWSe8o5dOXbIpJMIeE7ZIy9EJ4FaB3Ka9V9V7P
pK9FYaSPEgcuv6Nd5xHzBJyKOVXd948OjiKJ0ndfZYm1Bo7gIVhkMJqMSJjRcNQZtCr73S4BwLcl
fu4uND89GjtnZz70dsB4ztUdnPQqkFvb6J6UTipPO/hPy8E1jXuzKIYrqkFxsqy6Y1KQPGh9ZT36
jHHu+zr6KqYvJZMKGWcVnsapLGCkhBUoH6RlftOpfad8lwrgKfU6JDXM6LZdEMPbJOMeBZQKe1DF
AnRlDr0jUvG9EzJNpD4P8UdlwyuGkxd3yB9RULT92D1Wlq2e4taQG2q0XK+7K6NhnvHsp95rPSQ0
vWS+GZjla0jnER2Qbm3j+WUKCIZ/pG2t+R9DEMqabLUIpRfJdO2kzkHLrEg7FEYf3jKg6PwWbMgZ
wfhGlk96NnlwrlG2f/YJ6gSVY29ZDvisydBJVUZf0/Q3aInY0bI2kGGXoKhGiq+2Ti98FKNdsf2n
1/X8WvRxxdilfZqaoXpYDkM5wy5oIrplWj0k3TaoaWNQL7mHxugfR9/soaf/ceAB1J8L5Kb0+vlq
eePPc20RtSfN/dl2KZaKXiGL/6PFV5Q4z0bHnXbS5+G5Sex6n0R4oUkXCneWSq2HCpwyu0otvuuy
8LPFv38XJewNXJy8EEF4vs0H2srpQ+WfljOd5QMjxUvH4GU41mmmb1mQ6bRTfl7qWryAgh/25WQX
oDE5tRwYvfz9K65CJhNT9W1yI6TwLgbSnRPT88VZN9S/70FZCNozuqY+wjGIWbf6CNe/2W2c2kqv
ftSmVwCVf/9KJoHaDoOhY7cnZogwPt6GSZReW5ufnSGQ+X0uaZizVtHEFNtCKMTW0gfHMyC2idDE
2hvRdeLOKp/ygYBmK+tvcsaZTA38bwQORJWMBi32JojIc/3j3eEf747wI095mn/ZxThe40zz7swQ
l6p3Q/D47kmIwmpmTqSFz1518S2Qe9StW0xG20UrmZJ+M4Wuc26i/FIaCbJa2ynxgWas6+RYoJ52
v1tYY7pJGd/ywivJd+2DZ35bBnIBzz61SDtxtmODLY0PaghWCaTQyU4RZwzqdyj3NtXaoWkImPel
AP1N3wSu/Gz6QGK5UmVkXyGQBRsIb9FG+cLHPrhIYP2pyZeEiH0RaHsyLbbDzG5BgtU9w3E/Bvgr
HpZTePdRjQlLnQInpgBN+f1PeA/u2jaL7rSuatZIAMzN8vLPN9y4NIjfYaQ0g/aXwcs/xbD9/jLN
mUzLQE9I0Smg8aic3pTrvIHDJ/mDsvxqtM0VHGb2EOtp+wKuYV2NsVdsMA84Z1snQiJRcoueu0Zi
hzkwnfzvOoPntSHq5r5zy/BSWhIbd100n26xzsctk7wC2xCl6UU54wOBQbzsG9M4VCaz4lIRVTZq
1Jd2QuZP0zWIYJeAD4y8hlwvXxqaeHR60pzwjJh39mzIVEMQnnLDPKmc/v1mOWeHgwn7xuq2rJrh
+ve5+Q/HGQWY4/FQYhcL46hQMMBhFmQrpZkIaqQCRUdv0uKxfU+Cyo7lvXlcgthC3P4gBaoMt0Zi
8KTS1K+eqfN5ebf2KGNHw+83vqo+aErYz3oE15NSZc3zVD4vp4wYYZ8TAl6gwKXK5cklZ22sVTpQ
aEWTr5dz7qy5DKqWZBg6YETrTPpT78mRnk+cHmHypzcLddXKRxsSx/RbDadMbhYmzxVK8RnSwsvl
kM6RgsCrxv3yElfDSTWpfoFG8VoMiXxP0dDTZyja/fJyCrK7dAQ4D4B5RdBXcqX1+2UabvIeWDwk
sqwwaM51yXsUY06uTdXch23dP+sdNrr5vJGWwQnuSrFZvsvrqn7NrL45l/VEblQWatcZfjFERfk6
MsPkKpv5Pg4FNgmsatcnoMFQdoXvjdF9m0wSjUSWDE9GTLaZrMZTUKT4bF2ES4WemtcmNpKTral8
n7uNS/KAZjDcdbqv1jx5Jk4eWGcDkJjau7YmPauxYO0xesjlACw1+LBsqxB+edeedxfrgSxtYxME
kiQkSf8ysXJoFEGePiDxBs0hMNMwsk7OKLYIRmGYd8Sr6D/bIVFIVqR/2jpwUScf82s1WO41jDEA
wwvSP+OiffYCaF8q06erYBvElDpU+8quvecqnx4cU3xISI0vCb+UrSFRNRmdbb6gd9CoOKt6t+wL
/3xpztvE5Q8v75ZTIx9ZJ8Cfa8QO2aZ8sFz2q6XjRQd6VcEjrWNnlbR194XByk+r5NCNhrsnBbzA
M937QCRFAPeMjawTGsXnmLQmnBU53WvEIx7NLLqglEqgluJRAXH+wDwh/sWMe6vsMPmO8jBch24Q
P1aqL/cEWMNrRKWU2v6pt2VztH3Q2mbs1yfRGsMxmNLmbDe5DpQi6C8mGv69XXrT3eRmiOsKoFPM
spNdnk5vvqPNGyAzvCdohITMbIJy0EeP0xDkzFIi91hrI1D5tq9voWxBx+qReTf0gX4YSUg/hYEc
zhKx4p6ognWku/kJRmh37nCr7CQBIY/s4OMRCnpQ1vWpwWOH8FNnG1mm74llo78AycvtgMAHMOkG
nrN+JPhkfE8psAPpWi9Eo63DtCm2LEXym1u8yshPP/XGz7ZNfcQWIG4N/Do07qP4YU5wAdM++Cjz
QGO6jIIIdWwMUMkgjaEPLSKb8umQ21N/bv3MWg9D2RDCEyL6FcW2x0X3xky+Pqbt9L0oFJcmZumX
YiRrwtEC7Sf0q7gzy4+uzz8M8cUsqHviB3VPIIjICGjUeFhejkZlnlXqEV8w/5EZ5Z/QbNz0DgE4
yjsyfZq+g/HCrCSJUojdSl6A/P6KddQPRlZ3N64IsDsid+5j7GQ74TnF1UsLTAcOscNZnHSHrE+J
ejJ9uQvJTiDOyLmH599el8M0fwUPNtxxIeJbsMcPgf/6Z6dDCxYGPt6gBxo9hdUXy+DPUYu0t6Dp
ACG3UQ2M0fW3VFLjndPV8dHtWHuySNKmalDFc/s7JPypaU8wi3M1x2jCtjelj3mR4XMJhffiBWgF
6eMHH6ZgRdS99ku4MQqBDufBsBkkypVVSzvGZkz9FWriLbHb4gjgBCJtESusV6N+xW8TIRLJox15
58WrZ+ivNXSLr5pmXxeF+XtckdhLemh36VwjvoNMJrFV6em3rO8RgpbDF9kLOPrb+qXT/WGnpro7
mWA9WSWYrCUTCe2R1eUffc+KEmXCuyO+tb/VofzKiVT7MJNWUnRCU/U7u39i5niLyff56Exbh9Ui
zRMrtP5SB/1hOV/G7rRVXv/Vo5PdRI3vv/ROesojEX9Kryg2HRMtlj6jRLsafP0+XwOXRDCHyTmy
1H3S00yHi5x8mrr2c+wdBQMsO6haUPv50YdVZeZrk6fhGZs+7drUNiCaI6lo8qrcLu9mPlWMpbEU
Le9iYGTXbGvI0eY/rHT57Bu1dr+8ssHTNLqjbjDqLiiQmwMbK4EDqkm5TFPnlEiePozsNJBZyj1x
VSTHUprW2VFWfdAZrKIADufWtjTuctn6u87jIVK/1hMxD4me4aFuBzJrUSjCHpkDfKouyh9pZOh4
+wL08DhRQF4Q8TCaDvWIT9rPMBrZSzUGP/ra6b+EHx/hCJffcozymzzL0jt/8JrL6DvpNu707F0z
sER5WFIrmmEXlCMd6NuaGiFozHMQNNbGERGWkOK+92r/w4pLsSV+FdPllHqPQyF+Lu9bHlqW1h7D
R1sZbFpHIhE8SEEKC/ZZZZF51nLaojAmjVvZWSPWWum/S6ppn1Z/sKouKRhV/juFb3Y8Te9K6CbE
PEkGBNLjPQSrFutdbZ5zPtC1WQRvlUZ20dC70d4Okp5Yy1rsG70xSIoM6gPzB+ecR7o6aoMIz15V
k8vpWOUpZFB0UpaYjkB/srOLwP0Qd0VwscYU3kxFzxrOGfwzkF5PolLWHsOi9fvlcq4eEY/AjSV3
VCZPrqP6HTsuHtOfmfT8pxCcDcO8/qESTfZMjzh9NkZEltRDDy2M62cxeSRtubjzDf8+q/xy3wc2
MjOtAzEHlfKgTXgX2pq1u9LN8YmmD8F+RRB/M2T3DaNR+TOF5eM5OVidAmy3Ufn2V5am34OsNN7D
2mOLy/jmCQVBty0nVkZEPCRYzeFUjJbTM64hCXV3LFHDkik2dREklzq1b35f4cYsvCviTipAWsf1
xqW8BlUztHOkJvwzJ07FfipY07LG9Vj21fdkENp9NKn+2fCa7XK6jQN5AoK7Cwae2jYUjg/whN+Q
i+OljYR7YTSPonGml9WPRZinIH/Jl0G7Fu1VaHYH6rwbCB2ktKPdPts0cPfmNGGCrvm1XpZDYCUP
vV3FJz5cdTCqZsZlxN19Qwf73py/IsBb7W3BuGM59+cbrKfJzkXyt/6XN8oKKm7ZzEEOAjuJbwUz
wDB9zAABbEb+Yrvl5XIYmRbYyTw/of2Ly4GumZLmvpY5K/p8CgCH2vfFmU+c5wP2occkM5ngU8Ku
Ms/XTss5FMftNdXEcXnVhuH4KEweYp02FdvlG5ZDHqVnrbdiAjb4GRoaZ9/wJNksrn+pmatXHu7X
yf99yMpoBJyJln3b9FWKV10e4iTB7jdB55Am8Te2wOzMZNxobWh7s75KwxayGhqr2vB/gIk26FCe
xpaQ5dgjtENp2oq11EKfpTc7C7QQDtHnWPeIxswia9MFokAY3Xan5WDSQUx+vzYbRFENBo1VN07Z
qavD7GQEgbWe+M2QXumUp47YI9WZ7sEDQ8AAFueUqXw88HGyw2vAtN6O030FrvME/nw7IeZTOoiK
nL/lLZxaUlF8WE1OH0Wr2v7yGXYf+jpYK992Nh5skxWwcTYTaBrXIwI3JwyfeTrVuzYqTtgYaTKN
JKX3QCvJ/Xs3dcYVIt/qImOwXpIZ0PVdfKI9F67Z32/QFJjUXr5Ys8Rg7qfdBs5szqF5reh43KVr
U+XQR51Pl6uyIVUXbX9936OM8CLWl3rcWbZzZ3XtrWkyaF6Vv6qGMQPZWtMrkDeZZ6Ac427vI59d
+4WP7dl1xYVkb2y8+hXJ7Ic+qyqrkge55hhHYj4G9l8dG1TQxBMl9CakSbka7sQ0CUK4TO00hE91
SfB1pLI1egv/nNTFdy9oop2j1RtuVecwoDLd4yK7LwcvOltRx+ZLgL+TpLztqaeuEI667WQTy+oP
7U0OxW25WriXIBS6WfSGrVPtkknR/kEvS/nREYOLuVuenJp/pksbdqVLfGRlXZ1+H3SvOmWkvs89
9g2WcHslyEYbxBhjKo8RPiMaksHcN6lxtkX0RxUouzImHzSxvc2ktfVpILZ1lerYKePWDnalJ96l
3o4ny3W+06ev1z3gfhf9XQI+iWrgszZFQnRoiDJV+6X7AclVTJ7oViRHgiMwbk59dxNFfhA4ci5j
e2fQHIfZ0L/0Ed0e1CVHjcArJnpTtyUA5kYbMiAYgwjawVBw8MHVGzXTNRuAnx8jHeQydke6TMsh
NCa5k6n3g9bOViPYSBJRYllWuS3oZ9ECV/auyzeQY73D1LmoGaOrDE1vnQ0ad7XT7vKquS9dpqO4
PsRTVUuxFZnjcgHAc6XYIDjA1Q+NTmqDtMJ35nL5zWCL2PoOCZSRFe/iBgM/4qH07JlMwyJ4cDHh
6Tcjx8Qfoti5L9AEVBZknISekgciE3jD2PNUCS+WpG2cW4O5zW2eoRru+Skt1w4Vq43WgeoDf0Ts
h991jOWHbMdVRgBmcDCNAaWyshXdHbrsE3NhiX77osU9xMCg3GE8bnALhcQX17/QJ8+iU3eLFvMb
UnWGgkYUc6065IqWyTvGS3qNDB5Jd95QNEBXHHjiYdkddnnuQ0LjocZQX+xtWsErCFeY2jz3ztEg
pLh9TK+pfULfir0sIw8n44ONBKIMt0J8JAJCS5QAkERMViYesrr0T2747rsiYacnNzyMuwMrbMGT
m0NKNz+OSCNtwpgygyTbWVieMVeculHb9TMza+j8fp1mwaXQ+/4k4MJcgppBbFg+p/juGDjwsBhx
1eyqAndqMLyV6n9zdF7LjWJRFP0iqsjhFVCWbVlykP1COTVwSZccvn4WMw+u6S63gwTcE/Zem1+Y
sAq+HXqPumX6sKo0QstbtixQ9CdN6/6ViNQ1mQ9hP2TJ3sCd7k89xa0tKA9LFs+EPljvzkQOr7tC
K1FbMZs1TpBlPoyO6XtvuvoN0r8TVs68W2DavycQ6lU7TMSEcmzKLm5aQt4Ty0tCwUPY6hf5WEC3
+9p5tVt327WWtqtszQi2dR67b/AIF1936n+eA06iLHI1tITdbIyu4aI33lxDmYiCTInxhKRCqIJx
nIsWz6Lr/o34vvZDg4YJYCVgwe61rKsaCNq1TlhPm5h/MUUp8cZVkdVP0YEJYsEcTz4svXPRAOcW
oKl35bhKbbk48ty4m4Pq7CsDp9uIu8tpo/S3AZg2DKX5haaKvHjSOjBpEhzgmREtHDEHeZWCFJWU
S2DADvRbzVOz5BvE5hVtGLWU0O0ILTEMwK499TaM2UqdDYhKxjN6ujnMC90FkAlHucaehywUBoUq
jhaTBI/40Y0Dd1t6yysBA7+NBStiNJeb1xoktHfLY6U3O72Yhg+RcVYNCP4T4e56kvQiPR5eMMTu
lNiDBmBGgUHOn2mYGXZesmtkzrAx16orwoVAg7To0dVv2JP3h2pqTF/zZsGSz3bPKk1Bb1k/7UqK
pVUO27K4Wq4mN5AfgE62kJN5dAVdM9ofZpSCbZjat9Qr7GMq3Vd1WKA4eU19b9P8z9YZ43CxP8xl
xgIsVYl5WVDIkNTA8+Vk2bK/caKhV+KrVgvZ1qWwmYxWG8Aj+QdnNE45Xa54fG1TMt0Zphs+3IT1
fE+mNDTvRK72MQ4EFS1nSCYknD/R5od0gW+Gwg7Rhp2RZMeyh/AjpH3d1yJjsPY9hM7OK/wyzcoL
E5wN8lOmtSrrBcVCR+Ok6BWg6QHxx8m2raSq01evaNPFrJ/g0yHGzN4UT3z2/LfVVCQzBtF+MXOF
iNuEcjz2pVb3xxFYsO1VYjO007SdGMxnuckUNLYeiMZxQpRbWlhp5U3vtWaHO+qo9q55FECJXMCp
e+Ze+ilN3kejZwSsM3vOLBvbhBGRixRHREIlI9IYV2pBXZsEMhuYBtgBhVlH+OZQ5x/gl8Yd4cYg
SwL6Qxgg9UfmeUhd8MX5Smcj0k2bD9vznhy03WFdx6+Q35Zj1SnUFtE/O/JogXL1bmTJObV59yyM
EoEGKM6SvDg8HvZ6Yq/zZNKty+2IL+VgKPOBq/+o1VaYVN6by/wpqPqqDLHNioBQk3RnjvJNzyPb
dybSqkeg8klzsEsCDKpMx4ot90Lr2TWYah6YRnuW0rnTtrZ7az9NFvMqHjLh3E9BPDTL1ovdPUu6
P0wtm7QA/oMGZCPw1wTT4DXoDNVd2+M+hm4CEL8Im64locYjejvFwBOpZRLGkkz1rJBXh+xqsjm0
Q0SlU6sjhJGeTa9QTO5B27ilQD4ZdLQYG7SthYjuMFdixxCQWiqvRSCyPDph+cBSNBT7aUDyNQ/6
BjUafAgL4DklSbAQxoLfpt10Vkw2ewu0V1fEviLvoV56HUdaxcK96Q4r78ynh0fUVFUvKtkNyORa
gbHhG3MpaxsjHsLOQM0TA7+M3d6mqMox8LAQEmB8SA05mOOTwOBz0LhDI8bGOwIOXmt2349R6tpo
XUhaq3FAKAWR5naSWKF0IvMMO7SG5G5C7Va3A0OvoNfALDiZfVyNLNGYyedU886dLN7LtK8e86YR
O5GYD4uehSx3G75qpd5lShqRY6Pesp3oKTW4fHotOXe8vg/ZFL/0PS9PXpkbOJximNfUPc3b4NVb
idW6e6ra7ooZi9z5+JVMB8XXFwtbI28xqBN3Dc6MwZMRkxkMpGpG3bxjcO0dao9bNuLp5H4osJ1O
vYr6lKtec7XyY0IoAonKZ3qIObuy3F2ZLpLLV/tACU4ptXa/Kr5rP4HY0htkF3pWccuLrDz1LSpn
l8DiJ3D8oHUt+9oxNPC1OjNgqZO+RHCzB5LGjEOch7qT6UcMawXpE3xoy59e4S7XRQLWGDxVlqbF
w5jar2soOu0B3lPdCpceKpIi9HvXTTLMco9oc0Xesb4sRzdy2v2YKekjO3NnkzbxHck+8+5Og3ZV
QINYejg9YMb0I+r/Q92DscrLHJWXSB7l0J9rVXOplsoNF7wEX619aEPVw5FjqdxX7KhMcNwYPznd
dFhvx/oRFelG1kOOW86uN9a5WZhLIce1QHHOnPmo+PY2jx5FISYznV/WaFUl73F9YuAKhhsef3Ln
1oigRbfLCxeInAHjE7Johwt/FTitfVKiPgtaB9bXWBqHvvZiYDLmQo/k/kzKt47IclPK4ZqmsfvQ
WeNeXcrfFL8V7kq3f57Iv+Y+J3YQEgEal/Q0ePon9tya6reljR/IS+5moYRpwn1O5PbzSKD7Y2TO
nL+Td4qM5oHo3mQrS1eGRTr/yMmmPZ9q84j7+YcicHpuvHZ6hmsrD1UENHnuzOm5QiUrvZaU9CzR
/JxOwI+cctrKJ4yQhIUu7jODX/dZtCs8Dzz6xsVCz9IDeDAUpFw2TVB4Hsp0iySlNK3qE6r/N+Wb
kkNwD7Kmat3Aq0KDNzXkPOZ1EODyvTYdQmKeuCmls/cmg2qQAiGF3cMS6f+fSVBnMDNGt9uRjlNs
sWotq7swDwFrIocikirDSl7VKcqU8aXoPOVgOxwzzqavLeHXA2gCXVmuKbPPy/8fqpo9OdG+Cl8H
aCUTts+ehizsYq3z88r+WilaB9BX7LBBAXXVsnOs7ikeCWstyh0LGc9Puj7zK0Tm5XKdNdFfi0gL
konJA1FQ6dEmwlSPx+cJttlW6yK/6AkhFNkYuIW42u4Cl2hU4gC4DUkZdXnETFf5VrpsWb1+1qQG
khBLVyfk3rFHWPuZd1hmjjGGJCatN2VH4iNchePSP5fU22dWLt+JqAei5/JtkVVnApL4yqSOQ3ve
F2qphJNOkOmclyFDttlvTN5qPUKELhnEoj4VB/vezwSwNrnzGFsUdnnsHRQOsNiNTtLqnrHmQtxP
YYqwvUREVIEPHQG9FgNs0EXaiLzHzSAUQBgj3JTomuJ1C7q8eeoK6MzTQM4IBhNuOYlKFk1rYOsl
cbuSNNjezRUfHcVbV4uDmiNGbZqo33BxnMcc/BW7iX0rlBG0IGLGCctl2I61sxmbgzExbNMj6k9Y
h5QOTJlVO0cO2z4xJ0mR+5OlXWQLwn7FDNnKhLHecqkOhAcheYJ23QcjbtwtEIMZFw4RKyPMrNwg
za0Dr1YywwzU9sOZwc65NbWI3UCOZuQMbMid3+y50g5coxobuGVlNKCYcxZfGGQPiU5BPx1x1csB
OQtCwJ03t5h6hulsLHgq5pJlJysaABmZzqyGzEgt3XYKmvC8rMEotzdAgI+YzFmtMx7nIGfZ4Grx
DlpgKPHcMHGMjo536vsqPZX2uAXZhLW7jp4d14KiTkavZqZkzhLdjZ6GkMPho8rmLkzVHAqyO34Z
eJg2ej+cY5lssfY+Kl7dnXJSxHNVku8YiRJEOsGAs8lvFiUvusBy5CbcRQTLHKJmwibF9zl3oI74
PxfmRJME1ToLYTuDfdDwjnMlydr0pNiokmbfmvSchmMBMOKJt9gh6hulFBy+fHlVHVAleQFmKMZK
ThHFBxeNHgBA1kq6WazT3UupMX+nsaR1i6ojojQ0iGMUKGP2qw4dCfAEw6hTd6oGVFgRKUEskXeZ
9lb1SCNcWzJQy9TRT/HJWzaxNiwPzQWNcexUI3ER8IjR91XYx6ffMkr32cIPNScCkLDjvBaRjaR2
YLlcRyGPvwmG1JHtb3pQ2AhQ2XolgRqrrxYkBLUKfT96mkbeIld9kKgEfZXJgWc7H42CG5IcE2w3
sxnm7+5SY/JQumZfv7qt+g8UO95RnCpLAViZg+qx6gbDb6LqYjjtperjXckk3mzc3RCjVKxH9U3B
PhTwro6+o5IMY+rWrqdlY2hF1lGfcrQtPfkvA0HUhvqQEvr93g3eU47QNGBwAml42Xlp9zZqVKid
FRW8zu52vrHnSOvK3jSzdYd4KHyo7OV+AWcXKfRDpcPYYDMzIwgRxfD6Wt4eYzo3aZ594pZVmLlq
eJ+tv9wdoPwSh8ePrSKTPgLDH7axRTKKXmh2mCvDjeEv1agLYsFWo5NNXIGP0uzgTlYblqyBsVNp
WGVhWSFtCoaER/M4Y3kwUnLoPWzDakKKgyR9bdUO1unrZLkcXJZan2y7+iRzcPLI2aX9qgOJrino
DfgWURk3oDjkDt7e+1AZDq4F/aorxUPeG+oe2dUnWNyiPxXeWBMt9Tq6q/kBPrAFVVGVwC9AgcXb
sV6qS+9gnCc+4QLVm4FtJqYDeUJIVWbGIkPThmfXoy7NcmbBplr8DU71ParGuJsg9w8Gus9Jwt2T
zfiZxMmnt5TubZFVULrebyRcM6wRHbGsnEMPEAl4tixghK2HzsiwCPpUyqNeHiw8D9tGK56Ek1sH
ph+P1WJqHMcYGtpYtgSvU9TKwsv3o4qvwaCr3Yj4Q4/FV65O3pbtvn0UawrsqB4xTUGUdaGQUVcD
iiFVR8vlXysBazISCbCeA6CvadbqJLQ9tb+qHMOOpc0Xs3qCIQCYl9jtYLFJFiksTJnYFW/diMcf
DF4LGK2EiNvq5Z4w6igkGiwNkI+c3WEhw5lgNb9sGYnoEVzEtrsnqQJatZlfh145FVU9nFGceEwv
JA/+OK7AzJNOQ4cow45JFbh4Cb8FboHItTAxRLZDvpL4LLGvbTMZYdS51RZHx6uratnjAox8yQDI
6V+uiSiiUNAaFHl/JwhcA4iyV2XxU6wQDeObvA6gEWr/3sV6cajTHlID1dBQ0axbzNaPyTK/LIXt
HOamT4Mms45DPHjP5Ty/ILE9EblypiggIbzp31BA7+eatis1XtJC/y51xwMipJV+pDS7CbO/gyNM
iuFLcDIGHPZMmHSG/BivtrFjHoaetQc4q3up2TwHOdc30RBBX3FUn+ItDQYZtbva6+NtoyN8su36
h5feBCHaJWHrNi+xsM3HuX82PUprXbX2VlrHAYm4fIBcvlFc9Q6lxOE9N1tSxFf41gb14U8UT3um
3ETAzeperidavvyIaXhIs/6TTYzq4/S4krqMEqRLzzrjFSxO6Rn+PcHyZvHqVk62nQz1rqV6BaW8
3EU6qfbIgKi+Ofjd+YRYlyO5fwD8A2oSaEgIl/KurmplnSJsnDH11QQAB/8HMpUTaOo8YxSjRkCM
l/ldNO5tnNSPadEwJ65JhnacHvTsM4tNkiVgqQaxgUdoaAATG3BagixjCC9NCqd0us9W/4w8n96l
+W2n9K2tVRqPu61gIpKGsc9rjo9WVkdzEQ+ApSJ0GzZGGpNYIDgIga6271W8suCE/BxbW2x6i/Vo
5qgfFJIHEzPUKlF47rQDu8zloTTc92nk6Vx3FicHAEinRfogLRTmXlkcun7pfPwfTtAq6juhR/Vx
xlF0zKLVpNPHmx7hFd8eQaWsPdJNXoBm1gfCRRNfGdO9uwwfBDzsajP9cm12PZMLmhirnO8NynvS
eRbc3erHUp6WfNq2TckiSlF+XAH7DfAs2omCrxTxuSUCge3kUpqIGh1J9hWPyUYB5LNLBVEmmv40
qO2tbuLnoT8SS9OFRFn8ArWnkZ/rNDTqrWqi0GscL9mxebok0Or8dRsf2s3y6enczSTYcJP/DoQo
7LUFkyWRCkF9EOi8tiYYjpFnGd26lh6Jd7h5s/6aQSnEjan7qtXdWiRYXJJsTEC1OqHWxl+m6Ew2
/cmXmuAc11zzJwLRmCQgPIbP0a5f2M0MvHbDr9cVt95BXlAq/VfJb+vXjfrWW/28jt86v7D7u2YW
uzTXX1Bufy3NAoeVmZOidB+KZ/1kQ3ZBlW4wB1F/u8q6l3H/7XTzFQPrNiYiOKwHh+4tIgmz1wKS
2Z+aVjkh01i+WotnoD7qSZDM1pPZabTWXbiMhRK0VoYFYCxdv8q37G7vclARXovyHF/wSX0Whn5H
WvA0ASILllyyLq8RrDr9U1mT+p048cUt4N6RjcRZqg4rTKr3bQxis6195UmG323QUU4mCN7VqrwY
0liVukSzSYWUhEGlzjNMQDxzHYNxki9aG+0F2Sb+iEU4xQJ/METxvh5aoM2JBqD+BfPCkujFjY19
t8wE+yzJSwEVBikBa5jZvok6L862eE1xXYOsKhgVEfXNs+pB4CZhP2HgoZ/8ykvyI83GZ1NYv1aq
XbzeThDCpkdjnj9oYVCJrKY2x34za+YREIqfhcItMzeHUjedR3wW+8G98y1Pc7olauWFgDDWM2kb
SvrP7UpN9ZsZ/3u2JCjBPaMJLTX5hDPHycfk0cVaxSLpG75yyjoMc6yGUXfTlfG7pbNfbSzxrdjj
Oa2xixIw8SEYHPQaAQlZl90rSYXljWejcPqAkVi6GcnAQbfCabwO0PQ8iYJWthaIGlJHqn9IOhFf
JEV+iSEMRY2zLRWz3k2jektclAorZZoRvHzMXMb1S8U0Ai85y4KGAZJGjISIwSOJRNyqEVLjgpCY
lpbV7wL6yW/0yQsWDUoYMyeoRJ7xKSxCK4o2esHvQKHhZQ9q5ny1M5lOaK35VXKVSIEWylRvPJLr
e6mLSduoGpHAPFtLUxN+ZbUVCE18QYjwI3/I+DtFevoGmSNpMNT+y0ByprTdKWDohEtwONYC70oG
mleXn05s8/DNJEpxd/6HJipI1ivXSxyDJectG1jMRN50U1mOlgPDBYvkTCNKSL8SXFtKwSJ8wmrJ
Putc6uwWva68CZrd0JQf+HkIa8FmNOvTaY7h+Mbm3jbJgHOLIlB67hW1RWDM5IWUayJ+iTLm2Wbi
42i19LVHMMEONtmyeHjNW1Pftu1zG8fDDqcvzUfzVzdQ/RWQsJhRX2F8U3Jw0Ogtz1q2XNspSXlE
tMSAx4tn7OP6xQEccVSG8XNWDbHnkjmh6qrDCExv5BLRqmZWc1XnTu6LQi38pm9Pnb4jIUn9oV5k
MJP1PgmNHVeDnDo+ELAOtGCXLaLfMYEfbJWfIWtesSp/TGkdRE0LYLEBxxjVY7A6JE/otkK8h8m5
LmqEN6uGaAGL2VnMFLm50tpZWByT1MtKNDtJbSYJbtm5XULpsX7/qDBqh0FUZ+xRk/yTYBERNDjp
VIZIl+ni0S1Odq4BJnLUR7MlzaDjrmSyOgVmRxEqyd3uhPNYOtVfpmZnGmxtNyaZcWw8jLRJim6I
SZNPQU0bXxvAoLV/ZTnu9KHNn2XGFkcv2HxpECRMW0QM+sud1AqWolO67UlMCcH0BFhXE1+VLn3b
2UGKF7p7oeTiyCaAtz0uw1kq3q6Qw7SfwSEYZXuuu44pUK+/NKICV2CuM7gGq35CdOuJSMUgAi+f
0FFxVbO4Szk3/NqRN4rX56VFLtvhUPXrAhtdElXeBbN8oKnIdQOrnV+Vku11bmokx/5/pnVluEih
wqPeWaoTMMFanpfJdY+xB7cKufjf2IkVjIE4Z5K5eMyp64wajWVS56+Ne5fWCtrW5XulITfPlkF7
6BKa26z8iwu7fCBosuJRygc8S0z/5LrFXKYjXAaH3rLvA7Wzdpkt2qeO/jQeDbR11XCxhkjs1dyl
Fk/kPYkzkO5jbUMNdsgRJ6Jly2QyIHoALhbinFeybPTdNC9AntY/ImJIURppq9yK1QF6z51Jj9LP
PbnI6GADXNWcfXYXvUmKduIcu2DqxzPK1nzHjdehJcBIlqLVuHfzZ9dTC7Nl8XbKEllIYHo7hBx8
KhFZC4M/gGfZdEq89p3lAp+ifdJzhUh02UrfwZFMmgYhrWkC0q6oWWJzW6IPQeEw0w4HBLF1m3ls
rinC8V3buOUpqkivMUc7Cxf7RTQTZgDrZLsRFsEsveYDziJPXmjn4n3aqVxoyXAEM3IeB4Iqygjo
UlI7fx2pAr7RQqVzpv6tGJvVIHchPt0McdhT7tdBikh+73FX+VP1ZuXcJUScAj+nOGw0BzWEp19y
7IDzxN69Qt1PEF7KlcqRtZTlk5lEpLqoX3E/d4G91B8yLjDw58W9QDK3WYz1UmCpqHrP9hA3YORg
eQLXcEjl8cqwakBCUGAkrfoVlQ5e6okoSZDogdKsdgziC7bs5D55iv9N8TJCEsc0kBXNcJxa98Vu
8rDQgWZW8RXNNv9q8r57ThTkOAmLyWHZChJ5twC/WxZFKQzykdcXFU1V96VviiryvVEvOOBmdq1Z
khHxmOx1XjXPQaE+yu4mpo5P73nj3KbZy+W7sMpnJeFE10psdSmL7HTEJjR42zgpol3DYn2PGdsI
mS7Vi6sdHKDnholmYFiedbWormarZ0dLX/GBv5Y3Eei48CldSzpf9jvqOJ54n5kqOXRUzD8YGIag
zWknPRCjIMCTtFF8NBtvIN99Q+uuo+vsYGqsHQg/ed2dh7a+khSIY7I4FMzHSYrNAznR+KsKqTmS
XQ4pMOzBvUi7KKZify7ad9ul30l5L1XkDnXkfbuDNzAxamj+1LOB6AlMnoUuKboPcCqiGkfkKLxH
hJJkcjnz30wiDuTlzEse4skN8wTBMZXir64VTNiggejFVZn6a85TCqBSGVqLeiY8ug8sg/gQLxF7
w1JnigPiKpL0im4z3lSxAFsYuYeIjAm/6nrIjwo5vQLsrJqYdO6UChrUikkFJdvBaScsCaEYF7Se
ZVul5zCqnuo+T85N5723w+IyvgbGMCquL+v4gdPpXCtr9l7iBONsfJpWQTfMeAIdbhYghsdEUqx9
+UAzEGGebTOUgg44VrIqzw1J5dTUCJGupIpuZhIxAknmAWM1+ePCCUHtcxcWxrUibh7jvn6YLSY2
loBZ4HbIstaX177Dsj/2FItNOtJsVwVrgjn1C6IcI9C5jWld4lj7l0O/KBP3Ny4lL5qm3WAsPXWe
XW51lgiuIcBDNs47HlPNB2oXVLA7J9v7rlgkTfjFccaO1UZjNiLo/0XrYeUsQdag1OgfR0P9x8sV
MBnDkukZDJrZHZLT4IQNnecILycdAKqI3zHNyUnWnBvFwBho5dEZqVsSlrhabiHRiGc/rrStZg4Q
tGnAW0CycfwPkT/lma6jPJoUQsq6QCxmAcIHZ2baXIiivSCKjDfLHQnkP9lrtyztg1aD7VmipxVI
0EY06Wj5fVjooVl1E6+dfqpxLNDx89wjR4OqR/mOWV2xMHHjQK/iUNjK99w0K42WDZ5bPmesSPaz
PREnnEfEebTW41JO5RE8tdviACCGGqT7j1Dr0i8S1GARxy3w2ovbz7+1G9OfW/FVR/zR6M+lweAC
T/WWvDhkeFp+meIAZsnNqeQlB764QbQbyGE5do39W60FIjFkhGGrvLoU118oRyk5bfyM5YPersxD
6XyX8mnGPAUr6DR33h1vMEE3UudKHa5JpXoBEMAd2nuCxqxXvLoMwMooNBRtJ9PykOjxvxk1NrUu
WgsEC2h6yFLVWmcnm1tmAfmvnE2GPQubD0KYDoeX6yDgSpQ/I4F5A0Gg8y34Ev7UZkTa9RdQFEY4
SEnLNfUVkmmpsWp6yYEQM9vMF0pLygIGxX9Iyx66fjovjv4JaSAU/EPqffyGA+GPsf5YONHRS7Qz
KqH0IMs1sZHhUVzgoY8hHu5RujPspAKLTaZFHaUgsjTyYhjr1uj+duj/32YX0f+67DA1LipDce2Q
GaaVTNZD72GYmvBE+5U20KQ4H9O4bJoUcRn9wUfjJS/KuELN8AjNGKN2pFWujarz2un9V2F6bwQZ
DJtcqU56W/OwXG+T2mWyPMOUBDAT4xuRLhBhsEAj824cMsKfFOQ2RHjQt7jmbyThkSIWCKhZyEti
3aYoxpmOj+bIAtBfkp2rTPhlZQW9XC61v5jPsclPxJwqDfpiZrSpLbekQeUfZX/ZwAsw54B6CPvd
sCg9RHY6buU6Noz76E9vXnHy34pJfSnG9D1ljmDzyCSU7w3vMvt885O0gfZpVggVaIuRdWT0A5jg
WqEXCNusgaE88Vt0b3z9eYeyjxzFbTuj2Kaal+h6d4pwcWR32JGWGhFlyp5WqeeNQOuCSjgtUDjo
R1J1CPKg9dvXGMvRjqk3O+614+z+QHt+NyD3oYqamJsbFvN9weDJW9vzhds7GchaG68mhglGsYJp
NhTPgmuNCWnri1QdQ6VgFOlKyP/QZwbdfjNGsl2acePlGEG8NPrm8PKw74JUqkz3j43wTrpLs4Pf
IkMpm92QICcmgQcSN11XWXcfE629bsVIb5wp2tpGwlsvB6xegnzlSnk3nwq7+aN1RR3e6Ds16i+J
HT/LJO636cz0q0+ETadrh6Mw2oB1N6CtARQ0KLet1bx6Mv6EFs7xlBJ4l7+ilXzUQQEEZKs6u6Rm
zmLhxOqgVI3VtEsW8dtrzPTQvWSbtidnAdNuMVBEkdENPRXjS6jrfXEwS+u1p60JRIM0mCfmYHnY
qpP2pcaMLnB7qxFKNnNA6zFPURbEXJFIR4p/TrIvTR4w5qumIrom7Smrxx+zbruthyLZNlF4wtqT
3PjTNelUejFa6TAyaUY786ZYLDcY1ut1/Fs6+ZUCS9MR2JDlxHqiYZazaNtCK0Q4clz6OlKiYp2K
kQX4kpviYzLRBk0smvUynU+wm9HnU2mAjMmOZdezLTN3gCOR2CbIzFmvByabGEZsurOtwbYTJLD6
tiGOotM8JSjwRyN3t9mU3V3i+fCin8rM5gqIlCepIjSizr2rkECoIwqFYdJYbpkLg4dzfqaIDBq8
bxEXOTsPxIsEBUbDELoqh1elxie9zu5qq72IWZw9xAAyA9Nsq0zawXlQDFIszS332tDd+qU3+XW9
uxuaDfcHLGCWnM1mISuLrdLLLErzqBXuixypkUxLCwzshhIXlV7348M8/B+Uwt06De9taZbbwgAk
UiBcGLIrEUpXTZgUYggRIaNFD5aih1jrP3oFaOzQ/YwVdXOB25C5JVWKTIotOXoyaBqe0b2qEKwy
tRv6c1+zSJHMR/1IZBDNKUVTlI3axhRlish/gGiLdw/QJPIWspym1HpmSNT7uDwPFfO2ZYnf56l4
RO6J2lKgVxa8h5WOBaQyaYGrQkem2DlbU8L9JW2g3JJZMQVJQ2+MigaVCAIAIkqL1ApZcdmBWo6b
Ml+fJNWA/NzGtASxDlMCK8uFZxyf0x+NLt0zqQztQntARtIiItOgfJEDOrGJDAmad9D6zTvRafvJ
JBTR6bNuA73vmLTcg2KSW0CZINeKVVqWfWWxcktM7xlfR7dBgltIfn0k+flZYGak4suJWgssKoAT
3TBrH916KdMpTHSumSpt4ZNU63TaOHumAvCKofOubBoAD3r8YBMywRTnRJICRN82khCu4CJAwS9s
CmdrZdfV8L19oqGwLjbLEsRRDeh7BlaJ8SMK+0ZJQzAGYZ2PPwuDvjMJxtJHp5qG7WDRwxZ/wNtg
zDmExLG3InZY8gMPmrFTnCI7OAAYQ5glJmsqxwx1ONBr7gVxh6UntlYZf80FQGps5SonjouUK225
KiekHUl8FtVtRnTq60bE1Fxwy/bjqfaYGraKfObJgsY1JvS8VV1fh0MYtnZjbdqSZ1TCKIG2Hpq6
uJctiWOqoZ07lWGA9eXUqooWNOaetl4gAL5xf9NbNRy0RD04oP04qufpNtnS9IVyGVhrbDjb6lD5
LDO4A5E2P+dOxtDL8/Ac5KhQIyOka/qEQ8C2hJwP37YW9xQz9vcR3D6RC523TAcrnai7RO+O6sKs
TTHz0LWuNm5S9rLFn5aq38aMolebFdgVxc2J5IkJyPeyuP+iBTh0xYW8sTaGW2pHbCBZ4E66t0OW
gH9q+HF6tT8iwXz3OvLZCot4MavM1yvbCBdzQuqHXMdN39jjX5Ja+5ckDa7rCvE9Q5Cezcd9TuU+
6gk/y5AH9NPUM8pPH9z57uSKc2m1f6kHsc61MWiYkauDjIQ33jYpZqASTKBipjcSVMqnxEa9a2gL
s65VQZ03N94ZkisxBbnmxeJWfh7X7IKG9MijKbJra43oe0Xt273DCz98SSs/GfMT46BdOfc/k46w
3cBLd6rZ7DDcFl/4zhHeuMrkz4NCDpzOoDLToje1YB5lsK7aJKXzOSX6HmfSp6Dw2hYCB4wW1epe
s+b3uhgpXlG2cyF0/wbvNsUACDU3/mwbJXryGJOq6OiwE1G8DfwdYW1nAIPMkHS7C3VX+/Xkb1os
RcAkWJzaigOlVFeGQkEqjd14b3mJ3JwQ2x+lwWBhW8EYV1yT+nQxaE8T8E/sss2WRgzVX4IoKQRO
aXKek7DpKOZBd5yjNJrdlSw8trN6+b+VZ18SScxYWf5oGTqXhGBcqE07gjfGTa5CoVNT4YY4VmxA
cchwmCJ2ahJipAzrdBQ+8tt8q+p3Uzcw7xGXy0wk/nImDUZ9cezmaHwQRkMueo2Lseu0Fyx3tj9a
vMNNwf5yIaBD0kNp7LAch9bJKPGszTZTPya7KHztn7ru/2PrvHZb17Is+kNNgGEzvUqisuRsH/uF
cGROm2GT/Poe9K3qW31RwIFg2fKxLFPkCnOOed91tb4e9S8umm2QUNWgdxvEWiMxkaAegyF1F+jC
xR9tGju9zyo8I567wtm1bbHesX9hlJvYP7GYf5QwneNYgucNnflUmClbsDz2wKhSmJWWw5zSzc6C
nRjOWGkmiBjy/sPLCWjssW2uWVyxgRv85o51OdoJTYVc5OcLP8hYlqD3ZMMK/Nldt83pa9a1tNZ0
ljOTX5PgKiaVBtyaFetvNtJagSAeof5qKrpzYic3YDSczdh4F73Rv0MWUBKknorEEqpRoitD7l76
9cNY2/KUiucJh5hGdOaNq7xsSy9srsR8REfwPvnwETL52IezA26P6/+EgrZrLmXqczRW+B3QmPUV
+HnYlBug7dOWJQFgJFxD6VT8GHqFZ4CMaWdoOIkDFUK0ROPWGt2jNvjXMC425uw+s9Cfd5XGUJ71
6nYqUoQ6Y37QqR70LPmyfpP78gMrgZfO9Bg+O06AmvzSE2+06lz0S3ipvcDKErXx2vhiosjf5eH0
FkGTAk6v3eQ6l4zGwT4UWwim1NJhQqse2I/wRLqD6fF+RVezdkhkUeCSDvpYfY9dcafbZIfYGpkU
C78sQTvWDMzSinp6gRyoVlFC7hFk1nUy1D9F37QbVaG0tpW65EN0gfXgruIieXRSBq3mU46T9D6R
dyK08d7gn6E2tj+RayHesq+p2tn2gmBjAquMfVOzc9Ps/or2Fzt2lgUe1rY1Z4aauOkn2RWbYkYT
ZnBq5wI8UAgXpArrc2IjFWhvC+KixaDip9LO977WsBsiCAO0NKNEP5rnwOJQm9Bqg8FjnDewdemM
gAGld5pxBYRZUA0LEoiIurIjn7My+nM1m7fwX5GPq/FrsrQfW4t5m8zDMlgR+wmOKWJz74ElzbDt
3c3ABW49S/+NXIrX3syclWlY5oPEzJzQ3a4x1ydnVnFy2/UxPFR2REby2rk6IOjk5LGsw7u1dsv8
iLCKhA6GZRtSScZAdskyQSEpJ1u2BJziVWPswmy6p27fe2lySdrqarFPmLMsQsnUPA46yUQTRDeu
hCEmL/76uRd+D7677u1Bo+eMsCnS180wVmabrKYoHoOybV9E30wrf873LY3nBsPwl3aVDY69iVeu
ArlaowQ7qPESZvE1JLp1zwaZ/WUxy2AqOasoz1/VU4OTPNxDMD84GpKVQiLXFvU0bCYyWVa+XjKt
nEhWq+zbXMavjjVclfccGgn7Ds6+K8GWASuu+eZU432WfFPtIE81SYDtPYAbTUlIuRSMMi37OzKI
xGmjo4eRDflTwhxRAysGq7uT458kpMMwziZwREzs43Nr0SR70SZq/Q1A75uyS8gVsp70omDHvgT7
zcOVkMlrZpp4uXhJ0p5BYA431okpoF22HbLXEBEiHZ9166eNJW95ZvMxqKbcYCwwjea3Us4j0zZI
fPlWDcQ35wqteKbKz1xmZ9SuWNyZiEzANgyAykFmb1DOOij/yrM5OCSicHbfmA4dGpI5XpQSA5UQ
+RYaM0wezvtp+5QioN/E5SxZXFKrMeJ3dmNHH2YWDTZITW9WSADjo1dNm26M3nPT6jeINxSQogjk
kt2f8mGYdop1Nmdj4Nzo2FZMP2/6BgFpkYXbUEAuZjfgVp/LP4vY4snz33KXmRP47wX5ugjewR7X
mf6Si/4D5SFJbE4H6oKKfgoByrgYu0pjDvJBX2K8cP2nC64rimFL2VIgNjEXeojNhJekOC/hL9aC
sN9Ghn2fq7Y5jDSIIxmICGlvJ6kbAYs2NHNqnw+YFBwAZCuXo9Cz05+559jqeeGCojXuTTjiXJfR
7sS44+fasoNQVgkLGd4FmYZOulxM18qmLxrb5iyKXNt2IquOxRg+xwVDtN+vxaA1sZ0sD/u98b8T
D8A1jjJObLmJHsabEgCARrH8j1G+5b3wEC+mbsqQ8pguH/19122ae9Oa79EI9+u/n8XvQ5vhRJ4T
ZpvKqY5z6t+0aTRt5fKUhOyqY5YTMPh7tw1zxea74HlVl7xlWrT6/R8qqAaEMYbVhgkMDvI2/9dN
BAPCMhahb60WI7nm8AXdxFRscub5/d7fV+P35u+n9Y/P/fU7/7fH/P6Wfz/6vz3k93MS5T9O1OWF
/8djfp/DP37yfzz6rx/9j6///hd//+j/ePh/+wn/7XPsFXg+MPCdXaMJchL//xPDY1zsfz+JogJZ
3d9fN6HYz5wjePzvkxJsEWdOo//+/t+PikL5//pt8c6mLQjOfx92//H9f33rP36137v67w/56/9X
41zsf7//r19zsgJII6s8IouPFNU9c7UbXRkSBAXte5EmTxHsq11hIki3O9TvZpINoO5uPW3qd7gW
ntmc5/SZ3h60uAaE6a3HRLWWKIZYUaOiMH4yJqA08KiOZhnmx5TeahYeWGIGmLGRYCuf2WSicLat
YTH3enjGMdmyYTm5um0DKnSRK+pIY+gV95ZeUbVUG7/rvR3xxmJfgVdfpMrIBMYRCR3/U7v4o5rs
XY3JjwULhtG++x13Y3Zlh/BCQU0oWkKJpWK56lS0kSp7yVqqhqJTX5mpGWdXOYcqmjtU66mxjb7a
qbO2TGvajZW3XmDia94J3wt8wn9eIE/R/uvyyFXGukxu+DO2qju+Q7pOTrlfwRowPmlT+0F9oP5j
MDdVN9IXJMmT6EayAOw8mVefA/tgq5/iPUBJVjDDAHzaUFsEMHYQ8f6FNHaLo7qGB8ouKvNUtMW5
Ra3StR+O5E3bYdpdW1avILJ0F1kDnPPkoXfQQg7lIrsYoh79u7032kUVESs8wbYrgs7FwWjYOMP4
6SvpOPW2SdHTDq0zLsZ9fIwudVcm0W+rmWjCCrtG6ZsfEXT1HVObFR29Wvkm43dnTNU6yt/8mgVV
b7LZYE3DZJS6em3gTdwMKZxeIGgE+zlbL7e+x1lsks6tHuY+v5Iv8cM+IHnKkadsJrBpFH/GZ2ih
6u/UgNtBf5bTTeQ73TqOsYKGhlr7Vn3bjDGGvIxxLOvRdB0mtz1UsXVaucM5GfU1dU6MRIbVceKy
Te4xfw4GnWp5HjI8w7ruv+Fh/GqE9lM4tbkBMndqXBShtksoE5nyNtljBE/i0OKFGDRk+Oa2QR6u
EyZ1MBrK4Q7+0KZ3KosZEEeWYeoIXMbkU2fneKxT4LdZttFc1Ja2zUBeEZcKK5hxUUMOQRIxxOO4
uo5aPWBuFB9g4w6zHn5AvB2CWqDgjpMPo7JNUj41f20kBEeouqevZ+o694xwfe9Biz1vo5b8x5Cp
pO3SCiY5QNxmBt2Jf8VbT0226F8bAgMApyM7ltoeli795RIvp2X8r10q27VNPgDGQtpELdvrqnim
AX7pQGEd3PCFdSa4IpQZq1BF17Z2800ZAjjRNesuiSlcxEyMuw6ifuXiJDvZxa6IWfRXI9yLukv9
Mxz0e1918RaCG+4dGBORfMMzNmIa63dV3xs3tpN8idbu9lgcgeU6ME3cMMROMrHQIWYqgBb0SY4K
LDTlPkaGqNhdzhBBrWolitInUiXH4HeeHbqfhilTUFTy2R0ZdY26+YwniFdefuKCBcWRoBPR9mAD
0BCSvLt25USoRqwdB18cZ2qVdT6FQVWjq9fgkL2Yh6xg+TBBKA4IrILFihCAvVK/Z2OwSjLesmMk
fgyv26NK6FeYacoTf05eD83dhi26gBzY+ZF9Reoaf3oxtxuXrn1Dv3GZon5GcIm1I8eLls5LEJ9Q
h9ZniKLJ4pE99AuX73pljJzdEMLyvQmb3+TLZzhXZA32WoJ0ZLuk/mKMXE/MeuzMI/uaCABGe4qx
r6gOBVKmtUGHrOvjKapezUp/6hHFdc1il0XYbIaU4BmheECRb7I+/hqA4EKv1WWQ9dN5GogKbhiq
6479hJI8YDzdIOoiI016/U1jype29Vm6T4AIdDbfO5jh1TpFpETq0c4ahwMN4Hixx4mTecA5IlzH
ObhhH3CN2gKatXdzX7xrXV6daUifHMe+71VNi8AQehUFiGByeAu84e0IiZPXkqthZPbd4NQoasa9
FWesV3T8H2yH/BPyyUAyN97ZNskR9bsehUe7Zjy/AEsJAoFBS6CbrNUWFogd1GMVIRxiMkQsxJrR
/cPg589m2JE9AOJu12RIV4oOdajuPg2MOJB0oYZT/fCeNGa0J8XkqczzsyNQvpLTsJpH9S7c29Qx
SSDq2McQan5yiiJfDZqNz6pndpQv87FcGoHRW/kqrVM/iHWJNEDtpcYav9WZeJdoFuxi3DayGI8N
AhsOdVTathZkhsB3U6pv13BuUIhHk48+PWGJzR/iuTbALYnUI3gqCB3k22x02wM2xgJzad2e6D/u
Ql/ccjxARhPagySI1y62U9SO18RpKozWHVFwrHcmQ99mWrFogmmVGw+vfNtkXDaFFmia566z8lmL
khdgDWoXu+TTbtxJPJemspnT0BoAPGHur6V3o2Pb+5AY3zIWE5g4nGAMsjaNQaN9L029PJH2cSpK
7Ycdlo2Ii6dRudbba9zj6XGKnv2eR/K2N4h5yavdmkZ2QJ/dXFno3rJsXNmyfu1lTspdv3CsqVg6
c9Fwj0++ywUMSzusj/IPs4ovPnY3BEiQE4I4hJ4xZEiPT4TlrXuop+imZLTdVCZLjxzCQV5qCHDY
RphODwWx20SsUllfksOOyZjA4RBKPWkbCEJAfaEmV7Fzx4LMsq0nZfqsC9LZPiRd4+28mkmHE7HF
rTGlMPtjDpvrrn1T5ghXdW2PRIt4oC5fuyZ5EnWiWFSNJk8hv4eR+OlYnOed+Gtkob8XqnhCGjmu
0rnRUT+3jyS9xkG3l5PnndxBAdbVwEGIEJGMKL7duDnLybnHmmhs42mS1INnicn1IiaMxnqbZNvI
QncAN2nVznXNooQEKBsV3GwHKVIbO0LPUoMVtoZ2xbFFaWWZR7vEAaF0xhefBVvtqJwe2LawWEic
jzlhJCRnpsDCMuJNo093WZKfc/EYO0hnPG1LCJi+VqzMZRKyqYCwinHEe9eq/oYD8gE2wnKRoct3
EuyMVrdLRizjxKqcRzfPD71d5axijRfMi7ZM2A+J1sDiw4pV07Jjb6sbpArWyg9ZAo8SWr5FZtKG
eUrJo0LO7pn/AzWoXQkjhFBqWISFg8phiMmsrh7oP8F5eGwWEGVSjmQ6RKkhCshhachCNtYc0KyX
2jrZV45AH8K+NbJ7c++b8R9TPA9O+mx2D8iwGaWp6jYWGQA/m6V+ZdivoYzPZoSuPZqYANkjpfrc
B5H/AZ2QIGY/UafUp5CO0PokU/Ma+/NZ6y142eRcwl9DwFdUGztEnNQkDBzHkoQApa1n5b51pvna
VMOrPmNDcuwcHXSi7dl+o75qqDA5wLdZw2BK1NhwifhiC7QxrYka0kZoArabKPgKP2apvSxmWWfk
KqznE2hsP98CEOx2RG3dMWwip5XvIL4+e85nbJKcDxmbsvi2+hTeS2YRZVCXFydHU2y2NmYpIPZJ
MhNUdTdUkEdyoppCMyTpAbfV8FFGiGJk5ByKfBJHxxkYW41ec5PBMmLv24vHGeAnphvye/vYjwP0
IN+x0TrIFzwZDH6CUF6M5ckMC+yCEYtiRYm35cA/Zg3z3nXITIFjt7OP0ojqbdkj0EM2FHPiicK7
Xvreaah05GJ+1r7nWrvzvVh7Lmy1qzub2K9RDQ8ta5IbapBDbXrDA8bV5NazkovB5bYKE4rsalDo
M/T2u4bJyHa2eY0WBloBdWbXmrnYGBbjtd8bRiD6HljJUXcEM/AU5TNBFOaTSPAEuaLTOBWk1lNV
V/+625MXegLdx7Ad+yums1S/aI4YXhqPA8XxXupxjC6lM9L5ZezoI12fD8iA6zsv9lkpDy7JwMtd
hm31HYCkGgNKAvRn+Vy93CBVMMnuSi2aXe7+3nSo/zaolhia/9/nQFlO2NWMiW3fvx8ni4aYsUq/
NXjDbQf4vA9EzpPJrQ8fBhMNzFv2dBhlM90IrbMfLCdxN2YSv0tjIO49bxSyOV3d/H5EBN4rfyr9
8I/P97VzJGEBwaztbmcwes9QF0QwsffYhmCMn2VviE2JenJvLF9tE+Wta1tn3hi5zQa3B52xa8XX
ChHMqV8cbsu9sXLZXYXak8kMkKs5nSRed/euzpu3WiThq0KGDkzW8o5UltFzqTr881oIHsNot5Ec
s/3vw8YsUIlsXslQhTIQNQ6GwcTf8rNC+uwmO4e1AMxEGTfh4SAkuXEvEePLQAPr8dALnbKLXIK3
JRZBMiV4Bgb9aLuYxbXlj2KHPjkEy03SFSKwZgr4HmfHoNz2wS7j6CFs/7rj6GX3UCP2wv+SkSUH
WmDdVq44qTDMTypC+NJntX5raXG6KeP2zjYSsSersXmKGvHcApa7tsu9JMOb1hBmfP79IiBigAeS
4RnXILHviiiBAzSyUB9175TLcdiVupfdNINGMvYgnHuZo0ZOWjaB4ILoHBO2iVli3hIAOt6X2Nfo
bl0HD3/t0PJ7qFKa+UvitGnG+Wd03FPd4fSz6Dyh7zZvTPoJyW2sBn8PTtoJ6BxXQAqOuan9uy5l
qIyBcWBQmbmIx0q05pbT7TkTFifLaVA5GG5zCLUxO88ZvaLW0D6GSrl3WE3cO+AIG2FzFRxK3vKN
dIfnakmASnr3FRy6u3U9c9r93i0NlNycK48FBh40UGZ732esIUg1SI+/d9G9+rt+Gr6qWL5EeQZ8
2rJYjVQavUM+GiRZ5TVdBwLPNmS7kHG8GKXOGaS4MZnbP+pITXnC7Q++2fA0R2LaTa51DzY3PCWy
72FoYbPmdCWv7nJTOLG8zp6C9e7icvn9gqO4NqKZ4SuQKE4iZlerhnE32PW0ycBsBGFkjedhsMiH
GYMOjMq5MGbKlqG8M3MPG2ZdNAJkDx8mpHDKGlcuMQrXtGrquzgevisbKimYco/S0tJOICSXBsyr
gPmaT721LIebBg041deFGZd9qGR6m0PVC+jt61NFWu7VJ3Rn4+PLpKb1S9ZRSRg0lSiDqE8wLnCd
RGwHCWWVJ1y/SSeL76tiKPjT+fUHnfK7mRjdrWn5nAnziatiA0HCKzLr1vPvClll9783o5Xah9Bj
KdumyD/9pD7+3rBBqEn948ZjGcDYY0vj7SzZQ/G1JVudwXAyXELNorlhO3ZOSfBxsyg8TCADzy2/
EGBcb+WA+ryY5Lkhpim2CbyuCZdcSXPHeGCjYbB8Ctm/swajn4gDkumSmzEnoKKx2FQ63aeDyPfZ
yAkVoppi7UBZowN33hl+ZD3ZQ2lwdNoGyldBezB2846AWBhX6WiexVj/yX4zPfzWe/ZGZPUVjsTb
gmM7d4DMQQZBIpBMlPdAlS6z5sd7RlPmSQldZ8Qiw4MDT+4UCsLj4wZXUt/OO9IW3bvSRZ7MH7L6
MDKBLr0Ov/nlH8oEPLZkO26Fc3zzewOV7pV3PF1m72h3yFns1RAWzpd6qadxxEmJOLMBGHM3VbgR
KPTXTJrdg/Dt7oKnj+5Ijs6DDm1wZY2ZAZCua071csO3n7rRfPGaOnqqfc/f2tqEIC5W2iO2z6tL
bboinDB89eNkW1t6/iz9WhxJbT/JqfxsBy294qROiIcFz0SxQNkSzeNV02t1xwnS3GdNZ2F1jdRr
kTd3I/TyDQs2oGCJ1p48BqIzFvsLRnR9C2NZHefBjK6dnz7opRE9tm2+Y+ve30AdKldUC/bzlFRE
hBJFQ7hatjZnTFzsl2niHRftQMGSFja1diwqR545F1Rb4CfaPVUQLvkE+UU7ZK/pVPcPRcL2Jk/T
/CTKRBFD48CB1aT2WGqGvcefB1lMF9pjjUKF7M4HY+R1jhQ2Y5cjVSuiZfoFmd9uj9In3LuYdfsE
w5QWvuBN1aG8vYJIFOQbGGrTPshKjNc47dB7Lje6sqYrFvuH0iSalqzPgva7QLOVFzXYUKi/+1Y5
Pkwy3l5oWdCocuje83oyMBh6vEREK1lYQlYoDr2rFHpxh6btS1WJtsaxGeELLmjBIveYlRkWu+Wm
QjREamR6N6kCFAJD1FYzOMymKLlhnl6dKguLy/Kp3xsM1nD2i8xAqq2c8+9NPnPuSwxnDn7vxpH0
twV6cZSTmX6MwvrpN0CKYXh5+3tjxUg0VOWPewlp+mTr9hw8hLzJb2bJfI8JQLqr0J3vnKgD0pHm
h0jGFORYaoh2cbqLBV4G3kk64iXBgCRIyQk8wpxQipAk8PsRUx0qXmJJPeVFRM3zBnZ8y9+CNaal
dHAWBVaeeYFhOfO9yzpy0mgWzbnQ74um7g/9CMzu94tThkrCGQdMuWx0TqY5M5L//XBezkZVn3ZQ
6gWobaE7V+WK7NCOjbV3pIPpC5FfC/7UhzkcD5vMS+vAgBNwm885CsYIyJht1YoxdukBezhTPfLW
zULjBGSf8FKC6EPID0/ukIWM3E1iwiIpH1IoACvwEuqQhHV2mlDVrwiBLkjcYk3OxWP8Q1BvvUHG
CwjR+sOJHDZk/zKmpgaFN+/WmWiuEfGkqQqtSzVkuNUbMlXAQYhLO1f/uskIOqawMieag7m8aF0B
TADr0qEMaQc0GokEhcxeIj3aTHi0ThRD9MU9Bf48tE9kw6ff2jwFPcN/ZOpscgUNIKrZ6jxmiXs3
iibdJlaCbXxwbqBx1GBVASRbgMVvVQP/xayFAIcyKWPnDpj1hmVoQc3KSFJWWy5H8N04H01I0aAX
6BNNuSXYj5fZQWCp5OWq/SMyWW2nUJRdo8zcUyZ9qIiIxMWsoVb/k8huimxyiGAZMmdXMcUtihmb
DjA6cRx/FZaBvmhO92yP33lXyRVsd3Mju5DZCcZNrqY7d3LkIZ0wyquWPDHwfzT62Mp6q7/Menuw
vEJulT85q3JAn0otaaCYvDLeZaNROiwz+p1n8M4kUPcsR7pTC3k8y7FNKznlisgmds5PN9gHQHta
Y8GEiyPUcqan1pzTM/3rZ8kSfitycRynqjp4+uSeJxOPSAn9ebdwfluHACvK1IfRIN1YYbFcdxVV
XVvxAcskKyqdo2HXnxyYb0U1vWTaDFa+aNNz1W+c7COrZfggPOGfKoawtL1y66llVmyZ+nFkONmn
9WOK9zFPfKbuAtXaTP5N4pMk3HmrOPbOUVGkAfsb1Myl/xn3FHj5ZH/2ZQ/UgfiAIW3EqTKHa2x5
T21Scwo7teoyW6524g2bBwNATwtDYRem+Fr0jti7uHnQsviY60haQCaxASeDqc+GfeYC40fzuTWa
0NqR7fKVqX08WfdNHqMkRgS87iIHfEjLRGsmsDpIXTe+dK7pbccRPVRqWC+zWyBA7DvQxQ6gj9ik
+pXenVmKXRdBGCJAlS1El36VnXon4RyfKGDkjN1W2cigsZ2dNNGUYoO9xbLlxu4f6RguyjafM4xA
FMYo++zZEQMrlwaoEjT8hMKiUzWytajrq0D3vcPB+sV26D4jrRRsKIw06R/cjr8cyKEPwDN7pepH
J2oPlENAIDLm7tFJc/onz/aYibbFqi+698T2Al5vB7JcgqMBWyVjKrRFsy4ODYlfWBdv1CWL4MAh
KZNrRpjDbbNu4dLeeE1VBTR9nTVhYXYYGY+Ox+Ej4umQluN4KHn+Z1XN56bVuQhTtMYaY5NKYHNB
LzJayB1cloxEpPYngNlbau/y1qsojFJ0gJ0LLLpmPGMbxfQo3Ly+mKL8iLXm3CnVnxBAMGbTssdE
5WpdOui62sStiJcFpKL8WdtZvXb2U73e+mOhgiTL50sq0MAz5qqDFFyGqMyL5ptHkBIVNJ3oxsph
c0Q6BBi3DKoYrFOh+d8NsZwr4NuYZFKbbCTTIHMLqKrrGTtEZuJ2jPOPAdH6PDgQd9H/obLYllMV
Hcwh+uPr97jSiXRtVlEnHzjLXN0SLWBnMjXIbhKjncDda69V1X3im0RtnYhrMcLxb6zlewAXOa37
hDqjWpu9fiFf2IEo0B8rbPdAdWY92w3j9DOM6UXJ4s1D/HrwZPeKfihmS5F8jn/ouFl+mMO8iyy2
UkRw0/ugsWOSzZrNYO9U6B8uIbGrxs4wnEvtZUQ7s4paEINF/GaK6RHzBKNdAw40fLjU+6g1AUJE
MLKqOsa77mg+9NrDFGbuyvcl1+sa5X0aoxae23aV1+MOzVJpmHtFyaRI0wrsbroViZlsycDABZtG
T0YhXbYNvEpqaFZNw/rJ0OdbVwdtLroFulNyRYPsFOtNt2Uk+Er5Rjw9O8J5Wcy4HbYBn2X+ljS9
FHsKVplhgKPUYnAfwgwZFy5iTb8dQuNa2PFbunCnW4IANuy6Nuw8KUWmr7qdZk63811Jals5cNnW
QpEEo3+fu1UUFGGFnrrWAZ7r+dVMcE45VGW/bTCjD/e9IKXNz88ia19nxMGkp41vFBnHHncMuRuB
CRUyqb/Lvs1wswO144J+GhboWxGpt9AojL0zANBIUJc55Kdd0dWY66L60IfpC3nyZzoZnGe9/D3e
TmkNsMTjfVRN3mmUg3dScf+VJtj1GFsnG7uzCdBIxCoW5Y+vkzHFWeMTwd1zZ+YGRmmqY7aeLlRO
o8xWXNLQ0WR9u+6kDHKJBYdY7Z3uwwwvdDrYRnshWvLH1HFkVd1tqugbuyVxwyjrt6iq7ijiX0yF
I9hKQUS04TnS67O5TB8NvP9NY3/HeJchx/eXMLyOIkWDXO9nRR9HNO5mivU2YBOG+J6Frt2wfp+y
T1XY76bHJEJr9TXhYTj4UtTpjdb86RLtlrHRxfUkfZp3jN2UdIS7tPcRe0vznnrE3sux2cJyOyKc
iykFu8fWT88eQx7qeCOOCA+3H6cwIhsegm/qYx0hDeFYyAJJaAfYGA47vw/7lja5S1yP4wRctbst
uJJx/Kd4vaZWreKpQAo2XOmJoGzkRGe6P1rM6aPxS3/j7ThDHRIXxXKCAxb5vu1gAkZLVi68BELO
nXsDrWPvIZV3bS5F8ahNQWJG75FUw75WjxlsFAj9Yj+yFNYEs5LSEqeU7JsmBWGVIUpGxfkkBpa1
lVst4mcsq4Ap92wrrx5vM1ageBL1ex+FLhEz6ugW/hv6pWbthCCLPdbXbOzwT6nqbAE6AxEMbdys
vvLOzEgBDs+liBirjz3vxNjK9yJt7kTrv+Z989CkOKiLjp1LiUlyKNHbAopezXq9b+f8vU8szntJ
gaYucm4iuW7D5VIrE9Z9Luwz1++RExOcF3ks/+g4bTq4nS0NDmcQGzr4M9mLH2zbRqBxUSLCNhiM
PIg8bPVWBzKdSMF1icrngAy7jpwBvblBpUUemJxjBCJu/kWE8Tp2zcAMYdHJ7mBbSFrZ8e5kXLzi
2kXEIZtDnrz1dfie18oKpmh4r7QpXZemhsQut0tCAwju6JsDLg6QV43/1Vbqe6kl+256nJz8rbaz
fiNrdIppGp4M41nL0K3YHjWfroNs6niXElY/c40RY0acoUK5MOvyW0x6uGlNIhMTMeDBTs8MAU56
BDVXY+tbkIfIyVSrsIIRRlRZxcG0gFWi59O5dB2imTxkxSyEy6oO7ley4SN0pwpqw/tGSFkDYDCB
UFeUKZ1JJoxnPhPwCJIymm00lUPgloV1RuWXOYQVubEMzIbFU/YxWEJtM7bN2OLQXIy1ftCs9KVF
Kx5Cz9LQDix67VbD4tFq1e1cW4LMgMdK4RczDfWAyQJWN4jBOMEwkDTagzmZrBCm6o/uP/iVViMC
8tbW2OPDgV25tfm5hTM/JHMDCLLzQHlGeQC6ooczYrMLHBl5Ggadoi5I2GFoHuefQw3fOiaaeUXm
Q3QNmwagXJvhXXjyCu1SO63BQg7OKYcDSfS/w0e5FFuQ/eP6mnP4an8a011VVelD+j7NpQEO0reh
67T+u2w4PcYOflq/Nl8lfpFNFRPop6WfCQKao+ZpESOyie27LD8mSgQFU4DX9MOPaaft7IMKYbhB
0cvlWQXAAhBZM7/WOmaD1QFRcUGIbdfvhim7FK1TbZFQtCvTtO51LW4JDYE3OivrK784DSkbNjE+
61IgU1VtcuVisXIy/sgdRSNAniHw4jzZW0x212DWij8VEUpNPdwYvXfnDsO3zvmMneZS33WYn5Er
ia5/dkZUSWHq7nSbbqwGeZN4gE+LmI1c1+I3h7Jw69appEr0NLY5014yvtpYODA2UT9sWsK8b1vL
v2VjBbeb2SKXDf0LOciWEpt8gW7edKE3bqI4xsKdMPn10v7OrIzx7AnQD27kfeC3WFS/2aHC7ofP
q9hbc1JtZGa8KG+8w3KEkGdkuDTn0CFc9zwuhXtXi26HOw7ZlFms25TcA3JZAAJko76Dcoq3XgDI
Iq94Y3v+t0PPximuOc6zOBFhd6JsObeR9hmm3QlbZGCTCRZWwxeahvognOQNAY9+JPCCgySL1xh4
4wPpuYy1h2Y/69jDPZXvbDZkSIUpNBGXXQh+ekHAg6SYDK96rlcpvQwhBUyhO1hREtq3Kmb+ykQF
o4CAmlHa29F+iLLi2cH7kOsPNYKHXZMWr1pCt9QIbw/Y/9gBCd+PpNi05UtUIBw3QkmwggV+sY8t
HOYSpJyY6h005pY4DCzLknyCovssyROjEUBQ5P4vZWfWHMeRZem/Uqbniepw91jHWvWQ+55IILEQ
L2EgBca+7/Hr5wuqelpitZVmzGRhAgGCuYW733vP+U4nn+mmVUuyNknSAF/aZhgBYuizSTUSU2DC
o6/tSy9KAkbGOw6vJ6F6FJqc2GgRJz5Zgy94A+2gOdiJDA6aJt6T2N4n9cw0lDaSHqcjg5KJwDJs
ppeRdmfaT4+lpHMYT8iPTSBZ2Uzs7Js5xdTJFq01oXSXs8IhEdGaHPNnUTIaFnrz2wQulsH+Xg+b
61hN1kq3/R3YyvGIE/0Ly+GmBl0ba+PEesXIwImcs2u0WMRGvNN5nG8sd2QQUYOqlHm3UZO657H5
xWr4IHXhQN3pue6qdNyDL1C7Dx5w0YFGw1KN+hICqNjKkclKQKZPBpEgIVSEsDsNilrFjavVl8yH
0GjZ4PimqaZuE/43t6QfEHge7yssLktygqkAAERFT6FcMYQBxkLxrX+3yaBGQObti876rmINjTEC
ASfBMZDT3SNz5QIH8bX3KqJLCM3SQyPmZR1xgVgMQfsO5UbP3R/PeS6hbNZI+Y8Z6T9LSzlMjMMa
WwjggslTDyVxffzWgCJx0htQ7y0PgXyqJsWkrgOtDAgqgCjinHqvOc608trLdfiDrgfEStBz/maL
PDgjYeZGfxlIiyTP9GtTuC7MKcSSg2d8GAUbPh1pxDOz5Yk3WUSXtDK9Q4uOoYvb6ihHwKiywT4W
As3GXdeuAJhZK7M217GbIKPXI50JOl19bG1DznrQ60y57dZD9AohcuyfOFpKqDkMGLy1tL6aZNBu
iET1l9VAtha6lXyHyHKBH65fRaWDAMPMny1Gm/tan7G83Nd7gBjrpFkEcVBsK4pT7F7UdC7v+NqX
qzDPXgPRtLvKgW8TBAkQaYMR4fjqmRosS+QqjEVXCuZol7o314vTUwxuNBXWw1DRGqop88y+jW8x
5lrGfHsm+48d0TlFTQ6e8h5GLZ/hQ9XXwJ/8g0Xisyzs9lR3Cdk/WKY7Yro2iqdIqlSuFsIkszbT
35nTgGmThGm2HUJCUcxnBKnqVVAUVGZ2yNh52o+Fx5ihqx5T0iYSOJO0W1DkigBJJ2fbkoQ9yWdf
D2B2tC4JvQwvsGBZmzrzkh2Oy6dAuSTGJWqpa/zrMnMPWhiSbQAddGl/YY5AcEeGPlE2e9+h9cTH
mc5SPeFQbAAPoTeo2RE0KAphvzA0W3GP6NmmyGybGmAsl6VpnAsf0ji2TgenV/sqXEhvVbzvogE8
dDE3IXLGRK0VXSutI3peydOPf7hPOdBWlkF9igCEQU+xp27hTsSF6yB6KIDJAUlg8YUl/jgWkbbJ
dA4tShkfsiSWsuVUxILgEW24D8zoC23hB1AYYBhlQwS8HlaL0JYQAiaop0i8+PGINtovf/uPf/zn
t+F/+5/5wxwOlmd/y9r0IQ+zpv71F2n+8rfi9z/e//brL45wlK47kjJaN/AuSdvi+98+oE75/LT4
Xygm+thGT7GMg7I8ugA5LhFAUtek9c+IdzgHABU9YFzroDNPnkbjTU6Cpq4iVk1VNDNdgL9hjway
r2BHI91Ve9LwHu1xN7RRde1ix35oLIMnWWV47NUsk+i86188D/vPz8Pg4QtlC8NUQjdh8js/PQ9n
7KMizUC9A2/Z6EVX77B1dwsZpN0D7NoIGK2RryRT+FsZxa8QJJAZp/XZlbZ2KR3P3Q2q+FrGg3YJ
nI1Z5f4pscKnyHHGA3EGGZgIvVxjfMN6ggHUEb32ZFuZdxFjBgMxaOzVv39KpvuvT0m6rpJKUnvZ
yjL+/JR69gOsIG64BmwW8cIyaU+pMJjhhEffS/RX3Te2PcdX4oACtYL9OVFx1TcYksln2Jdb0dks
DWl8oSpQgzCu/30h9Ze2QBg9l3byZCWNe/pxmcBQnGjX17j0ksHoriAPaQKjtL/PpdOyzAsTMj+w
pq4jgahP8ZgN9VDv8qJeVnXaPFT66C8MTvDz3ZQ8I1OlzLLt6cAoL3kpbD4/NCCYRofDvpFtQas5
Ci+t4OyUBGRN/fjSzlj0JzNBCJKkVzNVzj71jfuPrxKz9fc/Xun/+NNdUP+4K77lPPvQD5qfvvzH
PU/57z/nv/N/f+bPf+Mf5/Bbldf59+bf/tT2M798pJ/1zz/0p9/Mv/7PR7f6aD7+9AV0OjbPW/tZ
jY+fNdOQ/7qb55/8f/3m3z5//Jb7WHz++ss3wOnN/Nt8Noxf/vmt+e5nVv6Hj+T8+//5zfkJ/PrL
/SObPogs+5e/8vlRN7/+Yuh/NwzdsRxl25aD7JZbkpqT70j373xmBesJy4syXEv88reM6L3g1180
/e/kxNuMm3UhdWFJd/5Y18Dg528K8XfbMAFoO46EPaik8ct/Pft/rmW/v23/89om1J9vICFsW/BL
GJQR0iAs9dPaRvi7gzVUonGeSEkiwue5o2HfFV1+wY4crDFRWjvdajrOH/pHw0xwleWSG8yLr974
+YfX7n9YacX8r/1xpZ0fjYN11+D1UqZr6H++nUva0aWRW+R2FiFUW5Otync787HQIvNRuvZdc0Lz
hE+I7hrnVh+5L5jh9HHooFeOrO+rFgrrQpVNdfSctt3++8en5M+Pz5Woj9gN5jfUNNz5+3/YCQoK
ES3qGHUWTquvdRFgch4JaSiUpPTIx61J4RKxh2L0cRZejteINxKzoT+3SGt1RdhQznoPAg/jZDw7
sfuGa4UxhsasoXdoxVh5ZSPmo4vvW2jMx+AWk6S8ijrvM2+QA3Z1gP8POdlSxqS2V+wsDCvSv3im
ko/RT28FTxWcicOzNVxdGj+vrLofGSnHKbp3IqctCSvUTY2rLjQcqgkIXtev+2UyE5J16FsPoqxL
GlrOsB5qyomQgEGQ0F8zWX8AEWUjmS/pCG2qpJm+0H26bqNdEEimO0w6Z5YnNa+9KSZzWBZSkkPq
ZxnjwrrggNjaxUOInmBUdUMJXphykRG3dPEjBUi6vjeeLmlsCPM+MWHwezQ5eWsmawXz50HW1id9
9aFt24uRAzuYTG1216Yc0FLo4ZnWo9qSMaP0Ovj9glyCbIyBQtWoaMEFhbUeSYKD+eJ6WxmMhIyg
Kzx5QXnI7AlMKbomopnzzQhd9Lcu1b6G/J03UfdHz3Z29pRZu0bCQPE79wKTwHpgeHIJagJmMjgL
nNk+sx5leED45sYZqNTzSgSb2ukJqx2wINCqra91G5ONY5XR2gRM0OZxeXBN1c8tMwPIFnJ/XRGi
xTENfAGqGJLnFioZ0bx0I7V5GFzSEQurWeJTao2tGQJ4Bv+/RyX2kRB2cPBa78GSpr21JtGc4i7f
+K2t8ym0Xs0BRxCtZ2OvG2kJWdIVt1Hv981gDUyx8Ij4QKK2ZZMZF7kT/eCdI4ecj0KPmQJ5RnRl
lYmuRW4zqkUmeAgz47UjlepU0Fe/cA52Dg2c8gU6A0BiBuQsmtfMyjIIGjFdxkaI8FaEL5YfrUUR
NXdO2mpPQyleUH9nTxxiPiKkPwdkDEyofPIu8buclWFuNZhT58Qa4oWX1Ju6nLqDlrTW8iXqGgyy
EeznJmBiUHSI/yNJTe+InVFzxCTck1e0Us4lrfkL9ALilbCqN7LG7Qvn52hdumWxUZaXbiy4jr2F
sNwO/YjbvWmOdn5yKy2dlace6ZAr+BW0p4YvLeEpGcrndVeVKHxlvC5sQ5xGGAORrKI7FTi2PoHO
erDNc5EEwz2IwpLE+spAog9epGmb+kDh42BQyJq1MQfTJVRRBCI8W414rivpI0owVmB2u3Vdh6jH
q/AeYEbGVgHJT1ClPzaW89UT9rlmpH5kgF6s3KAN14z5Fc+Jxl/o2+ABEK6tLH0KbtgV/uJQKuZD
5x+XfMlOZ1iOCzlRMAR12Af/uKT2JS23hDEQC2USUtsk06HyC2dp0I8OxOOgepIaMcStymCwd5pj
wsigXfMe1vY62SREEg9g0GnGhoBgqWQxvvRKrf/9wv8vG5NkgeT8jQjL0VkVzZ+2ycLKcpXkeKe5
0/yrx55+kB1q6FFfAJv3l/HUj+8po3INbb9fDrshij0U59j3YouY5S6UX0LSKU/TED3/1WObX6I/
vYRSibksMXRhwrd25kPyH3Yl+vAucUvwvlBi+FeNlHsQxZ77lqOMwVs6Ni9Cw1yos6LcJcayKBXq
0FoQsPPUM9fEnVdQygwnPmmgXDW6QGlgCM7JTvU8xqDdgvQ0dfHbMHO6ot4Y95Rz+Mb75Fz5DSmv
3BR16VrHKEXS3o0qfIY3/+Z5HRiUeEwPDIHgzA59SaIlzHKd7Blu9foadKgoi5gsOAhb/SlrRH8a
LOwMPWDRbVY46snWytcWMvOHPqGPpbuT43UA2h/lU/WI3CbZE/kEjCPQqkdyNXNkZ/4qiXBD/bi0
re9RCOAUCAetWiEpq2+W+YTPrXjI+AOdquc2FnSTE1bel6ALyDqYpSWpGT7/0Ll1VssUyGARk5yA
yAo3rHdzEjtg1855HM3sHI0J4Szy++Dp9uPgQ9sv9Fl7yZAKO6JlQn4ow8uYhV+r3JNPYHsClR/7
Ji5/v7RpAL6kCeI9UsnqUdYQORy8w2vdCTo8noV2R8hEwkQTpVfG/UvCbYYrE1ygVy7J3aSfTuxh
pE3lWGR3XjM9eGY8nA2LtmVWZiNhXqF17npaF+SvRJVef8BePrYkXzKtEF9dFyaylfUfaQIttIkt
uDruYFzEoEIUBF23D2JecghY/mpMcch4ZXIBJWW+0LjftaY53syZziCS+gtKihTgr0hv/PRd7zHc
phxZ6IolQNd986KBWlgYcjBXNvOJNTFCu4IB+MskkmafkSXien75UANYmZp30+jGDQxBStbeTdGA
A65MJo1wJoUBAtZSs8vcqjv/xR3186FYSpPAeNPSOaDrUjg/HUOzyAzAe5HG0eGRoIFRu3enKR7g
RgZ7h90DD4DISBZJqq3rIqrBz1adGxVE97h/sCf37S8ej/ypchdSWmIuJHg8P1ainyr3qClrl/2L
vilsRA/U2U6NbrlBnJO+F0KA8tCPssqKDy3kqKg3pCIRKJfa/oyoqcQW5FB5Byb0RHYytu4u1NdJ
Ugb3CY/qysZDefWZ645VDIo3tp79AQJlVAXN8xBrBLrOIuAinPxTOKJEcMkMuyOWQ+qm0rPfFfCv
JuuUVpAEf1g32LfePUPbMpN9GsjG+JIO2IfN6DEMsvLuzxcskctpiN3bj6+Is4JenfVvtkubyAs8
PO9pUnz1vNY4wEgaz0OL8keKgOBkLsl8cdOZ7dt2UKrTtl00IgVI0oru7hJn3cQDxxOlHDB7BndH
SmZwobn9e9iEz2FQyb0C5LiuMuYZZkMUL/jBAaE3vYAwB61f6hvFWeFamg0HSY4Yg2QEOGivdk1I
dMSh5wrBagSqTN6YRE1+TY3ukYNJMKUbpapyRYom7HSNTwculYimdeuiIkH6OsG2OkxpGT0GCVjq
Ke8ZpCVmsDNZWq/kUKb7cR7aZdjuh8gJjlXXA5DEAf0oxFtSN8NTNF+KGOeKAYWOOmkIjymiZMe7
xIxtcCH7j77PsjjF3nSm8xw+l+nGe7NHmT2Nk0bqg9D0zV98Sn9uk80fUkdhFzRMx1bi5z0SB0qr
SoGsFGpkjcScdi+T1ZlQcLKKvFrYoXXLu/HDNlumnnxiS8V8VNrDe2h6zlEq/VsV/0XvTvzL3qgU
FD+d3evH5v1zGVPaUVWZZQB+1uLUOkhVbAphEdLlQfnG125+gSUqr4Pe4jeQStv5YRIh4+iG/+8j
hFKu7ih8Kobgv59bVZadFmD8ERqALfO7ut8bk1ExtB7zc1jlwJ8DlADC7UkOdJS1JAkJ0hIeuts4
vhRjbF99oyabDSQcdMrVX7x3P/XRhFS2broO3QTDUCZ9wj8fITi0e7qLcI7wGCfbZFF952VZOyM+
2tlaoLekgGAPec0jz98W82vnSNCrOPpXVuqDqDLtgim1AbAlzeuTQ23yLMtpm5l99RcvpCHcn2tT
xaO1TUDEdP0M/P8/leE1A3RmrLNGefT3qRcOV71wbxXknIpj3CWEW1dUdXJimgnorDLJubb26LHr
NTLvcpUkG9wg/obZ1YVuHlipRl1F7jx2RVOczECcK4FwKSaqgjrCy/aoWGZgThoeWHBDoAxnxy1e
tbaIGHKULuXpZK5aCEaF7I1vjcLkas1uxpwghK25mDTztah2JrGJ6DaJnjEZCadRdzV676scemJm
xvBitvUj0hlCHlskp/QtX9qEg35hBPuEomR2x5BHq2qDPF2nPfAp9nYTVES3d++DwaknKNo3y9Kf
OvZvAz29Tytkj4wH7YgB/Ddh0pCQ+CUAJS11u4b9YJQI7xjnOWblHzNfM+eJ/czDnpO/pxP9qukQ
uf1zUGNQ8qaJOrZuaGTPkeG2vgu74BXfLUJ+PD7Y8bUS6ugXoqcCGpCQl/g1ZfNdXoyMWTMH+YQY
pYeG9xvKdswKWUOl7Ru0y3abRw8pTlRmz+BxY0QqGw/KBGE8VFJtSSpgrPvJpS+DR8ODSYouwyPb
fhFt0yGn/RJaVP9W1x5LNm1331Czn0ZfgVvtk/yK9wCkq6VdbGTJYc8lB91KtwGxKPhSVxQH5P1y
k7Iwd4aGTCALdWaS+sekQ/0E58mr1lv9S0jua1z1r45VdJTYdrWO5jFxxPystkwa+1QzaMa/tChO
8FiiJMOXxryvy5ZNUT9jrb+7oCfJV/UgUTFusRj4BkaUPKKsBuvKTCzrqq+6ZvRLJbCuc7LsFtWJ
/61PpPU1T07SwofF9USS4ITLbpT70ej5kKMl7HzH30t6MStW6mBZ421aldARCg0kazIRmzA6/ht9
ajipGmpPLykhg4FKXE7KeEzdITybkfbk2Xm99+tvY5l8p/XzDfPPZ5Tk09HAkgovzjYBn0SgBKel
p+78w4deEKFeecaXvvpgi7khhnRhimTrItgyQ9mpPLobjtOsu9G+GoOQUMWDk9Em7MlOtQPc12If
19JlN+mYS63kGFcBSUsO4QDgJ5fjFF6V8LNTSZ0SjIE8hOZwTYkzdzH434G9LonfcuWum4In6cMq
jbFvxVFIW+h7X1g43rPmZaiiR1Fm5SPtl41skCGW2K50QsZJdmoG1NHars1MaMUz/t+r5drEF7MJ
MuM7MRslzJi4XBBijEw/PqSYs5nbSZ8GvX+WFjkaelkz4dfnNN4abLhKmJGhT1haTRwiZ4PM7aMd
OLX9u9KHgSeVgNbF5eZSEWpmWzwXuaatYkFAQ+2HF92eZTg+DLCuRJyQjCsdyhBagOLdzRseHIft
nu19Y0/WXeUdiTHZ9NID61OVm6+pk782VgZ0GvEy0swJvgJRUFlMAyVC62niOKftgwY3XGbCBR4D
TxuGUZsv6Zp40EIRogYho0IvCJYG69JyKFesZ++zZWIZ0Yjbwj4cI5Ri3OXVctRLphowX0nGoi0Y
N29T18JNiomkaf0nPU6KY9mHETCZZBvUGC5tARnZstrfpkqzVlriqFWF6/fsEOTHeIScmSYuIH2I
8SkydJKRTPUa5QQr0jB6EaKfdj3GQD0wXqFWv+rtox1Dye4xtXBkGjZuy7Gr0U3KFUDGVEMQp0sy
uJcDHhLKwRGpW4pTVORw0nNq5grrcQZ7GG5Zf2GzhqqMSBL1JOmOYoXiPdxxBifxIGuME+aRcwoQ
YKF3TrAFtu1fRkffVJrtX6fwxTMbVBwucnmFGN2EgOL3c2SSvUqKDFNIUXULmIPbxu28rc9rnYdQ
Fmp3frUSQOiYQ1ieax2lkk0vqZ+CY0F4AvPxNn8v/eJWOXaBUN5BapKZW9WMbz0RQBs/9aHoz3Wq
UyFW1d0838yC+KU92bP4Oli7Isg3rgEzsijv3VTaX3ldtaXn47sy1YjGnzHhqanD58LJvg+DMT3o
GuGtlfp08pnBCdiwhOTbB4mxi30yg5REVBBO5ptA9kR3WuO+x30RNo67NiHG4Q91jS0R0o80ZrZZ
R9gtmIFVbdHDTDJUV3hGu37UztTAayC1/XPXQn9ABE9GTOahjJjoDEGgUgumyOg2O9/bwBV9CUwv
xESWJ8hM9XsUSibPbIhRY6mNbhBpmQvmkkn2UGPG5WASm4S3sh6NVR49GvUj+bMsvwj8YO1C9UKX
U+vkpnt6xgecF5OPE9tSNqyQ6YEaJnLTHDXO9BXo/7LMnkoyTxmf06mTbvbFgF7R0ufoym5adZUW
H8touAGBdEggyYdDgtiFsSz2fs83boFerCeHxFE6vl+GElGxZDK/ELH0EMkVDgL4Gst03X6y3txr
vdpwmF55nlnC2ppeG6iwHyiMSfPBxVpRjzxWmE2XIBZeakSS6CVTMqK0YVgrtOi8SCS3OZDzK9xU
hPjCZeNjYPr1tXCSDcoudtIxRhJuUqYQGnZUXRdvmqRy13YPlH/qh0+ykLcMb0LkJOyYboKXxKQc
ry2L2IOkOIjhmKoasgnHwz0HsSXSD+0hSjTCfUsHQfVohjtLoMtlcTW3rjZFq7DtrKNNeO8ioWra
YrZR2zGVw1s9oI9oKW4ikog5YLT9vZ42KKBBi4PJnIaPyEOMO03NI+EX3/yEMEV9mG1WCjH2Lqwb
DYR8SnpSq+2Fkbi05XQcHG0D7qUEg9N7LI5eVXr7JFAzT2DcCiKPngUudXinRIOXLUWiJo8Tqs7d
aPfpOW+mkgx3Jba11T1Cisd1jr4mIEDd/+bj5PX13nrLiAeAxTR4IFv8e06q4EEl5V5/Ltxp5ePu
uYKZMo9ETSRsAPu2ssuHBirYrZsvk20emkG5J13zgttolzR8qZD6pj+bLmEpBhosRQMJ2aBGjo8p
SG4ikPqBHjGI1vrJpVcONA1hjwcaYdFp2sIs2nHtKlLYwsS2Qc14XyZu0cPUGCCEqw5msDR9zomw
l5daztsMMt8+c9Ihz5Wx1RJnebM0IOhcI3eqr2Y73viIpg+jr6tbY7nVUjZhD129JPsrLJD+THTT
q8mot4pK6mog99mGrFboU6rgFjpMUnI9fkCzZOEuS8tNawLrI9c8IxHGl+egIsWsQPQJDCm8sJ55
BzxgPD9NZWePbvY1nJU+5Cu/WPggFvxYtXY5i68GEXtrvUvUPs0xRoORUgebNMsl6Ci27yZW67iO
cmwf7odJJ0rmU3fTZvmJ3emoUK2G5LQfX+racHVJLYoGJ1jbGHyXon5N2li7NTOfoocUiTTGu8We
cZUOwi+hDEi4gfmi95yvOZVbPuhVbjVFFCNeTQNFlv1iQfKg9RbVu2RE9cWEJ7mTQ4R4qkmaFyLv
tokWuAcjJb0ysiKSXOb/++/Ljz9LAv2LljvlFnzQtynWtVOOqPoaOvVvVRSxovJJxvwbjUeJ+0+m
bCl1Jt7cFJ/jpNnBM8lLJBAUpjiEIg+fdcypcZugSEcqfLDmS9GCychc/z2sTLJiJ7ZbuxrTWfwr
kXRP4V1ESsd4DGQ401IdtX4WrxLfcXa6HWs463P3KXAtnK3NyMEoCg7F6EvWjVHOUk394PVD+oAm
xL/3woZUjMF1p9V8OR3ql1ZvzUe7yIxVHzj1rSnJrPMGM3zgDBmvpG+g+pZG0ZIF8aQ8JMsNk/0z
TbIcP0mCV8NO8PU5gAI5Ud+T1BgP07wVTe14hlRMzUUCExZoD8YbrPsvzZBsh1E1v+U9PcuYkTxG
Em/aWzLNLyZDcoROEuZq/FTKJ73AmPTj4lUyW+qlrNgPVfMAGbHb08cjuc2rmhm8DHPX4uxCceg9
la737Ku2PcBhye7Il40NfRFEjQEM96ilF95rurYG5QxsXIrnqpfJY5AqSaLEwJjVjEHalGBCFDDW
Xd50zaWoi2jToyFcKs20rsnQci+V7s73G+bj4Cw+0iBcF7myfotwes8tvnadACjA6mQY13qMzGv9
rtUpVXMYB9f4xwXxCTHsSu1DgZu52ABJVTcVx+Uc562wCn7UtO+8UDtVdlHuaM0+tYnpnSxVa6ce
D1vK0X1EtYyWNvZOPy72lL7Cli+PKIMvIq49oKyT+xjpiMJ6l0Z1JaD2W+R2qIlayMFDdHUyUOl+
pfuHumdaQcKysaWQiW4hmJkbYuVqZWhSrRvr00HDBz+k6VcmbFxCCabiO/mdAyXkTBYmzKacyuYe
yii7p49kPaK4naNYE/de5YF4tpDNN43nfqO38ESrqHrhlNdtiA1JD5EwGOOijezaPkHcrvxLByKL
vI+s3NG9j5bTaAUHEgcopQqgbj/GDGM34KAxI7mwu7p4cJBOPagYlrngqW5NT8ZnxJ8r2HHpcWLB
x3OOH8ZN2BrMGGWt1eo3R3vq3FmUGZn2icw0+CvjMaCPcxTNbZS4av3cnjYG5os7k3F7h5RQLDtH
fvQcBJ86UtaRF4QfgY6AA7rAJzffeFBB0mDYt+BN4yHrIs6tLnlFp0QD0YVBuWX2WdS3OL7VhaiP
URWFT5bHPIvjIxYu4yHpHCItRsbPeehB6cg79roCGKM2pyO5QXHC95GfcEjnp4JdYYO7O6LtMuC2
0OLs0fUmzhVIIzV3DNaV0q2HZr4Y0eDt7BykGeQ3ItjGgHN2bl0aLBqXar5QLnSLHvPINulVfwyV
96zFvbOHVEq4lYlQmp6ifO4kU8Te9W/o81mXB21JVgEJH63upUvLiMxNAtLyNM95ST+1IFkQnbrA
aHLB9u1cQ2nZv18Col+xYZBcRgLdIeuy5Oq6JMNVGK8/TFJq87qWvzlglanezXdOg82jZtnBggN2
fpVY1VqfTrwZ5MkLMEW14IRtHPGgYtxpD6ErnOdIw6WmvOpGIXi1cBJekiGD0RDi2e+jHhwJX1VF
TX5m6geQA1uYWaW4lwW69I4dJq17+xGhEaHLmjdiAq0Zw1vYr0S2UsFYHsV88VOaXchhd2aGeGHe
kcz5Ug9tfeX8hXRRTAe9kohPIt85QbJaN8HQ7QyHgXBD8uy7hW5VjVX6LQ1iBl79WF0ZzlrHqf8e
ONqtdJtt56CMZZIkt6ScxYuuluo58mxaXolkXD3W1sFMmHaZtS+OLCr6sami6mBzDs/a6RZG2ngc
J8N8MKuGCyUpWpN3WwuqQ6e66i3wgRz61ZexFcl+NOngG6RmgSYd+l2MqI0MQtqnjW++xw5J2LnL
LCxUwju7GdB/MxiN9zqQ38fMouAMiEqTcZlfuiGhmz7fd8OMHGmzfOd1YfyYGX1zRDXBnpnk3TWQ
pKmFk/6m6+NxhmE8+ZWCL1TtR2ek4PDMKxAN6/rj/xq3IbzQfG6sEKdNNoTP3tAFYMqkthZGHeyl
1kBisv0E+pOdHGcv79qPYoZnvefvIE/gRtcTiIlyENsmbrKtQV9gVQAHokAVxTK0GooY130QfnAk
hPtcx5NBeBjJikgrzh0k1KNdWUB+02ICR46pxAUOC87qbCy9Tg1XLHuwzIvRXYkCJvEwROVVMoRA
hBy5izmigd5lE8cowUqyVFKcfITinGXFGjMOUbCJrao/hfNFcxhCuVI/CWa6VFlxv+0t7V3rC2/T
E+VzyPq+X4mOu7dCkXJIQPxK94VzpoaNi3ZeYCXjgwkB/hRIOLN9CmDIRDy+89yXDmyO02jdundg
ZBSZgGkXwZbIsv3EqQ6O3ui9WxDLW7N7hwUAX6nRICpP9rQvWxy99lhV+2AcvsMa7j68iB6niW3p
IXSc7Fy6Ui6BIPUfImpPEZHLpB+hpFZhue8t012n6Fo+yvyjqUTL5uQ1KLV5dIQXJV8KDqWChCEx
dvaz1xhHO8ytBRQQvD2xq68tXpw1HmyUn7b5gJXyhFLceidShN5XUkxXpenGJZDQbywC2c4aJdtS
H+vfiHfRGCYXFFpGybTOy6oPIqLcKgm+BvF9NH08Ks3g7rEVWs8FtOXBqNU7iGubiBQx7nhViYHw
6hcXSqqRqeGL0+gbmn+/jR3zNDcbT6MqBCpmQV8uu4bGVHwjWv7WcKZ8ybweXA/p4ctSjRrGfFYz
rbU+7KE8iLwbLowIS5YR76a88oOiKj6b7RBfnRCql9WE+VcvoI03mfIlrGN76QYGgLxUkoRJ+kdQ
1k9W70wromxO/jykDJqGDAobvwbnWHF1IqM5YWxt8c2E7dekvSgmgx9GmFTrhiVoQ24roMDvfhHf
6TXhu8YdgFJNph8EDjaLiWL6QeOZ4cWfQHDgRyy9DoySpBzYp7bTvpeinI/a0FK9mo+NF63RHt7b
GJZdENTyaV4d/CJpYTvxVVsk2SqROk0vM1IncJlv9FdxrephjLVjh4OY8PMMc7vuNpCKc8TAScKg
25avBrPSpVbOdGQcd0Hi4bMywiejASnpaqeYRGVItA1kuX41lS54crf8jKZTTVt1EWFookFSvY8T
hkEEYGCGCp1PtPrUG7I/BhmtDfUt8yb/zGTDoRvelBb8GHIq57GrAdFkGWE2RXH3hjEo3XMgIJZF
y7D0fySO+JpE6JV9Qw9P+J4gJqs+XEW49nlj+DC4RGBEBAw8TI3DGLWtPgOkgB5HrJWl/GkzMhlu
Abg0ZtWfS0cQrMpum7prX8O05SM2L3Fobgwt+1oBIB0XcdLqkALrgiaYuP746v+Qd17LjQNblv0i
dAAJ/0rvRCdDSS8IlRG8d4n8+llQ3Zju6PmEeSgGKbEkigQSec7Ze+0KVs5BdhHxGqjfq0S+T7ab
vwxe+G+BiLWeYB4SeUMmtfs7MYbOMaX28Ek0o3kpxUeGhZBYsry5hJ6rXQtV/81NTXwE/Rzq68IU
b0MkTI3zFrmgrAP2lKjb2j900ompyBNyATFgrTNTHUjntu9Da8b3drKfEMybDyPUHNwj0HUHL3lm
GWfX6E/vg8fBI8bkG+MV28k+iB51TqJMKu38GKQyesgKTncl4htDwWw19k67TTHExpIdo5tWV9vA
/9sGyyTnZZStfccR1T9m4uwerkK2IqPnMxs146IsJm510LS7oIClilYASEscvkBrnBVr695Noid4
wvJB2qnFHobeGB9l7o+XhHUnjIC/dVz5Fr1mv/pRB7G/cmocp3SqRlU+gAoTGwq66Tg4VvForeE0
aSK4iba64AZhSeFKQpVNXCVgcMypgTw0JgnFPw9rMAfbIAGFUwki9Ww48x9pVz+3kTnsHZ8+i59S
eKaZfg3E0K8HtCVTcm4Rn2LDh0aAjKa8ulP26pm5XClM7vs0NMedazJVtM0gf++mecwzGcbeZGuH
2VW+hVGwIQyp2Y+ipGc1WMlttKv3Sry2U1C99BgJi56+GSC4GpewP917WyfpM0P82JrhvoKr+VaU
vDCcmN2xMJb4SeUrPfYpGXadZz0U5B9OwLreu+Do9u78ISqlkocfDLyuEZdGTBjnI3eINfIizvI4
rYlmVqV3dgkUUeEHChsQVWPdHTWG8ld+5ReuAvdRO76DPoI+/s/DMEfc5DTuI1bgyJKgNs/MD1+Z
eaxlaMcPJ7KqJxOa4b/DrCwae2m2xSc6FnPjNH2xtIuxPdz9Ac94yDKKlLIKH7E23qt0Ute8q+Kj
VjKIGJzDoPHqs9GpkTjIK0Ea5sqIxU3pU762oddS+fCJZ8okkXx+iAaQA6dq0c2ipgX13WtPJslg
ooxnG7YFzojqNCkS8xaZ7gnHS/xArqCOOAyYsKWZe4yJPCZbJ8APY0msqEZ678A/AdrXb0RvLZWW
QittbHl2+79mVdORbbWQ2Ih5olCMlzQMX7zS0p5KH2EQ1QwhlyjlufRqQFJkAHIBkhIvCCAlGVtv
ijqVwwViEbtS3P1yfFSp8ewRCXat6TQe8pDnZ1z2uGYcoLTWJDQ5u2Y0zJNwyYwIcGE+BiczNoQd
TZtyYHdNiyrkuHRecftabqAfCss9aSGNZuRZ+ta7VrndPkj9Ns9k7UboYZv2oeoqWAaRzb6E4Eq0
7M8F3ecnJs1LfOqEM1i8AJt1sSJdqarkKZvZUl6uEGbp1is+rehSjZCGfo6TtiLs22XMuDSTGf7K
MU5LGdFbRvZL5hPAx0KRvNu8pXVW1K+JU9nnqKBto3MojD0Zq4679sYpPkiddBxdmPXLqGBEWjiI
Bb6gQ5/l5aNzWJigj7EZEOqljQXgQ4niKScnoKq5jLtgrRai4Zma6h5eR4BvVYEY8tKG2ruNjWPP
GgLWKbl7ZSOfS07Wn8WtUqMgI4ShcdpG/SMMp3CThmOxLcv2d6nM4Tp/1q2L+wnXz8JteZUJSJkd
5hm/d6N3O+6piSwFvLrBUCUISNqIJt0FoAW2U0IGkJt03vtQ6I+hMu/N4JPZlbtP/Dk7Xfok3g2v
7KH9SwSNO7cCiwRfvHvIwBFZtkh8MIQWn5PbaJtSAYKEvzIxpl3Vjvidg+pf9nNAiZwja1IFWQWV
+N3Scrl30FgdeAfrQ0dg5M4vgxWJPkwBNAyq0GRbGCeEVg254LMVEYwzmN+rJplg2nm1+RVmEjGv
gp/eJwYiEXgKA06jqvO6/WCN716qBxu7ew2TctorDZ+rZsNpmZrpc7CEtaU18JX6DW0uWSMCjID8
p8GNZBzajhOtV1fd9JRz3foDyyQ+QDQpDhADi4M/3/zci2zsHZmRMv4XFcLisTkwjwTuMdR2c5jw
uh9gHtA00fExxobZ0j3kRtVh9+/ez8NkUNqewUPRdB2z4fQ/NwLJJlhB/08RGmIXKrHpw3A8wB5x
gecnw2pM6fHjONyA20eaw89sw6o7/Nyrugjxhh5905afDgJOw6GMsNKNrksEo2/+HnuMz5Ghy/XU
kgP0czP+33uFl7hbMjK2ZOkF+7a8oZPtKsB5HCLDQZ/64YAmg9klyzuOcPuS5oT6NgVGeS8syZYa
jfwQ0SQ4ePPb9vMwpDIEhXhrithfBLH4CtjMgh6WK8eYo0eweK7+HRNWhXjT7cjs+nn8czPRTDat
vtooJjlIyolDbNtJU3Bf2ciBN9wl2mmyaRf5cUgog84n62Qxb5V9G9sxXeV+SPTfGLDpC0V5MIqi
OuAfJhXpHOSw7q2EOJZMkalmG6vJnG6U8AzGiaIAGv5zy0z4HvXMcTQPHVokamNmVROpMB/Dzfyi
f14pEF+I8m5v4kcuo2PhtrwfNZkEkBC6w89NESf9v3sm0Ilt3lr8IhOT9BASyTTfs1rs3wtmC+lO
TOUmwXVw6CBxm0Pytwh9+B45Hrjap/GtKUxHTbnVDLlvjDkkAKzFWuNrB3++SQUdg/+++flazSVh
CWXqKXZn1MP8GU1Jird4hIIA5fGoYdc4mlbULmvd21uNeHihvW09kqlb1cVrYSWUbVOiAwmsnMPP
TWByr6qDe+N244nOxpNW0s0fESQtbGv63WBJnoUjL9wBQcVAPR7GFz1ndtla4oplqQYU4aGvJpxX
BWl1WAeVt0fng4snl4TYahXynSYYlmGCvDFQclVLIdBRnZ2QIKF+DhFKhf9pM9tk5NQ9ISDgsAz9
j1RWn3aVlTsQ1wxpWtw5iGjRnjD6cU9odurLAMRfGhAr5fC38+eiaI5KgwiubzRK16UsS2YWa1U1
BKsn1rGoBST8CrbQNJynTN0Np3wpPCwR5pTtnb7ZsRujkRAwmJdNWXBws9MP/eJdVgXa4+hS6n62
LVk2aFDfaDG5myGNn6XJEWsE+dylaReNVvyNxnwJPVxb6+5hQqmMxqCgE1QWmOfz5pFbULZ15R9p
zO9Yf1il4TVlgvOn0PtHMSFiivrqyGiaMZIz7AOT5B5qzWE7etk1DLyPLrfvrT06CGNdYxuV7kfh
iTOOSZB43niIk6Ji7tS0aHjbeIc0JV3iLa2Z1BNW4RAAtjTic+2gFAr7HL/TKOQuTe1H7nvdMZuz
xIbA3itUz5dRhbvShERiVjkTU4o03bfhhCni2lsWKzLFXD7FtlO7YKzyvSQieANwj7rQcncV+s0j
RqqQ+hRJrBOa9ZPUXXmloPkz5G9N77DL1Yp7701XfNPbvOv2Ygww3I/82GhQz6JsMKBMtFaj6bcN
FOuJtKJbq7F3Ccv0OdJnWh9s5jSvES9DPomJyemMoVsLUjGZ9qNgEk6AoRsAUoysd9VaYDgr8v6q
qtw2Nau8af9m5PoLT/K69+b2Sw2usQwOqS8WtocK4qzrCPuzKiT+xHyiaHzN2hGrejIb6b/GaDj5
GpSaFnnXQtWIbrUE+U5GQHyvHn2K8g0rH4mmeyLEnswKXXrqkyFdVsVGAaGh79h9aulbmGQUX6kr
3mo3hmKN/4L0+VRuLa+rN0qgPxzilnRK62uIABuOzYM+KhCfbK2XHuewj4k7dcodYQZiEQfDI9dp
SpeYdpgoXQJgUpOojD2tWuIRRuchvbzAn2Mf8zhmmuiOSyeZoD3y2a1HrpMxVi/cen80xF4rAJ39
Unb+tshJah/T15jcKyBo+TuqvSu8s1UhsSorhHlLaJ9bw6shaYIdoecYksIAHWHd2tkbcYEGsabN
wMQwsJm+5/Ps2SRs1+8+8E0868C46xDbvEQ5Qk9uhyrjUzT5a0Uhmsd69ax5JuMJHelgO0ur7fS9
9+UaxM6pKWFw2rL+BuUUrYKc1mcRfFFzgfaIWsQD1rsHdGcxCE2sq8T8boa/U50/uwMHr+l27Yrp
7YsZWMaxzppD5dp/pYuIaCCc5oLvgqtrgPeC0YSJz2HFPuTTlupgRMj1GkHEhFtNtNSjal1oTHfy
kFImzSAo1Fp+wCseLf1EpluGCdhHYI5Ewzlw1l46ZO+cfUzmU4iIQVycGppLtAXFc2wzC8wdL9gN
Tued3Cp7IPDmOkbU4KoECCZ91771Wof4wUuvJeRjJE2F8MZ9GQRyo9W1WtW2Zuz0wO+fXWniLxv5
1Y03R31M9aoMks+xuTBhj3lVvb7IEeoTvboKdMA5A2Jx5bH7rNCyWEoc48QddxKWwkIvr2wGg1f4
6I0Mi91EkuDIEbpkavAaIsFTlLWhzfXRBs5h9CHPsF98u3pQDBKb0zouYWdmsuRnxHqNd3JC/6Ql
/sWd8jvczO3gCgJ9Z0Ag8BKqZPpTnNA05IJFBFqO3ebO6Zjq5/W0yiwPuIAmP5Ph5HlovvSczBOD
JXY5mcE3qVfI97guxz5Gg7oiyFy+k72MJPgryDjx2j66AJh1SAXqtTPxAvEC2FcruOhMYUGz1LiR
fDZGqFJyWyMizNYerCOM7VPFUMM9jCNtC5vuc02MXUI0NfEm/nfYVuuOj26nNeVLDoDdMWt8Utm2
V6YO6APEIiAxTj+zd86tSLxtnJMkkFtf4ag+SF+Bv5J4t7E0yRhShrdtTlCVZ5xzUz9HffdtZMPG
x4L7YgqS6faaS5qH9FGbedpeTMV71FjRk1M4azVWPc6KBPhGX32MXhndEdWTcS1J6qsark8q6GGP
ONhfmvbKPOPUWelnHmQPv0BtYCflXw+wQKLCLR21K6/oGFKH078DZ6b7S9sBJVxP5hn87aGyZXHx
KPHjQIMI5H0ryTxboicEfPzU003fYQ3FTIRjcqLlMEe8H/VBQ1RqkdXeF/TfCSDX+rVFavTSrIBD
TgbX2DLlnC8JZl3W7OybIB7XaVS81jYjBqtPAC0bsMpiRNb0TW1nWUmS7YKxALjMR+o4mbOM/ek6
DOgEnScXJeKr2ZZHt6jXZeyGaygZ/cbnnG/RauJ9fk8E01nXoK7pGxw9Jqq4kdg0O3h2RXOkmYub
0Apo8qOrSuzmMjpia2acOgwRyIxRz21jxmvMaG85XJlxDosyk+9YIypKtfGT5YMvJcw6o1e0RJeA
W7brX03jAD7qYyBzkgYUwXid2AKWFBfQdSids56EBHriq/Z3F/k3t88/m56rex2djRY2FE8gXEil
BNgSD2mSlrBE7OasmRM1CophEKCFG0zvwVCoWU8035YVkJyFOaTp3jHQSWY5qU/OiOFZMm0omX8u
mKIyZ23azyJvIW16CFLaWL5UNTvYIcu+45wj2vOHu9aqp5yL8R9c1guNwvPsKef3yMyFTrHC1xIm
N6/1nrLU0jGC2wgtVgxHh8UUTN22SKOr5NeJALBsPgKJbkxmbPRvfCTnK8LU3oJUTMsp+Q1xeA2+
Azmy4z8RGYgvxPkIPf9stVzHQqIb9kNFUwCxccdkqPHkBO8/OQI9fR4SQ24mN4YnmW6iuHb26OZq
3FCbzBjeMSSSBswIPYgRj9DqnKvaeon9PVzojgN1jn72NEUfuZe/er9LCmsf3XvQF1sOPNaFixDN
axWQhWThHErJu91KHAhd43VbzUKgbTUnE3kx/JbsHI1Ve2j67DNVYASDOWw6H8XaanMw5mFypmHw
lTjZq5W0J1Sx/aLY1co/6COMfp9DK8F6bVTA0/p3HZImASMo05MsWVfeTB61/rha9ZJp2da0qdYd
BCX43tSS7FCSbJD4JaQcMM6W66wfzzGdTlfDrd3yha7udinDrn2IojssBx2pqEkYb1/tg1zbyS6d
NlrBpjkjn9mofXeDB5csCmFFK0Pqzm4Qzj0jVLDAkrY1mCr3fwy7SZaVO0Zbul9s65OQfE5B3EWA
tbIJyZKrXJpEzoemtdW2dq1vHy+0rVUmug2Z01oAPi+Yc9xzCjXMcnwksrgnZr3udc+6pMwXN2Yq
Sg4JgiiVh+Qq1PQHruul3k0MaLKR6ns46SWmZmLfEJE1rNs6wnOjpvnsaiWvvgEvB26hIvQRpnK3
0239zenqP10RYMMl99SA5oxYTV+mfn3sdeO5CuWt95yjXSnmagimtUJeNWDUbBv1BBFgssVS9dI3
YuOa05tKckpRo9sKezShcfVEWY5cbjJ88MhCNpXdc9JBhQOwY7E+guguDfCBG1Vl6VEnm3MhyZfS
x/FlIHSJ/Yy0lhHcqaVE17ZBCHPUQtYBMSWEQqBqVHV/KdH1LrIuv2hwGFFXT4vEZuanD8gzGTZx
mJNvrfKKnKL0htI4X4oadnOfMVjKfmVjjDmGIj4ox1UcMKZy521MFmKTwAHRuDnpXWYLl8y2kb+u
Ute6R2Q7NmAEXougujdqDcHe3w1V8qxZ4XuBKnibNdUNzOhT6+SQ6mX4S3VfaEuqdejKRzPA5K0r
5w1PW7yIW+hrypHlMofMtTKhNJBsx6FfRSmxl6w3PbuXVYKs7DD5sTz83HMjyOouFyti5csGnwu9
n9hl0L/rDfJm6xrfQkCW0LHjGDwW0WMw4ukJUSQt/DCmwMlzQOTC5dBU456KywcUH2lbyRG/NNiw
PrtxFh2U6+cLQqG4XvaQNAO/PGQhFVrlQsc0lCUPgbAfZl0yMuqC6lQ7HvzuIhFrkdvhoVce0Oi8
OE/2FKAZ6sbiLDgSgb8mq8Fy8Qo4jomucOB5lg9GcSqiNdZzZyXVYF4ZEpRgZxN3gQfaI0S0fY8R
ujIBaNNrPdbXpMzHU+XCAhONRdKpg+OkEwjms3j6jeoMUqjTNiyZdghwAOtWkyLhadsNJQ8t3R6W
XUv/5CmOjLNshwbhvrKOrRk9QiNpTpI54iHUsPXwLoVrBrhvo0Pqd+sb440el7xZmf7SdHq7CobZ
vxeQsu7bED9shQxBh9Vt6cmTsp91JQvOzpoCigaW3jHGAih9zmybtkch/iZImi8MAQTmGuiY9L8u
+ZCqo1G60/HnXkxeBZK37H1Eb7/S1ACTBL780Wv6hgKfTpo0VHkyWodTA/YZDT+NycnUnPQp887Q
9rxzJydEP/6cQonFYKEcA2Lm3B/9Fxr9L9w51fuerVX8Jxcx/nF+/ibRrPeRXsfJy3sqrdLrVkT6
mEcpmF/RVkczFcR7hFLRjXjyGfORrMsuBqmUE/Zhxb+ckoRckYL81itRPhudpS3QTebsE/i7c94b
PynMdYTWpFR+vCVo4jf8v/o21uk2pcp9A2047vW60aEIauKTrL1VpUgRay1sQ3SrnAVtrGqX1ZPH
jLtZqArVQGkYydLVpb0Tuvi0w27bx8nwF/PcOXeJbbErfqg9J7dP0jBuWZBoWzUlzV66NTwUCyZb
Br+yKP34A7U30770d1uSDsisW9CaIvgWvay78SjkyBVoLg0D99/KxxfZut43cDPtMBLKSNCUEa6R
7BtfjqBwc5z33jS0/RRxVHnQM2M5im9Q8TcTJsBTQxrEko74rdMj9T37Uaqqjammg6uaMy5H0StG
Ok55TQXbCoeLI5sIFG6Ss4Yoa3PrIR5n0YcCbVSuf8kzhDz6sFVFEDzYriTKQyaX0pGAs2a8tW2v
bQhWRnBLJe47bsnurEhWbekNJ96EiYqg1d96y/J3Av3Iyuxa74r04mj4WPiTOGQcksMHNktQy9BG
mfeZN5zXYtuNSPVL5Zm3ITtPNTHxOefzQgugwnaBEWwDun8rZC/uShPIUJuELko2KnPpw/pOk35X
hlrzwlsNEGNINURfxU4Mif2KOWrc+UVUr34eYuuodn2a/dIa/ZOoRf/Z83lHBB4nttsQku6xMyZ3
x+ny5wQ/Bd0Uj9RMpDLHoKcJOei1f9Mt/scQeE9OKfxbHEr/4lvhDOcj/m++0TQEXBit6yVj8c+f
aLkW6GiIa+E8EdowR7y8omnt+ib7GgvnlvnRJQqLfllpDox/gP0bB6v0OqpYOIqkwScRIdNPTbzI
GiEzo1GwKzFGlIjTk456/1D+hKbVdHFxyExnUbvvGLYfAMGCdat9eGkWPVctUrXMQ27mmlADHMf1
NojPNobuJfefG4DVU5F/+UQz3sLCdLYIY7ixvfJtpuSS/9b8itEdL6IqImlCldTjJNZkNdFkitHi
VjlEpekjeHCcUG+J3/RXinl/WaTHkPL1CsiOKwXcTWNGC9R9rA5hPmcx5D1lf9jj13FhJmlVkP7W
0UjIom5Wk1cycSevKZ8I/lGmnBdpLIw15RtRmMs6Sp9dIr3WGOrybS8gtgeRSWhmIZ1jzO5UK9E4
5oxRl001nYJ+Km94QmgFkqPoovyqehsiIZrOAhk1hdYBSJxYZSmAFJk5Z3RT6OuSGUeXE0Jc6Bu9
FejXcrkY+hLCk0ZwiY+aKR7eBqJV67bI11Yed7hLq7v0vPi1nKMSWDqYoC6h1VHUk39blhxRU+OV
iJLlUkvbpYkMAHWzyedtb3TMKLjz7uRFXVRmHc2k2qUJZ2yIaI4CDaKNjHdI4OA36PnVd9s35WYM
tFNC3Swma9aY+Mu+FMU6G15kTRpknBnPgA8zSIZsQJ0hGHa5m5IHhFQvC5Bx8WyHFautt9YAwLUW
fwPAvucRrSQzuS9fh0fCpZXiWVnXKiGkbzSzW1K3fxzQy0s40WCdp4GBOr3VJMuQv1gQdttxI+C2
3cj5cxHibRqlftvuBNlIpynJfIoE5azZsAdYT/z4lRyNu0qGeG3ZDKHHqWygeHK+8PMmEeIpsEsO
2ApletxQ5tE7X7dsNtYCRgK9Qjel2qsRvCZIkIPCzFaceldo6uUC8Dl7xZz3YkpRKnUy2rWDdYbb
ynk8v6mnKarOLCSLNALyO/TTqiKEe6iDemOFgULJRBMpbwYwHWicqFKgZqq00xa0LwAv6dNzw8WG
ZLQv6jNyTnQ2NwQc0iGySDgVPj3/CuEgf2vtr7KI4OQRYOq+R6V+j0V9zUkwD/rKmfXV8/5+zltD
lt+ydX2aK7ampZTDYLUIY1cxGkVPzfnoBxIudelwDcGR34t1YO3zomH8LhxvM6O5uXadAiO52Jn9
QjPPJO+eTZsPdDepvC/GBR5h9eZZeFLsrdK/aFjLqsyLdnST4Jfl+i9lNh+8v9NCNH28tWwouWGn
TpF1NYWHXm9eEnpzeLBTRDGCibryp51Al7vNQuxW2ih/E8TXAoGNJlBqjJ+YKHOG+yef0hxvdLEO
fMNgYM32vyvwHruudqhFYi56Vfmk0Ju3dHLlVvfTcjcQaxUNJaQe34Z+7tKVHmoqQYgtVGUJpDU1
kKZQymIHuhb3RNAM/U2V05c/OCCJ3Zw/GCjwK4YlqJ+Vka2iuq/RxJQeoWPRtwewKnQs5zIUkigs
psVbo5zKnTJKzIqteIGY4wLQWeahy4Zfq7dpUslVNDk07atPWehM1ET1R29p3+pcpDYWjAj6o3p9
Rr1o6+7VZLa/bNG0LOXgU9l0FQFfrkA0Uqmj6Ee590iypU//B2wVFbWDdr2Lpp1jfclYKw59P5yU
1RPpM7s35i78lBycWRBi6ylKKqprIu4pP3sg7Sav46ojc4pDcmSQ+DM8qKgVTG8nekDgoSbvWlM3
G4uAuGVDV3yDQHYpfo06Tci+9MjeGGtajf70Qs32jv5gozqiJ72SnS+O4DfBzG2bBXSPCgOslpkl
j4pr/DpNTYawKW44RDufyDV+TUQowBS7sBNGWSVs9th6fPfoAHFyWFd20VeLlpymx/Ze4tNYtCmi
MA3udBUy7UkiA0Fx+97p/Xtk2/6eCRlp0+6dfycyFmny1n/bCHIAa2i3SHoMMbq1BT+30zTUiH4a
/xG9/BxaHWMhm1DJuegX9DEzmvec4qD+c+Z2dkSKJlOnc6So5axwyHa9098tSGv0NIaF5vtyY7nx
MZDdh8zoe2AGoXMSbbNe/nUmPFU6c9mpe6Wb8segj2ik6m+dAwJwp5ZtOuMPZp84RbpFfEfBuRCF
/ofAyZHr9VJBOPDlrBJVcLGic8KeD0jruyP/QBI7VxWmj65noxhUzWUqU/qulY1qw6HrwpmfOGhr
HUVXo09GOr8pb0SWfRp6+yqxBi9dB4tVpCdfWuLJdW12qyChGeGrMVoNIc1CEVFA+P1RJtqwibr4
FJpswsIpPSQO4WIuqwBTHww2ph4QVNVvxtJb20G0rwWu+bin/EdtywEvfrF8/Okz9dDNEH9aezcR
NBjiOaMrgPlaXE1dOaRhemqd6rjnJm9nuXKvrMYjWAxjZjz6z47BBtJpw6OToFdK7KHbOH19Gnrg
7FmZUAy13+y73qeCjvFgSJtLH5eKPCZcObr0YaG2nWTnBNSdRre7iTT6WhJs5Vq6xb7PbYeWLTkI
etjuxw5VvKJNtSymdI+qL9hyXi67aCR5vGdGZVuMQ0FoUdHQGLMav90XZcJiJCxwcgEzdoKrwxqZ
C9S/DD+Y85flZ/Udj+hCGqT/SOwt8gzEexXk7OLCJ8doP+m0nNkFYMTvVmOo/0KltEGqw/nUuGwf
+QzYiVu3qjGf66lc6n7+mfgd2EwSghZjI99HXqSmc1DHxd7hz2b4roa7ER5yL/B+RQHmqNTOwI+H
FOBJPFUnup39MEzPWuR4xOxaPm46hIpRzMNgCMYdGmE6R/NDcOoWui7MtfMjPXLde4hVEsYRUTxl
/yo41l68/KliNCGXZGf1qTBfYn7VaxTTWC3s5PnnERYQ6L1lxAWH5KJYpMX15yYUBfpNAnqQbxRX
4svDa/ssm3A6uYQRZcouz76Wlud5M2tQzPINwuUWP18L6o45e0/sjRZL92jOSdQ/98JEUfnWHWm7
5XzjtoqeTdFQnpgZ+6ifJ/185+c5Pw9djE5OMGESnWloelTpBL/iKcnz7OnnSz/3bMNjKP7z2BsN
xmolaZM9eWP/nvPv2//9f3RCNuF+GDYAbp5TwxH9z/825t/SlVHylK3/+/k/z3IKimszYC2f//Ak
xAIQYSeaH/QzzZW2jr0hLU5fdlrsUqkyo9RGRME6R4MrM3mN0Eg+wxjZ1UkcvZtsLPehMZCzND/L
ckp9qSkvxtXMd11Ipanl8nmF0ZkjouF64piHqJLmoejJjpVxwWXIMLfk2SxkxlaqBc63rP2jjt6h
CJlpGSLktEot9vld7P0tdFpMeVWP+x4kSDANxQKmQ7KJwoooFZ9MKAg52mFIrIA1OhoOKE0wE+I/
911GpNheVrZPZ04E01qLLPJ7oyVevpYHOclavqTw6BUdGaA/hzYbCEDXoJD5KcE6Ax2BPcqa0pNL
4ObNQXD5wvf5QYxgsxIeVk8GfIefG1OOJWQepkG72B6hmfINu/MJdhD+VoIGYcAef5L8jCYBF8jW
yoJ93v21A7S4GYQPFtr3LnnzmHKBmMl2iIeQADTA8czA/WUpcF6wa7MzQWLJtnbUh+bYyTxziigf
Thn5rQvDhLOArwhiZWoFYDN69vW8aZ1LZnoTz2K68dv2x19pSl+MyCjNrw9tmr2MCetyhkqCZY8A
vgnVtF1zlKPRe6nS8CDNDqP5UB+G0f6WClyldLBY5sHKnaGfLWa+cER4GFT9r1TlLwrr37JP/UNW
szfL+yc+zJPIhz+aZq8CGawZdu6U5xyKqIcbVOnfQFkwOETiNvXfiuT4hUD4sJZ6+GuoIZrppryL
9llrjJrsV4W212rXwfRl4xtYadK99Y77zYRxYcFnYDjL+4mB9YmO+7QeEx02fyouI42FFZEJyTLD
6rFU5fhKTokbR6ewOaEJfjXI2V4JiLX4MsM9ezUH6yCBTx7CzJ73xZ3ivSMvdW396od4xdoz7o2I
xnJu+0AnKKVonb8ZVnkxedcWiTL9dSqDd0avILlK8pA1fVwEqd4dgOteYcSTV6F1x5JpV1vH9iEO
WjTw7tpk3sjHa5AwCQIXRldOoE6vkHsi4vOgUdAo7lX6HPpcsxl/QyWrBMb7HBGe2eZy0+RSEsuQ
Dhv6x1c+mm43Omw607RYGUgi1/Gcm2zZAlR4odHnltbDcWn1ap25Y4Rn7Ux+a51qG5DTq2IYUfv4
Rsl5es1K5EIdVARsJAZrp+TyYdbgY+V89LW1f/D0ZLZjITREfLyQ3pivgl4eoYu/N2M5+3EEB6ex
d3SDXCKfhlfJhaDkbQsZvISdxH+ly/LCBdxuS2LlMi/DO2ns8cNs4Ssi6Osunj/LZ1yyPyZiPSWR
fmlhq4302u+Ywe6yqiOUv2H06tPz8zvCJliDyLgY6Ov9qin66VMgFu1H47uBoXvM8ubIygWrwF4k
VHaAMOdKDZRAh0rErWAmZg1oK2XYe3sIXiY1+MfQulQc9kYJ/8Wc4KKOgon2pM8ylcxdmsXUH31n
r9Gd2vljhgVs66pohyL/pCumn5zzmBtVScgFacqyyVaY9qCjKEp0HFAKh8wIXGDHvqhc/qC9/oNG
/w9U+3+R2v/Xw/8vwe0w1v4HA+3/AbcfvvKv+PfX/+S2//yPf9x2zXX+i2uy7hum7qGhd2HdjX9n
brvmev9lgqv17f/D3plst61k2/Zfbh9nAIhA1WVNkRJl1XIHQy6Euq4i8PVvgs58z+m8I8+7/ds5
wz6SJZIAInbsvdZcrsvYFaQbKNh/gNst/y/HxkXL16Rt0hLlFfwD2255fzEnNy0eUQcKnG2K/xG1
/V856Q4HFdN0RIByEC0s9vQ/AGgeyuek7bp0l43FZRbOgU4fo433JpunFeH2YgVDsH8YveEhJMqM
rtFIGH0hH7x0urNHJEUaAMTfsPbsfwUAXl+VZXqB6dlww01H/sGhJfO0c3G2YUhX46PMDqkKGHN6
d7lnnnStHoSMPtwh/UzdBKf+FwUSNHL0B63yFyhoL2GSzysOaqvGiT7tiCRf2gz0Z0M4ipm9dnMq
0dIhMSg+/Hbl//GE/B7wQcP5v34n6P565cRiQJy3TNd2/8TfZZoVqioJKYp8UrKl33zN3exIJmt9
KPyJZkU1QSWOv7OiB9uW9s06d+q7tMUITLAg6FoRkAICDi6jTMVdcsJEcMmG4A1DAXUVIq2y2tS9
d9ZJBu5E7OwYaYxVn4e6oi2wUDo5jKw8Cu0tw4sXKcMXsl/VZqoIkS8M8l1nuAgeWRb1tOspyjeB
YwfbSQwP0KB2VpB+OikflImHfJWjeggNyfgBoHdOKDRcGCSXTVpToEHIGj7Mqt7ppN33LjN8BMs5
HXR5RKFkrpT5bUSZZMoZTCG8MNPASJuWA+hwcooIKs2H8gUX05GZy85zcfSlsBdubObEJb8Xpwq9
Sfxusc8UmVuvILpm5dgNE04kB4g99LOT15qJaGjtrt8hVf7ZNC8aHsoqSaNh7Q7dbelDSOig+qPc
RZhmIO9d7u0KGYeSDdA/ndEYSe+GTF/S2DzJOnlz2HRbxg81s4XK68IV3aL1KOQNnYAHOc0oW+eD
6RKAbNOzc3/U1glOhrEeBsc5CBcIC8JOzpdI8Uj1Yh+m5NEAjuCo/ujs8mOQzc5PL1brHrp+JGKe
5E27NZDltePeaPsWJameVlrRfC7SsSZkfX6mb0eFABShS7FMuC4suCR4teb47Dn91zjznUPAoHFJ
BU0S3kAZkQhWWV9RoH1MQnKiEmBYZMZ4CmfjGrwH+61r2mskxKdxMp/RFKKnS4yDlQlr7XjfvQCE
3fVn8WFnHDucdd91M2KPqcZTrN+JY8dOQuZmj1T10PfFTxSjF9sN7r0e8cNY+luCcsZbL2CiTLuH
Q9Teb8clfjpB3zQGWzv/CdgYj3DLNUEcG9EoYSzvZwVv2uLxCAmNM8W8bpfxlOVzH/gVYmc/yT9b
GZ5UHD0AdUGvMsT1ZlzeqSLPsHIpWNwvVkRScBDEJ49Ih3006WNlY73yARGsjFjI1Vix9MH4eyqJ
WI2CEAlEzg8bQmJ4ODcf0rSCaBUj0FN59BDHFKmaZ3WuEoz5sHCZz7ccOyfGOKOXbQfqb7IGtnAS
X2QLhAUdwZzHHia9JtnMrfk+Y0VeVzW3Yq0l7T/FF6PqvvZSSv4IpifpbuYO7g9n/bInRtWjpkVR
tibZxRnqSz8S/6LnlyrnRkbyxfACGl7xPlVpuwvhyazitLvEOT3kuR1CouKBRnHk4hDPO1Fu+yUo
vVe/LMM1bsX1nPY85S1TQeEGdxMtwxXz9JCum36ZRPaKV+hurGmJJCRorZpvHo3LLb5PvsPIPrCt
vBRjQ2Eky+UIMoUc0Oz72E9wcaYXHtoHw9MvZurkqDq92xZFCEXfcmnFLTkNA2aZ8iM2uHEjjNEq
oycUwlyjbGwhwWx9w3qZp6I94GrmqKde0oxcUUNsKAf7dSHcW6ogajubwXudJMNaLHOiNpO70KF/
ZDgX6q+PKA5+RLgJdcEj1STIz0uQ9StuEOXv0wx7S9wspSej/w0ancAD4FA4fG/mkASbIhkreUF5
q5G/BnmD6IGL08XZ58yclqzXJYMbxbwMwhfcafE6RpQ7Vmw4rUcbGXTIW4xAqmUrojPyUmZQ9Jxl
tbXotxYG1w8aoItzf51Y00tcHkCf9OusH8MVkI+zWfAiMgWDna40Gca88cbp4K1Z90bkFdt0cn5a
bU3qAg8QjuZwlbYgdIbkvpZcTcIJs1WZDw9xwAVUSberJXczl7OAPnpyKk5m6HN3TWiY6+u6aqj6
O2dqaH2ffsE6MTS8XWXKAyomPpOcv7Vp8kToiLfyxABCp7+Maequo3Ha6mWPLWfmtfSZ0HERyXb9
2EHO3To2CwVmzAerGB/EBH7E7R+qYkQ6CE+CZxqHEVgLm1AYjJ+3c97cz7p/WPb5SnWEtqSfthFu
IzQrVq5ffKZkcjZfApF8p2OBs4ZXlk7cXKhGA7iUW7IAwlXdv84RiWVpVm4Na34Ji27JSbNJV9Rn
upQhVwgCY4w2IQJhyk41jVgPxrvqZ1QH2Nv5RO0sLG/S7mTCgtiglH62UP6AfSFJFddXCEMGQSIP
Us2DWeYNCnc6ZyL7AHs+rZyh+KDWW6IJ1QsWpA9pwn0W7rEtNPsWVxCM2yZH5admM99AMX3i7Eou
YSLFMSNqm/OOv4JRaq/rqGYmnxAlSa2C8KhREFqsfZghgPG8e5Q6dILRuXAEQB4hYmuTQl1YacI+
VhGH4+vtgTOO4ydi9Kg3YEiDpt0mR7u8lNKmFYA8kxbhQDRneTO7U70pycTeB+ivc485G7JOzRXI
4YCbtwQjEwtbVf7Gz5PPJLN35C38NJbVMkki1EH8wL7mJrzeEKJiH62N/tyn7daU9Lylh/TCGRr8
fzzTYd3VO2NMUbAqOhOpdPwdKtq3eOL3VnnyMer6gV92MBouSc7YnUyJLtjSlUXeYhoP119sNtyy
qf1hVcRRLvewl+cfohN3hGd9nYD62I1rIdfCeZkleh/SW4G9idOnSsFq+lGxMork0Eh0f/CmL33H
YDcJPkODsvd6DaAVPOdaH5OlJOmzIlyX+c+urpO7KPiJqN2iY8u97AUh/CJzbzilv2l8AlVNsXdF
8pEgglgtf6jmQm+qtmVV5kbKyuVi9MreTxPtXkq40QIBm9bDS9Hxm7Tb+Hjt4bB24keBN2ndpUTJ
4JdehcIQx45hzUbWjMBkM21lqr0braI7pcCDjUv8p2jfQ9/FgNoyTSvKqTpOENW3InJOgT0cI6Tg
e8y7Kyu14a0vlMx4IqZ4yOODmhGFW5WydlbOcMIe7tCZAtyMqP5xLH2mFDd5zWiOqAmubP4YISVC
LcP708H8JQ6aeIMzJdv4ScUktw5XZOcgahXOgzk6n9B2v5ZG3x/acWZ9kQ8oVe196OJaS7txb4sH
FDhA2eB7rXFHgD1M22hnZt7W5ZXmE2eW5Z73ppEw6IyJXsVVjDwPipx+sVuIVvS2JkQ4uFvAmJOz
2HUd5Rg9r49mRIeYzy1qlHwCGpji5MThxBzpNYF2wkjV5AA/YHJiQFVtsF3+kN+xWOCDYuUQil3C
TrliHCe4WlnSMzCWuyrzycFUIBxbQq4tDiAhHWm0LTyMky4+Jig6cBU+xeJwCuzwCKOF5TFnt7CD
Y5BPn8Jf8JmcFxyVfngSH7GR+U+eNaz9jKzy5aaG+oDEUnjf+2pa41M31niamBcQ5K7yiuFKyzqq
/FcMsxB8q82YuQ9qWWZBt9hryeK7ZjxGUk2Oi1Ymm2lR2Ti+uMd1+cajex9PcYlis3TZP/zvbJnG
2up5JSyra1AM9PqWGjVIrFcq12dVdw2+PlbQcs7PWRGd8G0dgtn/ohwIO4KHP3Ey7k7PwKTKNrR3
kuYrY4nPbHmUmZQClmCMiekt2OKBIZSxi7cYqxFqzuKokhrZjDUy18atiAXw1hEVPXbUJUbC0q5t
XClQUmFRT6jk+Yn5YGFOT16UonMn5vuOGR1kH7UZmABbWJc2cxRyflpEm3mJNFMnrDolN7Zf6X7r
0j+r55z5cI8mpKo3E0ckaJ28ZcWKvYrseYu8ieTq+PX60/BFqxVCiNP1+BSkPeISbLKAMF/9EC6M
rO11OiwvtaMpH6Qjao4mxPLOog23gozk3FkhWIfpVw01Rr7itUgv10LYT/0FAfl9MjiPFxOHBeGw
9Pa3MTKZVRJEnx3hCJssqO+DrDG59WbA/Gn0hBT3yR3VWZVsxq6UPE0BdytDPbOYhk1lZHoTj/Zt
VKRvUQ+1MMiNBxdZdGYmHxESubWQwD0HeZKav7isFFQ1Gj33sAa/5K+7KfmQbHBQam/YCzE21az+
DEt+agktNPKStWFwCgjM/BxPqGxCeG0MwiluOjp37Gm51Cc+OQqB7g24jTEtt9Hyn1n1bKvVk2S0
9+v/jINlgejx5o2n3tTITlX0AGeV5uAbvtYhK6QcKk6GAmkqQlyA1TiOJ3PyN639c3SFt2oEVBST
vjUUcSLSi7za5dTDpslhF5+0YqifJQeg4phSkYhC/+QDr+rg0iOogzzc72ZJwYgZq9dEwOcuwbwe
A9ksd9ONNUgTdAC/t1OTvukXARDMC0CF7RE35G5IoCEQH2/tyP450fvxz6BvN+yQaPAlgzNk26fI
mJ+iINp1idfsHcmeGBXjk8O4BoBVT4g7isK1ziqPe9JimgEz3i8TFGgAKgyfzqpfq7fA6pq1dsac
qAvESnj/cX2W45NMolPRGBP1sf2rO/gvqY6/tz6s/65n47uBwLMhTQZNfySLgLXN68BGclAMYmVa
9asOp00rsCQFKfcOYrnXznecbUy7Fq85fdk5+ygyTJHKVqhl5mBVjdwQ/9u0/P9Jm3Ro9P3faNp/
61muh2//0rBcvvuf/Ur5l0V+Fh2s33uVvvwLSQsVuoUUjkQbi47cP3qVtvgLMfbSiLQ9z/G9JTTq
n73K4C/f5rEKPPoIyKo873/Sq7SXXuT/S6dy6JHawqYj6lmWS2SD/0evslWT0hXTl7306oTKasDL
i3twnSXM5vu+44wZadonlGwNk8q1Lm3U6X00IOFtrMX4oV5U3CzyCnf6rmwWtLIC6hHLg9OIA4G8
YKFO3rKr/fbh/jdtQfHvr1wIlmJbSFs6jjD/eOVxQg6GmIIInQFiSTwV+0kHEBIJiUi0s+i+cb54
FjrYrKZVhBQipMt/10ZgbGEsU8rp6kia1LTmSPaeBRcRQ2b2h/w7kzC+slQ9smruzSCdX2QxI1vN
3io7J86to51x/Tok/3Gr/enRiegJTOgW/+Zd/lvX1uQ9OsIlhdmla0tCMNfvt/SwhlizOeoKY4dJ
qTo2+F/PtaBksec23TgGp4qhHrZtmpMKaEbtrpih/01+9z3XyYzXvqTLg+356In6wUtavb0eTq4l
ndmojSmM7sHf4gbRX6IWg2Pjb3MK778JrOSm/PM2Q6DMRSIZ1Saj7c8QNNUlbjFrw98tjshtaVYB
QsKkJmwM0kvkj8ZBOjlM6j501qY96tt5uK9ahC1CAFhK+7Il1Smr8cjKsx1E4hlqLulYVbRRKtRP
qZ+BLST2gzY6ehLHDzHBtLF51gET394eXykymksKiw47sb3xG22gw0FTFHH8XOPxDHAGVG+6t/s7
GgsaqVzkx/DJ7eme8TcHSicvmNdPzJRSQq9XUw+YdaJa8gVzSb+cnwXsqMHr63cR32jd8svamfPo
WG7oNgDdgx7B6BkSvHuTU5userzm5yR+j+shfqo6CktXzWcs8DblQWi4PweZf1i9hW2goiLxl3y7
sG05dRnpo/Q78rhyu97IHgcJqqg7u3bNv9l/7CVK6/fVQYK4dCVCAEYGtN/dP56xpCyiecrGcc9j
wjZqRkcHrusOwpSzIxAHWWSgvVsON33y1Ludc+IT3icTk03wOCBEKnW43mpO1m2hgY5Hu+NClemW
Ci34m0cFX8gfr9Yh/FU40mRiyarmXJ+l354Vi1M1iqCi+LWWzawOe/i1+oRIemsbNdo4wPDGobSH
Zi+a6dtQGOqeJuYhM8tD5jjqhgGMB4QBtBij+Bfgr3Ib40XZmkRtrACddSS5QfFLkd2LxNjFlu7P
1wdTu/b7jCRt4xfK3mJcpsgT6JzGoD+lXge8KBfYK0Po+qXhVRhb1UuWzTzRE/KnDgOAmSgYGPh+
t3UeYgltbaK/2wDJI/pZmifwKAHJ4DkxnZMGlHwzUDr3jbm4JwTMUjN4nBwfdSjqYzxoN041N2il
6Qd2rvWe1CyGJifMtaNjHPiR8UJOi7OZaqc/dzO4OPyp68qLYfaEXXNfmRAuosnvb2K6c8TQEiXm
Tc8pcSTXx89t5Y2bUlqVVuucOuXSNSmadD/mcNjmFuRTjpp9nVldsfWG5E3LMTtedwx3wFtet9m5
sOKX65m5aB371JaCNNIW4aGv0uCGw0i++fWkIbXtV2gz+03ecGZ0YkPeFE77QExLf+soTKfAlgD/
cKBdT2CuQHVIfQCbNCK/5JDgmDSP/cQq2ZmIJ27G/KZnAdGxgOOAiruu/S+jRpbRF/qH6UIPaTzv
SyvUd08QuEbexmVK+OQtBgo3eBzfEvwlXmvdFYR8rowxt+kv0+hrhC/3AakG9HqqZiu1fEdI/uB1
HCA5cnXblEzCnZ66cmP4Rne47jIDnU5n7u1nw3mbaIR5gUzPEY0kHsfwRG8BkRRw7CaEXXD9qNMm
7/ZosZPjaObP14WrkmN3MvrwYhcQFlA5JW8u7ObIrr2tbFuCOugk7lx3QtQpUW4H3XjgvYxnkkiX
Srxq71uZfwtg+W6K5DoGh10/kBGZlwuTv6Ro9mosApgUoVbSN8/kfCe0xWEdtdKvtaEQWMQ8lz7I
4sPdIOPqaP/2Sf43S5L4cyfhIadKkVCDGNk69jLg/X1D1LGfZWoY073QejoYWSz3pkIGXVj6CSW6
/hJYG08H1VHimMFRh6tuQCAohsTZ+dyUTCvZ2AkyTfbXViJuO55CBEvosF28ThC4cjieOAC5E+Kc
N+wMHvwkVCgo7AYKg3S4lMBfbiExPfaa2Ngh7BBxBOBdPf0UmoRS0AlS8M7+Zhe1/zVZi0GoyTHA
cn1G1NImjPWPYgAJtldGkL33nlGecdaB32CH36WIHdknbnpBpgonqUyQY1F4obUftbXm9NXf05eK
Vg3Evi8A/bGqkViwGnwlN02LPqgr5nk1RCC+VdjU79CBX1tlFudCM3r7z2Wbs2wZv28pkJUcJu0B
umjJkMT740iTqcYQ+E9A8vbwsag/L2m6jJHFMYyYgLV1ZB8AgazKgraIAyzpFGE0mCD4e3Ewnssd
KCnidVyxmQvD3zPecjDFVZcyG55kGVrbAkLyKqu5mZ22wxw5ZZ5LOIB8ChpGfHXsRbeypUkROAh5
9EyCoiksCoFmIfNLcmB0hTFlNMITofFoP1mXKlnfoYdGpN64b3BoucHi7jJU42lxMN6i8EbGX8LG
MiJ6lfNyFMZpnGCYQzFD5t/xP3+G7r9tdHyGEoWD7Qncdo61PCO/b3SgOSzl2Go3JQMBxbIBJT1k
x8gUj6idnG1lzvkyU3sJl47JtZusw1geKygFvXEq6duCQ8mCvd0wOVM2McvaV4sTFdItjprHzEPd
VQxQfFVWWyiaoIR3AD9u6m7gwJ9gW9eLqsgLOdTLxEHvWw9keyUY8wi6Rgw2CqhKCSAIM662eZGG
D/UAojzSX+YrHc6jtUo42db3cZSVw/epznduHkyQkphI1wz7Njj15FEuIEKPrcwIymcqEa7vNLwP
URbzIP/zpV2rEwCMaLs5wOwLsINuxr8Jm/n9P3/0glv1325g1l5fWjgNXQsQ5B8LENqiXvc88jtU
bxZzRmgECaS5fWzh7I0zsuj8hJ7c0IVk9LJrq4j3EjAgQFK5eCRED5QEu9KxQnV+b3C4uSFQPbxr
TQTSECziI8wD8jWkVvfo8yOaXYV5bMLAP8uUxDg3vsP6+JBP6dcu6dsvUQ1RfE4Wo3NIOMigXEmh
KTvSNWbqS/jR2RTFezsBuhhok6QXpUy4N5WiSpsri2ZcYx3wln4LysA8V+1JOoVxkg2igAj2BNor
UdLXAqd4fU2N2WLLwZK1omwHSo7Aj62ofwA3cZumVrjLhbVI2JmjafjKx7iZsjXj1XbfCvt70MDQ
+/XemiTcLj2PLWAHi1E9ea2MUPFgadw7uDfQlOjyPmRVKmZsOmZHsIg0TerHdlanji7u4fqJ4tO5
VMRonpOaQYduIYlFFOwxVUVpVIeS9uI5Zr1ZHsuymev3658qb5i31woQOwf0Vj5epNrtAcd3hFQY
0Ttq9GgzxmNNs755v75HLzW3k1qYXtMcHsiagfe47KtgptpLaIbe/vqDRl09TcLv7kbDFUczBJTc
ZnrbBhmAZK+EvDsKJhNhAsGKoweGUjw9GhMXnBHrZMfqKw4A3NlE8JC7x0PAIPLUZtG9ofvmYPR5
uI1N5r9RqINfFyVCKH0D6AeLVu9YTzXhOnDbGYqZdH1XbAHdKcrFBpiiA9zJFJt60cNEhZkxiSfE
7fqyq9AlBn78llEwTaVvPfSJ/KIbq9yOPMlQ1e7I9m4+A6Y2jn1nd5N/Vn71KWGrkvcqPMwmObUy
BcCqH6WRLDLjZO/al76q/T3C3S9e2XkbNmYCqxUDqMhMjwxz7B16kmqdOUSLXF99YsF4m9uzUXLe
uj4mPZHATBumaR8GwYeQCfy1uiEjNElurlemZOfvOAXfeI3AYWoNOW1xQEI40cP1tUyegdBRxYxE
mafqOAnPP9aid059CS87MA5wdZhqtne88exSsDcYKaSvEnnl1k4URkjmv/thuaDXuVBmo1uOMBjy
BIz5xghJ2egXFpJ01SYYK3gtdRHu5DClJ2PAmm9i9d4yDUJc0+TeJz5hrJvZfCsNrnDnzB5dRjfY
52J84eLiFuahIpUet4E/mrT4fPexwddzdtnwrpcLmmdHJey9qyy1H2pF+AVN3g3cIevOrIaLCd8m
aXT4qDOM0tz317sReIO/m1UVb3HPMzboekhdpmKX0/YhtZL4tgf4d31OajMPN8CgrSMGMUgRdnfh
xr2zBg5R5MRBQ2xDEA6ZfiN6uTtdn2rcfP0tNT4A0GV5I4WXG31aWCFZt9dEhWPO9KGYFdnobq/f
Uo7epR9c60vWfZPm7RjX4jEvsHYFWvJMD9nPZuZnEEXyyKjMOMCMSpFp60MsXPEU2O4NqBGf1nkl
t53MYsyDww/k14SuNFLd94MBSaYMX3G0FJvKh2/o5zhciUnQ62wMyz1cWORXqkqQK2i1j9KEdDp4
4C6xj4+DMN57y58xCQEFOwQhNkvHH4H8VyTWGW5NrD11e+0vjlWXPoY6hHZv7bkNo5s6txmb25IE
jxJvGajmYp12jKHczn1pAo5qcSOrL1EWfFQ26TPTBMdn9tEn+bm8b+cfuS/7DbojOPMNHKvSS77m
5jjfOjVAaOSphh/qr5P0pw2zf8ZO43iwoKavoKDCjxYoQypG+4dqsLl/ZY3eapTV1hX1mzWY8ZdR
jDDeAlJN2WbzOwr9n6Nwqt0IeALx9RCSq+ID56GxkHu+D2bNIXuiBdcgB/MM1uhyPbGZHsNSo/Cf
VSOoobSRMgUxgSeKzv5COhWjIh7taAwAl0WxHr9Eynmo3PuQJvZdZY8FNtMJJFbrmtkJY/djbhvW
E0xruN0yEV+uRanto+7NXeMBCA5h5XTLtjIkA1pAblp1bV4iCRuJDiy1yxQnASV3/WdDilXWSi7K
V/GZxES8Bi1OACNLvqrWYB6zvChTRsy8y9i+EyH86shttrGDGLzuvT22Xg/uV81Urifu0ya3Y31d
AOJiMgHj4EXGLmP6SXlwY4dRMEdYJINk9QTGsZiWJEX8MDcmbanrPyPWPN8MYdBiOD/Y5q1v9PrY
V6mxG4GZPA9BBtHcPHBhKZCEcUk4UR6UkZmbyfQbeF49cCYj2rqIWdBqTGxiNpJFoUnTYZxrHbCM
g/tNi2nbobW+zZvtrzd5XQQdoT5TH/oX7mfjoZyAEczmMyC57jTDWQP4a4GKavu9VykDRBjcmtKA
W4ZB0zx7ea/uqZ2jWzqqB6lmdWfCpWTynOyvPypx429q6oxdZNA1aHD562EyiFjtmA0tJwvb6gJA
78PBa5PmkJS4kbUCLT1zIp3rH11Bk0RVXrdrgo7XbcfexkVMsTaZaW+7oZgOPojyI7akqisQn80j
5QkJ3ia4SRf83JTjyWDVDgpUqT2aOJQ1NUoKqopqkuNBcVzazg2jyHRpB6V4Yo+GKZ6pS/s7ry6/
kioFT9EdH5saEOTUdhVHerRESLRi4ku88AhUDv6MOBRd5bzotHi8vrHaGt+G2FT3rTfo9TBRVhVZ
9zwYfrUTggGxS7tsNai2Bksk8vX1k617cu+MxReGjCPa41ApYPIMr8lEsdA03o/SFi+FLN5NrHCb
6z/JKxs/OMPS4zQiGxhSI3pQGQPqx8K0radJeRTleZnt0gwWhjRnCgK1H0TjINBTRwx/5O1VobeT
y9poSanvAhKLwA8nKKoaTpbkcCQxFSWLXrtmrhXfU0V79x21W4Fhb195RIU0HC4IXPDdo50Hb5I0
RV1P8Q0yPWMn6pnNKB6/dWX5vcoIMpOj8ZKO5LLTEJNQbF4DHzhjbA5QT9Epn1Wi0Ql1NWx5q3oF
m7JVhXpjVRxeo4m0Vh0W06XNmPt2EDf3bjr6hyICaCk9fRs4HwP825VqxuEhgaSJuBdinR2zKEcO
0kLI5DfCjYm/cXIDywthgR1TO1n1e3KC3iqJf0fqrD/nrR+v84Tl1yYqgX0Auobb5jQ/MD9T0dDg
yCoyZw2HQw9BFultWswvTtK9wbuNzj5kkKriyOIKDiI8GChy/ar4qFJ1IQtS0oLM5rMV5Rww+wvE
DverbUfrjNDTld27sN7Dl8rlAahkmOyaioeqX2TgVQDbu6pMf1d11EUI79ww16ckplWuJHqACEI4
nJORuMU4eSCeuEeheGOXmMqb6t6aFHbdKL2t4yFdU+iwGU3IP0isf6QqZfGL7dugIveph6w8GkN7
7mrz/ddSn+gBxiuBCLFP4znoWkBqVUKRmPxsCVLb2PFgA7kF2xQZVrwn+WzVQLvBFeMW30WSbweX
NCUaCzcFfaujXZN7FsWxh08J3W9WDKg0QDNe/xZF8AKWRaJD1GqlzUfEEWuJJHYLeSzNFGqDB4Bo
idQIITitvYRct6CebcJUAJ+jM1vTcmEsHs72hlQ3YgVMhwZBS3wlqxpCaU3+Qj+j4fXeo6YIzpPj
/PDF17DLq1t469bB0+BuSb6K7ugZAL5ZkulV4FQ4RyO62ZxT4ZOm9TGvApQBYL+3cWNQsrFCbqB7
JDfMr0saBPk2zufLxLN0qhHyTFVhnywPdlUDm6aaiEYHzhmhdHIwFk2Tf5ic7tt1lYSLjEGqqW/M
BReYeW8T69Ztwzl7nS+etdn00bVFnrvx6TiROCZummbsjk3OFiyg9q6LPkQU5MHRRGOBjNmPcHfT
GL5+x0iL4Dgu1wTJGyJxX9bvOQfU9WBU9WkGoFe0RbHLBIVMatLf9+J+2Dt2Ym29eMIzUCBRQRNW
rJLYzp4dEkkaM20/mRotMQ5MBPGHO1gX++GjEQg8rKU1cr2XPD8nqBSByVZVqNNCkpQp6lnsXJi9
TWDtQD0tQrsAdmE3I7KbIeiU6SsxrK+RQhfJim+wjfM3h2tjaN3dIqOf4SDBF679OidEMjnWltk+
Qs24q/ChnVSfv+Q9LQsOLnLvu/FWC/yFgZG+dH5Xbu00wQOl63BPV4/1xyEevQ5bQbOVdIy1Jcr8
mNUp6o/Rj8+FMb0wpsfaHodHn/SOKQiTRyOF9BrU70Wj4kcTC9Q6d2ta0TIGM1kB1vMlo8H4x7VU
ygs8Z+qDNxzuhnp6aVOFyK0jPgpm9w4aPAxoVMOHuXJvI3tgN5/FxQ04iEvvDaPmjnHoA+icl365
kiKZX3IvFHcU11+ZiZgHSfFzXdoR1AtYaq448AydgzAeYB0G4thYp1a1zqPuxOFaj/QJcyXsMj8T
rcxdvdxHwCZxqTMPppR1b8Eo20+68K2nKEtYAAa/uAjaSiTTFfchnv5fxVsqyUBD2TRdCCD6OeO2
PyIvh8zgpN+mqHy+bl+Uz2SdGe6XxjeDU5trpNbz5fo6QA6fI6REOwFGKVmAiObRPNCPxpOu1WHu
Gtohy/Lg6+YZPT6yeU6hN6OsCXJZin2G6cc26/d5QHV/PUcGCgd0XbvLSA4wq6stsY3CifJz6Wrk
Cizldeo9mUTCBbNDcRON3xwoHo4kk0550TFuLfv069zU1EiusuaH8CAuTax8G5V1w006p7shHtQ+
9Gq5GF3Jh5jnG8NN5tt+NraF2Vkb3IDThtNAdZcnGbpgmg0GjKp9pyf37EyJ2uUzSpsJ/uDWmJHg
z0O6s9OG9IucEBht568TljRASrn9lOZSXPLAevadmWEpPSXXvNd+LG4qY4xOBoNRlpf8EiLX89rv
c1uHr+UoD1B3xFFSx2TSZQ0VZcBt7exbu+aURG6L0RDQhGZyVTFjeo9U+Q2Y6JjqexlOw521YCrN
bLae7N74hOHGqIHRIRxbgistd5Z3jOrvE/J5910N4KEwEHi7U1B3e1vS4woThF2amOlrFcksY69p
sS4y2rPd1P1qJA9gX82m5LHvPye81IfBSBnF9qZLySLMTaEyVNtDwAEavlFCGXeP7h2pMSPIpJX+
Xo85zODyDmjg+FhntDD9Hs2pPzqsLhk6n1FjQlT0FMhXKozOfSIRlK/72VerJO2LfvJRg9rD8sEA
qxkEiuMxQQyVV9WtB6eiCAhAvi6f/F6K8+7BExfHaxf+Cs2BWWnmhYWz8TIzvs+IghOONZy1zm59
p/sBpMJ7zD3JMwRYTzlTdiHSkmq28DScbJwTXoY2oQWNxgNZB/u6XvrgSxqpodwfBkMux466m0Y/
geSY7ltqkB1g/hlTcEZDnWyVcj+MaJOaXInD0GPdzgcifAs2xNpextRO/EMwHMAuyYr+j7OPDUMi
zQMgYJMRoeMkYsH8P+ydx3Lcytpl36Xn+AMJIGEGPSnvi0UnUROERFHwHgn39L0AdfxxTfTt6HkP
DkPH8LCKBSQ+s/fahrMyA3zzdcEj3yPY6S4IuZ4DhLCW1s29yovfWtA2Fx2FVIqP+9a4+rhtQ7vY
jQVSx74Z14gpA6I1JHdeaSEr0Dnclnqg4IbdFrPv1tVs/K2ppzEdagHmqIGBUT5O8nlAVGjyDJA1
0DUip28urWrXl91BkzFjPCve5TqrLVsZx76lRTNn/Yqdz3XppA0kOTFgiuEVnJZtTNsVwZNLmqBt
7MLaQ5ltAEPR6nDgqWWDB2PhQineoMYep599ryOz6x5OY9T7pObR5vudjo4kdje27/40B+rmiAPw
AWkGnVhZfrbBHJ9TDe3b0Kkn364oZuLXnAy3a+51P1HuQy02gkucZbdKDQF2Jla3BuzLdajJjzyb
vH2mm7fYVu8ha+J1PJr5nvmZzwIz5lc/95XmvHZM3fLRS9M9Dg4x9aNmQp5vgaI0Iju4IHTJrN/R
B57CBK9N3350AtI+p8MLtpgvADPjRhXQYaa+z3hUMMRqhKZjSIF/yi54+TWm7WYZqFolM+Blv50b
Y/Lc16SfgV6wvKp9W/b6mp0C3rXJkComI6Y5hiDONpPPQHjOQwoQ6YQb0F4kfvNWWgaFnK0wM8xL
4+UnJoCL4HuxL6OmCQ6xis5hvavMDgU1KotgrMA9lcAg0CURFk37xUohdbJjCcbQSPLmVIbTGznh
8lYE3iGfPAfolLt1TaPcmgp+N6uM8hEJ9BXtt8A2yn3ZdMTclrRHgpyCdV8Fz26BmUMNLoYd7leu
TG8zJcMP13bvDkD6LSMVuaPgZZyi5o1OWzwKYyfYwaxkUj2irIn2IK17Yk7PJh6/dRkWxEI2w2ug
gzcqYrGx/Fhu0Cyhn5w/SccrB4ZYbgeBDemgLY1joWczJ814NEj793Zlyt3fBXhFN7XTTFCxZcyR
3syyyZjkVKugx2FPMdOrB8SZ8fhucoy9s2//RqoqGcr8fBFA4y/6B2fDox5HNsKxxOK/qAiQPl5p
OOLZ+uNvHaN99IGxQXIa7h2z51ChBamrGcnTCrlOYTMV3nwbZNnAcFzGl8iKHozlQVzrjrmR2Zff
Cu0uaT1XaWTkB8cgnhmIHqVeLcKDJfrw7vHyt27KyC3WXeciqY+HSXi7cSA+ZaSs3BZFLKH623fb
jxnRZSC+cwcdd0hIGP9rcbZ6eqvlkqrn2y+eb8RGlwHmcu6UYMzeJsKebnXmb71M9E/crz8ZwbLY
rEsmWhNNYeiSlaIbxZp2b9yQU8bNRbpRW2OWJFAOxEhRHozSYlVTVzbVmQ2PvfXig9VS5kiDNIrW
w5Fq5eRRd9rM84rchzuP9RcFt+xRjS6NxfLFgfFxtTP5onU59MzGRQPgQLyNSaBWrm+dv/So9I6h
xujDGQSIftS8MwaiZKEr+RP7aqbYnLzAkqJKHZl8ebsh/23NQ1mh3qQos1tWZYc02gVRuYkFdPQx
iNbLjCyzNt38Fm0HMyJksPiEmeW5pgEDKp5gqpI9iBDLSO5dpn6XbUg7bZrpPUw8FOkaXLwkjbJd
gaZ0PSAVW0WVII/VKt/YnZR7M6Mdw31IHBgny4bnInvGxOzXDr+YK2l0w6bp9WyGBjQHZw4LsUe6
YSCsWXAY7H7HrloHhiZ5OWWhHSMVl+BoRLHNNDnXq+k28qgOhN8lWwmm+hnqR2b9SsgsOiAGWNkC
0JnKgB3N476jD+uABVR4TMxx1ztACYK+MK6Ob5CfVKdyk8O1WvWsg7e598L7IRVOOg2R6WMKJyNk
JkZP9SoN3zq1uf7FwGGn2V30vU47HJ9+GQIEa6EroS3G0RJB4fIoB6OslRgkUa9Imhr0Z7yeqTfe
RNlKMh3aT1F1+jEp+m7t+tIk5Bj0u5bgmoFlIq/Z74jR4GqwU26B3u6pdxRgZ6jQe9DJKE0EWQJp
BDzeIZRiVXVzYNJ8ljQNLmT87r/DtnsdShcObNKqbY7Iccv6h5DQjM+DLcV+eeYkVop1y6zZTfSv
oWMn5z6FiThh1louFjsOUa9Il4Ty+VPOZHI2HcM5mb31u0h6f6+q+dhriltUOtFdi2isHGwZi7og
EE6wMYKC3TdcpnPil86KOyba1jgvrlmcopN34K4xEGYPYG5JtOtPSs8fQ0nxRY9wJ8hRv9oxxDPR
+Yfl3mag35GooQICtnLiPUBxH1DHvlkVpPIAFvZyzuigZZNWK075YLXX5aHWWE69Neri2S5YeVZZ
YCLroDPlD6cGUB4Nb/MIGsIbB0+dvAJDY+cO1QEb8J+alOq9ZkZ3FgsfZZ3xhFIaK3IRuDyNHGdH
OmWzhZFk08dD4GtNElwwcSIwz9qDNsQ8E/VRnmutu9VEcJ+D2Pndk5m+8ke0JFkmiXGwp/zGxoQs
6TJqnqasmKHZYOSmfqbeD3x2IHJQntmhuxsa/XtjwZfXC1+tgx5bjTcmf8rKDfdhjI2QFBZakSq+
LpfGFE0Ht5/E2fF5g4v0qq5gKfmTOC19VGczP+kr0iM9hdU6cn4LI2PHIANyOebpajxJBV3L/HSq
Up5DSzwxjJ8u1MWbcd7oIGveLqdwJSkh07ZJ98KazcazMFhVrXXJbRakYSSCK96wGrVAiao/dj+b
0vNP1AtaxyE/b1kq6b9CP+pPDLQwPjeQxCXdFdOmsqTl1cNdHtrI84Z2P0T1D7QKw45jyjmPxoCv
FIxw1RZH0EbGxog0h6myNFZ12lZ3XzX3WLLh7ASQ87KBxG9lrF37ljwheggKCi7+3kHbnwYVNiQ7
OfDZhFg09Xfd4h4TZvsufG5hy7wIpJhkRqAYc+dcDQuFw46BV7dLos5kMzwCgKyt4mjz5UNZ6hBa
TXWureoOQoy0ONL7gAkW8P0nGw5XLWCIIz0dRfPSlOb4UtlcTdGwdThTvK5T32w7/J0ixgCXSn1p
Se1QD5xKHM7nJpDvSxG2XLKGOZG3SXNd2geISsW5C+N8C6z/qbd5pi0HReCqbIdr5dyL4nse8JvJ
QW9iICe0ZCyaozc5ryVKxy2K528VpedNImjZFLH/x2HBAikuILSKxIweuGiDicry8P05pFxvOgRt
emHrKKYnQggVBiALcDOk97VtVs42N9IIxEBYnBhScb7ODklDZS8BqA5oDfn4XIp0TrLzvPm5Ijgm
COpSjdHjKY9/hlkjdozt89Uwhsbew1e5cXr56dVhee8G0tmy0aHVRyItJgM9F6ZvUnV7bBJci5yc
HfBNhvDzrp7EtktWcr5GnvsVkSOwqYtwP3tmYxLJ76EMLlMZ2lyK34vJ0W/yRz0q0NwdzP5mziYw
fZ/kWbs6LLKTPmiIR8+imEmGlGdlufotssi86UkT61KS0Jd7pIiio1NpZFEzFyJMb7bUEUvFWy/P
bGTBSGTlwfN8CdGYbCPicBvL+OGGEwxMk4GL5WVP7ZST5IqmgpstGtZGmbi3IGBxIONXmHDmNZ6/
NAQVln3aXAAvBLcaXNowfg9YYT5Hna0uXaokTCqyYV/qyHhZFBDgQRGIw3KEMM8uVmfCaSdYJq0m
2ulje100Dn5rj9daflv6gd59hXk6i5XpEJaegSHBLJbKXjW32cJhxH12CWFjnf2eP09KbEkCoKRX
DPlvhd6/GlVnvdVB9UZrXm3dFtKnAk23spGIzxDL4uj6sMBXPP5tnpU8Bq0hw6sb6G8UI4QognG9
tLMir8rGb3U85zgyrIm8xDwpiIxeGYnXBNH/FJL+pJTqsKia1oXSF8eqN8i7JniaJLb9lPhWfXNV
Gz3ZJFSmNAC3RvwRTkP+uAFPqLVLbed6DBwqQ1wa4uDCNimfc91VZ2EHj7AlmJTz9K0rVbUWiBmu
NTz91aBVh4k443OU1W9V3DfHieXGOG85kpjlFHXZkP0ZUDRhEKSIlTazJ0zOzyS2PJI2yq4zeQUf
CNY1c2ov7idJCM7DLSDONzt/6M2tMh1BUNFLrtfwWgxJ+TVruqrUuoRT3+HSsA+eHe7arkPWEnTy
UrJI1katesul75JjGK16f/pcVvEMbrjaInVuTQ+erE74DXXmb6v+JGyJ5YZbvtdhusEENWtQ43BD
7LN1SjhXVu00eYwFeKUV6qdsggA8oSN5qphaH3Nzljb1nnV0jBmkmYffSZA11DoDdLUxUgUmbl5V
EXVTnzRjvIo0einnKVkxNdFmnMSKBSAOyYnIJkuDlKrPfXGkmqsK3Z+JG9asb4sPBJSEgojUP9jC
vWI2a3bT5LActyg8vG6kxcYqd3PYxa1ZIjXbJhDz49v88nOn3cvGCknSPiHan9a+41ufTHxE8kIz
UfDtDhPuZuyezDRoSNwrkHL3oD4V7T88z+AYa5IhVZI5a6GZzrWvqNIGyggKC57hlVba67xC9CHn
mt3l+bwdqY3BD9jY1HSXGZA73x9RJC7AryBPPqEPyvKDrElcyrF5fVPRUK5kJ/VLquNm12yRfLM6
fvsVQj+S4+3wmelSyhpow0Tdv3ocepsxh6urWuKR8Jfibg5sMl1lPK78mT5I+iGpLzoNbFzS0kL3
3zcVJyhpwM9AQ/uN1SvxYVTT78rrOeaRvwipoR9rSP0WrEB2fuE2vxGFz8jcsLiVowafJFWXgHSg
tcVPX/legfDSsI3j8v31yCKDsArvPqhrFHRoN/T0U+mIOMouEB+yaspVk75kCJMugNfPyFO93aRG
HNVD+JxWtD5Bv2jsDNSWYKnNDt7lMgkNtI7tL0ut7h2pif3QvcTZq3HC9Ti/uFD0H709hsflOgDM
Zq5I7E6PpZeQg+HK6jCa4VXXG+PaWkrcGxu3ZHj29UG99GA0j0MhL4FKYIJC5oOtx2qqH81t1Ocv
okcYjGPri3ei7Usgh/vWIg/P9vJjF7bjxY5ytTUK5AOYEdYCYvthmedODQ0gIalGXw+ErSXVR6X6
Px191xOocIdfhTR2IPORZkYzWVUJ+wAMslhbeVysSOti8ITG8OpX1gFN3a+MIE8yIcbgAlqN8U5C
GnzAjGY9MLB4mVJGKQncnm0ewjPuRHJGQvu9d3X5BsxzNXXWdoTTebeZGo5s5J+7xHwYMTBmqSnj
FCFCPhRhZuNOGEn21iyydUxxN9Pcvov5EIyC9MDzyjwGLNRy9eSkF1UPkErqrllhB2/WXAr1pp7q
4OgRr7ewUIKwJCisf/UZQN5a6DmrvGOBUhcIucXUP5yIxeXIWjYb+kuVYfruzCC5V0Ra2GFEqhAz
o79avIqBylEwH4N6nfBj4pDkxnkQEZt+emNRNRrZ0zKX8UZWv3+XAROrnm1t6snFf1t2Bz2txFqf
3SMd0oK/F3noDuzGygqGkmd8islRzKpN/R2Hmr0ZQw+Kpmu/LT+rrgOsCn5AVOYw0CWqrJguVEQU
t4syjjxrbefM5Tn3AXEzozkn7hTmIe3S+9j3TG8I0mwIIuH6tXjiVxpCmKhz0rv2W7oaE8bafmZ5
+rMkdZGfNBYMYSb2sCBzXuBw7UWqjlGeeBetn7cd0q4F4gImoDKKbsB91JPpe5z9HOUmss1XLROH
xmMmmtcsJxwsIcugu3fVnLMUa2eT1cC7U7OIc0aOboJr4s4netyyDNwKw0FTrjrUmv3miOSvvKDM
LPO4VJ625h9GI3ausqIVzDqy9VBN+QDG2uYWlFyRhLCQjd4RMJjOisc8y71vuDSyPnsFGPZUOLi0
YbQD7qlRuLfNqCPIA9a6lHRLfSJ4sJNOguS6UkC2x2lq9vr8hXHw72rwp3uUiBdAYnh6B7xmpnTY
tUrzairM8YjSj5AIwKuzYbg7rs9tOmsRHXg7YUKKucw+RRu/lWpEc+e3x2am+Aa1yZ3se1+kZ5sv
ZAqdU8YKr5k3T0A5wI0+BsAUjE+xgb3ZGpV1GxgcgFJjlleyga7P1by+mAa7AU/1EefNp5sMyaUt
2x/Z7JJBntCuDHOoeB9T1pzCuScHKxxZaHRxK0NfHDtWBd1HiVdrG5pGe7TlFK0IiQpPeRcTv8DO
pgM1cQO+EVAemPmBqA8kBeZDK6yH1ntIfhHOkd+KbFy5JXxQM7jYIWsJo4l+TLIUDxGYn273NcF2
/eWRNB3P1VLb0gRN3lB+tHLaT3NTSO5yzqUbE7cETyPrmTyNsQdUuf/NYno89hHBob3UtVOq/HhV
CmYmScexZtVMxpYBRUl+ycXu7T+otThe2RQj+Imm/SKtGjut2Pb4IC71QueYegrp3OdogKmRUN4v
KsRFuqms7Jyin8SZE1QceejEfADHZE3yEJv9AQXBHgk3/aXomx3QF3EN7aB5GGO/LqIAoZKLUKgb
cWglgLDImMriTT8rLgYbHU+QqGa3PMb4iB5pvC/MhIY0dNPH1J+yWUZchxRdXaW+c4Qa2Jsk68lF
Ron1CzpUiIhcGbDKkOG2VGizZDaoC6hsSI/PTCoKRFnOuFkuxGielmLU5eeQxLGCGc3SJM4i+N52
/giCK7zEctN0AGqSgLUFJhwiIdD+jsSzKz+RG4RO7l8dOdCHg+N9cR7SHBc1Q6l5+6hKFD8Ir5pj
YETX2hg64rxK64dp0bSk40EjZe2Qu+FvVMT4HjvTfRo7C0JHS/Zpl2pEAZZQsUGXNS9OZX0Frf7L
Anx/M0LdeGOh/svTx/jmBh+G2zogZgXM39YFkoMy12h77cUJP5fbz7rVpEfQhBi/dKcubia8Raas
fGyFaerbMB/eWpnkB4aKBKEYVQzrq3oxqpYMxwHW3jAkODOal16zKUPCZz3PaA5mQX0T4wBFxmXe
uvyy3JkGIsh5F+wSHp6el8NH40q029y6VRE4t+X7HHRc1kTOSm4Hw2PZkqeU4pvRB6g4oCNedSxD
N52j0FcsL3Sy76wgEMtrH7Ugxhg4LclKwqhPng5Uf9JgsS4fLIL97uLPK8u4oceJvRUxq9qPHLIR
kS+D0T/XWjTdFiH4UnVYKRj+5W99FVFh66vEsA6qa4E7+1aJBBFjn8Ww+lQNMUrv+X2PvYaOWAcX
jLFkFbQemqRBbbx5q69G40OL/Z1WqKNROHOsl+881a7P2GDUPnJJVgjsN24AJklXWqEJ/HXcbS3g
0Oeid8u1YVJO1Cy91m0A99Bk8Hyfhvh74QbpjfUhkC8dYoaBFxAMx3l5rA6e9ksfxno/5OFwVdaI
ymN+UDUDFWOUMuZsq4bca9k9JxS6t+VtiF5NpCAwDlwqp6BQ8XPVuYSDoKPfQlXps1ztktCBIgX4
ae/YTriN3c7Z+XFobQLCap46tJNzOUDwODKhqd80LgvcPusJYoZjF1dOc0g0ZT0VmFWiUftNxFH2
vfc38P/Jb7Pa8iWqCC+bBnBopglBDw6pdktiT63RJRy7VjgoTMSbkYzFPaJlJSQguBfzx2D/clk6
PSVWzzKkRpfRTy8Ip1C9EugVS8+4zqzI+a/eclDEtlI+8+AGMNfjk7Z6GXMHkL+ZTW2FKZ8hSJWF
18F+CUhefZoSRtJ2deEkIwfPJcMY3MaWgTNBOGxnNeh8b3V3jHO47VWfvqGmZmfnYprwY19cG3Ah
q6Ek8dfwJ/8YMGiBF3lFF9/uCkkzCGg5P6bRdEnjNr2ANZynHtiApu9Ohsaq9B+T72qvWUV+b2ZO
zIex3bv6H2mY6pgZCPJmbWaA+i5HQ4pbtrtye5RMK0axyQlVWg9Iw9eNqbJXV68ufYmm1Ub8eMzK
SL/VUfHeKB9bnkhePW+Mr0kKIi1M6GXYJpQ3S1PPvYn5x2MTt18oOyabv51jx8RVhuFrGb5RLfvn
Jrai/+3U8Lzd0hkg3CM7WcPHjBm3Wf+9FkXYE8FBBskWrjns5U5jRl4XzjpOkluT6dpR5wD4Wxwq
bAVEt+OOzAXepgA/67EuMjrROYTFHsa93mUUT/1YP3IM+X9/Qo/wf1+QSMuBrgEiEehpluPSgXf8
9+jp6y7fEQVqrlnQgA2LzWSPNGELRvBHXPfls8jwmWO+vyylEQEBBJMafXr0S/SMUY+Jq4cWeM0b
PK6Rl/VwTXC30O28GZ6wd7QmBNeFmbv3GBXIdWPPLpokMp8SEOQrkDfy6g1kyBWZOlDgtpsurb6R
L6df5syCpQBbDjLzI8Q0tfKyMTo5NZXN3MDbDaPMHKUPsh/9ls9CdGzz2kZH3HHR/Y/YztxdWqO4
1ptw2C1NHM4SMkqYeDwit/guUZvZdtOeq/DiThpil3ibNrZ9lMRViEy2L9QPV4YqK0I6WvSPDF4i
BGgs+TydBR0p6UF9NYeh3jGPSlEQM04OBu1ODq+2ZZSS4O0/tZkgPIdtStYWp1jLun1ueKBl9VsM
o/Ritrq/GYVRzGvC71nqYGEJgY8iseNGzEfzSRbvOY/jjWuE7D1k/moNMK+ELB0ySEx3hRGkOWpx
/Fv4lvpVNvUassxzI6T7jEKJ4aVDuiPOhC9gsOnTnN0RVfqG8qTZ26WdwvbBGRZpA7L6vsl3EgXH
HmI+uCJvunVGpTYhZIUewxrpGqna1A0+hyF4TVojeZAnxGLtRkZf9qkhKFlZ/hSe23ak6SGkHJ1d
zhkQBfeh0pqV7lt/xr6Ejt36kJmG4sMawm1UMRrQEUE5Tjqc6hgsF3P8jz4Dfzvm4yX0k+r/YniV
/2b2pUeHduIhv9A9THf/4rUzM6qtNmPqmfpFy3ZR4e4YDwZzyX2mlT/SrHoCYTwdrYj5fa14qsE9
ZBdwL8Ywe06N5NMC+bZeZvJRWGd7dHBviQjEyhRUecsHbpY29rehOyaWPCZhjIjOdb7jIApXFGx/
RCFRWSj1vY4z/ez1MdB5XTD/cG4VI2heVO5eJ+M81K159rxE3y2wE0xWPwI1bCKGu8GKudFGs5Bu
hmpIjrU+768DotvaEak5PkfKPrW3mzHcKXrstT6W19hV/rOFFwhPw3/2MErxrw5GpIAW0YKmmKkv
lvEvVIcR4ETgJAND7xp/IokR7J8s5P70KPk+Vuh4Mr9/Ipp+fFJC21cIoV89Wi+4rdUzVPsASHst
LM6QVEeRWA361RpjRp0KIbjXbC3G942TWiswGM+q9mYulPUuS3XvGzC1Pi4uWsNPvDfdS5VmAcYY
/9wKLmgJEI/YQpYDQaq3x1AINr/oZNwpfDG9pN+yAwUG6rTOVUz5plHDlvsx32sRGp0OmmzbV9Rj
ZIJu6tAxtp2p//nPvzwxX3L/5F8WEvKEgy/UwIkuvBmZ8Q/eW7sfSuQ7hrlzTRP8wTD80BJkUdh6
nPVfmYmAgzk3dYnxQgLiWmui4ph4j0WNSAw6GrwZ1ohW6PyfX5r57y8NS7ynG7pj45tEifrPL80x
REeQFQ7/XnMjZLbykrK+Y+JgfpEjeckcnma8teoIHmfYGjY6ZLA8NgTBp8pi9F0417KIzyF0BQI1
p7eiMt3T4L1S1FUPUlx+hIaeg2CObtrUy620AGkp5pCI0621p6NQrwzVbevezNeVpd+GcCC9bG7n
fS1intD7VBYcUv/5bdv/fkjwzpCksW2SfHH/5XIWysSnw0p/11XlS9mm7X6ij/c0w2T6rfY5+48j
zOFNptS5MHPrlPommYeBeBtWdR0rNom+t3dZU+20tCT/OqH27KvskwHuxXfMnyJCbaeXuoIakqxV
OLX3ngreHJ11Z9X2dWiLQ6ATMql1UXcmceSdNW+2XU4Xz2NznGZ0BXnSvjK12zVhcNb1zIOD1m2U
TN1Hzu4pb7Rx3Uc+MEcXl4nlyycvyYutKskKI+89orSTBnxRpNxNSaMYk2X5IDnHRFmwsnQtvM28
GLMTGQxB3dnLuP2p91N+lsiHB9xBe1u2DOQwgXFci8vyIfz/HIPXsfz6n//js1B5W4/PX0FU5P+Y
SmDM3vz/MxPsx8/sV/RPVLDlG/5iwUyT1AF++yCRdFtahseF/TfGwBD/xT8lyMC2We4YZAn8NxlM
c/+LhyEkMSkMk/oMHMR/o8E0Ig44AIDFgYhwXGBR/085BrQX/+x1d4Xh8f+SUMYo0QHWWPOT5B8O
u3RyvBEKDvqt3rVYqIMO9/LqNIMqu5C8kyAIH3Uzkc4joDgoNhVQIW1ogMloHIGN1jhQcOSJmt1v
/+zbqGQqPEU7O/7m8axpWe8jhCI90+p6Qr+CTSzrjJsq3g6yOrp72xZ/ZOK0J6uATDAlyRURd7Gd
5u1HZ6MCLgs6D5Nn0ySS8DLH0iUaueeuW2I70NWXSymOmCe7vgdpSHYh+j28AvWrw7q8bWzz3FXG
T1mEpP1OhnF0pa9hPmqHra3LR17e2brcrRaRpjFr1UsxjKThsHtSTXsBXp2e4qHKaH0dKgL4pOAH
COibJJmIKQsl3Sm6l5Fo6ZUXhl+JUDTZVvPluaDHQSdutSbG+5OW0dptRQcNmNottEYs+VVv3eCy
TfuhIFLALLJfWMOpK/vwSTeB0bfWGO2Hjl0704/foZ7NkIZyutUzch4O2LNDNlMZ03FnHPqNy/dm
LI3vGt6ftWtI59bgiWII+RzM/bs+hgcXwM/BTZjzu6J3nyLSVYlAG2Es/7T1jOcFy4FQ1MMPAhTr
cDI+y4QxcEiPf2tpSR3YG6de2RN2k+AzGGP3qnT5vYkxTbZ6u2BFAY1iM4LwsBlj7ZbrbQOA33UO
LgB7fnguZ3C+X2Uc3gQKKeelFdgLc51OPnUBDhRVRE+bWBVGdrRRmZchS3KtXYCokYmARjgB491r
YPrG1pWFQq3qGps6kc2ajJcD6zN1ET7jRE3blZHvbp3SUaeC4QZJEW14z7DzXBne0siPdN+p7RiU
LFQkSarfXd/7DNqSEU3BKN1sM+aYng8jDjMIihsejJH9ZQ8xZPNc/ZxMzPtpGLYXX3JrFMTfHUMk
2XjLyqeusvtXwTAh7L7SMQQ6L2k4UAALiuxNk9jqFSp+flauffD95qkkX2rVWJk461FeH8VgIOzL
z1qg9Tcvrt/JQclem9a+TlkY3VUV5q/OHdiTXEdp3R9Kp9NhADQI0/J7bRTaViq0b0HAwLnqp0NZ
eW9YyJvLWBe/DWmQCTi0OeNwfF0JoWKPNupJxfQj7VShorkEeVXtkEXKZ9VPqFJJKvpuJsMhNN7J
+JGP5UtUlDFoUJ2NSYrNr3qYjRc/GsIcH2PQG7eBYeryd5mpkVqbJacsMuunav4Pln/uhNqhTVR9
/fsfeFb40xh0cVr+pd4Wai3qpNh2rc1msw5yKMuZdS8dC03vEDjnSoXp986/WlH4wwim+MjwDXKB
AdywdLCnGu0lKirieSfMG6kVvNhtOWD88o5OGX55RuMcch/D9g9A9oTZ0/xt0z7ZR5lOSFftzjUC
Fjs6PVh8dF/6aM7jr1vndORpTiFq9dQhgUrgOeqhpTF1XikckZHTfMZe6HLu6SNk3sJaNfnYbmKz
xuGbvBKK9NOmQzik8t3poF4Z9MZGy9A+HLziEE3xRypInvT/lH0WrCnyATzXcw6JKHbKxbqUQKGV
or2ZIZgXUm7Z6efGxVVjfcjy9jSKtl3pdjttf+VdI1dsz8Wx98YNPj9UO6UihpMtppuH07amgEZd
TJo0ZaE+OQhP3GbTi3sHDrqUETaSyXt0Ib4Rg+hSok2OCdaJPA3fE31iLOPKL2QfBBeH+qE3dJd7
0GemU6v7WJdP0JsQNVTtw6CoJr+Opt2A67+O3GSWFdnowUtW4AiWiYD97pvGe1BArCAeDpU3uzXg
fTqVt/aRjclXgupwE7sMIaVUT9XoqZUYCl6m0A7KKfIN6y6SnF1SGwh3hGz7UVsZ2DyfDWSuwTWz
QmsXuWTWxujWGNbzqGhzz76TDHjX4Zq4pD38iBRKYEaU71NemOdEg9RGcQXlTjzGeI5yIaOAIrp+
5+Tadrn9rZchq5sc3nEUedE2tWYNrUAzzcPvpc7wZxglHD0jQ6sjlogY4guKiFFmz8SSp2xw07xk
WG08cSlhn62ZF8KDVv0rEdXvZmgT0hzizXBmtMUw8GB0MnyrMVBM2xUHjH8Es5ONNRirIYCXMZwD
Dwl9GvbvbOCDriSGcEKNCS8SdDvSGIG8E3Z2B57Dna/0eCIqNqwRqVafcdiKk5KceraXQQ6ykM56
lo9jXV4oVZAlTugApqZZ1z1rzXbU9yUaspP35Pu22lcld9I87YKj28gN8Wg2PWJi7+LQDJ+8DuF+
7yMhGwKejwHDMiO2UTexjU+k8Z45EKgZgBy1RFg71ClH14ys8xwzloYAv6HKXWo5qn0D2YXlLP44
9FWF2jFrx6GT2sVe4lxAP9ptW/ti9c6FKStXSefiuqFrJIs6FqcCvPC5jbriFPreD6uN2OmM5KVG
GAQ7OU4rjfNq53TigtQILSiWSMSfhGeGacdqSv8YgR+wEjftbRWxp5aNa23ww5OUK16zCWpE1wHq
D1lmH03gSMx40Zdn/Li+wM+lNI1RGAYc2m7yEHDar3IRnifPu9WlBGRoIo7MEgMDW+0Yb/ZY/Aax
9KJqZ9h5tX0AIAD0G/AXE2CeXKgYNm2INxf+/5OjEfrHxNFHjLPK7CChSTTY4ecyJ6hPpmdMpevE
quP3pERaQ5QkyMIhns1pxBHrOGQi4wvQdPHUpPqTBTTF7R+yFeq7GctvmFyryoU0Hf8vws5suW1l
27JfhAgAifYVDVu1VGu9ICzJRt8lEu3X30GdG7GrdpyoemGYsiyLJJC5cq05x5xhN60ANJTDOWxB
bi7J5YIoryMEh11TqtmNWHtpE9TtS+u63SPQjwgR+Kc/O0j10E+lcCwOg3XSpJ2fnfS45VzMzTSu
AbB7BPlZPyCZswCMQGpxZo/bRSZHVRF22DCT8pYGKypmCCZf3S3lUzYOGUAQFo8aV5KOznPf5oAS
6trPf4lhZCXfl8tkvLCp7KUzzay/98iRSqbO1xM0AM8U3zsRJlE/u/G8VhHh29MRDspn14OjoYeA
SlxOzyW97REhIqpsCOstEXbb81gOd241iPtr6HhrqTfluP2BBgX8jyRqavc8SIN1qPhtT1QAeGlQ
ItskU+GPcZCrL+Nu3XQo8fkUZRvqZdUgXVGjOexHgFNukqw3iIw6dInkpNQWV0BPTm5dHGu0i0ff
Gf7olohFr445Joj9Qh8GsFHzBFS7DnQcz0eRdodMbtZzO123Yb3dY1MIa18Pl6GcLxQlzXMG5HYc
KWdtBAE7e8AB31rDA9QmdoZB2oEcGAjrW61f8MeNaUvKoYM6hdU6GZAL2UZx4L/eOTOtJdebwMEq
hGabpaGWIm6GTPjLz0NLUg31gPq1lUiNvLl4+nlAMoaKVC4yApExIakysnvaVNm94fUs2yvJBro1
PFoUZyedNG+L1gS/bQ3V5jBTsv/nTz11/33putstzj2gkO4xUyl4Cel1Qa7fdroBTg1DqSqSyM6n
q+i8v9Knth2CoeHRyT1100Ccm1dnQJeCeZc+mhOAxALsmtesm+xRxuBdxtRHRuOsHgE72XS/dlQ5
jne6MtUnK29up8HJd5uB3c+myXzX446+E2qgfd/c/zwhfLgMEs9a94Uo8juHWCNB8DdGdHlkdH8p
68hAzPagcyVcnI4kw2ujObUOVJrWUS4Kh5eWNpxgis8Fa84rpeEDvAfOKE49EFRELJjl+elrOtf4
81AmGKObHW1a9U8Ns2O3rbYTVKJbBPP+3ejCKEL74IemkR6t/tUjFo0g5ty9y61+CMuGVcWQXAFl
RYC6ydK1d+t8uU1HKmAOStnr1e1w0/So5n6eCsm5ALcTQwhNu9loglOoPWi2+YfjsXFwunW9K3Sh
00QqY5cdg9ipGs33EDe2O6BV5mDX/l1a/2UcfAPYU5dou8LeHtmgnysZVcVQHdEUQ2JIiu5AATAR
OOJ6D75/yzkRH4aXMrSRQH9/HtaF1uSUTCog7ghgL1UdMU2agcWkGGBrOTZiDBvwwU2Gbpn7hs1z
gU1yV5AseEaVGi7CDPpr/Z5U2fjcSKYMk/LuXLeQ4AgIh6L/QlIrCvN9lxMEhgRPPHme8h8T/pPZ
RaK2FbwVjjU/SsO48yu2OkK1oLhm2yfpheRgdfUfFFHJY2+rZW/ZpkKLw4c8D2nsEQN/YWSqB7Ce
XxON5PGmt7PHuW/V0bKNDhoiGR0O0ZbHmlzyS1c34mFqnzl7fy85qguh7QAdHaqMSkBMikblPLQX
QrVvpqRDmGml7aXze3HLeenm59lVRubmXG95Kcjv5e3F0divO8VVkocbvquwu1LxGlBdmpPNj5nj
S5DFGQQqAufbgszvorRSkEo9eN0aqaVPpJntdWc7L2+6IWQykr2PPrVcgTYw3LaiPQv90HuosbOr
XWc1TeI/U4mesyTIo9cdxh0+jS67/zXaZnlj5PWlQWCUEZd0nAvzrmIrCXoDjLFvIY/Lk22XOmC8
Epp8RtklcHQ18gyRbCaL693ABx3DhJeD/ZFMowUuRJWlemyj73Bwtezguq9hfzUS9Yj44Fv+mNoC
DxmyV59VYb1UwBlOy3ZVd/RXfgENDiY25ISgHQydxH4Z2ukDmTsC5iU/zPn0m+BqIFi5BeGczxCM
SjpzxPpk6MD6Z4xfNG3OLobZABpiPGZGcapTGw2avb2n/TjsC5wqkmwMybgfcoqzXPBPk6xMIno2
vdS1E8HqfpeSoYqs/mZJpt9Mut8gE00R1dmqPOI2fn3msxGskqj959GMsUnQZiVI4t7yCYgWKRbl
0UuRGfgzESBViuY19Qgb7N2Q1OMSy8XRZiHOyCbfTKVf3X14RLXxMM/Yn3pJcDm6EjZ0sVvmVr4X
91eDNhym5rdeXuckDHxbtF2xOW1lrBcEw3Kv3+aLRZhsRhyCDoUIYUO0jFT85aJpwdRzIleOGbDD
E+Dmxgu9vUj64F90o7r3kWY4i6KjKlLqz6H/sMScR2PP3KJbHfsge4H4bQK0ocw/Vp094+mMmJcw
C7Y3zjFG92Vny2Ht8JDC43hOavfo2ARetYWLtSQDpbEqGRoFfSK0rKE0+mbnmUBhwO7irYFinBED
yJtIyIbpPYz5OMcMu5nx5emy3zzMwgtn4nTi3xR5UcaDOxERPn9jkucdFMOvSW1/a3+5DKe5SRCi
WoYRTmK+gDvnmJlceWhzfehrBKJDPaJqhht53ySEO5bvJG7gtBzXPE6Nebf510Bt1/vlW6NFpHie
7avJevVk97K5rGiWcD4AKs+oHPCNyu2N9aBn9trElHg4bidOQeTpcn0hHfduSsaLoTEat6vGhVb2
y3UUkD2YKo31smS6vOFiIwUH8RWAcEwtLzZYcYqd+YBU4BtBeblPhLtbpvZJjBlu8IwH3mEz8NKD
Qev7sGWL2Jd++l4SWx/ITORh3RKDRncuKqlwD8jgY2d+ccpUP9pyRVac16SB8xqyZkUlzyZ+5SBr
ro0+wXC0I+f3WzWl32WLkUtsE3TUqdypLv2F2kLbjWK/dpVx8kV6Lir10a9eecrX6nYkiWUwPwUl
o05BF/SZ/l6NTFFbnVAhD1ZRmy/HhdNl4IARf0oX6IOZzfS7eGWQAaiewpq7jZRpjxYUakpjsfzT
fx4ql+gbWllUn80tzdkW4xDp0nVJnyFjUBHQVaYRSIV4zJhit2tZ3LUjL4BjUiyc5ffaevziTbKE
juq5/hXQ1s36nOT8RpRBIP1ivk+gl4TuMKsIW+W0q1m4VqeAEelXvzqqLYpJjpyKZYc4ut/U5+XW
HSl3hlBtzpdaJCr/SqIiz79x0UC22HAp6dtz6/X5roMReHD0G51JxWiL9Zih0NE2RCPE4OxzMLGd
2UBZmdXfXqHUZXO/s+o3TuMHy90cMkWFFyMlfK7SeEt1J+oS2PklsdXI+nRA5WgiBjgoD2mvPmF7
343m+IcA3N/LgEb0yk8MkqSoA6nTLxN5prOE1+8ygUG5lNT+mVU+L/j0r7LHutRuRC7UvmBLpWVi
S9KSWld7MV3/c9JwxC/CBWBr149OaV78zipR8xM7VuAcIhXvuMx9j/fBMW7RZ1+GUQ5RasCRnuX6
oorFi405ecYV/0mo4jEryMFasvkltfQejJl3DVuiUUob9EUXv5rC+suHfVmLLWYjI9V6E8gzHZKF
bJ0o27q5EzShCXjkLlx0ftFsaU6wV5Dy6tRhmh9ZXl0zn8dQkKKFOLXUfB2C0BG76olZxxEVOLd1
0Ycbyqh9STo3wVtsXCO25atZHj4M7eEFe0QK+gyYME43Y6EhsJFB73ReAV1rRQKkJTee2TC37ojQ
wlDD6lyVt5iGNqg+sB+12e331VqejPbq0aDV31azOLIjCmT/F6eiesiHkZaD8n/n3fLC8a7BiIor
HQ1KjGJ55th28jYbB6wr+3jOLQIRIA6MnWYFtuKUjSIqrHq7jpp++RzgVQGBlQMEh7g0B3kYcmLF
Vv/V/sSj3UXSSrKYqPmi7SGooqOISXmdQ8OiH6x3Z+SQ6hHh9B/HNdZb529PpjpoiWmX1hi2fbs4
dMJpzrPg9qfbjoVloH87X+N/nI91utYCzB7I7YGlusw7rfNxuTINDSYLzhKCJRGp3jnrqeNFtaP9
FQO7c7OzPFzeYNhH+oI0fwzRkjeSiDcNET4ud6ppEzgXg1lfi0RZ3i/Kwmq+kK5ubyQvc9wAtiQ5
BxPAtVdoC+613tGiZplhFJsfhLKUJ9qJ2skJV1dbz1gQ6p1a/L/wx/QoxbsXtgtEubp/8WnsBbDS
ysPEusmW9ZhQ01nU9bMnH8u2+V3X7hfyYjMm9wo4B7kUtv6MV07fcZ3eJronDjP3ajBl2Gq1zTtK
2wK0cb1+8ZV/DAL4UYtcaMEXM3dFuzfQ5uYt9I1eAx7pLeI7h/i0dcBvWotPyD2nI1OSKXO+CAEd
UF+Qr2HTagNgnB3bnthfz8StO2LoH6s3UlPNUHbisXG2D4ABJpG/tnMVl7q/kVjrt1q6/GIsR/TL
VfvXIU4ecDgGbtChGKctz4kIVsGhbXxgLYhAA0MfiQEmlRFq3QNNDipFbCcFB21/gnHPQW8kTJtF
VuMoXPgfyMQfFEQFXMK07Sr/NbFpeunbp0qmmNQaCEjVCeXC9SZATcK0z4XI0RSQWHrUWDQqgpXu
jjGIR0tVday86tvlWsJDcM5BmobOAmFwHC8CQTYSPXE3VFq2p2w8gvsegjy3mQp576mcULDmYzDB
TQsnE/+H1302ApYPUmgBtlt/rPuJo5GJyDmBwJIkflTbTw60loeGDAOzmIkIbLwXYyQuF1OTvndx
2JYVvRSLyBPPsJFTlcCzkIjHDPTMAG8OaSw1DchRyrtj7qOSYXk8YHy+mO1QnizbAvDVynOCo3Mr
nc8KMQnF2hLa2oTaWL6BwLaOa4XQCY7PM6lWhF1p/gcg5rcJ0Gs46stbV9DrpUkVJLX2uiT5G3G4
LZqlKUMRjkZyvgJzquJOWdhw8PVm4ezgMZmcctes7DudJH6mzA44Rp/I6DvnmzU9mgMkh+RZhw93
6EiuC9ZmE5hmI+jxOqF+HOEA2z8it0Tx6qxPw2xUD+RYukWlYabI4O1n1XqN34JcVBCOOCf1nnwM
FAi4OArb+MwMKogUiXEhzWM1XCMqgWAedHs6mPAKPc6BKAzoUBNxFun+8LJgF5u6+dMaueDJnKCF
qqc5YzFSjRrX0dHj4drSRueNzv8z+c75na+8WzovNPC3jFrPBcrtQq+n6+vsBmUBq/NfamVeEoCQ
9908nmwyIAHBuAU8ks1GgTxdndRl5Oq9iUmnISjAfOwGaEO9ZTGfHNG+ZW2fxbYzvEtvsW+33ji6
w7gbdHgdC6VMw3RmVy10MpfhaUoglaVXlApWXhpB/XOaLvdsL0SGuhNnP6wlWRU3NZ8SI0Wo1Cg1
6B0O/mFwm4NSpDHo01WJPw9znLs3/VBZjxbDDcRdY+xrA9kbOW04LvgmUjbC0TXXP7qsvONgTQAx
X4nbGtRiWsI2d7Z3Ng5PK7WTSFhH4cK84ng92SVrtNWXxMGLJYAk+QbeCmDj5ObAsnt6LJoXJp77
7BFIZ+q5j4nb2tEin8Nadn8Tq2KeCzQuml3QpVR496wDXYr9ILOEeZTcMzloTFK0ZrnPM8CKAAnN
YKppfKMF5vxkPxne7LxOy/CBFeqmNpr2rbHryzr/opWV7Wze1l2XgCMECnZDwjCQzvnUY+/7GYdx
2xFokMagBzmiNmikdChVHAHaANhn+5iAD21y+t1Nz16hazZKuSZ/XDbNOPVsYC2JfK3IADAnr8ao
nP2cEZ7QzazeYJ4Ce9TuodxaRA46Gvm+cEpTRjCTtF/ZBmF6JuKU+7CZfNzlbCjdXxP+Dxmg+kNB
S5bukCI/t69RdLba1atO04dxMibPMZrq5h49/wHYeyiaPj07W3Ygd1rRNxfIbQqkiJXzjSGTZeJg
cynf9e3qhFa7JpG1FS9eAzJWM/u3WnFSlxmBjE1HDqOl7hH8Vudplc9lB3gMk28d81Gb4UDabzG2
lHue68V5vz3JpHrZCMo+aVmj02kr7NhQJcMaaT3W+Epb/yK5mGgM9n8r6x1dEtmg5QNq83u7LmmZ
iDUusV/iRN0t/a7VtT5oZfklc20/jZqMtjm2k+3PnMKcLj0VZW5OwLCfUx15Bb5euzuZm31N/r2t
dEOnJjD9yFi3A0lZzkM/EAaz0JtcAVAM+qfnV0iwp47x32youELkqRMnFuLHPzuSunbWe2xW12hA
MPhM1pBRVuo5a7UMU3Z9FOa0RMU6PkDNedeG7E9rCM5cqPT6rH2znQvj+102sOArYKscCygNDCe/
7Qv3F3O9PobBQtC8wBHaLP2ffiRVecSe1DWUx0Q2gIDX/ix5Y8crrCjGVjizMKxCs9gwS7WjNvEx
IzxeYJKnzC3H13VD77AhxG3T4dVv6RAx663P7VrvVnd8ByvznLfVFE0tF96iQ/ESn3rVhsPggiy6
9iQ2h9j21JsuYoTxu/nCo4g5DW5XhgW6hINBC9UaHOvBHPG+tom9T2ZwI8CndfwJJY4a98hoExYm
tCwYYUCfy+VmzbXm5Fq/x2zFUI0oy8Z/xJHX/gblehTjvDA33s5s+k5AG8qIqgma9bAJP7T8xgjh
Pj+sIriCse84PTOSG8l1NPg9sMZ23yuw0tDpPpQ02QOsYkFIDKTcpxc9TQQuzP2xH8xn0hbK2GzX
9pA53Dhzs1THzLGce66D3ZZlfzOXNOdqwvfbSQffp16Mj2X3onGf1t4xmeCq6+36m1fF17npkqit
68MErXYv0HoqRB5QWP4SY83EX4S62KxYuXThi6J6AEqHd6zXgaR74nHaOj9aNfDqjb8iMF61s5nQ
h9d8mhEGgINk66xohU8oB+JhgTNHSs+gLYkCi9GyfNVpA+SNVJs9P2k99CawbH0+Ysh5S/vMjzes
PbvcYgFV241tu6GQVwS/TsiQLuQvt9apZEhqI7UkOxRgmlLp3jNKNonXMu4M33aPjWn/xmAStBmo
0mG1BW4981kzCvwpN0DSyeRCgbxrGgmNxDp6OS0ucgtaBNNJAp/dr3zYz+l9lrvbfkVJFAzDyiZE
d6BS9W2zEdo+rcmJqjhlHrU5N4kP2crsH+DwqQu85/ZYZ7UMkSr7Ud8s+U74ublfrC2jaixcKhk8
GtRjMrS238OAgH7U1yfAUBxnqk6jP2/p8dggv8KzDD8dbGkwXzUP0haMbgFRkYOy0viYmMkmQd80
d70wbzCwLYE6Yyq7G/wuO2zlFuU174Tnj+S608aFp1U9aI2oIrvwif+lCULb0S1ZXPQ8VGgk8OTB
RacnAItShxRCHu5lM6nyxor5PJskvBO5t7FbBTohZegcjMuGcSui1wmBWcqd24N21ik/lE3iotaa
X95Imk8Jr5xAzkc171oL/3ZZ8QP1zVwOzYq1ZyGc3MXiF5b98L2I6pE+QwkJ1Xwo/JRQQ51xrqjk
74VJHhIq/a7rzT/2pEKp46CaWugkdUJatlYjqSd/4QBMazqIbe44jtpgv0HCrz3vBSGwfHcTQ6fh
LrVoNZOU4Ue6i3nCHV43vX6QPqo0p84OPlB/zZxkMEA0ZWTVHPTKOot8vbdyxmN19bSSUk3ONT6N
3ttLBP7ow7k2YQegvU8DwJVhNgL7Xoxr7Fj/OKMZwo6Rv5hdc7Fw0cdyaOp41uAq5NMrQRdAzLUI
548BKBFHtDGYH3Oj7yqnRrbbwK0xC/+wVs5dXcL7l6YGZ849SuHikWEuFvCBXZ1g6zs7TYC7/S7J
mvZRIw/FVFSj28p8oADXzIDROeMOIvvWJOhzGYZ673kTreOsfEKQIphD9oiJ6vWUbWJ5ajhP4dOm
U9nmD2sD8wv1XZT2Sfk1kHUKMZLYmrpGyY5P3Ai4a6Hq472K2LB3lguXkgFV/dCiFlemzw+X48O2
Va/GLA2kKbp3Jp6a1a/3Rlr6OcOwFsdrx5JQ1NyQIIDk57yWt5btta/Wljj7rBHOHsRo/7g19W9a
92hNisvPQ5NmOICw7nkCxX3tpdkJDbeLQLx0bxJLuTc/f/p5SHsCTNyCUeu//uJfT3++2RJfAhfk
+Z9//vOnf31rB78uzHmTon/9xb++GU0U5IltiP/5NtzR//vL/fO1n3819RxW6aqtu3/9xb9+Jrw0
qGmwmP/bt4lZ/J8vHbbvqXHoDP237/3na5qWJBFOJirX//ut+9d//fP0hix3VsT/5ze2PgdTJAXJ
/+f9kQb2xFkrT//8R/+8P/98rTGHR99EKqCUjcGzsG9kPtVT8PN8TRR046H7z9+WpbBvfr5uLgxO
d3MlsaAbsw7BjtNBaUEBcT2RvSgnl5FSBjyD69OVk5RpIVTRxh65zNT6UedV9Q0irLhMRPI3yS8r
Ulm0U827yVT54I5Y4qf5xSVl42E05nqfOa5NLuW0nWYkMdZWejGO0+ydkJydJLTuU7Y20eatjScZ
U9CdSjoCcrDrAKnSXlwFIWmhjr6zC7N5KhKEnzZIBWOBQeau23Cmc+IFRH4FiKac14wzVNSB/8Xu
PENkgsHw3LXD2VqeHHBI34B58GC0N7MLArC16OTR+TssK5hNU34AH+fFABVPsMzkxqdGU/zspm1G
6W2DRu22fa+L/LiZufN6sBX9IHpCB2tir2dZu3Z2qvGVri36zh46GOxo5bQzPQrzskBxD9KaEVjZ
XHfFXu2bWn1T+4hj0VMTIL0JQU7N0ZJp7+BlvzYD/5dc8pQaNytCQW8R9GVzZD6DBhVA61SD7F0Z
ogTrsu3MefrUenkmGL22NHMvN8TI1yJYWnnkjw3+QhucHcVfjO6T8Ad7XUn0MOm4SbDoLnQ+4Rwt
sf1RE9bWRNffc46ACze1dPKBM+K44/QVtvMIA1GN2S7TH7OtYp5UCDNGpYQOB7IggowMUQJ0DRIU
M3R5X0XLNVJYuthJ4Ej6wh7sJvZ46CnU4x5xAXv6FZE2O9dwC34cox+kaFtgJnMaDQUt7mEe3oUz
8uZJ5gcQ0fVI2il63rHaYubeGCH99y5hHU6HCr1EQ1vvMxdmcYYHwuEqO9lafjSFi7FMxV5SFyCS
yxyCXpQQMs7I8azReTpkyjpopvGB6kM/48KK6B2hd9rcNhq1x75YGPlgyFPst7uSSY0+O28rRrpb
V0NgmdvTHI1KPqwuSpBxdZk9gKANVr3UsPlVILXY1Quf2oqdjk0GuGg674xke88rcz93Su41q3qe
kAVxUCShi6IfEdCftbvqN3JkbVmnDRE5FkSgzJKAm1TNWLVw+EGJFYb53NScWadB0Z7wrR1BDvNs
kb5UpcaBWjzwm0ldAzeqYBzQQJa5/de1Kp0LF6FW0+pV2Cw6eUSkfDIAQWulKBm75gtPcnvM9PSy
dbweAoGicjOteyqIqmFnXVoaKbysRDOIJsprI8KMtUcLTULI0lK3MpONc0M89uVESgrRRVMz/YVt
sRA+PKCg6PHx+ljuTsRqKz4xkMKVTSBnru/yqkbYoj0LUlDDtDOrXa5zSiOB49noDORcrXE3FIJj
hCQID4VNERkafbCinGGtDtwBaesFcqjVQzdqGAj9Zldl/UHNAxN0QQzHxhScROW7ytbmAH9pERjp
2Mfj2GPjGccbvbZii1mU29mwZETxSaAxgKCZpGZzYcjO0dWhLdin2zu2RxBHGfWX58hLp9GG0YFM
lkLvI5CzZrjvDcqfCUEVVhUcdqP8cmvwJ4bg7m7XoYhVkYOXZ+UFQQuBaoU93bjvLrKMIGcOdIBC
wSAcqw9ZZdvXOCp9DyU1dd3bsfLj3kFwi7EmD51aDeekvDhLtZ5GejURrT4STdMHTMNJyIllO0yW
9T0p9UvRGPBmSrCCUF9WGjKRfGnvsYEfwbQIbJZLC8HyljRN0I9t/qot4xsBl1EiR7GbDO11FtMX
h8WvanIWlE9lUIFeCM2Jhii5OJ03Y9AFui2Kxts5y0iCjXNP+c2AcKs7DtBNVNrldLTIx9PnCjuo
mLQ9WgdwpQRYWoTVjiYds5+rDGfxSICC1kZrO/y5/iqj07xZcgNunjZXQQNtU4OxMlGaRNpccmgZ
J1nN0HEWZHVbJzA8kZfp5clTMtPpk5kXb0Ueie6SeVsbm+n41GjXpmlHv1OB62sS+2O0P5fqT6rP
n5qOjh5yF6oxdKaGF+b4NwOPIE8O0FzzrkIb2gN415o8jZOp36m+6A/Ag3AT6zU6L0W+corMByIQ
LbQCHXWmaHM7xTMxTZfJcRCvgjtwWwdRgT48TMbyugLc2nu6xQQ2v2X0kr2XPYIb8sxcc1K3djtY
TJHiBM8cWZTLuO8csEX9Vj2JNkUiZJhvAwiNUENkpWBdzvKD1NDrSBnTQLokQL7QWjIdfib2gVFQ
OSOKHb0v5mv0l2znMF17UwTsdjX6A2QO9+UKdC/zIE0agrBjzOK8F769nGXtp3HaFEfgQKByqjHu
B/GiGzS/Nva4yEREWtGj55lNiaEPf03ZmTGz7+rGghi/orvwXQYAiL6uFuebMiW0xICLibIyGCaD
Dtnk7XsPtvQIGInpF7E/mqRB47dxr+wnD2MFE5cOD+rGSau/NiaL9g+nC07eEsnYNZrNzfzbKhuy
WMHkiReykwZSjmkpFsUeo92LMZO/UxbWjd/2+3yYgU0RbMRV903XETmt14074ip4f8cjPLFQdPAr
Wz2bybrpYgnHZL+tBMGUnXyrucMjXXAOh8RwSGkYqczyHwo48kzcE04hwHAWTmac1TYcSIzk8Ejw
+V4hho51j7yRI32ZNGcvz160/FURxclyl7EuzyQ4yaLZIk2gRa66UrttXUYhqMQ+vCoTe8fXmKfB
HCObDIv3gPx6KFzUM4n23dr6Z1+ZyZnyfQikaZeI6uDOceiL8vSllfmjqOyP6xq/0T3ZkT1O9hti
3dJWd7VjPzFVmUIpPMSSWOCDXNLhSBiwLWUCYHNomKYRZN2SWnGwpPsKZLkJuol0QGIYbnITmVE/
3qWo4ENROOCbGcfaZbsGij3GAixSU80BQdnbTqpTc4w+A1H1CgAEzzGIPZA+siYENhnSaAFvgqCa
/hdl9hjKUR37Zr4rE5u1gmA0DqxvROIxCV8HNKg1PoJtvC4t/BKk5hzwaxzZ39egrvpfdW14QT/Z
X5vevXspdAuaarDoj+CHBOyR3keXemhtRO1zZvzmkkBN5z4azrAQbAXooPVRFlbp+l0woaNt56/P
VzZHR156JHtQkCrTjwsHw9jO+NxNrX6i8R1rBYGXLuO+vdQZRTZOf0cexHgu+AEhbegF3dUoMtpP
WtIFE2122iR8Hm1Hd7ZO3/V2RmcNKSXoF7oKFSTJoZKxOy7sUc5MA9FF9nKsnjKHCARtq5jFjeYf
c7IeENq4e7J8YyEne4/t7peixa9tzhTq9uDT13XTvVvV6F2GApfPXpv8O4SAWoqTv2/9x9yZYIkK
8zTVlFiOovvskwSzDAlQq6tOZtXqJOx96+GsemI6gYRAeBn/muAyNLm5N7qw2oOrFLk59ngP8i7d
m9V05oPRjp6+X+1UPtBqRAIPEcvNrDiXl6Ip+QiwaO+zJWegVmnRJukg4SWyoN6lKsxyPaBN8xPc
c81C/N0NAio+/lWzdB4EJohCzVYIljiJm6L8xdBiOU2a3A1MFQ8Ju0GtpiN2YSMAq5FFloSdUBIW
v0tleS/Q/57yvAP5ev2T2WXeETb1zxOhOXep8sTOTbUeJrRREEdd0PQUA0ncguGnT+WGN5azxNhm
9GuZ+MZOTigIO0msLOI1ZZNTqcyme8ga+muG2Z9+HsxO60/lZqcnCgvK2PqUTIEYzb+NGrtd03fR
mibXtglUbNu1Z+pC4rIsapuTgWEdVO32R4NIEROi/lEOs07za30scuTDVU4z2APmslz/SVfq3X8e
igqQqOkwrVbodk+G7b4Y+rzu7NHjAkzdIoaqOZApIJkMWi4tKLWtelwiO8/S5J4rQ13bNJxDru+U
n7Tk3WhYUDiQrDAn8+ZEnwhRcstCakMoOHUuOvLcM7/WBXRKko+UzLRW1pwQS2aMJ1kCdB9nmR+V
UdOf9ZhjK8/OowTUI41ENJlFC80mcX1AegaTmcVnZUz8bWLBd4mAubaFUOoQ50cj3F9HB6XxvATF
zHkus11GgKaN5iFhHbOpdiJhAcLvBofmkV0z/sRhd4W3Fg5H4AoNe5ZXX0XNsFYZzpcOZ9fJJ0wn
wr/mkExPvjGh83RWKKMWCyxCqqO5wIpZKb3BymETVQyZjoOxETkycEeyJqZVcVOIIT3kKVijTH6Z
IrvQkfpCgKhR6Mo3mFMhdk2oxIhbOEpVrzW+wnUu3uujEto+H+uBiqSxdvhIo8ofvx04e0dL+yan
BCo0zukh7wWViQ+GMcVDXig2+dHD3uTjZcDThZ5x8oKSqTuMGKbOSHbsHeFHlK3073X/llC9/uxD
xAzxMeGvSsR9QqpOqHOlhAMOTubEfiDQGc+ldZlXAOHWsgyRpdVDCHQ5adcr7lThBBy5ocetfm0I
9Bg2kv68diUHlCmjrqCB22P1nKXW12DeWJlb/rzOycVlsUnrLsekHziOzW47Vk+a574aHchBajIu
MPMViX8bEl9xAhZE80yJA3Pg18Qgo0XzzB4hWn6LFimFbY1vhW4AEsImS1lSSK1Ew8CcvOfVdVLE
skXNyGI6BxZKwz3RsPeG4QL0dsc/IwLjCFDmvtCGLt78LonTOuWYOElyi8Y+XNV6SxbkKorYNfWv
tEoQlSZteSQYaN9W5nOKDuXZoFHbLU4oWv3WsR2XpZy5RjPMp2IlsiHveJkOEA8FijcQ3Tfn1mE3
gw0tFhKC0ZjTsG6MPHIC73/YO5PdyLlsO7/KRY3sAQs85GF34fIgyOjVK9WkJoSUktj3PZ/e34ms
QhZ+2LgGPPUgExFqIkIRJM8+e6/1LcCAe4YoD/3E4TgmkndfsFAOGhlKsae6FYnPflvbEmQDS95Y
r6OmO2IE4F1aXGtTFzg3yXBy+pcZfjkyEgu9kmSKMtCH9JCBjmrcKWuCMAje3IjFM04ojWphj9ui
7Xse3b5K2ageo/wsmshh5uJUe0oe1ELUXDs3aziQyHPw107CdWHbg+jZpqCJn0e9La4q7SGvAEbm
WXoFy+oLtdGjYycEAy3fDMigS7bsLuvqrjXyN3TwzJkS660mHnkTyYaReWG/MqHDo6gzBelHAow6
N0OCaqe3hjfizXRVA8gtkKK0JJsnPUcSsTwgL8CbqvRIWfQL2W4VCt/ooGv4cxMC0il8jMMQl+G+
ntd9J+rb2MPrlLr9coiq8Ia9lnvQ6MIFFr4Nsi59r2HXk0JLgDo0se8bFCyEvndV/cR83iET7Z2j
Nl+NJX1iJXVl/eA9nXvW8HSn0HFbE963znIYcMEtiIl9c0zGt1HFvB38Js0c8IadIOzYpqCyMxNa
WIXosbJL0GMZM5M870JshFSiXekj3GN60KDnK+XDYIjiDGOmDaRAjgf/awqyuCMOuJ3v4phgvAi1
KxOMs4smb9OTyB1rlH4V0Zwbs58x91U2LUR2CbeDHXu7mgbIsUZGBSPloK3xcTW1ej8NOdLpAiEK
+6QlIPmNuFuLItSYkq9oIrBYjnJhRVuJipwa57orUdDX5BbwqbTOzl2zdK+JHEugh/jCaUXg2hbL
mvEomHB4LbEL2brYewp2sHfi1PNmzqlkaILfK0PcT81V6busWwgAKTy/U1Lh9i6fvG8qutvB5FIB
ugXWKOvxSRrZuBtE9xEyut7BEXzShkq/8wztIe7PNTWar6U2ulezrQJjFu5BGPOrclwnsEKymUVa
i3hfPFjuftuWr5YEZB6NaJsT80ig9VvDuv1EXycOpl5fb+1pYkzb5wFT0gANonu0tBrixox5rtFC
kKnzY65jxtG1fAs2ZN7i9blzs+o1DNdDNb8A59eBsueUFux6VupT1hwPRT7KFEIkkA6Uh5BP/gay
RpByqfRHz1wJiam+sx6T/zrmD7QuyIIAqO7jCrWCpD+aUjHvxzsoRrdZjSwDhpQK14ytLYnOV3lB
ExH7VJUn9gFBFskWFtbS7LZvYpR9RXoYl4bTIGoRrVb4C6Z0LQjsQAVHZF3gzVzHqx44ctJWu8qV
W5cH7untHbuBVLE+uRlmlkLdha+96gvKajn5Y8I6xC+gR+wzAjPjKwPg3JLKPZIoM0j1lwk1sj9Q
yfhp024bK2N43Rjp1TSklCp1TVd31j5CGwWlZjOLp2PzQMuSV9UUZziMcDtHUhNq6zAMqEBNQ9wZ
Jh7kkMhGpNmCq2StpZC16XJ7yImHzPism+gNaYKBCVFSaSyYV1sq5xk0JiSixpaItKjbUPGAK6XN
cDXM4A3aef30gCoztpyxRI5RfWNXC3z2lyV1w8AGZWC6N2nSZFu4KbOfpOan+siGBAwXsXmKdz3g
Ge+TB9uzjoYhtW1Ys7gnJkqjLEdojqwWbe9zi4aa0NBim0bTSmptfT0URulbTqsH+yVRnHWxGAc2
LFEQvUF2Wx5aDlEfdgzMsTYhoYsjqS6hUSJfeRKSDLWoW4ndMIuXqswAW7QpnYxMZtig0nM257dR
ZX4aQ8Hf0Syfuc37lrkTp7znsokU0/vaO3tRL+5uQPYpkVFnOeJuzJnvvS4rcvPok1mN6+4Q8WUb
26FV3DVKLRKjQl1t2oHOFoI5A7naJmwQLRBDCbzQbgTy15046OjbmztDWECpEFeKSltxRHvtPm31
j2mcHBSdEGo0bbktGmAyGe8oCQQU717N9ZrEcHdfQn3swuJ6cjxo+RhAMXG2CNr22dDsRT4TWoPK
cldUeRmsJiK0ZjwZquC//Bday7/uLjQwkVwfaXSsIB3W97WYcQ3E4oOPPb3tE9HtEwL0gPwO9cY0
SAamfmTHT4sw1+rtaA9fpeD0k7PzbmnkWERZeCCcF3GIHNFbsKi4bCmQ3OxqLoi7qFSeuH009gUj
i7JgV0aH1G6tw5pHF0sNXB52CDSVjTNUdLQEdowgJdXuensiCaX8pMV862Qm8vFJvrV6e10Ry654
lHUQLiFcgvfOoMGnhx3g7mFgzI8exu0VgW6JN2IyHgBXv4zA0FBDaOVWt9urBSroRi9iLsbzcLKR
4qwW4QMji6W/utGxQugU5PiSOLavO0sETm2aQWwVCZdw8TVLBqE4PhrVXHnXGnEHYeQaKNMv0S4/
E299mq2IGKA0v0pdvFvJWGM7NTjrRqlWqRA1sQZsnJYXuBUWAQNO5LaJXZsQGHQaBt2hlfTyMq5j
rNEYwhPUgpUOPkULU5/V5xlkKqovhvdudgQ/A7ZoSDpMIM09+KrvHj3lIZ+Mp64k7odY0x+D916S
NQUKBKFORtOdyb29LdgkApiqn+PcITEZ2HDASUXsz8l18MqMM5AXfL5Xhd3tjHjWdvKXI5FiNsTa
Iqb9oYW0mwp3opy/QNjqgCE787FSS496R6Vvx7226SbiotoYjTX9KBjFMx0KjfiZEn10ORw9yQ6p
gBeSagC9scSg4K+9+xmZ+7aPRuYqtNfjAeWhW5gkzPOHW9gat+uK+WgqH8KY8bPeMHLCxjqj9YQz
yn9wfhcnKI2ipoBPbBzZoLJirhe+Juu7uK2zU9R6O5pl+U3cNQdLSVvj1j7ZBsaAahwOht1qB6eM
XvoeB+vAfGxnj9NLLYfPVH8vTa7weMwAgc73cQWqzMruI1154HMu6EX9thjollrN/JkUvX7qxsk6
uMmSEXtZ+gLNJGVSeZ2ORrYt6RVPBLZjwleqsIdOm4YjpouriAB1qtUOjYDsozOLenTWzLKgshPO
pl1s5zRjTBJdOpzqNb/PRNntC90+L240cs7qpKcUeSB0XJSNYewbe2G6iLMoKW4bhm2bdm6SU0wA
H3ltP8y0sfbTWHM2LwshuyXWm1xzHL+tpnqfVoRmcwYhxJySY2ZZD6bVYa2q2ZAPpDlzmE9qezi/
sh4/AT69LwwEj2t0mlDmUP8muDjN+gpbiLW9igyH8EYA5XLR7krzzdKK/Ng4JN5Y7MKaKqarbFhP
bUmDxsvdJJAom3yIM1xqKUDUGY4xEAaLa2A2F5gyZixJQZzbaLqV4GKwP1M3f8o8CZpdDzeFNZn3
RMqECdOsxJjgzkQfOpqmKYWKGTXTSzFzXlRuvmUGqPnmVMPWqaej2dcvaKO+C7h6xzZ8FCG8tX7O
NiIkACqs2UN7cHqVe867DuON7hj3aJWxFUmMv/pMU00favid5lJsky2JOmTAZ7TS2jKETkpDAcnO
fjK0jdM19W5M7Bo+EFeGprY1mL90SYl33ZWmOKYuDYJoNg8W7F+/XabrobYVBnphlOhVuLKphKwR
rVnpNTztzKTPghqalXiVijm97S4ov54sqUjOm9m2EM1Dt2VGbMJwoAmTlwYeda4xRYpoEOo7CHwl
1XIpN/UyJyls/rUojyhphszAmUkmVcZgtEY5o0XxpyOhXOCNCvDJtn6WaE3AJaf0C/rKAqpS00a7
sG3f5oJMiASSTUmg727IlifCeF+XMAHwHdmsid5rbzYDPIAmP0uZX/fhDHUckGM/I1IUCyPOHvvU
BnvgTwxzh7zK+kM1etcYWqJdxeniw6IKdCvN8PNoW03Ue0oMcrWRzlBq4jBIy/HK6hxrs9r7lAEj
dSe1Ve6h7iJtK4+FtxltgynQtC7wubx3epIc73i+m9l9QQBqg+VgNBibVwDtenTMwZTYQZ9wCJH0
8KmFXYPMlNaNxaWzMcY3QF0P6WJsy6q8CQXbBPpQN5l+sMMs8+OSywZOaIYW6bXI7OvOWEpwxvMh
LBlDDBbeoN6Ir4E1GecuVmhsmHpcVImVJhgmnQ5mGeUB0PSU85z6VGOCro3c6IlxwdMEnzkWuDg5
FrUebbpcdTrDKVouY7lpoPNuZ7cV2zLDZj8JEs49VEKG/dG1bbs3Hb+Jw+E0iEcc8hhL1vDUCXYx
WaKQq15yRRL91sviNjBIPUoG92EZ4PeRNnq3YCLkqlpio+BkkDOsj9xi4c1XbGF0O9RejIUwrJ/Z
uZm+25Gw5Xg3C3PLzRTxLTk0UAg1Utws0FhEadMWod01iS8D0x0XtQ3+Y+hW1liA+PICpB04LtJx
3jJ5QxgwAAyt6O4zrAP7rqaLy9hemTFwHK9y7/QCTkuHTxdtPS5KRcBMRHJfdt1b5uWAtxQgvQnP
ujPou3AZlCy6RvUOknPK2BhWIaIJ1MwHmuVPRAeQIIlP5TiBlChuvTL8tGhV0kZAiJ/G5SMZBMQB
1CtZOeVy63KwbTW9eLXXx3Am788rv9Y0fsvVwUq6YE2HhN5FkTEdjuR9SwQ9HBuFUZABadnOcSFC
d2PjVbI72kVOHLJ3QA8S6ykucVhKQbPE75YBdKI1V9iiYh+vkLiWwb2CGfSZ1s1zr8lDXurLcaSA
a8Zoj2QUq0CPGzmWObNr95k0BIyzBuDQVFc+6Z4IkBDUY+ZMRyBc5TmsfixJ3pzlWt53vcBzQOrH
JuxvDRJQ2Ci0KD+IIeXhH5geP4cOAfZturDDBneRtRJITnGhnbP8cEr9KIpWYI+LXiih5usO4+ds
wSqa019GO6OeLLnihEth3koZ7sK9yjmiKtS9nSXaZzOzs72nNxT19cKSkQ7jB1uIJoCqtCD0Bzgl
0KZzkS1MJt2ZnpKmHVcHEhWDLnTIG+/bcFsIwroQ35A4y9Pjc2YQhioXfs+yG+e8PWjk2BBWuQSG
rkUHmpMJ8oXwvi97fzVsi4bnUfQN2aihWnqbNIjt/sPR3Ps0TK46FF8HkXTA/hg10jY5T7a9HhUQ
21uX20lMD3aan0h8Yjsz6PpeJvrBSoha6VM/yTTtYFARss+zi8DGmbi0eAybtssPkVaTG9yPh6Zf
PZK9uUBnEn83lwAo4A2xFIhJTym1MRYSaw99m8UM3xR4lOuod0K6EObGAARWhx1bS9whMkQHObOn
ZWEx4ZohhLRbTJ0ruVDspzW/XDtrx+bWjxujxlbyVcM9CvIuwRYnq2/PSEZEP5xho0H4u0Xns2hY
dq2OgYyL08Q3PphN/gh1TdkiGDA60gXNxgszQKZ3DfzOBsMyw9Lk4EG6qtCtb7w+cDlsfz+Knk3L
BhsCndGC6j4qCXGP7Rn/iM77Ht2WUEWO7DxRu2N7xa7P2wxsrHA8Gnok6AYx4yfk1lZTvIqwEfhS
CA1ME3kcx/UxqWnDN3b44Uk8S0MzIC5D0drFeohbCxaQHBnxl8LtQWi4CO/Mhe0NXcutnlMTeDBt
MJOErIYROnR9sM/AspSk9ieDA/1AWij/JaT6sc2jy4reTZ9uW8+9HVL4PGKBjOpM1Z2xrBzp9LHA
nm2AYrdrDbYkNKlbWKe3JgzHUFvqbbzeAqTwm45pFMbPF5eJK/c6rtuQiWtywefasjA8xjc0Iel3
NVDz6pr6DXQBoz6Ku3IKoTkk8lBWFnObT/6O1Dc0DIWZR5rM/B411xNtOopWmd9LeiFlWY77qZpo
r2s40ntR46Oq0JGbTY3HabXZvDKNaCF+l+s8X6WZd6ehGimz4YPErp9p19kIUTUtsPPlvohBbDG+
x9facfLl4W6CoHNKk/7Jzlto8ibZVxkdGZa+0BdJ9rIwSKppqMRWF9DTF1SxjUupl32yheIYaBJk
TCgnN22ElmJ2E9joNYt8XqIxXyQ0CyrhemLsox90Zcs00NAc5oxZdqtV+558XuSwMJAYWu/HjkWN
nAxECg4nwRLl5hZOBTtcEpxpjk+MSBqAZb4+GofETXCMd80Nhmr6gwn7SYK6CUqwziSL3zZRq6tj
oT9noOBjPUtPBtgfXhjJvVhs2v1K5w80Kfk9JmV9BXpKdCiEeq6sus6VWOr4EwlxozvuyBOxoRoZ
7eNbnaSME+gfcjzROol19Ldwv/edpHutrP9ZbKk/gIK8NYkFNbrw3HJEdXF4Z3iQMDzvqySGEoaH
/otNG9HO61XniK9CUlFGbXhyPZtfIz+InXR3m3txE0TSnjdTnldbIIgqbeJZL2hFAc2buLb2b1Nr
fFbijoslorohyNxf2GHPKw5Eq6vKQ41A33CQMVbhvisNRBDajF/ZM7KgkQtiEgidfr6ij2mOU8Ne
fxjNV2Rn3yIs2SIuNHrNgq5jx5AjC7et1+Muq3Nsax3SZMQ1YLCxy8IXQBEw4x1gJNIgv/F7EEC7
bDVN6nA0UQhDN/VQvDlulh4v4dYp9oYNubr1uaIdunDEx6iAePuimRmzYFFhHiByxTSNbmqz705e
1n6nfH6buF3yTdOFrZ+0EUkALAfe9CPuJmR4ZT7vmnz8iW6R2ae4TUg33JswkrAXdj5NIJSbBtME
aPc0r4gstw1aYat40vq3xIG7oK8oB0obP/W8kkZhzB9j4WztKiMSz4nwrX9riTNuJP16BhQEr0na
0XHNdEc7Z+it/CJyzWvDUruqUl4ZFauXzFlNrbrEH90+CNjpTHN5A/WK4Q9tSr8vi0fSJY6Nt/NM
tkON1Z7mqGqpD6d/3urUrT93//zIn5/7y49cvvF/8XN/+bXLc1y+plUhEsb/54e5PMDvx/o/PtWf
P+LP0ynLOiPo//q9+N++4r881Z+HscqAmCD3iN2RHqRWjYytLcmAOXHN8hTlTCsRUknR7MAJ7Vb1
fV0U5UmWBLVtLveNCbnS+fLVsadntLncpBe/QPRTv/D7Z//6VSx0aGvVY8URtlhWqH/d//1Q1pi3
r3++WGNPBhaTHy+j9clCInC51UYaT3m5+df7KfyD9fco/iIqpc3L/ctNDUHTP3/rcn+x1ZDgrw9w
uV+rUf6fx7/8+OWukbr/evjfD/fnW78f7s/9y89f7v554X++9ufBy1UfCEudPoSb1CfgcK3OLNkm
3KJwrPIQ1dwUdoOo+PLVHlbmP+//27cuX2WWTHxmPnWnWbTh3tb66oxg/iey5dco0TDmTs54Cuka
9TAX42XlY1D/9TIDaqhueZZ7AibCxNzN2Ft4I5b4ChtTUYGXsCeMz7W80kL3vSKxyc+GZb6e2Sa2
0ODS+hvNEssgAwMusTiFl5J2ehUymB7RFWh297msJh1uxSduiqFXU6IyIIm72JZ5+UlGxiPqxDMa
IyB6LbN2RiPLZoqrCcYUXlOMXB8YncgH7/0pcokWH/P7CMorT4fmwzQY4cE7S+oBoxK79qDMoq10
QBckHc6/PLzBUSwQ/2/cuOw3TSMlu8jbonTeIDkEeVtWt22ev/GEd948LjsyTzO0KQi5YvK6vUJ/
ojUE+SeF1aUHg2rL60tHRdhkpRpq1pBRESkvoXEbo+eeLWHt2jl6QMxlMnBLfqZibYOqnHrsnTDl
63EL4vGplBkZKdqEImRJ8Pl2+GaldQ2+H1bSmuZ+FzIHr7pZ9wnD+CqsTvhZhvnINmmEpJH2Y8qd
/Vh0/c/Q7ak0CurWaHKeYlXWlv7UUgj3ZkIJPn92fRudkTvGh0as22YIjwsWI7zAxTcS42ozDOTY
xlSR4VBfxwsOIETUwp/CkLZHCFKkWyfQUtdoqDENsME6Qa+a4QxiXG4GRPM1mVK+VTFnRuBe/iw8
7UFvhYmcTqDFdmYMUe0wbfIwMzaeq1U7GwEFqhRty6zlJzTf4mfcPFltKB4ZVfAvx/ScwX5g4Lmh
lfWRDQZiaSsxAzT8K3NOaX4scxxuyb1n49aS+SudG280P4SmSGSlaALdyFHpNpI4Q6Lb38Ju5ODG
Am5rFotugWbW1OVrX2D7DZ3kmjb0kwvJq/ZWUIQyvV5GA0JDV7BIn9g1iLOw6tdEtj7W7w3NluXO
6B0kMTXBjnZbZsdYK3566MycGpehEYfFVRTn5YZ2aBozBEahQwOBOF+kK/SToZ49ZkLMW8+sEJUR
3YbMR6meigdLat/r6E6BBuzDp5gI4Vwa90se3iXEvLQIGNh/fZSCJjUoaoISAD0XMO3u9ETyltLH
HPUJcToOxp7uPJVfMd8hGgDr9OyQb3jtdJQb6dxpGGkUpLHfITJsbZyhzfA9l+1VrpX3nkmccJaO
T7J9MbMkDci28fW8I2wtZ1xcyKNeESkHEg2/lhYqZRAxTalWHLKofS9xxvqVmPN9z1zEZyrPDD/s
D24BCUdKBje9OOO5LjeZmfxAL0HH3qQRHnbZRy3gixN3D5UfalhjvWqG8iElhqAXUGE4qMQDx7Tp
Exud9tZB70GErdI+6W2NSN3gk9ZmjMClCOaRE60DI0AsJIyvlbQmF3WX+5S47j4jeEl4lHRiRH4y
Jl8Tsx/45uzD18JDTIJrsZnZ2vXMvIQoeM2zw4R4LPQbthbrDTb04oyJ7NApPn6UglqbHWkbgYxB
02a4XtfL3Y6P9mYxnfUqHNZNX62Yg6Rto/BTNy//tbSdASL825cvv9RzTawyMV7l5MNiBFUPdPl5
bW0PSPLDU1O0pB0LOYDWbKbj5SdsNnMd5f3VUmMXMuAzhLP2CtwH/YsxnDvdxLifQYMVZI6vxb0L
+fnQGeZ11MkjHRuulFGsB/B417D00MEBq8xnKLAY/yCTJLgCb7LRPZsldqS1okVJx5AJs5cBvDAM
ns0mFqydAlw4b2h27pFfJ3tNaSTNuDXPObkbHVnYG1tgtR3cHJ+Kdxppdm/rJCOZU+Z+xWaYohoa
T+yh7Yof60XngzUc2q8cPxuTOh2Fpe1wXM0zlfEUkXZNIiZRwMrv/muwYd5HYPrYzKJn4gQH4WSi
uIoQbYmdLlCaGLSSyVOd/IX5AtsLvgGWbpO19p4GwrwNhbgjPmEGcCLvG/S4AXwHtI/gnDlrjo1t
f1naetDtCs1Js06MNNrXxijQ3dn9gQcdkNFZyA899irP+L8NoimLa96Dt2F0fvB6dpFpfRkiffSc
8toa5bQdEjBGy/paLPmhSXmBpPkEXp3fWqvx3icWS85SwcOJne3irdcQg8zTOPxwGyhsNlQjexnR
W031dqn6J70rEEAgO44nsRUSUa8Mz2a7aljgr72B3obVGrQDCE02E5qC1Ps9kc74C7wbh06/GlFi
BjIfpmbstroEL+gOvIkyzu9Dpn4+FO8ocAbbwBFOxkK4zPuSuMjNYFZgLF0aJMkIrBmNMDsPj2Qe
I/u2T6uJgKcyNZXxib6zZ5PSm6RFaHH40EToc2a7uBqtH63jfnghZWpuxUeH7sgiEfzrJKzpRE+g
Fo6uSBw8cuZ8TxV0m2HKfumG2CkoYK93vyp7iCDnD89p0d7LUr9y8/AdaSjcqhqVnB66V2yMfLbM
SBDTKvSLMaW/RxDfGFX3fZSN28YznpFOVYEdFq+LzSFiUCpu2+WHyG3syN01bPwfFXXBYF8vYfyG
guHU4gLcxI7EyTMCI0WA+dYXxXlO8oTDVoRnu51v+t72SKxwXqYkZ9dodS41kupKke2Q9O/tVD6Z
S3J0TOu7LNJ3hpbmPu/b89Lx4abCPtsO0Nf21c5p0Gs6xBiItMU6PAMbHE/jyupf6t1nrx0I66Qa
8yiFpx4S/BijcEgaGC5GWSEq3zsZPMXRfVuyx5xOysYcm+NKas9mcusjkcHJhk6g9JvZuXZnjmlB
u2K70h4JwrKUvqzTL0JwSVSTETTeGFMaths0aGnEYcomGQAQtdcggzXBphU2L1yujGM8umOAgs4P
Y/eJbNZpNwzyUZPiSosf0NOCK4EDwnQM6XqdHhmJIJcj55ktPx2sxXDZsBSN8nbcDBBBduMgr2Uu
MeFZJ0CcyP1dIiyVY8uUOLdL+5hN2hp4xLgGVfWNdX4zwMbd1cO9vpBfpXVUFXA5Rzlgn+9wBDUT
ultzTIJich7YOcCnI4oxWmKs5+WWPxI6AjQG33bd70FgcQn52MskNQ5xFQVaPMIu967qir57lYb0
qguGP7NNfjEo3jsN/mCZQ60VWoS1WlMlkoWoqNWhOnXWdFrWX+tq+iv6T7Af4CKHuEo2noAPEifk
ydYUldTajBq3KQkQxEMPD7pBVsfCyjLiZ3CRMMat4N2QpKYKWwaF9yK18MsKw4izs35eq4GR8VB/
m1l7XawKlUzxudbYCIuZnnTnPJDfwOjFFHtPhRjb3XcESUhn7sI0YhyDdBbXCBnhhzj1Pmb6T3U/
bgYH5lfPPsJMkivZV8m2cspfHfmevOXZFmfJzULoGHlUG1h1p2wukFDT+ycgoSOgxcC3a0W4JTvh
Ntu0ra486e0H7zIdu4ptyulIJjAvXa4ChPnOnY6son+XLPcwJEnynRJqf0BJ4E+b02gyi4UOueei
AXywo0FfxuWtZiJ3rsMZqn1xz+pdIx5svhjBsrfFjlYi4rAp36i5k2Dqmu9xwGnjWQoMSlUwAIHy
AUmAIA8ReneY5eGSIQmq5h+roH1uVPXLtCKSWYbnLpI/uZx6/kiCdxllZ4Fcjq5r6HIKVTaqMXNl
3v/Mn39Tp6B75iX+dHHbKILOrsQhpymQulZp30Pu1retGR8KXd6to/HLYVDhz/GvxDDe1hFlEuNk
LhAtjeA+8o5tjnySmeBJNK2zL6xa25dO91Ct2jsIR4aMilfA5ZUlHMQ272yR2PdRDelsjRjiYubY
JgP6yMTOSLZG5V6GX+00ZzuzYYSk94KEvvK9nvD7as5M6y4saPSUHnskYnyTMN/9TaU0/f84q/8i
zkrKy/v0a/7P6KsK3vv3//hiqN8vN+8FKVg+EJPqP/5b8OD/93/PwFK/9M9EK/F3U7dUKJXQpYNB
hHCs34lWwvg7OFKGp45lCgEzk+/ARO7jf/zN+rvp2irdUQAmcm3L4FtdNahvacL8u7QQcHuuZ0pQ
95bxt//5P36/urvfoXzdX+7/RzkAjkjKvvvH33gVjgqD+/2Tx89//M3lqQ0pJCE2lmFYxPj9Jb4v
Jg6VcTw7ISZnHLw1gu/ZCWnxFowI6pYCx5jX5Kj1a0vf1TxB8Cc/SZkrMEj4s7JbxPguPG2lXCen
5ZQ6+Uq1uJRsS/CsCNIfFkbD0g+VjYPaoDpZytpRamS5eJ52y5iAXF42CItUThDa4gvDOQRQSNvp
fCrLiHExjyQK1+tap6Fo1yBTFpNGOU4u/y3KgOLhRKknhkjMtmlU4FLJUlOnSRu9E9GINQEni6Es
LWyjmxMXPVIclOGlGdoRcE+OJA43TKVsMU5lfbNtMBoaVEhacmWfMZWRplC+mst/JA9h9AsdYEFU
YfMylNuOEBlHmXKQJ7fbIaOvJubepIlN8NyJXbJU6r5RGXsq1RvR6glwRVSkcidxAMmL2wVLkLIG
Xe6kyi50uRXjIOrWTOwqTVRsQPQ46B3mYE4vxqM2PPbKgrQSm+4gOjg5c/FTVzYloiWoFXAuMVm9
M3AyiYqNqx69p0uO61qZnUS/oox2Oj9maLYxMwKvkEiFgZdHsI3DdT+61Ixx+7AYjrldC7HNMuOY
mKKBs78HaKwdw7k/j3Qk9hpuLBbAGqMy+h9EWw4R7XATh29w9Nh5HPCd2AzRqmTwWvlTGFzpNskN
DGlPSZ9v1xJ7TWUNxmnp+telcO7XyMnuCFRvdboNxV4P46MJ0WADazTa68g+9mluAN9Did8U4qej
ldYeJtq2QAq+F6MkuMv4CpV9LVJGtuzx0CpjW60sbrYyu1Fyt9sJ/1uND85UhjhQXExX8ciVeOVG
ZZqjVxejKcRIFzbsaSSgJn8JRlui8oK6cXY0QtkF25lRxBjyQhzyWsO662SPdoxpb1H2vQETT6cM
fY2y9mV4/Hpl9suU7a/A/1crI2CqLIGGMgfmzr2rzIIzrsFa2QeHAeYZI5Kh7EwiSI5CGQ095TjE
eYgT71eprIglnkT0XRiYo+k44VYcL7ZFZWDEQVztoCL4hTI3Ws2LjZqIqYaO7bEbbjS8zK1tEZik
rJGLMkmuyi5pIUXz0/YMTXBdV0zfWvPMWcAALiPdjID5fTNZOBdNBpgzHOSMbqKyZ0o8SbEybLbD
DXtIoAutcUUSKAzzFjFgFFvPk92BRiWoPVQG0EVZQTVqqFSZQ21lE+2UYZSAhNEv8ZBSuN0sfByu
MpfqIzbTDL8pM4+3Gv9pGuEyU3ZUfKmdMqiWF6uqMq3Wlv4R42LtlZ1VKmNrjMM1VFZXwOMMCi/2
V3ywtTLEFsoaG0lMsihawEQp46yuLLSDMtNG6TPiGNLMMdmWym474bt10UkZCUbcDkduqay5izLp
QmDIrmDohPsMB++grLwxTgriCg5CmXxLirIgr9sXAMHgK+ic73M8wbUyB6OC46hfXeaGw5Fr46Ph
YiQ2c/66xvrlVF3LDhMNT4jrOMd9DNmDOCn8yO7FmKwsykuoBXhAmy0X8xiFvHfdKUOzwNnsKYtz
gte5xfPcKfMz6nY0qcoQ3fbWo4VDmnfG2zCpt4ICcALgFiCS+Kl7ZaxmCQMIScJHhOU6xXudKhO2
ruzYC2MNqzqVyqZttjgwTZzbumqlFMrMbeLq1pW9Wyijd9uZTx3O77H2+gPZUEdzQk0S4g7P6GT6
uxpb7VYkLu8Og9Rz3unw6tmt6spiTuoohGW8EnjPC+VBR5kLVAxb+oA/fTWtmhcsw33IOF1nRAEw
d3jLcLVH675XJncu5C9S2d4Xs3z0TLJ/ML/hV1XmePSdtjLLu8o27+Kfz/l4K2WoV8A/D/8V/VJn
P+G5t3VCX0ZMD1NIPEuULedVSx9Alv0oGfjhtinpS4N7A+FnBbqy9Se1ybYzlS+sKYBgodykXhkp
dDObdsAKOM0AhQ1ci5OxkYhZeC8Y6imYgEPyrB9V60cuvgb4L+whzajRfXfsJvaM/XHIp8dEAQpk
/YCYCLUAnBbZVLQFwsdWIQ102AaOghyYWDkh8cmElKDuAY1MKMiaWipkAPOQwZ12xVtIurnjTVws
xi/a02iFPTEw5QXkgQYWbKLCLlRLIndqBSywEQLH0oPJMgI9wg+busTeKHyDVCAHMNA8s7uVCvGQ
wnpoFPTBg/5Q5PZmnhLDV3sBNl3LwZqcXzPEiAlyhJEJc9cNbaBeCpUwBhfZHEV3TS56tY0LxHGJ
kx5HBaRwMP9ptiA3Oje1gJwIdJD/i6nzWm6baZvtFaEKg4xTkmAWRYqy0gnKCgYwyGkQrv5f0Lur
vn2iki1Zpkhw8ITu1erdVe63kpG+r9o2ZAbC5LZx1sjzCswS/XQ0hqepNlqUv4SfTW1Bl8AN1Mgy
0LFHw0TIIy3xldcALamjwGw4ubU3Y4WGu3on66M98+rzGvv6qiKCfo2AaUmnmth9jSXLdslePss/
ZcdOt56JXjupCLMPFQryJt6jpINQ/bD21sq5gslWwMJgo4S8rqIUAjjIkS9Hs9lWEDiwm0BhD8nX
ADfAlDQwIZCoXxQJtU3QLniSfAGV+H51Eb/oErN87ReYCaGOezdbWLR1/GiqsbtGi7B9QaCkCwzF
WLAo+gJI8RtQKd0CTZHQU4wFoxLDU5k6Yr4i08u2QJ86qBzPWNSAr4SYpIRTAWRZ0Cy0f+GCasGA
xsu54Fv6ZSwwQHSRkF2aBfEyGfZtordH/AI/1wu55usEcoXCo2VkmHp+r7LljBcLQCbcZAtOpoIr
o1cAZhJIM1Sa5aGEPaMaIDQhNJpwwdKUiyR4AdUkkmZRtRXDWc/9lydwhh0CJ/Apii4QhKvUUSn2
JXS0NW82j0PFJedm65IyRB1iPqfLvq42HuvcGE52gwQxWbA6yQLYSSIDFp6CKN0k/g8BpyyRcTIN
cHmkRuB9p2MXgdhjQO7pF4SPXFg+MH3Mgf6PXnTqyOScF+xPuwCAEL4z2nWBArFkujoJ4ibTHm1s
FWb5kPoePGNzFY8q2la1d5haErKq7Mk3aKKFgpCss8sg2UacSKH6EDZmDQaf+9w/hR7329nYED2Y
IP1AvsubmaRwYjqw97bxMV7wR3IBITnZJ/uBuF3wSAsoKWTDNkBOImVtDtoFpjQvWCUCH8laXFBL
AHLeugW+ROYrRgkBL1wtaCaCtTcuvQwZrfCNFnxTs4CcvAXpJBa4kzYYATR8E8Mhqs/4y1wwUGIB
QokFDWUsHr5nLSuxJfhGIBC8Y4m4SVuPue4m/HJQpkxoU+2Cneo1ksVr6qhiehvzwQ9KbfhpEEb+
AqsgV7ULwkouMCuC98Iji4A0cBfUVYgBIV/gV1UH81FQbSxYrFyCxG9ODPU+Z6hZ84LPGhaQlrcg
tTKqQRg1B9b7jPcW7JYayZ4sOkeiUGu+uJJHHj3JZXHa94CPrjpwULolcssEmoxROX9D1MaRGXfb
rq0gyGFW7+xV16v+zdE7ajDbeqgtUsqnqoWOhouXBDOdIrN6jg3FtZ/C4oabgqsxJZHO68Jk69of
ztCfOu2W1n9QCRJzMDMpkwah9IN3Ux3iyUHZ2XYIm21ipvopkeMZ6ugS8SKAKs5IN/0UH8MMkDjs
2Drrw9cMueWxLPvPvmMO3Pq6+BPqxB0B1lk2PRdfsKkg/7baksu4gGUac1eFodjXrt2s3UZLjm1a
HTx2+quKZLYHwMlEntXQuE3IG6MTlbw7JBMm9pMe4Ax0z2/2oAjVdDKxirvB2Jhzmx8S2geKaDhU
5Ligi1FmvmPODCgem0tIRMGXQq6LofcPgp/xs/PlW8yLuFV+6+xLNoSrQmqvsVD2jeUKbJd9KEyx
J9OSjmFctHEVpLoo77od73E6MLbsta9fLBtaHD1G+4RM+h1BbyD7hqpGWVBH8pNb4LBqNew1crFn
uFocn5TmPxOzAIW46b8jI2kee5U9kL77Q+BwfcEOE86QxstE/cSa+EJv5J/9Bkn76PRq59aoIfkj
dWlEL6UUp06h/wDkNDY1YWQrETdI87FlWhaFG7LJiU3lZchteR+Kz35WvETlfOFMV0erwlnojXj1
B/83VPandkugoZ3vBnblOGdhOAMi0XGhNVdE5P7+5e8Hc/kyCxVVo/ZKrLO++9/X/vtX7cIzLBdw
pJprQjIGZMs+k2ziV5a//P3y//4NxED/5OjPRi6xLPx+By5ypEik/lEe4HT5///xf/9x44jkNC62
pd/v/P1hozD494lrwy0CZvjfr/G/R/z72X+PohYMCIA6/Pct5I3x736//P8evlfMKxaeZvC/R/q/
B/7fwzSmhsgaOR/+ezy/X/7vX5MpugBURbX9/ZH/ey5+/4i52t3UrY2BJM3ie6e9y4jteTW3r2bt
voX9MF2YhNvrquP2LQwvOer29BCLYT8K5oMG+o+Lj4EO4TaJP8DO8fFn+rOb06pGFrqJWnMkrIei
J5UwfhwL5wYnLPsLhC7T5z8z0WsYzLPi0uGVJkuCjWCvf7Rxh04bofYaI4R/+/0QWhH6htF/ZFfm
31hweuSakYG7fIPWg2qlkKg5Cz1af599oet0MGicQT4NFZvzGc9N85f4CHFQdunfo1b/UGn2OXhx
tTeVtP+EZI1tMOihYVn+OBUFdl/ueo2udbsq0ppnlcqePIRjTucIdEjlL5GZarvW6VyCrEW+6UOa
qEgjvKJoRniztTk/Ddml4nS69UNJcVvPxi6KR/Mm25RNZzkF9cD6OE3op32/fKSMOKGf9K5m4jQb
mGb+PiH87QWbKBSh0lNnsyvkJnQW2kBp/YXBUK86mBbbss/FS5q6CJxmD2GVg6UmDF8dXe2KzIHk
4vqPnqa3AUM9lIYlmtFxgbZbPCMQCzoOD5YalueU1xHG9oOu5QSFy/Bas9V66bHo9Ho8/xsK/dYW
IQ2fRQCkq2U3OQ7GPx85/hwPUaAAUh9mx3mjsSKWoBR/k1FEwZhBZ+/loB0ZCP3TfSI6W5ddbNc0
j37F/sFXo7vlqWZWTpjkUoDEG7vv069uqZGI+wTtFQxAeklCodLRJ9kc8lBqu3kU4uZE3N6cyhoO
hYuLyQ71i0qk+oEpyA7T+PDo7PaVWKK/KuLJSKpBIj55uDAsBOWt5rAxMgkBxGj6yrOymRzN+GAs
Tm6Xzw/NyPx+Get0F+t+fcO6+VXNfkIWAPMWWZhBMRbntCzLx1yL84PR4ZAWlUEWVoqyGPAZcexW
8jlA/qu6BCaVlHSLPdVq0cQ3L0wOpYVeluS4cDMDQTtVIOZ9XE39agTQQTyX9ZZ6TQ+jL7GO+pB8
p4tOLEdJywKUQiJd/VaAGuiJzaCzMHD7muAlLIvrEPjLxVs+QCFrzgmvRdPBvMHlyLOc+eUZmvkY
tGKkqECTeYJLWsODqRi3TNmb5G23K1Q6n4zSnU6/n/nSZZSQp6u+5qxPLX7vuDDQIjHN0F0zvghC
KS96r4gPqhkj8OTo9r22dJxHZKDMEDpCO6Y7Dg19rWEQWLWsZDc250bdxeOt88VwGx0dO0E3vowz
V1WsYV+aeip1EvOaM4yz1zSbLTaesJ1lLC5dE7vc7jGNzxPbL8KMt23qAc+eyoehsqO7cNqGuFTL
Qdk+ffWGrJDD1awTGwstNWK5XVrmw7kZ6msD8+8qcTEQe9W+pcyrgnZE6wx9stxPszKRLyNiy6YF
F0nQDctLBXTPcczrYLn+2vPQxJjlkpY2FJfZnui3ZYpPXS3Q8JwhbV9II2gWW40NI/ZM20uAo2G/
GrM1HhMg3vkqj8QOG0J1HDWh9p0mXhWhoEgWuvgIQMC/Z4PCHzWXGmVBEd5pRQ++C14g1RtjAxYB
KyohRdvGaKeHMn5FyJFAiy7kCeWKEyDdJVYwkh99ROYXyY/1cZ60+yDTaKcASwcpG38UOFm1MeD5
ExhDNlThejlIrfnJx+x81JYPv5/FA8nsojZ72Aaudiz0b4UMYKUjHt3VDNiw4pfDhpsDYbm5gtAZ
a85O0NfqzEG5/lLaUFNc+1lfOyaDeH/BrYzhuzsMWSBiXz6Eqfll4+1aZ15GCC1LrJAxZNHJ+ilN
OT+FjlJc0wZ7kw4WMOoo3rdAshB8jQQNTqySTZn/ydrpn1d++nUrHpArbexxjoM67b7p7obLEKKF
DXv2/HLU/DPpfHwgfGVfiJmoY2c+yuVDbjoOQ6cQ6iqTXKNx3K2ZqOzUL2kVk4/YhNdv1ZBCcDLm
aonCU++5U40Pyyeo36ylUN6BzWnPJmtlW+CzRMSUjG5+cSmsAra45MjMtv0g3/oWEWbltwqTf/He
t8Xer50vr6sOWiTxpPmwfROTyDkyw66hXo5MO4DKxY3aDjJhGchTlf4h7AdAYM6bOTa2uhZyJLdQ
9cCndrX6o2UpfYqdP+uYcFc4dKK1btcfM8SqjP6GRKMvQkftYFAQUX5TieLe3sup3tS1eqg0YGLk
2vW2f0vwrZQIOpN8YAYdsbauZfKNB+RPXjIxD/0eTRQyOfGREWaNp8wgXbe0u0efqT1tBUKhyj4M
HpGOxqyQZrIgaaf84ObNfu7LO/kLhW/9w4NNMt+LFyMkS9V4zdL5OjJHnmFAK1pb3KHxqqk8Hzwt
oY1sJ8N0eFv+9zQk33rBL0nUL1qG+zIl8S1JLt3kX8khMjdaytjH7W0OkomOwOIiQba1Fq531CWA
FDoaJk/cnp1wIKcHHq3fnkyRvDlmy/1DIUAlavmgE2R5EgTMGTYGHZFR7Uw6qxRTFIGookVK9Wir
9u7I+oM24R4pcZoxEjL+97EOjAvqgrhtPNMHw5u6Dc6W0gYs3Cw1JQ05YoGJOX+mipvrgB1gsnwJ
3f5ULnfdyEIrUNrWC7PFZh3Vz04vzkyDe2IOIE5ieacstX6GgtgAmJbLQJR2JWJhgW4G36mw/WeG
by0mxHseLioYYfxL4DSNjcbhXBz0+TcSR77YFoEoz+gH/EdVF34g6l0IWuNpsgk/lA19dI8yx2P6
VDveeZbuXpvMhyy7+ZpJAgKqs9ZA/uPmmMWGsXz12SUHVjj3oKvyW4r4dj94+DWZjHAqY8mL5xNl
9YA7uTDRrZ+0yAQsVNbTua89g8rpw8nd9dCjk/CHsXnK0mYfeVADitSGr+MUj53dQUfBpmPgwREJ
iClqtj5IPATAGes8k9Oorbl+TZMKLh0ZZehfNbdog+PnXKr5zKNFGUv4XztQmPdNsWUhyYSpxO0y
auluAeXa5jw+Y1jqeTjHOhrh3tkvco4yhrtMGjIfFzeipnF8tSQxBYLpOoMa67PurDuLdxQiILYc
50DaKlegUIh8K+BxpctQk/dVQXKVmzCPCb+WXVSQP1UmfPKQe0nlINNhkjjgO6T1oEefi+osSjfb
GNicN1Lp77MV3XWPBFm3wiYHQbk4hPw8eLosRBNqBwZnx0Z6/itYuk07Lr2mhoJ0NvPiFVAFMFwh
SHz3IBdIkwQOjGKAcgHvINdAdA75ZVNb2AE5kKIDaYBfGtDHK5eOgeTS+mGtB6Sr0DJMhp58mnUT
Ewl3qQQWe6Kpbagq41QBnmBhlizgelOcOhNVjsH2ae/geRQJCXmohqOtctWAIJOmP5Nzt87GZrhw
7iJlJWAFaXUcEkY2JzsbOw/iuwcS+7iOhEDMUnvc06u821It4ExNBOmUDVwVSLOp37pozopTm4un
cso+ICWk83sWDt9WYkExTdxjEzXvkNHac9Njr8/hKG66OcaqrVW87fuKpcaA3g8cCu8yA4JdW9db
JUD6OFWy7zPVvSqFerQ+OJYf3vrcfLFyGcHzx3uUxxGn10wkE752hG68j012ye3E8tTTqg67a80s
xM0Uin18TE3vcQUB5lv3YIVIrG9QXdj5uIa1kUDiY8TJqc0qEpixCxdf8rbz6qugDSc+Txg7bzb7
XSpducUjZweULyEb9E0cYnB1at5UkpsYKFe43eEsv7u4fMqAzD2S9gtssrH/6Y782znkApctIeCK
Z7KuqmfLmx5wT/9tbf8NKOi5lh4jwFIyBAsXoUj/EDlKbpGiPLk1Dk8rRXZUJsmdi4KlmZ1WD4ZM
vsrYeNGyx7mpL2lMYcKyygs8z4nX5TwiBTcRJJIlOkMlAJMgiu9wNt9x5uNKM98YaCMWS1jtNtgc
4Rcj+LXYTB07qhJpj97ByIfsDJHIX9e6qjZU8SgWe80ncBMWXJKVNQ+1q4FTRQcMHP0O5cy9VN2T
ZLY4j15xzLvsb96AY7GIk9YNdRr1/joQvYhXoGPSq9Ml+FkWZDae/7yFzxJjSls5KvZBEGHHq5bI
6FT4tzKFbKSMYtuFHTsVCzMEge7cl7tNMyQI/b0KHEWrQVIAAIWe6OY31ovW1Z/El/WIuVhNilY7
AHzBLeoQOTfwmnmd9RXbE3ATNLk6sZKS6JnMprAGLtqWEALG9jCOnNlGUiwYfN9DXdHfzUKUjBOT
/Gwi0dt6GZp+7hq5UQb5xGrBJdZy1U8kcnsStbqf/I1MHXQQwURGfACxCocbxSR9ZfkugPtuUlQU
K53wL2D5uKnKXG6ZJFJLxSQwELkzURcyQmUploBzQ3xpNX+YLo77/JccUeZwW+Y0vWBkkJdm+YxT
TdtYra2vyRGPDd6E/KXnG1ztUHZWv9/4++H3C3gfYVZ2xLbl2RyeBhKPV56SNTA1n8pR+nekMP0e
uylcsYydDct33Z/+2imJzgaz4S5u0+0YZvZGm9SnqZHNprVCrfKWNJQa9v7Cx0AS3TVMfIUZvvrT
SaWjy6E/7J2C3E5oYDX5b59Gbk/rMddtHLwM8nsLsi8yelb4GoT8uM92aiRc0onhrhU5d9gwDKwC
bJIZRfynQ/1FBzJzE4uprZIo457fxLgo7ZeEeLRHWUTRjhaR2B2Qt23+oVFNkt8w4UZM8xQ2h0Oc
YtlMF8aV6tg75plgSf3i1c0OzuIfOCXmPmtoH7RJezTJ7t7JpLf2fds2T5UAlhf63CYrKqLWMuNH
yVg6zyfvZ2jyt7wZZoSR1kM1J5D1W/N9QDPLcZusEVyII0TNu5Xz1vWlQeTt9FyUEfypnhK6RZnT
l+0jZ9OWJXh4mkL/7Ej/sygNuR0qgOjYDK7C+U7rZb1TsatmZ32yISMHqJko6ExANEUfn2SVf+Ws
wmhPr63RvgygsgnLLKbNVCXfbFg2Kin+tF39NuoU7QS0xMfOhCrVmse0ppMjAvgajfmH1bZB5Qis
6h2zcaQULUN+Yna95tyU5VvMkiquxl1YkaNdax75m28uzFBDGv9yyHuEXc6B7fBmLFOErPekdUI8
tKQ3mspoV0PZ3oeERUmBJg7AzEeKVWPN7ZJyy+yCuZ4+WEEwkcErXRZPrXDPVWV+52xc2AyMEG2U
PAwWdmuHyBJvTFiJ1u1K1cmfGNMip0yyrf3yBgboZbLMPUTnn4UPuLLcogjkdwxQ0ZL62Q3hq2hN
snNRhXICMFbwKQuYn3RCf0FQXwYV5GocvBB9tfApy8wfyXtu09vWlyMie9NYa5YoIYt3/DBxY1zz
Fk6mTeNaWfkllf5fa54/245Dtq5w1LIF3pZl1yEuHcmJd41yWzRBSVLWedgB+/9pyCneOKMIif5D
HDPB/yO8jU4RPWFTtYcMaT1O6kM2jMa2Wn4kL98jg563RJHmaRjsiWyiA3cZ/RVo93rTef9Qhw9s
WJgHOPw2U9FnjEmieeMYlFd6DwPeaVN/n04+U7ncgmTRkOVIFVsRYLhUq/0OKTzRNyBN/dB5rSYk
Qhicir1WuRD/JvFIFCPJpdL945CHtM05rowjGkp3nfeV9pJM8r30J/eHTId1vwiF4jydHpN2Ua4y
zn8Ug+4dErNgKgEdCBEN9iEUcBreqtg46/C1oLnOV60s52/06rdQzcWrh2EhMLgpBnFTmqBQ0/bs
k2fP3Njtny0X1RyAqo7IwefJAiE2mY57APLaXwUskTWqhepbbdzJyr9dE8RQBv4vjzhhCiHNALSb
dlJW4bHnt//mFU7+yWrHB3apJ9u1w+92bO7IqspXKbI24N3bnbsptsmoBhE5kBXbjGo8OSS0bSI2
vE48md/uQLWq25m8R9lRegTqtIQ2RJ3l3TyXFfUAsAwt3Herwm9rdmxczTCKtSZyDia0s2s98GKZ
lai+6Tot4mVZSNxajxKvTFvxAtqIcaie08cIKwpASkXXcoqtrW2BNSRnCwsfmR5buP/xJi13Zp9/
ZqXOXokT9DKi4N43E1sU0C/kYQh6/h6e/CPbF5BfXuuithiHY0ueNP1brTXVZTCrfq/mGA4oY/wP
r/eo11P5lreRuy9MxpuaMZ/6RtaBRk4zKXX5PnLZ9TXw3tHq0oVMOY8N4+IxqmV7bOpkL/T0psFf
xYeHmrHW/s4tqndcRr196gi3Phpdv8EjM+zQBGmBpZoH4r3UlnHQqvaadj82+aVBFznAp1q6Swzf
ALpXBVJ0KOTbTix59T2VaVZfDeZtDyS541JzmyEwwCy9JInxnKbF+9S5yUlU3snHD3TUUvSSyhI7
yInPnYAPnFstzEwk3dNgokgsdyN2Bvhy1V43zWPmRIjFwudxAm42uuCUvBaTmu4bXyUmqhVr72cY
9vCu54F9pBlp51G2S306I8Ojijz7uECD1vI/SkgkizJqVyCFe6xb2Oite1C6fVXO/CMi4wjc4e88
H5SoMdRYx3xETtAjmslasZoYN61yYr+ZOscgXWJ+a9+6g7Za8LdSBWARGOgwSQ24Ww5MDFFHYqrD
HDKabwxR/YWXP7jyhBK1Wg1FJKBcUYBos3uLu8K7/n7wupzg3prteV9WJ6uxyDnDfzhbWeAlakBT
yi5tJlwGmeF0DAkJymrQ1jbxfVky1hfHxMxp6fvGlhd4g8TmQb4OqqJiBj7/zaASnZppDAM3X0I6
R/u1jRwDPTw6Hj95CBOcAK5U9LRGI24irN6hNrwMvPIbPUUXM7TWfIbWGzZOtbVYQm6shQyZd/H3
1L37IWhRwXpy/eR0fU1Nrr30kRAPZXY1xwx/Fb4UiJ6r2LC1g0qGP/qcUeSkpGZmdQLzAXzAI94N
mIqYidi2uyd0hxtBywnatgDwWphh4BtkjAwDWo2SNFcyGk0gwMYmKREtxIW/6WeH+RtyDSJGtP2y
dukbD3ZFQhoXPKOjt6t0eP3M2QmAhG8E0t5dW2CSgAWSJ+J+T2E93SeHJZjOlpfozC5I6jqGidn4
zyDSz9TTrOSFPTPYMYkpBhMG3neGzkjIKKflGNjDcM9LVQKsZmmt9RNwa7M52J6z90T+BwnYqysw
MsQSKhkEJq1/iXDhMsuBHaXcnAWNRea1RTKWNES5mQuNow2NSkkb0E8sv8eZo1Zw0sFnKNots6XH
OLOeQVZuVYt4D6Mzq71oXVlmfzSd9tEoou6YV7u6W9Qj/rn2RrV7VohC1k1L5qaF5CNtn8PCfJMV
INu+wdpQzpkPwC0KhgEy0rIrKHNaDIbv9Bmo5dgedzujp4wLuyFIBclAhmPOfLbx4/Jba0L7nLna
ifgOnuhU2Ye8GPeJ46HOMrOZjg7KIJATE7wwAg0DGqzIzGztDbuIQ2WV9fpD0TvXgSRJMsbB5cco
QJmdEu85GMe2S3/iCFFnMVZDMFDMFYAbkQ86xcZmuffwvw8GIQzb3GKE0micDSPZvNuoC6NHR8AV
yvEG4h/8knhc0SbiibJSYKfzcO/yGGrsSI4gy6Qxd/+ViwwwK5Bi1BXp7fjB4dz1Op7y1j1OIQ56
PF38qUBhaQ3vITOh9YAvGT2Dw6mfhyc0ixUhO/YhYtdF+8pzL1n0mSP/bdES6+qOEOVKqF9ZmTzJ
JP3WPNEESmHMdkJ502XOylB3AWZHzaNrE3MbSi4xqJJ7Q346IjtUbZE+FUkMY9iLN03ZrS1fPOTc
0Nmx8z4goX3V1CreARTUNlNXEyeBh2mv6haJApPVpjuFk12ux0TaALL9u2Qkt839qV2xuc8dRu56
2ZknPXwZPF08ODOYWEjnlV0/LcOAlsH9NOv21s4wdthx+VZT7QDpR28yo+SNnf7dCiOHuPV84+Ey
DJBqRsikszXMyp5R0pucZ/uYs2dzfa7RliU/sIDwALGyW00UIpu+g52TIgRMsJPsbQuB1SDqVTTX
i+YKWZWG3zyZh+xgJa531tz0E9XYN6hmfwW2OESY31wpY+rA7l1cht6L0aIpyFG9JzHqOa0oHqjc
YU72N6m8B/zRFIVp+ILroV81U/3i6kXxmMQ/KavOGPYOe3HXf2Ce9onb2rznLX6lSrKiEBHp6JF+
BnOISiqGNhp3P3UeT2s1NMSEL4zq0SxRpqGbbcr8NfcBnlT+Oz7NDFFYASEuTJ9wObVr+tYWmQy4
H6YxhjY2wWxQaNoFbW5OQxrFiU/7kgMBqHGvMiZjDpUfamn+ceLhLbUZntTIczQbHvNoE+ibMKWx
9yIkzMbt/rBK+s5iK9mbjH4QjVREOAGaEW3JZqW9VSo9UByk7FXENYu6U0wK3mrwLcVSyzuC+O7J
EI4MMlxYsJCSheRWm1fmKN6SFC8gVEYIhkjKK6P6UzdgGxvXGKG3+lDO8vFxJLYkqCN2MqPvkb0V
T/sRl3woLKyMPRRJTZLHHCENH7MkRQs6wtv0AcxLuXUl2RF+CkpS8YxYdcfGxQzjjTQwYDRwi6Av
3p0IOfgYP3FXMDeED334qAHd2nuBuIrlWBq3wY+B5CbWhnr4Ka3HZqMZ1aEy63n1VU0Vnuew2I80
rsjbdyrErxbZzsVuuB8g9GTpBdvXrpIO01r4lzsVSkan/jcagO2b0ZVYRLloo+SJcm6HsOtOm4uX
3gwyr66A4jVsyouHMXIYI5gSjyjkKaj8YJKEb67+WEgkUUj8UAgHs33Di4D6iUn/mkULVG+qpjib
j4lGxEuUt/s8QfRksTVGqVmFW8NDVMUy+yVs7Bd3SNSTqXruNMygxn9cp/pWGr9OP7yYpUUUwpIn
oZzuxZvtEZvicgBgzKRZby+RyD/FyAx0HDktc7M+lZDs97nBIzLM5FY3UJBYwK8rJqsI+LkpGMYj
QC7S/+IaUX1dvFmDx6lhldjKcHAgUsOYb8ORZVFhDxAUcSo2zjavFF0c9reGHAv8iqSIh/hVrcm8
ahYjBdgM1PnqW3GkrBwXENs04z7AqHmJnATLuufe7QLaah9pWM/zedskoLx0ryS2qUax4RZmz7jV
3HvVcNWciltbUrxIC3SNPaWBxL9GXPgMqRqvRisJznJXSLgLFCvRE3bwBolv0VIOpGglM9hWc+u9
tpaBuwmkuNBgH+IUVV7IqqbMr8yuZABFIORFCRpDgjBG7bbOeIXWbuE7q3hCBs8tYO1S6a0QZgOd
RE+dLqO3hJ8Yxc7LVDddENeRAx8PMF0CsnY1mQgM3M55DEfjoksEjp6Dh932iecCJ7Ajt0EOUbjx
qubBAduSRx2NNv7UdcHceGV60C3CAU02Vmrg7IGjiPkVvQc5wKsyaOCXtuaMLQz6czrCg63p72Xq
f2Xc5zaaK7ZN2+zV8sZcHN0rWeevruJMS2w9KHpjU3TqrRau2o5y2PfPRsjMTBryWE+wFJffLrEt
AhMTIssbN3urivZh5j67ggX9knQkHDDTLMg/xwXVbfGUOFuN6V+gSnMrtOmrcEBP6s0RrsB49ocD
Rs9Cu5tNyK8GtG/lJ93RtYkDYFJY7j02hOtGJg81tdoDySAG3MCHZtAQKZkkZBQD62ALUSITpyei
jp44LXmhu4ZRNKiIxXeg1WjODMyumByI0qszlx1NPn+Flkv9puQHDQbmVne8Va2ZbusQvtsVXDpz
Kq04d3P5Mpr9IVG8YxDK7+mGgPORa7HOGuMJAcBfHfXZzJavnayHoUOTVNnq5GfXwvDnTRniY5NO
sqDOtVOpxt3IQGCl49h4tJaa35g3jAbYpVfbnNGOkeFIn9Xb6PsYyPmvmtZ4RM2MB0CD3+wN4OU0
6+QLpom1NV8nVmnAO5kyVUVgekcMm76Vs4g1zDf+GnoCmcwEUjYHWsyveEO6vEWOiW0FPoZgcjY0
a206cK5ZmQSJgxKM5DZlSgBuUcWgBJvQqhK3KcxJ6jS/EgwECHSBhg7DOQNyOqh0SbdD8R3dNRdL
fZaES2oFG4dZF0GVN/dJO5gTbnAyOe6W0Q7baOQ0plaw5HxvS5DSKHHQoZvaPsrNb8sCodOz9ifV
5ixL5qGG5GIi9mMTx9Zj7ncveP+uXYM6jCDilqDLmk37YnLn9fdc8CMjcjGrqAig7y9DT+Z2MV1k
jY85C6tjn+A71vFo4yl8zmhLkJ89eykuaWy0KDKNbaOq3WxCDyctmUH+trZ890H4/EXdi5MNewUF
j2eAQW8QsKflqaGpJkRQf4RvtmdggMnC975oRdfDbFzGyguo0V5mOb0owTE6+cjcNdx1TnyyqoLD
oTRMcCnyhPtLYIunY8VNw8wRs1DIuczoxDhLgH2tzUkBzPoH1TqMUWfFufYVx962HRHPN1jyOz2H
noE6EX/SZbiyFun2aMAQGQk7sNgUC8isIarmXnWIgXhDHax8vqRl+qT7KXp1wWogx0a2rfaOH39H
XOi0NzHWCP1uWpODfJZRYtQOGwtncGhwtxE6ABLH8Q8R71b0xF627jrWIkRj9cD9ozdC13aJTUCp
zZUVkEq2bxmysQMnCxBZCwch8zqHDIG4elCJcfEzbdp7Pxmxd/89ATbQ1jgk+IkeZ+ebSBtIJTmQ
OEPKgzT3ooDMxNm1yhyPVYq8IuDHiunHB2a4WFtKvj/lHmELK181iXEdFEYdrw9ZWra4RTGcu295
pN70eiiPc1fx1NbVGcHJxWeJtfIV7jZugzvTqqw9HKZ5h8i/jXlaZoA+wTTPLJxhnrmUB7uqys9T
Ph5FQUnC1hkGBGk4g+VwMoDu42TOBc9ix4o+tW5tJcdAZOk9l6DXMRlg10YZARiMw4l8FVEhWJ+6
4isN+7fW4VxNO5xDgwsQeEBAbnb5kr7RrkeRvqt0+DtYpX+omK3qmf8XCMyNmy1koGVsJLhCmCa8
ph4D4MQx33XTugMb7AluNe+heBu6ha/S/B9J57UcuXIt0S9CRMEW8Nre0zaHhy8IWnigYAru6++C
7oMUGklnZtgNlMmduXJ8CASlE7Ps7JVbBCeHrAbhM24UVodrf4JwtILDa/K0NOEqm9tnxJoQMP78
XuipPGQJ2yZ8sRWTT+Bgnfg2SKqt2lb/cSD55lKHDjae0mooHqJxj2q9zWTKlkqAd2HhZwcNXGdt
d1N3mAeTUYMaYVsZfvTg4DSqU4yU8Cwybozw7v9KQwd4OXFbGrJwzqnF0U1J+wgHN93Oys/I/4zM
O3x9HrS1N+fEvMS1f3J4TdArACVV7tVrxJ0GhYDEhiFYggNoLONhKl1csDL4dgPVrEAD/E2p/A7K
5iNPoBA1Vn+tRMoKj/K2hvCwTTlQWwHhF8TbVW2W4bGnGCSgH6dNgASMLkkpt8UxbY8vxOv5f8NV
jum2rNjluxmpRqbDyzgTlcU0yogJVwx9KlJFd3dSpynioB3V/1Um66Nbk6z0x/I4FeJxMKvXUTv7
iFMOA0b9onsBVhJUe2vqd3ZeLt/eOg+KhzDwnz0n+mrb0tgkmBIc4wDM9YJJ9FOy+bcFP4Rh5PdU
Tu9dDRQ2Hb8lvF0g3PHAq07W57fgTIhC+OBzLwf62+xVrM+jW58YGz7hTDz0VbVxQj4Jv+XDRbZ1
nJ7h7dWa9pHLtxn0JUenfVbkGJ10+p9qxD/CnM8dV2huxTsniH40D2GULLsz4oy5bRQ/r6PCV+my
ecahu/Ma3j3vO5P6PavDq2FVB493dIVAdm7dlLCMMJ7iMfj2cfhjZsYo40XQ8efkJ02nx5leryRi
cinGF9OyFRczRnpdpjBbrJuwenN0/gusddvkBizfZn6UKYMqGtTCgoSoW46XSdR7TnTPkhIikypZ
QEr8NvDYNqDgtnZHmnmaWd+4UALYBoZXkely+8eU+5oTpoKa2mYX4nP17eJAtnprGS3S4lAeZ+lh
3Aq8o+6NayjFBSPFwZcAfgwUxmUR9rOvVk3YYOQDs0ZgeBBx2FmKmMeKPHu+8gLeulD5vzJUz5My
sVOX89rHWFO5iA9B98GUBl5HTr+h+aK5wmYWKnOaUb3mdOBPhqUeUd6MmF7pSfifflZuGpNVnUFm
vAEMO/NntN9q17Y0bxcgasQVh8vazQ8Ile867M6FMTM24G3tOBOTLo6YqbQnu+P1QJDaVLZhQNPX
DAwisXWpgkEyie9jwWmmwawZuurkfEy++BjeQjJ4LA4Q6GJ9ct3oJxqqY8ak0Yv8q6sD+rEqgjNO
+4FdhnALRz5T0uPQuIqFusFIpNRahuJSO/ljymipjtw3HLgvkAIOiRQSYmq9x/JEc4J3n53iIa8l
1wwiJK7D72NP6YOccRtZIFLmznqnfpqeEeA4RfNRTLwePVr7WvbdTzc+qEj+9uAAdiLkEM8lGSLx
/G9iiV4vB7zGyu6j55wzo3yPXZ73ONuqHDsMzYuc9NnsBl0do6Q65Xn4LRtUUaM7G+77SFa6c4tj
S0gEtIyf4CDJi8UpY3yLgglhKxhl5nD9a089dDGb+lSya4U5wWHKDqitnjoRnHi6TGrBaP04M7wl
tE0zCzS1zVCmb6YoXknPwJuxX2SfPsx5AdEo9JAE3U2Y+9/shzVdj6uZfYZF6xdu6HtFQhDBw96P
Pc5rlNUBtSzu6eRJjU8rcClQrJOvwEWZ8d2esz8oKNTsLJn/AWRuVq2zkPRGBhtZ8GbP5b627K3S
IUmHMHgquuQO3utfncDYxgGEOlb+wW0+My3Dbcpsnrg2ThkWpEOr2v/couEAx2moVsWSr1m6M4eW
izIj23MtpkcDeys5i7faYtEdlk2/mKe3mGXBnIBFBiHNWxCTHa1fMC6c4gzqWCOolWjfxqQ4+j6U
inqUD9yMr/AxAVwF40uozTcMwuGKKsu3utoRrse3PFWgnBVJJyhzfXjIKj9eU48FqMnoN8je7Onz
v45WH+Lv73QPrZIo7FDihsc2qx6GjlBWfqM9hmN3FH4Ls3+sy/CjySALeHxDRh28+W51cHT3bsXx
ix0IqmXYLZr0dZhwXjhTcS8t7zcdfnwruo20A9hu9uPkIdiWnEcmMAiXj+0S/Xrj5s1+QomgzJFR
srXgFJgF4k87IoMdATwhiMkd+vabHgjHjKZHXLYLr5IHiZIItsFsfJxC+aSGysawspsbnz17LO6+
N9Bs6It1U7smSQEWOo/GCcMOnrDXPbstomzUDWfMBQs2z36bSZmRXM52PET/+5oMRQGKJfjCqhiD
PsvaKhm9N0LTv65gczA4R+ugfyqrajd0+c1K87+4QUV7bf35L8t7uiSH8aX7w0UHujseXuz2XmYL
3KtjK02axzD49CY2dFEkiN0+qXV1kIKBie7B4fdYZ2leokCUVQ2Qf4IOsLxEThnfplF2PEJb6GSQ
S8DtM4qHiHBkcMmivu8WNaQrsvwIizuA5aMEAcJS75pGofbb/j/LNk4VZFbf5MvvZyKdqc1SCxTk
JbUik8hf+Q96+r4lyoefn5oVxd+zldyj6mMXMNbmMy8dFGzoe2aqfxxiP3hq26UTpdkmaG6AzQ2n
IvG9Yw5XoFcbV8MZH8cUa5SV8P3nVPd5dvbcxuUprwlpDBOn7gJ/SxDY4KPzna0jII0Z1g4unIXB
VsNTGM/hV2FSA5pYfLoB885ZvvB47TMxMqJInVvl2C80TT/iL0cTm/JXD4LgoOwOh/AF0PY+8mER
mX3xoYr0a/DC10D6bzUAhLVzb2NekSofT3PZhTu8jMzdyHkXMUcdujNCLJTGa4T9KB6Lg6V5/XRd
7HhZKR0egSrMOWNtyerJ6C4Xd83xat/I5LnhGjxg71lsi8zQ8QJaSuykxV8xTZOPAgTTkELnzk35
7FrzS17IexLcywo/pNNa7xrCxj7tzVMCCQcC+Ufni2pnJvM1tDzGIt4yjm7ZBucQIJZ1Q9h/qpPk
q3PCm8Hfver5gjoOQCWntnVc4HfsFNsCfcr8B+iYU3e2+mg5qY6cgF5KRujX1OWbNvriYUILgEC2
7Ub3Wwk5rMcUrytqrU06e+Xb5ABxLVkasGrwMntMLCcPe6zXVQ/k7phfdPimDYz3ln1sWciiiAsG
sQPIrdMlbsdf1zAuujS+VZ0+ZK392xJ79+rsjBk4xaXIAZaCqLWBrSOCCROnbbJ3rODOTKbalPZy
xQjb7soPeaWMIsBQG12XruMneykyFimNjWbD/lp4Daau6dHumF6n5ODRN/kKC9HdHN94pqLl0U4p
9V2eewE+2LVG2GrtjNjMQQCEqn2vZtNZZYMpd6WDgado3aMjq3qTJ6jRRYyPI5iKcyqxRiGyo9TQ
IiXM+LP12upoedlLWDp/kzVYu17EbPQJt0b+ETw8mXEZVP7jxR8oLYsoMv7ia4DT9B6ZQHE78cI0
/GXAQz0pTf1E3Vyt/pXZB3N3P8s2abG0QEb44FLcL2GObjxehV0SPuVrnB2Bd6A29/hJBReT8L3P
8+HkIuCYM8HpojtKuAEbGh0puZnsX29GEva87jjRYDbzveaJuNjcsVeoo7TGM60SQ3aTeRWSaWvl
nsDlwWlDgROw+XOSbBVJ9ZEb0R9a4TLMHFA9VbtzOrozctN7pzp2xK2zczLHuw3mH14PoK+LPyjL
QOI7wgbhxih21fvuuu4IdAS4T/PsLj08HmIwNwg0ydok1QMazryYif2mJKy4kLwUR5VwFTbVx/xc
4nXG3MW7N+VQCMJcv9uVwc+XDRu6HknwQzngj0b3A8AG5g/fKtalZFhG7r/kLE5gLZcDu31xEtxM
MRztrriT713hgvV3HtCoUarXOuNLR70HR0nacZUtC5ZYdM8R2+mKKomAkexAa5BTAnJNRngE+1gF
D4kX6L25LB4M2bCxW99mV354QOWsqdsR6H9zu1zty7Ly+Qm6YQUSB1Qnk7eoWvYh/2blnHy0v0EG
KrdMA0ywyHQv1EhFqa4fp3p41KhEBaVRt9yxn53aQi/rE9wDYXG0aYZzv4QPENaYKIZ0kHRTHJ4O
9bDX8CIbz3ga7OTXLdW29rllJ0uyJ1PGJu4IKzAkM2t4xaKwrMesa7+SjFjWhPuQeBC+VOkzaLGZ
W5UgUdDhV/xUNrozIl+bQkTGYHQGZkJIgDCER5s3sSJERkp8UZvQP+O63CfkJO9Sx3clhb9xZfbr
F90LtkkPpXCN159LIfePWLGmBothIppTzE3plx8BSXaiiCXdf3dz772KuITRGvEpZrhVIHc2gWk/
VoZNa+20o7IC5S2lLo/WFGOdpTWbYsO0VRV70DxQEfC+EaG3zLY8Lu3e8EeTQ+aoPSaGa0dl8RI5
fnNMxrEIx1levDGTQUvoLFkys9bI56m3rQ0Z4enwqS+R1XngKXq0elqCquApIu8EgIjSDqfB21Ul
xROlhY/QprGn+j1DcDvEdDHuYi3fBqiOh258Vt3MwIMPC0LRBTcn9xACiGsz9qnxsy5oY+Z/LQHG
BLX/3pf83CGrkkxa40GhKUVgHDoFwUVQlakoksDnXj8PlCotZz65mVtQuintsoA/L5SV5LRissmV
AwMBB7SzmzGjtxCtHTd4Q67mBTDlwvJOmk2E6Juo1zn0aTzhg9pOWXC3aofSVkmClD2airCwp99m
eKmQcUjwZkyZ0IYywYckXQxYgkgw7ob0xZmTz1yrMzyHq9acKsKwO7n9iNY8YqHp2IBEn26T9gA0
kHvb84B26Nn2coke86Mh8VUiHvn2Ii/kxFHARlc1EqjlY5AfpL4YjnFWM4fKYFrzdKWoFdYlcfVL
74E3QCo+27l7yox23C7ETTllGeFOER2JM8Ybh+wgO0L6PPSEhvJp4CLQ4J/12XsocYOeXuuXxo3N
ndvfazIej5k5/CsRGhOmmmurxPc2o7ZGHJmeM5mhCFdtt5ftsxmCBZ3Yrdcz9+oVvAdM1CTi6Yh3
VoPH/lF6JVnWqLU3WZP86Tg+xN40bu06BLgwtgShGuhXdNtnHnQVsykeWuhsEPEz++TOBACCfmCR
7txtPzGPTTMC3OFEJhxrN6EbNqC6pnVt9Cmz44iXG0yJMjI0c/+faQRbERN+yjoRoYMsO5Cmfs6V
j2Nsb1pmOKRjOkBDNMDWpdzQQXSk3aFZtyqod8SQn+fIKZCVaYYplgn8UAn0bK8CgqquBafaCp7L
OlU0Ojph8pt4rbMzw+y/rOivyLtDiQwtMwRPCwPlQodf28TpcDC6NUW7xY4SkCIYf8yIyuJej++l
gfOVt2aD+8M/py56TJLCzFW+2jU1VSSj8vB4wBamRXrD8ZMC9PpJ9wFGU7C+BzmrCSOojfOKY06M
QWrb/Jt9RUFloZudRzdrkvz0Rj8cXZ0EeJNArXcW8eFapv/6MvrDlfLqjg7thgkziq4aa5I9JESx
U+kqoGjJbLeaKaTTuMFzJzrau9VlkklF49GxWETPKot+2mC/5BBcs2oWKKa4ThyMbWu+AfgvdoYn
XnRnf05l906nkbN2u4j+Q73//xO8Vwn4pNRb5ybvt3CbTWt/tg1+j2xCHOiS4cXE0M/xKyTI/Uky
fDji6JtXqTn9dFSnNkgfUNUBKLG0g7YO0k3NkJKs/ntuFO+4RiYrNI/twFLaL0kyFxrM4Gz8ZDG/
cgcoaE6fm+zeM6s4jIMw19XkPKcWp2vHxElacdUVVIDOirow2+McXpIFNAr7qiWg6owf7OCxRO4I
m93cFqp8OsFCghXGcZzOCikdmFcM/zNAuAxndUxJXL1LSOxHUGg2LWo8yjMXI6O/Ng7RtVHTyFFE
NP8MJi/0yAhuC9kShHqkOXIsZ2hNYw7ZsL9G52/TYhhuilBulHLIAZjFf3J+UgqLA03e3NpUC6mn
O+tJfnr59O6zt6zMvyDiVAqegGIpPr2+nfYeWH98DizNoRfJTRL6v9GYvsY4ETdBN+z8GDU+HlAC
yfxWQv5GzUwBNHcJdmPeLBNjLlY/MBrZWU6xSe4A6HOF9gcA0SGyYfT9sDN9zDi+ry+W3yIBE07l
L0M/Hl1kRQg+Iq5PY/wkJGdCVeBxm3vZbRts7uteyr/ajb492bx5Bf6lZBlNGcOTQZoMSnF+aIaG
yWVfHnVmowBRo5WFI2pDqbptMPPGPKl5KrdqAC9M1/2VI+surad7OpNJNUgoD1VD1WzD533yeyTO
jHQA4UkftXGeM0TcT5+zj1LRznKtA/zZYK2bcFrLYHob+yHf5ZoOipnRcoCyzIATQqF5jhPEzszD
Bdo2MHUYocRgjfjHiBXfrLYh21T753zQ81moj8w3gHbVNm9T4RuXPAuYow4EQfr2yw3tmjMi+ffe
LSR0v3FeRVMNz83A8RQ0/0kcpEaAIR0H+7xOImJPqt04XlXc6aNIcLTQRMVDO6qTIJ66bTWvgZUS
9W86GxAl7PDA/28c4Nh4mqsV87F1jymNcqi+OmWsiz2GsLWZtu+lbbFQIDHFFFQC5AW36wwuMhxr
wqLZZN5wB0LTnAa//VV+Eu7swXunMM+4xh1lyioJVlbzHrfRNrMhpFnUgNFVy9CIuq4ioKa7R6jb
sy9MoCIMbHgVwZu22scu+ZLI5dLflvNhEnpvCdCIQtUfmJxuoe1ADOiY8HfUY1RiCcQOgukZftdB
i3znmf4HI2pa6EuKA0Fv3BOPSl5MHHtnsi4DXfbe+EWlNxV+ZfkvHdKvBkeKEPNw6WC00TL5mXoj
LNCgPaUdv204OLtosNLDHLq/IVfvdQNHIzacfeAIppbE4E2XxB3RRzA7shtvRIyzw2QKjAuR2a2k
/cBRvjtEhObzDgxFm+fUU2S868odH1C7BgxG+ZcQORGVe9DezFB8UssQX0j57fvUL1hE/MX2Ik5d
K75gYjKKoLMV/EfC5QrLIISEdF86yOQZJxtUY+EZEbpWWjPPB6EJq+ExbcwXYGbLvLE89i3gTG5z
doa6PxfWKsrvUQ/ICxaruZun+EO0YJh05Bsby+f1WmZG3Iua1ZwtzReT94ZVmGpdO6ATgyiezQ2h
NH6I4n+3zj+dtmS3s/lZVS1ZFqcCYM1BqzRrQEmOPifC4lqfg82BRwNIBdy4Wfl67wrvgYzyAoSp
gHwVzlvWMGVftPDmbMz1s810bi/cJ82h2uMxER7CEUEQtfbz6hiPZXyij/QqONfACeObag37aerj
n6YkYl5TEw7WFjx8sFQNZCU3RWWFX0Dw0m0baC5V+PUYjfPga+uNiTfqX/KIBZ3Mf0X0BSLR2o/Y
A3MpsErZUwWXxjlMknNJT5AG/070ZUs+T8fIze2A01C6PuZknL5cv/i71kLtW84XgCjiX9AS0YY6
NeqpDaRImi09n8nGmCwDt352L0jD3SnUXQGOunuHJADL04r/EEROAZTIbS84VHncqQqHsHijhc1h
GHptFpL+SapLGnEfJV3BMGXC206g6TBK8Wml9UudpPc4wmQ2eqhV7Hsw7g9OJZ5GytUfRDIG6/JM
6SbGEn94o8KFULb7KGwzJTXB0oT4s+kDvHSwZA+VVcFdj3ANB9I5uj2hZp5AjMwjnTZZczMDQgql
5MexRtwxHGLoyqrJAXkIp7bwkfMhe3U0Qm0kj8A4SGMXBCiUTUCPE3V6897H57bVnv6LKyL0Odvu
2pFg+CNL8/ThEd5kC81utssPGdFx6SeJ2CeW2BMu4pKdEpjPnP6Q1FGy5hE3+5oZTZo897UazwUX
IRouBm5xpxB10v7yh9q5tao5OlHg7RDvIrILOPPpw9vGJq+cSvtvxxi/OJ2bH0blrevRPHnp5LLT
TANMzOqZjSxZ2R5Zw1SV9daejPc8rR9qLvSUFiTPSQqzF7vlxly+L4E5K2QKounMOvRt/9rbNNaQ
0S33UW2eIyyXJ9qhCQ6U8RF9WnIbaTQ2H8DHzrpBU1jNpE24J3OnLKOfhMqAg1s1m3piPBDN7ElF
pbcxXc57z4itbew+dCkFeKXtpPuij7BjgKZjMJCprQx5KLAQUjoepn+22nTl1J7ceII0P5TjLgoZ
KPOZlHHzOjpF9kxpA60DY3MbQKYSyKFhgg7TFx3Y496Fd9NnB8nwBJdzFu/HwaRisHS46Abxpjdt
/+CAXTw0TTKvqEZ8R+iN94QsNKRbSH+WdsaN4sWj2DWWm3zg+5t92i0p7NjD6OdOBFag9kZSO+UE
LiW5LSQDCpC4R7kezYsLPg/btLvNh3qGzjZ/1RGgS3PPbTvZ2g7sA7+NfyqLtIPIP3PHfGpTAb9T
NAkYiJ9EY1lUtu+tl1i62T3P6Li7oknKi+FiHaoA/emxuIbkwYFs9S+4smnQGOtXVrKtqCQhlsQ6
NZAfN01MyWQjSp4tn1OuqK+chyXOGRkfnQevicVizSPKg5OM9m4IGuzNq0BVVGXbpKgn5xKZtzxd
lsDUutmwKygEyvpN312k0e16zC/7NkrvJWmnlTXwA/LfkiOWYJxA3bZZusm7trtpXF5TTp9JXhnU
hPlgRbN7HIijY5V8DIrjrNmNmLgzM0eMxZzff2Lcox6GGTtG2hTChBybncimF40xm/FH56/jzjXp
W3H79dghZzlWhV9geAv63DnjoLNk0e0pzOVBK5p3jC4kLRu8tGLAN7V4cxJurwAgbyPTXkqSAm8t
jcw8KZ2tfBQslgtOZsjYrAvvqVaf3KDtVermchPFCGxpNa/Jkb7Bcj+HJWx/gkvWVt06BIwjdrWm
bLKr6UdPy7mTr0H4D5ZxTdu5Ptg4CvKGz0wQADzBan+XhIrQErFfRlhsCQlznC5pE173UXSInQpy
DBH4OfzB6GRfUvND+2l/7D0kjlj9Ut/Obi/a8sHJrJ9xRk0qEb8nJv46oQk+q/GJ2NNrr4ab6mWM
zJ8Me8I8Tw4Jsr2OMTK0YgTndXI6aOeNdn7Ctj4qPQKR9o2WQCBBjBlzdiiYB1UcIGWKWTqeZo6t
6hFCFlM/nFHrxtdH0U/eVuuQ+qugVGtAsRHNgZcqAQtsIxXnU/tkSTmicAWf3YK/Y7ZhdnSlzQ1d
Y7SE6TXa16UcKotHP2VGPcx7S8t6v2RjuCXXLYHz7kGBXaVj9KnXZOVrEIqMo0Ya+gAIk7z6jUhz
pY3PrObuWw48gWF8M1w6anVVU/NUcyLtZ3Pa+u49zjpWOnL8WOwN5ncJRZBz/N7WpT6YVeajsY9P
0N+DfeLX/4m6eUvi0t8neUcqZ7B3SSoOhUlKjoJ4TA5TSn8rOKfa5nvMrbHe5loCZ9bxQxMa9SFK
lMf/OANflRAtGlzHVWFNZ3NSO5pw/2TPVqsaCTsaOhGTna3TgFmAtgENX7RACpiqkb9YCJ3zD2pF
eGx0QpvJVJcb9EeCRUnh7PAC6BwtXXpzf3GLOdtNZoCUozQ7bm8xTkuzTRdkr1OZPdhS1EdgQosP
h522UJ04aFBLq8Liyp+fYe+4V+Diq75MnSMj2rCFiECMLVpTcHSbMgNIqKk2eJxA3HUv0PWx0Yjh
1Z77G249lsCqPvsS4gVeOWejizskY7FVBkYf1Au1koWJlz2O223oB/5KWqFFXdCTI/H10Y0abcbu
u+9j45jq/O9//wKrdZKM+rE262vmED8aqPYr/YLSqBzstKJIZsvhvFyHefkZD6gCMG88k1iJH3n1
3V3kuSqFyiI7ODhtzMW5FmQmC87YrZ0DCaK8CMo4+h1YZnJa75wwoH9xnC9i+S1T6+zY6PdYWB9x
OaPb5M1T0LpL9cxk7HATbOt4fqwV7H+PjBinFcymovmARd8dq8T9432jd75Lh3Xdl1dI9V+1URJD
s57nrID5kLBrx9gWSHLbG49GmHU4Tv6Wo4KP/sixmNAHHmwfE7LK+ovhkQojcc15wCwuls2Sh3vH
WuMk6AzxW41WhNmi+g4XfbqSHmU5gxvcLKCbHFUQUircamvPy5lLFiAtbW63unTwms4YjbPanlCg
bX/PKBKrOBAFVDouGBVezYwlfpvm46NVxCOHsCAmHDy5ayoFiTQOYENVRltxGd2zFpbHMgyPZPhB
uGUXVaSyRnxEtQRhIMaCOMnokxQPQeEx8Fp8Hc3Gn2lRGJ3+KSnih4wjDaPiQyaTfwlmdwwP2HuD
IKOq+th3HB4LdbNipN9w4GfGmA3mPCSmEHgo3dvOQzOwBuBgac6kxdTtNTWDrw6FjNeXuLHy8MDp
tH8MeraQkqo1Biaa7nrJ+Fqbe8uH9IpsAnAf9zXFiuUxC6qRG3b6NPjQw72ZF2Jw3eL0v38rnOgs
GaTv7aYmMNPrXRx5O10V0KE1ExhsihQXsFy6bvBNwW3PSYgxkWWED+kkyn0AkBFNnsHsIF6Dik+0
4Q7MaurHXr/jHS2xedXhehjbP6pL/kw7v2LUCk/Kt29WJvYEwGkWdiu1Tk0S9oDtCm6xE6kMZIwN
WR2yb4bXbezGpBE6P3Zpp8+FNvAUdYiUNTndBnglpRY+qK3y3LZmhS1NfJekwg8F289yT8E344ob
Z9+Czo8laijTzRRHxY6UHV0lOn+SBYwJnVdo8mr8qVtym6JkluFxLlq70RDvejN/LBjckHkEykLb
17qwcwRIQOvSw2FBOzO4/ZRpSm78h99140mDAqpUPFS2zHYJhKdHWcT7gUPf4nVggK1IU4Kfu+Bo
tleU/D25nOu5NlQruj+Y5KB67aL/unHmHtVE/xq7YsTjdvvMd4eHoja2VR3BPluY1Z5fbUfp4aWJ
Xk3fRiyrVL7z20E8hqhu68oYa0aqoBgKmEuhT+lUCP+2sWryGBl7jrTqQyArnlDUJ0zB+7o3/hmn
nGfo1bWME3ybtT12dGPW+aWswWD5bZRsVepNwHvS/sLU4CmGLUQKiEYPSwb/dc50mLhbCxZjyuPV
pjHCXYUhcmOFk0M8YVznMcPxXrbTKkpMgduMVtrUsiom132IXZtcfe+BsNbkiFjYF0RW2D8RmKWf
bpb/GL3h0LAhnWYLfJpFsOWeA2YU1hoL2vLcEeIy4FQRbmS8JyFGFiYVBSETrxUeq5LMSPHdocwZ
ef8CFnVpmapwDtfe0dJKUPPKpT/v8a1bc3qrrY3r4dJCISa7LLaRgjgnvEacWq/eBUaqjgPX6zi1
5KM70aZFjiqylfsUS4yS2Jui1Hkzk9r4Eq1zkQAq+S0WgklHLEa1E+WtQh61U/w1oU/OM3sgxJAc
Oo8KkQUQaDOZP9tzSOsYgau1VeuzrNQPmBqDoC0JVHrXvlG/3E3SSHPD6Kc4d8LD6aQU1qDlXCbA
NvPHkXyDunadTfXpKo/xRTAan402PtQAZGGSDJhqX7xFc77FGrdmfjZ8C5ccgTEOt4RTFF70YpvL
pH+O/O+k9PJNETbxIbI6suGYgaBFVNXT/ImxZst7RUJkGZwNwrFwk1m4T0gbc19G+/Vm7xJAPzWy
1H/x9Fy/+p0YGNbjd4tr1+WFC1ymd+wj5syJWfg4baOAYw11DdVlbCH/9d10DuZhZzlhe8xMM76Y
9bMaRU3KozrYBWY35UAdQ9Vvr8hZGtlXGJsqcHN68iRBIW9NX9CEqzNizfchKbta7qNkATL6EMMc
QzkouDPLvYivRc9BzABvZHnejBzWHvy00adCmOoqUic4FZO1jTKdPxDrKrcJY8/ULRY/D/OusEre
Smnr2zzWqEq8Ldx5AlIHwHjQoZ80Mtm+YsvYVzaXDlROuN5FT2i9U69jpn9aujZPJYVhe0D4nIva
8g8KAJMvBkthNJhXic4LS4JJahNwim5tE2sA9H1mJlw60O30nxM+RMJMf4kTQod/ckiMp7Z6zr1K
PogeQ9zMqqLwOUdq4pVog4M9E3ddhvpWNsGDgIsVeIAcktyVr/hJCqSXEQJR3M+YNcRN5cRwGtf7
mJx4CbWV/X2RJDjlLGP7kutR6cH4NgIyx2A/kgJ9lQPmw6Ci7ANv7wvWlOiYdlAxfN9ccAyeg6Sn
GWI0SP8OjoQ0z9UZzCGiNdja8aFurM8m5p2AmTmshbvYK0l+r8JevI0gIY+6LRLyxyI9svtStxSg
eAI0GLgko1llJQklAg73SnvlPjQxgdClLU6mNWcw9RgjoRVxWqZSMrSh8cjQeSSpke8ddM7FEVns
m+rXTzyQlMNMb9RMKjAXxzwf9UtRipUfdvFGVap7zbzRW4WOO20gLPMc29m8SQGVXwMLc7FCY94Z
lQQzqWx1BIUZbErRjHj2EwnNMfTvlOhBBPGpd4sow+Fz6aJ3qEa7ujGvsUPayTMAltRxfjTjBOVx
wGjSDUl7p5ibQRT8UXQafmmbQ7FlMJrsI9W3dyokCJUTku1Boe9SgOZ34lbjtvL5av/3S0GtFDfV
3Nv/75ck58iehPd4zpIjq64Lj3VnzfxtdIg7y8C5qEq5Hi0OWx6i61Niprd25tJde112nufG2kXS
mo6zyWWZgjyN/TyCTSOG4pMY/35udPaHwY7gmrsNyJV/xCMhPVl3884flpMbpw4aCO36hVcth8xH
RS04p5qIOIgXuLDtp2j9A03mJxf0ztvS4slGRjzA50PZGDj3nwEY34pjDNXnZdAh5heDyW9UJv/S
blI3zdmA24lI/tntri+yHiIyIIqF6BQObbNbrtanbuAm5Ra4mLBp/h9XZ9YTNxNt7V9Ukl3l8bbn
Ng00dCCEGwtI8DyUZ/vXn8e8+s6RvhurQQkJ3XbVrr3XelZ8EbqVuyZHHFnmagjq9YJNy9uEC1Lp
ecFzJYweCWLZDEevbyr6pwUTgdxZHn4uVaoRnBQS7onPVAIN/r+MRiERAbe2tfrrz6WP0oGk5yxn
CJyDoBS+2M51VJ/R/uwRV4VbK5Ex9RR8NOKxnxZff9ehJFmC5AaZG/YdbS7Dg3gSRR06qhpSlQ1f
AwKec3aL8hDT3yd5JjmnEBDp8avsYlTRQ9EXVtA4+qRVPgc/FzpWt3Dkl5E4i1DMVzm2v2TesxpC
NqyopBC/3PcKT1IunFeWVGZOeU587bpKdkRUnvySMsQcWgnCsb6PAMcdS9zqR7CWv8ranB4xtlL7
2Nh4UOMzuONYjXXP0se+iVZBQ9UFacp7VS/qpCob2mmRnQcvemCuMz5hZH1pTSYSU8bIv08e6SY+
apbZYOBokXTR/WI3twWm+mM95fdpkY4H16e/0/nCDyZHMqSO2mdpxPMLsE7MpNQ24NKqBzwhyJtC
azn7C1UjJWJFPtHeyCi+FGoEivaNtEdM+qpp72h91o+tcm6mGAKHJAsikdHCUsmBKpmM5ZJzP1GC
+dEZ38rvhGP4Nh3tes+O5D0vDWzZ9gsDt4M6eL3o8ZjP6BR7x3lgQJj+strpxNk3Y76IzM+ywjiY
XLZ+lmDodVZy1yXRKzq88cZDViE1eha9WZ8wG5qPfu7fsAz3bKYrGZQCFvZrSR1T/jIcmEMizr+7
HBtmhDFlwzZv7ETnf3Ib0OoqK9JJOgBRerxZBmkeqcxloOiM2SrqH9qIwleN0j4IXxaXrNXoOuye
6c4yHOOmtjATJ9aWuEMBSs8/4bh4JzUuPE2ye+6H1j5Jw7xURTY+Z6FW91E8P0Rk521NtDk7qxhH
bOfLTJZESv/PAZ+RoQdtxHy2Stu8KQLIHfB0JczgoCjDX0bZGXegGs56xknSIy4/Qke5GLDYdhAr
/grff5wlH+Rsw6YqdYjaalZ7UFHFnRgAV2ocIkckAoUB6M+Kunu3NNk38HALc4agLIwnaTJlnVqi
5PhHPtM8zO/MuIlZMsNh78M920dagW8WjX0/5egqutrglweHkprxg8e430Z9cpd0DKLoMv1THmdF
zOp6W43dW1/Kj0HO4iTBjtFggaCZ4TcmSCuu1a8FXPHZjeu1r56NJxMU8KYNcSFBdz/SfcAjgCHN
0aOLggbp6rgkjNRzfs2qdn5bM3bXHpRvy24Y1I586dBs0/6hH+CUTD+qmiN5lTqgpStAg2SBcWab
8ru4nJrthCPyGSTVaW4KtZoTkb8KQR8xnQyoX0zAvQ5RQ7M8diFnYwwL5t4n8QQgBKUGXapwq6Xa
hTHrq1/EvzCQFJQiIvoz7kZihba+UucGo+nRdTIWayvviEkRD0NkqMMY+e8l5Lx9A7QsxQn3i1ik
ezcPqjES94kzwrWZmvzk95zW4W8xt+9OzLrvwo7meUFQhmJF2VWdPLs/nzpRIKtQDsf8AFqrbX/Z
iW6CrMJu165C9TiB1ZxUNMW8rlx164WCykYXI6RsxEWG061cDc+x+Qft9i0TsXtufI8m5DQyUqyo
v0tyvg88LZmOxNXxzoX0xLaXCGo5e+T7JLYnogLpeSZr/O3E1HrOLxHYzj1cjkaUGZP0jBBg5gOJ
tVgEsclsfZPum6K68TQVjGS9Bb+NEyQucoy84RhvDcLF+s3JqO+X+q4HUqNC8ziJ3CONCCuxH/WP
TY1ckJLk3QgHHEpV5OxBcb5J2/cOWYEwmcwu39CXNgbSZesI6JF5nhNYw6QqB80wDSc91k+zJZ1A
wce3dOIyMvTfOsOEI6M0Jdna8SnL/KaS8nlwl2AZsIHOPR6D1tyBa2zOkHniu+KEg6bdK0CqCHr9
64o0urbSc5kEuUBRVYilVBF4FMbcJnP/Bu0jEi4ORecL0xLurPnTGDJ5ssZuM4zKJ6IAoI1Ro76U
0YAGm20La/krOQxwHKqInCdbc44CalZHDFidRpyaSZLOWNjH2VxQ+NQKN7PnfWQzPDvPRCQVPikO
uqgbzT05cHcLbqh0wOiwmhyP8eC//+dTmf2TsLw9wR7jTieMcYW+llVMKH3Snk2DCKS0AIlt+SDS
TEHRbPwprLfB+8dwjMLDxEdecNrFDFyaMc57c3wePuewy+9Zt9Fit9Fb2+bTgxv536mNKp5aA6Gm
AD6t2rn6lDqE18D0H/HXg10ynNSL9zuM/Cv7NtNzQeS26nm8G8P9JOQK31g27ce6JgQ+Y4mwSSll
fupVSIWiEdI5bpkNigHFxnnfayPgbIXpjBPvrsvCE7by1REFWrOM7IEj9UA+NIgTpUzjEGEKB6AX
X2k+H9zOo9vbE2oKReS21mLhxAKcjVTBUibBWFPxTmEbkOiAvTEzwqtXyBvcXEpikT1VBXQ9r+yt
CwNBQQnU/E2TQeydRr2HtnwSKVE1LLHINLIXn5TmxQxGv2O9IgE6EEX2MTWMr2Rs/dMkVO3GKchW
/bAkK+3oQco5NOCgjT55caC+sKSVHzYYmG2NCGxPJb5FL/ZHZTNutDT0jovARBG3xRtVjfndZ5eE
mug/4bplt9/ShjqSsloda0af+yiHbgSoydwtWJG2ESPY3DevdHPaXVFZhIpZybvjkthTe/o5jdPV
WEc0FWHc5cZo7OnYocUa+6S+SzWACwuhQ5xWEGJ8zbygGUAbQ+RHOlVXh6w9V5qzXmzqU7dgAhMT
j9AyZi+ZXg3x3TvV7rFdShT9DVRdzn34++yDsvTNltWAQDXCDxH1p9SmXdFL/dnNqPKZMe3S3sAr
CSIchMh4nxvm9GL5eMbq342XEtSDUCdQAeTID1ZXirx5+avzEhQM53la8cOV/PbPGQXfsHAneem2
IxYMvmITJM7MztFlv7QJsy8nqiEm4WRovutc026MMIk5IodGY49vqIvUvY8IXugvENMlCwUq2IQO
0Ihv8UKY1tNSD2c6tTB2OpqxjSn+yXjfGt+FtZw0BfGE23RrKe9jjfWEtMWoIm40Mycx8bSs2CZz
ujoGozaskzHGwfo3T9RavNOzAlJcnMPOhhxvt+7eL49LleSErVocGM2GlnZXbcOkebETWROpi1+X
NvUZcwKtR5dM1byTODMHSqJUJMu+XoMy64TIXs539HF4r2whGSn4zkNUoOidmpGj4/za4oujOzMd
oU5wWF6ccwEJZqy6FAqq5JEyeWhTUsRG57WxxT5rJx4ovtpAE/inugT/yTBf/KEOihCVQmE/wA7o
nn0HS0GmgBiUXX/02/ZmJn9cDZCk6Zynwin/mtp+iezsNakehs6lI148GnlX70q3OSZLdXZdBMz0
04aQYC8gOudJWPTswYHYEGx980K39Q+2NMhJIHCf6Fky20ZYtrNSNNBG7rxmQVjBw6A4ePKa9GNx
wi+mWVezd+4nOsY8qOx0i5qubRx/GiGeU+wxrfMapdhlm/RF2Mkz/LbXpM0hcf9ZhuLbyLq3qGyf
yMFBnApSJqbZTKhy9gSfDvCYPd7qLj5juA0kQiUPGwedVPPSmNhHhHGVyqGV4u+KsQI3qjjcM4kn
YeCB8oAigSgdAoZOTYQFZ/yylvhmt4hIxFB2W6Uw6ljJ3ykDmWMaLMP5SByECR8JVy7tGbKLNwTP
Gx2alMTEWecIYh1NhqCSQMCNWxntNRpRDUUJw0pP5ReZImBNGjPa0kcOGBsiiXCz8ypvZferN1ry
T1YdHcSRYzTTgvdZVe91p5x9WD4BC7x5Uf5XgNxNveUN5QmD1eooZuJAc3zVO2B6qgurozn6W37r
O5y8Fr0SYryXcvFJTsmfYtV9mmiAnAhY4EgMQuK8V2aBwSxaQVlR8m6wGAJURLRtP/hjhJJv3rR4
I3z49VZjIChhqyh2NUmhBzIq2AyYj3utvndWSRpsN4pZVe6pU7eNWdC/TcXdkocXOySPVs/+fqmC
pkd6jFUK7VPJZ8+pzVtVk21uvLbufBkm574UrPcq/Dsi+yHN+3FSWMKQYGNqdtmxmGtcycK9OuNy
poAGr1igdUYFCR3pTWGb0FrcICh+iDl7Jf4SwG7MorF4eJBHjAp4AJPvYTYOxmoizGAhhI4Ocjt7
8ZT5QKZdt5/jGbAFPX/ENefC56HnwX8qC6/YlU52CH0OFByW+NwbSmYUluzkuG/yNvzoSiS8YaPA
CjoL/ZMsAubBOt4YCCsKwgOUQVlOLNXADEp9JiWZtdlAY0vUQLpo6T/YNsIC5PseqKPouej9X+y1
cvMSx4z+XYXGP7oIt93Jgalukxpv3LNM3WokMPC9B8cFyZ5giKZYCWooFwdb5MRGYoIbiOOzNSLK
KmFdYmsiLQnzcaSRmKUK262ilziMaL3GxHjNelhAjr2rZiLKAS3Q7b2WKrF3ds6wtLDj13EyP/ts
YfjctMUWq+nVMdd3Gqm9ixiDWeJM0QModw0OnmBBRxU/KUVAfO9jxdjGe3tRcAi9puF/Q6/FIJOd
wp16nUwVtnGkeEzWdg6yBEj3A2mqlsBLCqjsGoGNmTPIhYC8c2iordyTas0aNIWkjCK6pYr3EmLk
kZwjK1xf/lzasQFTs17+73v/vQpttSn7KGasuGa7O5wBAqf7JRQCaxEDibNxcQdODZ7PWy/jKMZ9
UZX/SDmK77wwzdYyDEfyAkmKNCkGE2aapIdpsjhiSoPzSg6eTaPS2HQegginaOdtVav5rmIWa4+z
vQfZ9q5bUnNVhtc06cnBiMe1petw+Cdsoj0UypD7nJp/O1uuumf5pt0v1MuAqvcPrClnN1hJeSz7
4aH04NKOngv1ZH2FLtU6zlG6r/ANPHQZYFtC8IqvqWbc7+QvHsnYf1RHZYRH/BHnGBjpMjvHqvLf
mcPadw3GgzpdPsxm4twQF8khVB5ve1aWV6xQRM47nXH4+TLzrI9urhrYdTDE0Fr80m140Us0vSG0
aXB1WabcMKgThLV5AXcw7R06C5x/SuMERoUmmMLMQZHwNkgz/L0Mye9Q5TQ6CyYeLn9ZxR53rFzo
q7ptIFyyYsqov8thW9xPyDeBNJj7sGmtNd8LlU1hNw8rjWyTixRMbsRbo7r2apKmc4gV8usyme4G
O0NjzlZYRqm8rwTBbmoJJOKzHU4+SOZzz6sEosQsjVPqeszddXmaveRErMi3teKK8bNhKIhJWkXQ
u7XxKpNm4c9H5IV70n2eVdnZR9FNh9BqGUukC3Eudhr+Iqgvg+NLMNec79daO1k8Bykp9WQ0N8OO
WdGWmMIvhGnjScnftPaWJ42d8qabLBjZXMCraPfgdE10iED8wY0/OF7mbgyK9F1hug0azatLGUxr
jHeox8yzSWjbBmzD0dlJHbwJEVlIFUUTMVU499eU3KhvsIO3aONq6C33tjmdROOZu3EBBFZGH/Xi
oCVb5NcA+XJXxpQEtu3VgMa40NLkUsINGDXDqSziaPLzPTeXqPBJTqP7kfXWQVfa27e5RV/Vf9DF
kG50uZCaLek/+RGw/wmG2g4E7esYy+hY9bFJXAjCF/rdO93Wh5mgIZQ3IWQN3B2cWL68uJYYUTz3
HUn8cW5k+WdguZHKsh+SivS1sHgAJbCx3Xi1HYeBp30/qHw6pshfaOeEwCK+MkZIO1R4r4Xb/VUz
x+KUs9qhlniJIga6BvXLzfT6KpgIJ8nj8VPM81VG3aUbonIfwxq+lJMFmqkZQTBEHjNLEVGbjQI2
RC7PkD4uhGFAumo8wuSGvrr7+bLrz5jaKPYr53lW9qoz4443VyzgPL72HHSOVTeFDznuhf8uThd9
oIERe2yBm2R262cHkiXsYGntbFoiANvgmByaYiquER1kSuhlX6l6OLRF/lymJFdsOL8wqDX8eR91
PO8GSSAbpjkzfFhd3PWkmniqpNobysBsW5FRj/D1zyWfjGKfrRx9kycksenGqxQ3HV6sKhjWy8+r
/7v8fA+sIGbmIUTYaVRkoE1jCjVKoOzQcBADaHVegJccRHZKhn2hYniTbezqIJYpWid31ZNa6FYF
KudzSuDD7Cu8rfX6gf5cnHwIA3jt59mxxDHFEnXuudWjlhbfxmdocMmkNpA/M6Wg/KH33GsGE1kA
utTGJYbtI50mlg3EFniQ7SbozBGjQVQ1AY5CTDeoi30C6u4WeMZkWg92iXhDPkDxhqM0y2Fb4Hzc
xpgCUBQzZ2u70oCTLFAnaJTqMyOlO+iM+r8LbGqJep3T8BBb39jzu31mu6vUdqExPmVLYMLzORIF
frGtKUNOKP7ME76/xUaeM4qtJp0U29n7yCZAkxTVKWMy5gmI9B2j41tNeTcv5nfuE8+KMi0H804W
ZUplo1YgcT7zP0HHC8+Zhgmyuvs5joE2O0+GFuNBd981ELHH1jbfBvS7Iu0BAsWHRf42UxfE1cL7
2iAU2ipP35KlQFlDjmKmunOemQeFgolWwbarZJD2COcVBYKtglYjQCsnzAzNgeBIevz+v3mk5Fmi
6mVUkCsa+qAMJcHOhrDbyzut+WiKyqcFcBqHHtFUEzL3pLr3SRbKGAgnKfhvavDbVFtXhDPHGdWX
O5W0zyU54NZ0Nkb70Y+KTxnG76olcWcOUUdUJzflfet8stiEowChTkep6C1SAb+A0EE/R0MkZ2oR
4luJ5phW8F3hQyyto/AfEVsXz+uCDHNz7/bQ8Vb04hK9MIXDbDwue8swEJoOga3m6/QDw6gfM+Jk
N3GfviTp9G1W4NcafKdObQs8ZuGpMbwvI7MRp4ZfpYndxmhH2DSRf4oG5KnWFRX0MUIW5DrYCa36
kYzCpckPk6y/Xbc5wCEOT3HHW5jWDwqBQzxQCPa1y+CCCI5pNp50eBideDjBC3gfDYhJMnnhPiGE
ngySzLV/wVlhV9LyWrqkorKPHf2w/MTRynwBhrqtzJcahSnogBpRGhUcTIVoY6HUit00yOv42Ssa
VrgpPBh/LYO3zl7f5vW9StKOgGvmLQ7/58jVv8fxQfj2s8+ZdMPmf2qKJIddcCRZiBva5GMAbMix
Qb63wN4Sp0sPwvX/1VP2nDThU6TcE4sB+5jmlhxHTuWRrN5BErzpWb3L7J069w6lD611G1t4ikls
N8Y10mLgq3auaJLkxhUDCu4LcoHiYvgwE24OPShcEuk384tXh2PqPHK3gx3/ZbciwqrIWUAl6JsB
V+jeYZAbcSTvnqhrHtD+BzoXt1SY0cFJBR3TWt+hkziq0uRus/lU+YBwScLL4znCH1J3jynKoTEX
F5tbf2Oa9n1WpyZzeYrM2bQWjqX4ruk8cYIgb48zQ9URlFI8OlV4E77BFmb0NC5D4xiqGsFzQQgd
tYsb0dNIYgOAEG9QQXpw33ED2gpgQYilk34mnwZG4LX7FD6MBmhL38S5Y9JvVTHSZE18NJY5gGbh
RvT8+8wuVlotllsDkNdt/pWVSbd9QecAk9W/DAJa3wTwhgX+Xcn+TbT6SD43zZvO35jgbobZe0Y1
sKscG0O3iD/dWhxbQc6iNA+gLk5ziy1Gy0piXuU/S+DoQTb1XklMiQX5AK4VX/1MnzwMAfhHYAJ7
ZCziKyYD3X32rxqY5JaMHZo1y5NTLN+RFmfIcqgOkdfZ0gOXBho/G547x4pJgDEuBlwq1UqCm8NL
s3gfCXiHWX6JAu+VoT9Z1XrE/OFvnaJtmkac+PV60kenEdgVA+iQwR2hgxthIz0mc5cFYGAEnS5f
bgWISZ099K+bKDT/kILlyUsJdpwtDIToStrLGMsXrvfPKeq3IXybI/4s4/J4R8TpmrlBqmRr8rvK
FyB5QAUF+suUDdhXKMSNRpJ+M5+WAddE3NCBEenO67E+R8O1pTCnhuYhFRYtYqdeVYVTvFeomQfJ
355cGkehewMjy3HokRTjLxkhHpyUTk9F5vBLTNZdBY1MjcYYhNb07lXcLRPVPoF23sGZezBAFrLp
bngsViAPCxZqz++F/jkKipg0SHZAi5WYfmN3sIv6MlXOd4FBjzdEbGab9rVVlu8eXqNjxeLnz95X
1pg+GBnGjt2zR0ge5jKQchnWODqW+JPdmH+UhJKRcQmO57DYLklL2KyOnX2bOV/rnUekwzGm1wZq
aHjvsTGj6zLZeliwncy8jpl+TDwmpiWCajljSmae0VlrdCUW6k15pPnxKfroWuarDMKb0T7zIbWV
QBRJmgKQzk+n4A210M7ONhTiZhneB/sG8PJNKErOlIVvC0OPinv9icoarmiv6cY30cnrceukndlt
PdPhiBVyypkO6UkJDybYKi/mSPCYA2/w9bjyT5xdKIjfVBOg7N7zj13fdZTaLI+xrT4KyC5s0IaX
Z6vfXjMNWG4CWytAz5JVBp6YgvmSWhnABwfFcv5Y3tuTz4xF0hTT/iXhcJgSQD8rKjq56ED1+tiG
FQE3VsBwbNd3OPCcwsb7Cbh535rXmnHNtlkkNmizuqOjsaKdxnZHr6UenrT3LrjVdYcW3/s14zUS
NsxYIhdXqFwVhMyDN8OMN8IZcINlz66OnhWmiSTtoXfT2839V3fR6Lw8lDR29yj9jj0eMCCV0tMA
RKT0B0grzmvik2MajrfGMfZdNP9G0K/2YYz3BXlu3RPQp6HI0VclTayi9VcWRKJG6jP14r+2adEX
I/k+BbEtVs0dFeTFJxUVLztDJHGMMusGRNcJWeF8F/xK6kL4W249LVqBySKPP+sUbIDKmOzZ8qiZ
XBVOhSOlOpfCujRlAUQKcPGmL6ZL4xQnP+KOmsl8XVkQM+yRY288/CwrC2RdW7lBmvzzPRo25Wi+
NvFAbqT88PL2kGu4Plnkv06L8QQVK83ekbfTcxP+KZ3Svyl6gHxCamSPgmTA8F9OuO74tw4p9LTj
tHR0sL8v8l80Q38qscM3hDK4+RliTAlhnEMZYDIxBggMGgZ5k8Q0OvPo+CaQgKwqA53Ja3ubkUuN
Nod+Pf0F3E95q8uXpfVB1tgAvKQPneO81sN1xAy3G9Wp9euXZLQ/pdD6rFWEDWSBtTkW3lPp0Aaz
4WXL1PxTNuAERmvAGTWsMH7bOdeR8y+O8xnzOUpn17INGm3GxExcH0cDT5dnsj1DAkthptDfQXC5
c1IP9jpBq8Fsmv8Wy/SPvjk8OdPkHGorZmomQ7LuZj4nR4EGq7tg6aGfoBT4FFl2R/yGGxSJRwQj
8BHyoRGbK9jjVouswffM+0GJc2Sl4kz22TUJOUU5RlTv+fsbuRp4/cfchiLSxm1LE5RSwDfhFvfO
cHY5kWZDeuzKKTnW3pIeKPBXZOcjwgQ/GOOwPAzD9InpF0q4rUHX+fZL7zbxtrNjCY1z3JkUwp2g
/5i6DOVBv8b7mhMJVPQCSdkU1/hIQNAdZDQV+ygOdwwphpclNP400K92fYOXvkjFNpkZR6OJxK/E
uQbBKBhJOxndS5eX9Ahsg3ZDlsg7hM/ljmI+2bZNcSFsLyHYlPO6Bs8jauwrgzNUWwrGnWdbv7UR
1vT0BAJZtisvuxEQmoEeiKgT4/zerQEmTBF1TAUAKCqHv+OAKsJ0wPSmoK4oyZjaDMCjJx5TNrLY
Q2ySxwhh4WqaS7ctUCqDaH+2huxWGOhQ28U7JDXgU110r6r+cfqnH7z5SF9rRAJl0Vxzn4jwBaoU
ya/bcq6IYD0lnpklF8ej6TCVxy63L2ncuMd6QbSwnps9PXzjy804nJF7p9ob1NvVPuD/o80X72RZ
0vgYrDowXSY2P5flf1/9fPn//RGdRzBCG7blpPLwZ/AbV+eeuX/asqP3NQPpTC4AHNHQdflzI4CE
uxQMyPJB7Vr7IeZNtCXzh96YpnOMnir1OGw2EL+yY1I2FKZ0X7pMmkcs0+IKTDs9rxio2f3D6Myn
hdXd2Zl1aGOa4kldXUNh7GOGjUQ5sVBJ37n38qlkmN8Nu6knGcTtj6OKib9OSkSH/fhUeUpig7WA
IJIo6LKvc6tgZSE3BIxTn+DOqrHRV5Qdif2KWeIlmuR9qq17Sw436noY5CbZRajsytKkZoggZnQA
KATC851tVI+90LeWO6qBTm41PidqXIFOG95LWqPbUKAcxtxvbOOS8RHuKK3UycCHjLs0+5u4156t
9VB1LlBnZd9A9H5htP2V18AAFjn+q40hArnmf4UV6JjuLBMJeXx6jobUPPtRyxB9vTR9SA+oCv8s
0wH7HwdTYFxbpO2PnozOWAsDSMkPIgEMUnfEJCAE0RWL8IBRAfteCu8kvjfNEkSnnwZoqh+GuPvO
x9E6inWE7T9GM/LLiYVsXy0IVXwx3kXeHPSwehAoPSOgYrTodSz0wKrx+2CPlMCGGEsmHSmNUfLL
6O1n6gzEKFP6lhP+CfPnOq8I3JaZEsEYGcn2/QVVxONotP01XDA0h9X0x8+YDPjLdESjfhdmBrOn
CnCD0ifpyXPVwkxbaKo3tj6ba2jIiv21jPJv3ziXKZmZpLWPWZe+Tv1yktq+VuGDh3MPGEF1A3Tw
6kTmwPPznfUpIzKFgLwtDMbXDTOOd2gaaCKWod5FKSXMsM7s4OGaFLNhWn8Cpz5gaaDtUUBrlnYD
TarSm9hPdp7PxK2c5I35PU60iAYdEbzlvbRdlG64tex1Px1ZfDdGmIqA5ne1q/1PL8bmUvo9EJpw
4DsdGLawwmrTJMZzmFof9RyWBLxO6gzsAkRmgq0tTI9O5q/IZBRKoeE3gbBN2jo/L+0kBx7b9FDB
Qt895qZ97tdWaid0Gfw0VX9e/XzPP42R58NqwadRSXe6s2v7Xnp1cnTAx/K8rs2m2JoebOH8HRmU
EsNMD6r/30bUJDRoy7mhwfz/vh+RVnIMx/FIKmE+3tntrAMztYK+ycqja8ItgvbbaucNNxe8GbmT
nvlCYY10F1ETUm0Qgo0N3AZsyy5Ny2e7nt9Ubv6SBEew3jKSI2Y1wwSx+fnZMhOc/0riWyDasWMm
cbOfbKDbVVXYpBcn9R+PsHUSEWqbT6gjnC7yUIFr0KMcKoFujw5ZND6TlTWfmRp0OlTxhAEfN9Oa
Yd5C++inPQJ79lCLFNaloUNc8vO2Jotji5x+rsSZiOf4NMWZs2OmdCEHaTTS5ar87sVsnPa8ZtFv
nDElU0loYPU8YacJ1N6UWSusGvcm3lBOXxG58aj+VkkbxnyOJm4ojnHiMnkaOKinqBfoiwBii6PL
grQuER5cXBCgelL1wdYTq9NUTSf6JvdhGHkM+UkFX3HoSFjMPTHddVB2XUcmiJ8kx85jXkvxGvxc
+IH1f6+s9c/5GN220O6B6K1f/lz+78/9fGm0k8OHXx1rlFEBlX200SLEwLsQZKLdW1xYuK3/t02r
SRcO2vXy872fL39eof4EFTpP55+vFBvAf39M/fR5e7BaSSGRSKWrN2e9aIxkQbVefr4sMW0T7QfM
qHJGF57bBGysw9tUtTF+sAa617DQsJjN8b8fYq3bo7/+JMNT1SHq/dsY1Uy6xrYwA+bWxn8XNzJf
EnjQa5tirRM2ZulApiC+HH4JPnvMRwb0pvm3GNuvfBHVIfQ43C5zcpgnzviSjK0GZuESETw1LrfF
hM/E4IUeD3Z3B7C5BXWGwEQghjQ+f8WTOhILhOZwlziyDzQ1k8miS/zY8rtOqyf8y4bSh3jy3H28
FIyevoFZ883Ye/MJ6osc9163yZX35tWIOCo30z7J9f2SET8kZv6CaxeXJDOWg2P9s2a8dvawfGWV
6e3MJbrm9ECt3k+O/UTGpFfLYzfmK5ou+Pk93K4+D1V3Ym791dXTVYVQ+ixpB2k4H4TAXBnZf1PF
La7UQloYzuudwk1P/3Fm8zaHbRe/TR0xDnQ5PhA80tVzKbM0niHKJMa9OaIw1+bWJvvzUBOI8hR6
PG/6wZ+FD+6A7IVePSlQcOwOquvAHGTeR1O07EWAN8aqeZolfVKMCwt3b0MQhf4om/aJRn67S/kw
N/EyHKEKBGGDrN704jf1itvxTPNgzMAkG4nb7CP3uwcF9ABc2NuLRcrNEtu3CY7rgdnyK/kpWSAa
nDWJn3+xe6P7fgIV+eFNxm/dg2Ds5fRexYWHPax/aKa6xe4t46e4SI/4d75g6wNwbTS29YYYPE/9
jR0IGUQU9UftPYnlTboNNLJlGbaqyu8a+0ZJB2Ta5sBrGYV7tDyXpm+mzqXBWZxg6fiEFO1QwBM7
ApfJ9yTebJlHkGqSWRwgl6S51NE3BqKd6UhuDDW+l2scY9G8VD6uBsy3hGKm6lR4y5+0EXddhC++
rCg0xxahU+L0GAUoEH8G2VEIuTFmrIl2cs1myUjLTFa8vYWyTPrr+Ly7Q2xC3PcSn/15uTCd7hlR
AuX0U4k9ikRlHxlti2sKxg1lkpUMnJVq4q9catAc4f7gEwPBJJvoH+uti+k3dRJ9UuPilTNFqA7d
fd15uAwnCBNz+1sLwaGtwO9Q01qcyaxEFbVW23CFRqyIG1gDNHpN5PdZZRU736qOZdv/VbqZz2zO
TBygmfk2M14FjW0aUlRWo18eMvjB9XjAF8fYyc+fLdenThHys6M5btbxg2OfljWMvYqKP/FgGEff
mX9NWuSEyhFinhengbjrIzB1tanBo1CTzfPep2EXGfrAzJ6HDGLernBL4KpVSC42rHiMnLib4lrv
xwi4XueeWI9pxSRpclIDDzMG3vqkU4/Zf0nYluXRJvYyTij20/8wdma7kSNpln6VRFwPq7kZSRt0
1YXv7nLJtW83hLbgatwXI59+PkZXd6NmMIMBKhORpQiF5HKa/cs53zFcHkDbqq+LIRWbIcZ3ENCc
rVCUJoBLyIBwk52tBVaXiE/ktU8O8ww2D8xKLcrYXeckuzz1oqs5Ja61L7kEgSjhhckxj+b9Ty0P
ebZs8Ph+MUCYJ7Oco4ujMgjO/m1V07XpBFF21NlfidN8DWTwAQlgi5RkO9MmJBK6dIeNE+rTnemO
vGMhJK+RLh8DEiagcMVbszp69swgkUA5ImrrXNL1dMwcYiMmu3QM+0OYlA5XcHIsF1Aw0SI23h12
hUQqsCJSjoVqSiyHsmczY7vAd8cPK36PtAOnOQJpAkntErtEOE2BvnYDvFQ60HI73JCRxxRGtFu/
7V/SwHq3q5Y3xcQwomHqW4zid4ASJ5HyZWAhvB4z5lCjdO79/DvQhFLREQ00srjsdHMnEokwieGQ
44PX6YuFKzrSb8RzdBfm12gwmhUjKzL6QnxX8VXXAnLWPepuTmFCyFoTRrTpgOUbfXiZLy36DxJ/
vB218x1j291o2Q+FLPBpO9FzaUUstK0pYye3jl0L4ySpWivLqTiRbDFtNbJa0b6kHhEevvGaSCPf
GuP0LXKiv6d56br3XjKlO3spLwoACRZcWmOUES4Q/WahiUbRAODMWRu+fxtW+YeTgm0lAfoB7ui+
t8rPwfFf6sYjNqhk2mVimuwfXddHUtW6z1JVv0cHjpCW7Ua7LVA5prwr4kTh3OQnZPjUWnZzP5jZ
BdjfvUD3gLxSmix6lc++qvwoiDZxtWA6C86GDYVBrs24FopEG8BniCZbP92lQ71RIvsdT+LJGgo8
LgP6EqOaycCwBGiCcd+gqEVlERDG1J8d038AxJlfual9N3TVxWtd7zBaXbn17fK2qIdXZC7kELFB
wQ/OYriyNixIucDB7+yp6C+ysIxdEeDOb0aYoYoU7QARg7BZ02OayXbUunufjWPgOE+iJ96Ux20y
YnYosX8ye7hXbdrR+7yT0HBifB5uhcVyCK0E6lNBrGE1c2hVHc+d1ov3DYbkYJHYJwyr2+TvYzKZ
6CmhXKbjWK36hcs42wA6jWK8jacFI9wPJ8CcxPgINjOl9nmTnHjDVTGNayud6yniyJ89i91mVLPC
V+iL0pMmeThkKIx31h/OeT68F85O7VRVdNtK0D57UBJbd+6PqrMYOhcbG0jO8nnIm686AFcwJNcI
bbNgrPbgcZP1PMK+Uqw190nJfIXu1mR2BHoxco0vnnLjkFk3fRk+26aVbBz8GTzU6CJNEqByPaCY
27odKWIql+W2RgUEcG2feaB9J/VeTNzqRpA8jI59aEh75ZrwD6PSME819rDIB+bo+mitCXuCtVuZ
t0YSHoIWU0GX5Xpr9/1E98gmjAXBaxpDnnSzFGEdIvCrkjgLpG1MK6v2e6CUv2pI9DIT2tUgBw8V
FuZj5I70U+w42DeU3WYe8qvOXnARfnqjkzbaqIptlzDKJ0mC57EYWwiupXieuRqZqxuE3sAfhLt9
CVsouMz1UZbMJU5kV+FUtouNm5n3wGL1g5tBRIrn7rlADbQTLLM7PmNoUAanVb1x0L1DmiKUE6vd
Pkzr78bpdoGwppUVwLOBc8sWUN/VJcb4lnRrZjXy5LTsMZwsS1n7UhX7k+2wOQCwgGWAvApgLn1Y
/zRj8RaK7GvKhoixXvk4hDI6j/mbGYD9KFFeMTCT8ZqeYtj34aIMhMrYl9neZNm3Y6CI/1sH+aYz
ibM1GGit3CkgG0kEx8pS695gsYctJsYi0ZS3ImbeVMtvLZsZAQCXJLE+G1K2qcrhPs8sJwFj+Zup
jB9nM5FXWdudR3h+OzCn9kGhs55HlwcqQjoX5v7ZZ+qpRvHqIcraIUFf070ORwDjCoUc/C5sNCxp
an3q/bi5kFg+UiPUk3bOMJIYCvo2O6wAjq0fRDRk+I4wC3xjXp23zZLNXYRMjC0GbJ0lEIqbhOOl
yMKD8je19iWPirtg5EIr0BFghuXVnXluto1jg2LouYFtm9bI//Tbstr7fYORpw0fQv696l9yxWWO
VjgiRcfSJwh3EYEzZy3VGyyNaD+1+swE4SFwp0uniIkHP6t5XIKbyawEw2XzvutcuWupi05MfTjH
coAJDaD9oGRqn9rF1eh696EbCUIIyM0uJ4dX2o+uppYvWlYCByGwDCB1kIgg084kaeHFMDjyXA/c
/XKAKvYtownyUtoI37OJ/jUqyaV/hJsRHRySzNlzFcgk8oqjEyxQrQtsyknES8qNDQprOuRe8A0f
Ir0yHOacno1WI0d9wspIrG1kg0iuzKWEpPpuPdj0wwyVTbTOrvLdp4rRl1NNxtr22YnYvfiUhB+S
hd0cjdZcFzpn48bgbzWueS6gzEj7OkfDsKMAaMo+va6aKsGPAyPDZXm784Rm+403PSUy+JFQs3Xh
ftvSUa9uSWCNl/FlVFlwNPBlDurNM1zgEKjBerMB4G7ctip4S1UnH2zLxk6eNreD3wwnFTTlZQxY
6zAwJ4Ir//SJ7lzNSwyUYj/AyAuyqSEztU8mzogyVfWhR4BINLaRP3iGXo8TeE0gOfyqAPvo58nb
OEX9LThtMgIOCEUg3sSYw2JMMmqw/VOnlwFBZwLSMKAnm1ML2yVZYKP3AYarBT2Y8wpnL7nBrSDJ
wt7b4spH2AwDzjEP1XnMJLaGdmQDgDh1lbgkQxL5WuymwXORdo13MDRN4hFi7Kx+MB1KOIZ1bkM5
0njfIrFsaSAEbBa7kldlGNHdUkGa6smHRkNIhjXVvgE1XKasp1yMpb43TvQjlOgikGiySFdxjeHc
9nSZZgsPnZTqbKUwcSM5vef3UBW43gt5O0Qz4vQrG80qKOTqXBrsEAzVqsoXFoELpxku5brEyLpp
ux/a+AqUdbpWcyvItVYYq4HGC94m+1xhZPRBXXexNMCrI03oxm5Xhi1pCWW/lrywEI2IpQzj68pL
T8TnYnZOXLIhRjyVQ3ZqagnQE8YpXx5CizYnccAbBsmpkg8HdsxoIbL8oBtWmYIeuJhIPbNwAKzi
zDAOPqhMGaibaLAOFFzm3lCghmpTnQZcYMFMTr2brOk+5qNw4ivDgKJGDwCHOQwPIAjPpGLfwT3+
rLw6JR8J2l1XV1dskibbE8eW1aSqwjtU6snOMlGa9JKfWtgijNZ5cygYDe/CxOA4lPlT25r92ko8
Bo/ZyJVZLuQcB4cTdkCcngdzCJgWCvhxVkQmAChC6r8GFbC80xhpNkk/fFqygI7ruQ4GnWzO9rKp
nsu6k7vGH8TKZjElUVL69kW5CePSpJHw4aMv2YyvLWvcAe4s1Uv43E+YByLPfBxM0A691gsIU097
C2aHkTLEs5ejm2zO5ym9JxyKRSrDBwYCaO9kd2Gmj8+gs9CozcWdZohy1VuP0RyXJI6MDOStJ9Ap
zSZZaN6GZTHCJEgdDlzwHLn4SbtZXyjcs3U1wK8boREX5nRsDfeQVPVzHOpvD4NCHhsAvzG3Ty7j
zVEDLsqyj2G0yJQzyS52zJpUthDaco6tIkHHQCAZZva09o9+K5Dm5ixXDLR/kXs3K3bZJXspCXuE
hQ7HAKCOd+38hAHojCR6TJPqVXa8EkVmXux5ye7kp0gNUz2IQLHZRMm/0kb0Q9DXZdxakz0dCQCS
O7TKT01hZQfGwzHUjWBXInzYQv7YhgpVnAnkd1fC7MdMcITpMO+wxr7XVnbHCnnjJ75YB5onzFIC
M0UZ3DYD8VdEbJyriZ2o9icYmRwEfFhvqsTAJ4haa0vSC8pV+iGIgRwJ/oLkQVNkO+zT899TQ4Kj
4y99+4CgcYh2pULsP0pC0OqCyptvguui2DLDcNZEjj0bIzM8I1UgsVgg6cHrTy6rLXKnoISL5WZK
VIJTLb3FtErqoA7vVZ0eda2oe5ERNzwvWTeC8LeUXFDJIYJUd0+tW8WsdedoA1mw2SPn/SzAH25L
4+yXLnayaLII9EBQqeSNk5Kl7U4i2TSsOzgRHCJShbGKbRVtUfkT6hRxSEzZuJsYkI3CTHGKsfNW
TTMe5piaj/5j7nlQPQjlyIuvUO9d9yLONrJgB+0glG5sEjsJV73W5XWdGP0mKrg3PA8UQNsuy/7p
pjfybxh1gAKQq7vGXWUP7yShG7uB+5S4pPqPEqdNyAQYiE5rI1Vv4uq8iAwjztAxgMDmZd5L5kWf
skM4Fdb+B7pEOOEuK7gstuSqpX+la2e7Rz+WZDOhyhwOM/W0MXZntGqL2hqrebq8WX36p0oScGCx
Px4AopTLXnUSbbQrBnlNmm13MHSGY3d+Q3sH/QekH3OBCANkH+3aUKurKM6ukUUScubU/Xao5CuF
infQYUKGpf0asnFOKQl3tUsYk9bcnQQ8TSiXtQkFuhe8A6eCGDeD0VxCraMLrlyXDgj39xc2bmyt
BoIxyQFErxqiDuf+c/XXXOTRDnMZ6IMQfiAdCeRBBVtomeZnhX3rygatC+P0PQiZDfYWFlGsXlbt
2EWrJo/uhdLpJaUrjMUEh1/Pr2qZj7kD+QkFGvWF7sJzThL8oau8m3oar+EMWGsDIUMS+OzOnQVf
EKIzh2PG/tvYYmqlBRQsmRx8lsQcwffKIRuYxKY3uN3xWGXYHNW0jzGrTmo794TGtEuQU2lPMWHl
FWExjDaBHgWQ2q41ivuV6nsoVQDONy2U2cpbGCr1o5qBrdhd/rsRzQvO9mPqMS1p0thYw5be5lqb
CCGnl9Hh/Apc5wg56DMG2ikTxG/YW3MxQvskkDFlLHfDu+6p773vFmvUhkHkdhQA0nNLMdYJbGtd
jdx8NPqRiTY7FfADnUjTUedBgrQBzhP97hP6P/iVYlnx+HLjGio/Kucd+PBtSbGzi6rw41V6AphM
EddnjSOtXADgVZqcciRIKCju7Dp4SjL9Gg+IHXHdiVVTjWgYBHPFVIh7yxkZPRnL6pxZQF3S1mYM
RNaG8hE8jSLajwKJo53WYk9GzCMPHqUtQQtViMAkTdTFca68JS5BGL2919HMEZptnJzYYM0aDhZu
gNKhb/flnN8xNMX+g7Thj0IdPR/FhwBRkVsG1bhtR1d60mIdjUQR2O14NpXoj0ykQl0Puymm0PTt
9QDhesto8TrOaDdGFoZ+wqCoYZB7iFWHVNRw3qh856u8em/zpdyci2HrZndRySQq1XcktAW83QRa
DfMDI/I3JuQXlTBtoV9HsTQlLz1wwUPkDwfiFqJ1GMzeiYHjqnOag6mt/IZct50VaNovt7qNItrw
ETPsBhqst1W2qjbJMPkbS/hX/NMeQrvXh7nGaSljMrKG4n5agPlubBigONGYIDjaRxhdVrHDEd9G
w2deUB92RHipCJuj43piUQ2cAhflHvxWFsjmJmmMajcI/W1D36pjRnCk4k3APKjt5xY1LRFy6XEg
FgjHxaZxcYDnwSh5XpkCShTTDvblgZ3RevytDLruHryww/NBxyU37ah4WxqsztpTC0WE9zGBAIFZ
PedsLbmQBm+7MDA4chZhY57AKPwUiK8fgwyEhXCf2qJVB8cUvzMTd7zA468tjIjk4B2JI3eiiJFP
HD6TOsoOCcc5GrNj2jf2OjXAS1mBNR2ZP5KlpI+eS58bQi7Z+hOE9xbwshFI75CbkmU1g8rURE/k
tWjfjByNXsmeCNNSuMMU8BT75ptU/pc2g+umdm6tefzw8gykPrY4mkLrx7Ip6mAYsOF1sfzUN9oH
Wlp1ENSMCsdHxRM6pGAKa3yBQJBPLVfVzgMzsTK5CYosZ76WJeEeSNFrbLr3UQsTztTRbmA1JHrw
HFYI/IiBcbC1WiyW4YU4WVYgLoL41myuo8R/d0B0w2ARFzKgvvG1nQm1vjPZBe+qie1eMNpXPe8S
1ilzuZpyZqQTvalbY/F3G7ZWWK1JFD5ChktWpaTKQWzluyyBS5sKrmhH5kcUk9JowgO5S8CMw48m
IInIn/QPMqJ6i2ZtbQ7t0bazkjSyvlrFWvAFYtbd91GVXqLY+pwUD6ko54/YYlsZ5t3RmljvWozS
8bdPAwYXfvXnX4q65oQUCBV9wSmGRt3MNUQYhJC+3htmjnGaZdRm8OVuYlZzrZILM4VgH1SMyayK
7TixYdM6r2u9D43pMlScmiSU+IekMT8trqW9WUKEaNvmgsg7JVXbdnb+2LAqjBgGer0KlsAw9xBV
HoLfgRMkLuHtcxfgy5riC9roW0GcMtoH2Hh1EOyKGX+X0Lrco0r9yDzT2ZcoXG08k3HPqzp1/p6F
94clkQmlwUgSgQeMSdTTt9UroDWF853q/EILemWgD135TaqviLGoj6OjXoxmtk6my/WC+ugJ8aRc
MxOG3Rk3yU2G9aXuQIYIPU33xlvpOtHGMCf7oBNevSsX7uOmU8QWJ111nfDz2tX1rLa1VBBzMFvF
qrhJ833sALmUFa2hZbvGVkhxNLvkXho9sRuLKQoEBN3GXP6OU77aotTrwhuybVNc8JLf6zQIN5X9
IsoJQmBU3UQSmYVwYJgOpf2t8sZaxwGJ5Q5PndFLsak7zo7Gzq1VZk17wg0DB3MqgBt8LUxs6zp6
t333mw0ibB1FKV0Z6b6Oed3kQgiwHJR3tm3d2oIMTmV7pGx0X9B65+2Ef2ocERHYZn1PxoimhUey
OWnjE4RHwnInhRVa2+m5EsiF4NlsWXQSgpabxprXm+KDED3WVxYrbC+Jz+DakHUDep9TzNhDD/Bj
8JhD45MEWWBGh6xLbpref2ircMEOgSUJ2P0kTbkrOust0DX0XIBWmFaCFUs2tZdlTGBBxJuun2pG
hCo9tHVsX3AAJ4PwLkvQAWQ67+A4VEKZOk5BeDaLQvCu4/EzzRT8SeBeBHJm6jzkFEfmT6Av/RlO
PQLTNVq6+7Znf7f8yGDxzyRu0yohFQD/mOobzJRzyXCaIrJlBOZKouFYK3bpBisGa+o/Wa3hi2qs
QzbVrylLjxnRDCrXfCsauCCjy34f+cOKyT5DZYNuQxfB0Ycd7ZUIo8Q4bofOnC+M6xd/RV89IUx+
bxLnmIDHv3dd57puile0UvE6ZBiMeJYgzpqeeCsQutn6tZ+74IDXDehgikC51JSbEWHPtnFPlJV5
O1GsSCGqHQa6T8fOIAcC3DhBWHTXaIvwOcTWBXbK7+HGdNpky+aSRwf7AhhKE8UbgBdgR3DUeNGw
aiDm50GrBQHUjbcXykbKxmaeK+shcFxc79bGk1hOQytHsDln6V40jb8DEIiCqShZ24+1f20vun9n
cKG+DWHBeyj5GUER0AC4hMUVyUT0E+mgONHRrzsGczsWxl0jDyXBDHRuxrHzYjI6L96iQudlsTv9
Ry4NJkeC9hBFfmojlwtM6aumtBbVXra2YpgPZtsd4O3qDRw6UjZSELu2AwY1qL37AYBaizz5QNAb
2iIiUDDR05GRrEC+GydsmTQcCE6/054T0/A5a7RR346HlYE1SrP3HMLLRu/dTlq1m4GRbOzaumFi
JbfJbuwwOhFgDs7Lq4AooyCGXHPuO1apEZF+G8wMbwjT+cumnijdhZ3JeR3UivgWrR2GR3uweOCy
uN8ORhFSEHfTIeKnu29YMZV63ndxEe4JrD3EfYgSyZvrDdKHAzaOB+apEw0YiHIcCDgBRroHlhur
sWM9yzN7R+qmImCAgcXopZcmyOx1SxQyQwfmYeSgil3kOjgGau5Bl+E8TqV3bKgw6VX5HiPQpHLa
jWzXmUf89rwEkt/oPZhm/6MFLXKpUVsZ98w6YbtV8TMcFmrWwn+d4BVu5mXN6Wc1pTK1yM6pcOTP
rEX3JkkUBE1f0X0VRzl65yWCgMrGg48WbM1J2qcQs/bKqcobaiACVXCArc1efdg13vbGJ4pztMeT
VYwv9jV4jGEPPpolX4Z02/WBx0t9neNO2wKZMHAzkGla5QTaIcZxQAGvZ9SZlP/wlua5uDeFG+6n
tam8ZNNrimcwJ/5pnHGrkSy9S8W3Br8BXAN/jBkicGHPvFbtePJbxt5CeD7zSRNpMW4LXAmGE6WP
RW4/TtjhiY/PjkYW8gjZ5lc2OQidD7qbrlOiEtZFusgLJYMqBaDM8ZiRVNgk+goOWm7qH9JaSDdh
dRBRujBumEdYEOa4zXsey8iyVzkdq1HQpc9Wbmx8Y0RMwGFiZXhQnd3gptdzztOO/JyLppqfLXJC
izED3u2MpybjqPBt95nzLVrHrbn1ixBYZvFQs1uFZd0gim5cYJic45PMX0f4l5ssupaW9yVN8IBu
OW2EGC40/DWpOLw958HfKFk+24L8vMAw2QjYDNvjDoZeQ6yga7ebSKKo4+C7bxqJWB4uXMmgIEuI
lMJuQXMWiEs/8N1VHUOrumvYwBY3Y4j/hpYGOA/AqD4lZdkrtyaDHRR8JoEVW/AeRNFCoelQbTRR
imA4QEDZJFzuw6K19aj0HeNb1EYCIr3/pmDcTB3e8Ilh/Qbe/8E+Ld9nntuQcPJnB2boSi74dxWj
V86aF5SU9NZl8mWjWLLa8gtfww62QESaS3zu21BsZtAsjTWf26ERRxbO80ieGYHC9kTwOw6FY4l5
1kEtsotrXhFGng/AK61tMsIfCaL2og3nywFJDNsl/7JygAuJV7wuUlXpujyNrWDsj6zSdkf0Ak1P
0FmIm0KCm9xFggFBQtYxvHMOnTgzvU03oPoxrPyzSNm+jKFvcKCylhslHRL8KXotX+LTL9G//frr
3/7x7//2pf9n9FOCyZ6ismj/8e/891dZTU0Sxd3/9p//uE6+kL6Uv7s/f+y/ftu//qF/PJaK//0/
f8v/9RMtX85/fV7++n9+eZuP7uNf/mNbdJxod/1PM93/QJLv/nwNfCPL7/z//eBfP38+y+NU/fz9
11fZF93y2aKkLH7980PH77//sj33zyv1Hy/U8vn/+cGbD8Wfe0/U58fn+PN//JGfj7b7+y/H+Zsp
PMz2vus5jh9I69df48/yEVv8jZG36Zimzf7MC3zx6y8Q+l3891+GJf7mLWtWiQXElpZpeb/+asv+
z8ds+2+u5fuODEjT8lzTs3/95zf/Lz/F//6p/lUQel6SJtQuX0/A31P9x497+fYCikzHtnzP9kxX
BCaflY9/fdwDk+H3W/+jlJTbiGuZUIcE3nlu1R+5XJIbM2P425IFV3D96gLkeOwvwdqa5IIp7NOD
EVLG2cy7QmyUEAu6/hIy70V51dYXuwRQpgHFXAjTRZOTtS/d0LBlHwZguYTRsE3f6Xh6IPwtWqcg
bNZRmr8oohi4K5yEdKuJAW5HFKpYxJLzBWRnch8Q+7dpyZG/hr5/Z86E6ci+TXGnjnTQbBc4zHee
03rbDmT81gn4fwbxPY1V+tQt4DRdwIeRrUuaeAFPyAawyZGnzi6RCjTgiuGYMx/75Qya7OoF0177
QHjKV+/YT1VmgAPwmPmolJgfkaLUUzSBcajsm8q35q3dMX7UxdVMeCRZ4dq8HhW1UsgAgNw7zIVa
v8GAJ33wI1C/CQT6qI0pfZfY6yqAUM0iTbZPXQM8vGrb4QR9/BBZujn0cd8f5kA9hZmB55UUn6tJ
+79HLyrfUYwtX/ZAYigK8qtyXA7RASKXM0w9ng2JCAdc/CQeRIXcoGKCe+8GdbbtesaifTa4O10i
0LI1p7MozC1dprnv7TG5zqQdrL3e/In5cZwY6P9ECBP47ao/2DJX594x2kNX1NbeNLOnunTdfd35
3b4PSLD2favgjKt+aMXNY8M0bFuMAfRupCAr1RhkmEZT9MCNBm2YNcMDftJzu3R1CBedx9HXS1xi
5T/5ujs6ffOJK6J+mfKZupR3OBksQKzYZm6V8imBMOXgaSP7z51efE/Kla5bf5Oivhya7DFpi9cY
PcQ2k7FYDUb7IkzYvWR9QX4rp52fvEWlYT1MpExsqwhdC/Er9dYGy3l0Roa2Mr+L3ObKdnNzC3ek
3JS1v1UjqUBpn7yjwHBJuFAnoM5QLPLmJjFxv0wmxowuTt+9eYl5DYcl7w/zX63zo8gnSAE599Lc
43EpJ5M1y1SSIV0xnUh6l+HHWNEX7rsKiRsaFZJ3ZcO+0RA/2iYEpffK8jllTYpHwf1G8VUctMbO
UOT+Doc2Tb8KbgGwkYPusXBqOAOo5Ah/6bo6uIR+S0BQfOdVeXvD8xM/hmXHoNB9R+VSbnqFsl8D
xt13TFgab0F6TuTuKj97pNxKDzIxT3wL6qbBBTrgag6tYFt79P5dDsIkK7sO+JyAWOMijNR2eZ48
sz6QF3xgqWXeeTHalwS7mDKAA5jNqe46ce6j9oGHLsRfwcHgUoqSDSTOsg+vIo93o4iB6mOE/T2a
NAjdWVvKPKdzIK6Rna09IfGvO809cR3DPnXZXY4kmCZ2wtDKlDhaIBlV5VDvfNV9aMK4KzeBF6r6
3ZSS7Sc0QuTaaE+FQBVhzLBzZyueVoEETNWVxVWBv+3F9dRFodZYtmTOjhBZeJJoWwmFUQRj87NM
MHu+DW59VedQ8/zCffS6/CbkjJnJXdoMpMEdvW7epnVD5PzwCVTtEx8jOhhw5kz5H81FgzyGuLI8
68vtBxMLC5DWuueFNIPzLMNkXaNn25v4PxEshnhjFgj3kCD/Gnr2t6Frv1TkV8xeVu7lREZFkxKt
2NyzHnnsZkhnOVLlFVnZO2CD1EbQ0Pa+f0xTqKWI4iaJ4Dd6RJRAzMrkq72o0HrLGBFeHKS3FgN8
rPP5dcZBTm6FJlxYn+LB/qo9JARp8xMm2UPq3w7C3FdFQdM6sZ3VBqPBsq9/U6Yla5s3+QZZ1rRC
CIRXxajZM8D357AsdxBRnoxyuEtm6XHNEM0zKoEjX+Z6naSsVrPIPRA6s2ftyMTHiB5M34w2SEaX
c3wvM/8O+THhhTZqcHoTNNxsr2n5lsGxipySvJQsvClTTIZ+yc6yJIA7mwi2qogJtnJSzSPMB05m
eKdehgwV3fIScUSRAQB1pr0J0uh59gRrfGJIkSBszLqrb8tx2owdaVMm2ufUxIUaJ2+kLzF976Vx
VBXS7wjbxtImXrVVdjMHYUBhl7WHZgK/ZajU2/qs9GIMfQ1PjxtmHxZnDvj2fcEbV4+B91TV6V0i
SSXiM8GHZqlV28yHmgajVzaOb/GUfajC8LZebDExI6G7lBi3yPjNLAF0HnKLBfYRUWsAfNT1zkEF
g0xF+hmzzapSiXWSPP5TXRGsWY0/Fs7wVeQ1DyiHq70z9mqD/wkCwPIrScctfcwHVjJg0yMYCbEG
24E0+D0UzQ0btPpcddXB5qgijKK7xEFWI5FgYNPHOmTnQl9jJQtSu/Q8GNLV94B3aWWmjoHKY+nX
QkS7CkyGRwgItYKF43TA725d2UjxstzADDmiKq9MedPYRrCjb0HFZM6KMlp5K6wUnylKq8KCug40
fVLlj2CBUw+wKx3ANUESsC8ox99ZWj2Zo7fnNaveXAN6ICoPz2qrfd/M/RZ4x3noiiu/74BLD85r
bMEFcut1C9J8GyiikyRZsegbqceJ2YPWXdHMMbDnrc4eDqIT2ed4t9O2by4Vwj3aVJK5PdPuCOPG
WsRErl5n3nA1h5zWUzldRgVrtyvt20Zb4Ow/Z5LooG0ltEPa//F9tJ1RIIJVweHT4ZqrdDwe6y7b
+QZRXxw4B99D0OzvUaiQV147ctO16ckch/TkMlmPkyY4xpKQHwxtXU1WuAqsXTie4NjtnQmugAwZ
MdlddgjT72Eq6y3MqdeyFKgDmf2tEqd4s2TGjQCN7jr/dvX0ZvQ5KX6l/RFWlrMFqn5x46GGhinz
G7Pz3wp/7g6JGUFUvsEUnN1PXXztkyKLDEpiJuw53MlLXmVt1t0Ko8aNuSkAJa04fEYEZjgVMuq3
NEqmAy1TykHGtiCUbr5VHpqmRawdpED/a8l2aNqbjhpJSiqXF4BpaiKAgxTwrqKEu4mcrR9+OmXK
gtotwNQZyZMa4+i6sDdIWNtlqFyvWYNUO4uMhoycs20Do522Dl1PjPI0NehmfQVBKOk9/IRBER5N
Tv0Zhz4AUO/o0+Sei4e8Qm1D2tb07hfDF1exWMfVA4SMGhxz/FF1HP9jT5YrefYj+h14unde4t4Z
jfc9g4Lao9wsMOOGI1J1/FGzS4ZsNd+kkeOcS/HAvEdubJMx9Ci4EgL5kWIkpqGstiDCv9lOfodP
U+pSdiNkN2WNrDO8i8VXNUest+zYuVYfU87LFsVHRF3sJRnjlrN1C5B6W/RtdoXdHIGuu4AQIJsP
yqi2dlTgQC5Jk0I+TFSS3gCpfbRRFm2hglxKK20usA6YkzXS3so86cDv4mPX3dZgfsaMNc7XFRAE
NgcdN1XwpfCMiFB8Vgr3LsOcblcH58zAru5HbrRzCZE5mfyhIY3WcgjExozY1eO0QZETpgxjUvIw
go0rgVVxP4esdPN97bHW0V4AJjVH88Sm1qKnAKgLEUwgtce+9Yk5cXE6OW8mP2NiYalAEwsU15Ag
7xj83cy6CZYKHX3gYw1EMLGNSeaZyXjBR9miIgB3WEs4e4lSO9dwsYqhkckCDCpmkfKDTR7kgIHI
qWZ322LY94X5pFMRHlyX7Nt57PGSWbduTHB914yoFCTWE2rxehTsWRNrDe0jPOSlc4v867qzzGej
NN7sfICUaDAw7NrsrU0o/K3w4okXeokZSI+6REkCusTSxCLZ3t6beXoAU/FIBs59T8zHlWePm1ya
JBzZ+bso2++2YcfrQMRBMIRjvvHGo591u/9F3JssR4q1W9pXxGfABjZMaiDHe7nL1UYoJphCUtC3
m0139fUQ5/uP5fmrMSurQQ1SpsjMUOMO7LdZ61m2VRv7wDV/xG2BzQ7Z/woA30IiuaFe3TkVZl6C
wxaGPoIvmcRa3C2t2uFZ/3BV8I2o+Voh+zJc47lNDF7KMqk3PocxsG91tRR2SdS3fKO4seA7Ll9D
bIhDr7ubO5ffwgPhHRXosA1SKYxR0+10y1roFK8uHuUt6vR4b1PMg0nl4rXb5AudugQcUMfhsp4m
KUOrpCg/sN2bG90YgsAIF2unGhGUJP6hQKawl0n91Ji8eT1X/XGQ5duojTEMuvL3lLtH2HsDX42r
QZOaiUH9T1KuHBEX+WO16JMehAhHng8C3dnz0FVXnAIoDDPO1xjYEaDXnxq0CljfQB3b3NjP7hTB
JAEANej4o7Beuw4gQuSCi8cHv1nK4AnCA3YWWaC16rjWs35QIf3ec8DilPR5aZ4DxI53TZW4O9u0
qOAY0Xo1DyEqnPSQMlIirxxgs4VI4GgUxGot0fAoCNF+0UP/o21N/Hian97HnoltaMtgqTzEM5dw
DeaqGCVhdbmvDp5sDhMMT1QWyCpKX/80fXs6cD5uKLROFT6qszW9TV6vNtgYGkC/C0KETH70Mn2U
RjDe9Vo8NEOD2dHB7VSisCIY4b0m2DYsDeaVhUA40jHXE7b8GLXz2/Gd3yQ4HmBDTzs3SEbKZLi+
uYMAJwD/jgFaGzSBU1At56aI3tTkn9e5V+j63nOdjoepFfOxiVCCF7GMWckIpoMcpZdhIv4yrvGk
DF5L4yWq/bT6jxGp06WuiGu/Vp+mFqeqowT2oujWQ+EDiuqoVUQrNgJrr0uwMPE4AyGzQIJ9Fmhl
DXopT4YOhN2hJSCusXqo3bEgIVHa/CY4EeRkUr/G5nOBeCmwKufYk1GlA1KjncA+Ok6PFsKrnHPk
2Z+EvYMQNxQbRRDGG7DviJ8TPFXJKfKlD9GEhAWnGi9gE4Zw9AVE8v410lFylmyneQcWeFjqnerP
woZsvDc+WCeUiu7e7OLl1VcCBkhaqD3VA8Wg0Je+6MpdbcGl9ibYquq5smE/KUoWRKBj9uBF+dmP
WVRiAnH/dJP76UYUwKl47mMtH7MKMd2c0ZHO+tyV6KcSHxJlxYhTkmDxUGUmYDHF4ADG0amxmk8J
p9oaYWHzRu7Nd4p2dch8Qq6rQenQVc41aMEezyUqqsL09xVz8lNGCHXptGDvh3mLlB/xilc+Z0Np
7vLet04RK2wzgNVorgiEziH8NUDM/veDKYptI+FOD9DJJMb8qo9WfDA3ixyfqoQZLMkgBvMZVrOj
yvECT1a/M4CBbrJGJg++1wIjLrpj7s/O0fOBwkYqezbM4TMYIaDks/NNvBLMRgItuUOpPXaYyesD
4v4Mgtfb4JCPBfIC9Secq5ZtTVfom4zLP1R1JnoVP93ohYeZzl4Se7ZQdDk37Q3XhS0XjdGEqXMA
J6YJ3RsKjklGFzMwJCt4HJM8hVwQpUgu4DO1ckU7OeHAuhlwwsnmoiqhqDwj4dqkEykwJcaMtGSv
OlpghEgSC3i8YR6be1dBnygxWPbVr9RQACAk9xx5uRnoM/tTFW2xK8vppS/Jt59XQDPzq6KR8Oqz
EqyorC1oO1jZ6NmHS27Rq6bws/Y9mVkhAUhBmODxZC9uXl0p6pNmSXhnpybXTglKixxVQoHQ5wIg
ZS18opqxQsihOByH33WDv59TC3K2osoz8eJz4B6DjiO86YevFj0kG6tyn/dLdUjb18DRb+ts9EgG
0RqMwXG40H8SETrt0WtAtNQYx7NZeHcj3DnCtVBoWCuPy1iIORptLF9lMrCpy7ttM/t/MCdcTauZ
jyiVDBKBUOAmZ+Esf/wEp3V0DgbINJRSm8nVCygZJe8K7h+oiw/BCNK07Kvfqs53jZh+ZejoyNrj
OMDBU0zWzyBD9QCb45tWfH6c65rNEaGldcnnKH5Qjr0M1HXnUUhMBEBBHDPrecagc4oa1EXKhJhp
Y+rduWN8QkJTYDqgAyJGFkxbu3zGRRVTpzv0EEVTrzL3ft+Mb6iBOqBeSbn1sSFXCW8RkokQA2sQ
Nmwfe8sh1EaJr2Zo+7PFRMDBidjNZ2VFIAuyMebqhG7z90PF0gs6eBnivAIoPTRvMZM2+FpJe/r7
obPWOJK/n9qoWU/F+vfjlpDROv/uPXhh2kXtVJF4tXrBSa+fi30QWP1J05Ls2pkiSJVyQybmF2Nn
lFtje1FOlL7lkbMhhLk4g8ZhS9LOATvjON9C+uhhdWO0JTJ2NrKbm2riWDocgo1v7a2Be41Ieobc
nXcYOvLFraR+bv2CX1jbr9GqJIqYt+94NGRb6C7XmqSbFNg4Qsql46Bl225pNG+EFeNAaEsuazbC
TlJvyQO3juMApiCynG7r1S9wu+qQnYATegmWgHicvG0b2eZxLN8LngqoCiZnkxG6jeQyh9jgLmQY
gIUCnLoAfWBHBbOlDDnczmkU/FoN8adGmtUZJtZp7usnd8stVm3izoHQBKBJe/cuSkEyAqjJiY/c
m4YukbfVekeSvNTi2HOxKnfW+25pkH730XFSGgmCK85VWR6XjqWbJDk1Yu7LYtd8c8DgXOLWd/cV
6wawHpzsNembFdBmI1HJraUs3xG9yH65qShBsiXedOQ63hmRp/d41FwjRvpr7tUYEJyDGRvH7RSi
ttW8s+K+Uf6PAkX2tuXNZE7oVPBFc+vUV/WnYrIdTgYDL+zuZeg02EMauPs8qcKmRX/lxqt4PIIM
U80PU2IOMKIjNPXD2SLocOZ07tqFJmUjfQuy68D+HNl7YGrCz7wGN6gYgUM45oDLynhdKv2SVRHD
YgafeArvUUQnSDZZalzrBGndsKIwcptt9eDze4y+cSlJRlCl9nZJUT1bdqm37sywNu3YehgNuOfY
8rp9JsWPpLa2MJXbN8chyqipfQK7FoyYLQnVwbCtjMg+c7W8pRPsQDPxol+mDnai0A8uatMHlJsr
JRcZRErHcWdDp4W4ThGqkSwI6EtXPAPvVFMQOBleGr7aDpJqqcXBaTPjB3qyeuY9dRMTS2GQUylW
lvw7V8Z7kvtslGNs4UtDaZ2N5Fr35pvMxp/4xNEWMeJHpe4dPJHtSE0k4qBsaH1zOi/SaR67Raj7
tK9u6aAe9ORNiBaUf0jwjBl1VW0pzb7RHJIJUCRvGRC+3FHHbG0qdFJ+lLN8LIhkJpkJRmb7gHCO
XbS58A5mZy6NlbxqhhKn9hap8vdIPvwx8QnRq9me+JNr8qVq9+51WYewXsO1X9odgs+2OwyjeV+z
dIe+kkaYRvtrNuqw95FqFVa9yzq4pUKQZVOwQt+UXxP75HDOk3dobpznHjN4TdpfVTPQSdSbZ6v2
0ETzB9PpFzz1YVfN+H3T2uGIHjFOtj6uLqk++6r6jGkIYFq7OxgSCX5u+UDRjNK+J1W7sS+qXpAl
UxiEKSv7De/QHuyghUh/IBgbblc5W/bWU6l5d12EYGLt5kTszBGdnH/EhTZeGzN6ghM67Vudubsy
v++XtMXhbFo4Sng6RxHeCWeO3jvzgv8o/zlWwjsHExliKAjFQ1exnekw+KORJNghJ/5xk9tl9lg6
nXVqKuMXTRv3e0NM9UWYweHvf0zX/0PjQ7zZ8vgf/8Pff9+3aYjd177+/VOXzBkMhPqRsYdX63Il
sa1hPan7+PcDUgQKxoPVWsnPSA1IihXQqhqd9m7OGY4jhopOxIe0e8Qs6WMuFQZUXVTHSCArTq3i
y5yUwr8jXweexQd8RO/B7DTbQaXGtgiuxDIEPERAHad9RrOQ5O7GuNiBWb5Ui006vOlcMl71l8Rj
7WKa49WJGHnDSsyDqD2iMqb/8lZBXcxvOrjoTYPynFu9fkmmnPkVRq3F0Hu3gHft1erb/cMFOL6U
qroVbgMkqBu7IzFA7F0Gbg/YD1koM7f/aIln9RvxDZMWkPzsH4m7qLbLRJ0ZW6uUuUnbvV/Lz6H1
loc6M/eJMdoPg8nqFbsg9x2RfJfKBw4IcydGAzlrZKsC1KkTgaYhuAQA+H3bkH3roHuR+FhDqA1Y
Kwl+23pt0F7kKMltriMn7FCbMun0TkuOtRJ9SUvusqz2bqKx9cKt3k8GmvxyeE7mmBxVBxgkAhWC
WZdlPJjgpU15WGSsXr0quDaJlCHN+xPD7i2OMk5wi1G9LsVP+jF5MZzgd+zQ81fasuDkokjny157
m9NgYMT32eP/xe74y8YDy0SRIIifbMHIWykIBOaX8G95tKbG13xznRNy7TCJstgeWzaJNMUgr6ge
kIpNacqCYyGnjsGm1ZCsK4ACka/XEsMwv9pONF8ph6yNNuOvYpUqNm6X7k0Hk3s+Gw+my98FO/m7
MNNx5xnDsi9p1a+9qawtShCwEPk4hFYBIZvuAJnG4PEbY1sE9v6tHMq4po2+5jXzwrR9/Ywzn3Dp
2SwY3neswbqcvSf3O5uaclvFfXHSdnfPxA8f2tLNW42fiqOtGzdYMB6W6Nou4tEqYAwFbsQ8bfUk
9xYLMimWD5otcTYmwLBWwxHGSZEQDhTeEPWVF6VlCIf929e8E+ZA7R739S8yjfEAByNxN5TjLLJg
GQnORU8MqHfy/OLWhQ/cR5J8Ei9/4JGQdspSfmvMFVfAmhZr93+yOIixbeZQxVnTzJxeTWbsSOOG
jeyMT8QQ4UQ2WKmkGPPdxj7KhnFmlFViAy4Pi33e4fMmZrFrMbBJpn12A0BZcIS6grUQ+cLFDpf7
/ajoXBIngrZpSEhlRHw51Yc/99ZhKfIC39+UY/v85idcWD94a+gZ4W0Vs1jCR9jbNPhgUu8xQ+2+
cQGtyMpNwOUwKST4r1mMj1qqp8ptjD0rJbmXrntSBTpEo4+DY9419HFNszWHUcHXsX/Nyaefox4y
B/vTNu0bnfZhIDP5IW6MPzSaPp42P0R9HO0QhtzmOfkKMB3irWqvpf8KcQjqTlV7uyFiY4T3d7nr
+vTcmd593kl/08fOu5w1TNdlUwZornsfZG89vdhjAsXJDrAvrBlPhE0Df3Fp7aB8bHxGpCRg5Nt4
qf5IrviQsaK7X7GWVAoQiZCFW+13XBUNP1v5qCDhb7PUQQBnlw8zWVcFhdZmiQJGBjJClE4ighqh
jkciuI4wCUaLcq80fvUaiQNONBMjM7sWRtgxc6cNRrX7PsC57gT7wSrvfcdut4Uj602bZSs/SuEx
melEKcGoTeKZrw7auNFbPIVXHRf5Vg0w9cvi0+2JtnLS9B48L0xyC3oP0xiIoHOYLUgFOpD0lbNc
QA0NoemiMEwUkXzqT1TGy1YKa9+BvLkTSj615TSHqss1PQ+7VPw7Dicaisw/Zq2RFfrNG0Og+OiU
/rc9/JBIdUL6O2DjnIMBEkg9SJB27PQtG99TOz4RvgKxCcJqFmFLalhopfAmLIIdhoSHGjFmmMYq
QQW+wGtYeKzhuDDZd5VuSwth6JEKLqaEKbgUCWI92l18m70InkWFk491+ICZiSGqCu7jlMiWlHFn
nWb2oUZEAWwkvUjf/2P2Bv/JTAnZDaoVc5zcVGRdtJ//rEb5xDdLKS8AgSmVE4Gl63AhXiDuxW/Q
NNz6+lEzDN61ZJuMzjcZ7HXoZ97CW2S4xwWAtzNukMF3+6qHsCDck0tHeNdZ9sUeZbmzWnnVTtmC
559ZWTG2zBkHIXAtwELK5Ghn9q61PS5T7dqnzn6Eq3hfNvazpyyi8RLU0nhY0sEfQtvR9tFof5gp
GCwGvw6xvES4JopZCJE9d0EeAeaAcGDj/meVSfQacpNvnvMOL7lh8vimtQmmVWE4yYvZI7leOa6Y
uJojQnW28UmD/z1mMuA8uYH7y89jSt19ZFdgmcnywYqfTOeJnkH6yB5Kz2aMYRxIdPsijZe5jBgZ
hS76rQiiEFaJDj77eqx2Zs+jc7SzbJuVLP8afNMGouEdHIQG+hzUK3eoUIo4wIphYN2DkTNDayBV
L5iLy1AEmDd9uW+aiR/P30R6lj8byMAousewd2aHX/mVc8bepR7OE0wQw6HhwLqDe8CpFY/3tY+F
Gwei/aSlvC+IGq8FKkyGsD6dGetkHCokV6Qvk1mpm1a8YCgvGX2amB7Ajwxk26F9ij5llJOZZmDL
Safhi6c4Xul8eavc3N1OdfyrqoCnMsBwYfolxRHvg9zTkpDughBj6ibiz1i62WON2KnJODE671wO
E0uzbsNKO333CqQmvY9OIpJnBYXIcto522g+G6cYlz4q7E2RETXX2jkOCcdkjLXwjO7ySf00DOAE
c7ui7gNai5YoLbgxagr7cl2tx4oAyRLnS+FxukQS0+M6kOuc0G5cY09rbt1ZWI9V2rLlDnrW/OzF
5hakbbTqdT33wQxYJ1YA4/dSu87OLiH4pZDujyWEDTKL0HTahcYthRFOTDkLRUQ6OUB0D8nXnSjh
N035lQsb+EFmvoBm+aiyjicc/XNvJox+lQXcjjgx7MVgVvtE/JgEV3xLpGdUGqB8uS6gF7AuLX8T
qOUDj+yfNek0WHT5ZjajTvTQO22CGnO8JqWk7PROdEzKfLN8LAP7LAbbYnFtvSGSZqjsRPfaxN2l
M7ymfo6PD5zB2gjC5AeUtCIYCPDKiXKUozpx7Y93OpfcDjid70aNT7ZMK0QMLCDgd6JagNbRQE4h
DYUFXqR9po+7MfV+Q9TQe+1CZCy96U89s6PoVXBBmfvRNiX0tp7ssibIECLyisHr3Sv5TG+E5mpx
66tiT728trc5I9pGM6FH7dH9Ulh+N6x1WZulVbF3EGAzp3MP8L1QipGANmJGiDmfwbqNjza9GHLj
Lts6NuiXwin2S1/CPpjQ5TIWuMaAG6FdMDkE4PxZY3NBj6rDptHUCV75hIcQO6Yeq60KhpmTnqKc
ju2llAtJyK31ZPBMOywBjk4A2GlOMBd7VUPXjxw2nHRN/FJatbeHkMH0Zh7PU+eC+y2IFBxtj1Ry
Yq8304KIHW5UMXJrkot9tPOkg5Z810SLcSarNonQSiQ+0LWyJ+fUFFjs0knvhVnnF/ro/MJ0Ez+X
mfwImJ1u/eEWzMp+qNv2Me0yO6w6/9Frf8Sq+iV7KpaxB0TSZmsITWuDhQQm5zHQ2gjnx1g5OYYx
+Gmt7tcnlGCA0ikWz1P6YK2+7a4zygP6ky83ECyo0p8Uq+1zofsdKgC1k8zQsGg++ZV4iJ3fbJTR
2SXmT7yT0YYCK9Q0XXSvwxVt2m7GL2VGnf1m8hQ1iu7iYvzeIQesEEfhai5/iRobG4v6m6zrx4Db
IakoAAYAMzhQkj3RbdHR87rNksRb6g5qjijqrijhjqM078kkfcQIyG6fFPRQEG12l5hCwt4kmNfL
XVY1Fkms/saUfjjGLCy1JxFv58aXlXFcLMSJn2IoXqPT/tCIacNBWOia+snDl5ukTH62k3bbe69m
se6r4rvo2QSVBLCCVFlHFt7RGKA8pEj68P0tY8HgUtgv1WxCewFkfFf4ye8x8+ZNollDtBz6Ozfu
9x5R9qlPvq1b3EpLkeIztF3I+xWdSo6OxWTbMGl89ov5nZUpiogWY0humR0yu/TG7ErKmUWWd/W9
4EchiCSfauNgJN8ZnuBEiXIFcj8xonp0lb/PF6I8s4glKuDmO58K9M5V7AnoYS9zOb810xl6aIeq
s/YQIZAPphqxSQi/BG0sr1V3bFlzYD+I8Cf7PEyK/DfEboJlPh2JzcbsRkJxIrGVJkAPfx2r1wZJ
34Oc4NFM37NAut80kCZsEhF9Qfyinid+RWM5GEUB6ao0IYEzkXUUWpMVB7Ifeh8tcuwR6gIEZkKo
jB3FOnjkAjQGs75czIxNumFnxX8q23jvm+6izV6Eqmg++mDdyPXMB1UDCMJS80fS9kcGu1RuGOIh
iTzVTeBfRnd5r204B5LMgBRPHTGhHBbzzAoPTgO2Ygs5FmmKNT3qPCDasKrq4Dv1+IpGBjlmkfEY
ZN8oDPY3PYgsXEM8laANcmMQFTONZ5qp06AZuwuHi9uK4HkNUQ/nW+9GgqpJRoIS6dqjs3NGiKpG
5B7Q425twx32Zp+8E90DSw3S0bYVw2ciEDNM6SXWebRtchBhQ3myXVfu/cm6ZI0uNnnKnNdLmRG1
8Z6cCzRRHl7J95lD5pj6KANKctKQsSGegMoBpKjDh1ZiHwe7oOGeZFX1Je0FOSlwURPbQpi5Ot4X
fnDVFlBM30nh5hTlz5ZM8TtTGOfIjVVoMVBWeiBkkcN4+zVmbBsNs3uv4/4Cq2N+qIql3Qk2Wdgs
0QthtTxCKjmLYq7vvMVMTmWdv7lVnm+1GL47M2FFWdaXRqlPNutPnSM2psPsrSrg2DoEb2dDtTUc
Wz2UYAAyNb1wuDdHJ3gJCpg4BHak+yGDaWYlyXVmwbJDgYt0WDWnVO7TJGcxEP2uiPIkgWX8VFH6
iFb0YlUQTYuMeXkC0XdcM4sighaTTB4sId/Kggkrur427qqjUM2VpKch1Mw+NimDP5O2LLMBqerq
kYgM0oLtalc1JZJPe+L2KknOSBC+tF7+Nc8QGuVIrl0sSXAvFgxbXv2j6BElcpH8aJoey6mbl3eL
jHZDyopRF8lHrHBVwS3iRWuPCogxvaF4r31qkcIhGta2s5e8Vt3OE4h4lviz49EIoD+G+1dAcoe8
jd7FeDKnIQX/Du/Ni4yfSRe/+cQEEzHldMcqb35bxnzBes3sns5JpYNDrX0WgYRebk1A0YshLCcm
+dSGr4M5mUBs6vcq6BCljkTIsgk4VzTNR2Uv74XJfivwCUmTWbDvoLKDyhtfg04cuQE54AZq9EiO
AQJ6jzmaJlGzXYnmMTWV5yC/azPBpTdPK3cAwU09e49JPwkWKvRLA1qacBrmC4/5La8TF7gm5KPs
tgyNQOwhLwlc+cyAmMgau3rUUyR3PA5ImxqnQ9mmL+lwkx7WZaNa0pOcFOKJUT+BB6JQGI2DxcOM
BQ7L1VQFT7bKnw0ahb//NLF4AN+ThSIjkCO/JvQEocN84eDYyclOrWBvJipUVvuWw/w6qLW2jO3t
WCbB2zLmNyN7w73l7WYqJi6O+ilSj/SG1QZL+c9GGBjgqQOCBJRXm+/dlm4VXMCziq0XLFvULqky
z1OijuzxX2yLBO1hzP5Q9P9cGv3c+TyGVd++YpREaTW/5i53fUU6H8wTGJ2KeFafOF7bHNBlRWgN
tLdmsHJ3UkK9EFdy72XNuC55njJza0cxISWaqtHQEpHNTAFVWVxaKRpAK7Ffatm269Lkz+IwiG9b
h5MjJc1rTsAP5jP5g7S0ZykBz6U5++bW119T4ZFqLL2zA33Ps1k6ZTFdIbKuBeV9r2JEqCPMigIH
c0i9w5oOxqRy6MsZ5TqsasbGIJOPjXuH7ZLyesOwst1MKZSw0ZLlPZTSt45t9kYCwAwTq37qS58X
qoBxb8z4Y3ww/1M/vMZ1eXOy7oCN1bxfavXbgSl2gMhza0CHHK3+HXZCtxoW3pJ2AguKBnCXu4C6
IU1s52h+yDABI0e8Tk3Q7kt20WNMKkwM/IsAplFch7U2XifN5op6zB2GSv2eMNR3tN0l2OTNPNqv
0HtBPceAqtl5HVx2H3s3qr41syI/Z9iTRCDA3ZxXk53fni3gDgrNDd0aE735C46bdRwKGKqUFAVb
wGNmDbsIKGQyPHeC6ZfAzCzd8W2YYD/1+O7vtLnojXKC8dIb5EmoqffX6cXqZwtAaydmSCuJTLZF
vpKLGjSBq392oEORd2R/ilgZ24WI42opP60EPLtHjwopP5EjWJ9ev2be+GQsLlnCCVS1EbYB86X7
jjBatAfOEevNZwtdDacPq+QcIhPyvhF5sGT4m58KI9nJIgIJ3m61swIfeB8hY+FetBExNlUgL1X9
SqbIWYsy2AaU8ju/IdMhcruNjte6dGl+YNggWFu8IExTgDmzRyAHCkLjvR3hhUkLDz87K6e8ZyiB
n5PVIW+d0M2RIis5Tinxz53fH4AWowC47xqI3a5BrSPMDHM2JLJDMeC3NF0mXKb3Udc5XsUkTg5z
rpJNWsGUnGII/7iguQgVPXW8XGWOQ3hgQFxiN7v3JHML25RbADvLJmCwliNq6TnD7haesWXRfrcy
RczhtzdimaJL8KycQjzRI58MVDNtEzA+T/sIlwJjLC7N0BPwzIPFgiubw5noddrtCZG5p6ohSCbV
N+Ewco3wZ22rwWRZbyUTo4ZHoUq9L3rSHiuJfCNKCG8GcgpXgWT1YekBIie0CWuUOXOiyeyfgxYB
iYPQmD0E//hbp0YjKF14qmW9pIDUTkFnTRerNWjuvF/YolDwS/k6JRnQwAVCTsn1nsGJmXyjPoyU
3Xd1y+RwJJqVvJJqiwwRCjWUPlOMLJkxuzol42OV/vB97rfCp6b3kGgWA6F84D2HfsTgkX8NYwQk
eAw4asiVdfoW3S+gQtKSbatjeStY5PjKqrcj4/27vx/ykp5jkfxQabG8ZrENCMAx4EVW5RsCCuab
BGShs6eiGYMmY3BCh8hu5RRVFZl11KMkMoMYEGgd8SqNfGLU90EHtKAIDGK3fUaLFg4tmGTPnUFd
G/XzOWNmHuYAQxHIY2Xn3qZZgGrRpzuvGe/tTFvbelg+Up9MFPx9fZgN7wOCWCpo1u5Oal57oz55
8GZ56aLH2SRLGXH1rtd1evaCswBve4IUSzIIst/12W3E46G2Gd0A4ed8na0r1+tzWXCzKUOS7bGz
a/onywCNOWGo2E2VPiLh50Aepnt/BmK5WOa+hoO4ZsBlxNMYxM4Kq9qCnCcm3QajIiPoldzbAbGa
x4R44wh9Ma0qrzZFO2Ilw+PVVu+l6htm3Ax+cwryAQ8N1FAfsDs91mAVMJAj1L1RCwE7cNR5djrk
r7g7NA2G41TLHRGqj6ZgaO1n+gEnZrFFINpuCJEN2GREl44AcGc5+mKU2wBsU5ivtDvfq6bTJNkv
dsV0Zt17j3Fr2CqCCbeJkx+deMal3YAZMMeO3qlDHRsjlWI4vaebp+tHjo6Kpe02qugekqyGMhs9
jQZaXU0YlgiYv6OPh/FYXKkWWSuZ9RiS2XdZAKuTnNWtKKD+0ZDROULt5hP8ehyDcmfEwRUxCYDx
DySt+RFPAX4UEhEMxQVSluReTSBrCgARG8jHZPXZDgq1jqaVLOfIbe7naJ3gzsOx763fXZTre24e
nn35o0oYeygnJhu4vgyx+DlqFRzR59ySsmsOMckQo8ANGKe/WLfsxrGlVifgRtsgqQgi5rRKudvy
psD/hMCu0PMHY9K7cekVvdlIAxrf8kKmp3gCBF5EyKisTD+Vy1PFUjfueXjIoVwzNOt9jBZQ2MMD
C/O9Pdfm3vQASHWlf8xr74N6B0iIolHVrfzldl59VxRMT0D94HghJfb290OU2k9z1xubHmHinbd1
Jd6UosfDg/C0Qk6Gm6osD74vYS1EB7TnRWh4MUjSpCahvNIX+sqVSYRWU5gIqJKIYL9a7fyJsAlK
D3kgdWdD10b5mzEZaKRkp+Fx1ft1+NeT/G979H/x/X7+r9zb/ze+7H/asv/b/rtevc/q/2/xXn+a
f373f/90/y/N25aHcxqbOz/Zv83h/8W8ffme0s/6n9btv3/hP6zbhu/9S9qW8Dyc2MJ2bCv4/7zb
sEH9fwnpOr7puZbvuo78T/O2sP/FskeSFG/7pi3ZOP6nd9ty/uUKqGWBbZqWcDiO/k+s2675X4zb
rimFLYRnmp5nObZt+nyjfxq3u7X+raDgXeqyEVCsWECZRf9U6qlH4yHuRCdviXRISAAW9x8fvP/8
jLAXSKJ9bGxGslXm/EraWPqZGMyYbC/QD0shzFMg4pZlhVm8jU70GjMRRkqrQUSuCi/XkkQe2CkP
rLLrn30cFLcSJffUrHVeMeC+Xr8b6sOOfSvn+aLza5Er5zsrpuPAIfOLRPSTV7VnE0R3GbqzTPZa
QkKIg0U9eDjNdgg5ODTXPyZ6evrHe/3ve+Kf3nfLxHz/D+s7ryBvnHCk9BxYwsITXCz/fAVTWgFK
tGZA4JjSM8/kRT9UBqgfbGn+obdVeWkjzkJElS2lWV/eALws15JAx7shznQ4dXT/JxCdLrf1F7ng
vxMzqW4Rq9Fb4KCDR+e4p8S37hvSDcLARPoFecG6h7Zc3zWYgjh2BnnO01WVjIXshwn5ExcXLsuu
Jv81JU9ONu+VXaXHdvE7Btho6TO3tPZ27/o4mmzrcSAtGc8Cjrk6Sdpz32bNPWUCdR4wnfUBe7+U
6Xyb//J1Auy/TKLxqiPTymaIUAas+Me4x4zs56xhEtFUF8HfZ2YRnGNtm0gwpimsdEfhvX6WNgJV
9LwfSoZQPafyG4bfnAFFHHyOcbKVAdC8O4GPurMX0n5XaBMsb/dBmmB3kM+ig56JcBqWc5bL8uXv
h1Fbx05kwQNwQhzEg1T7lBf/rJasD3WTzr+w0x2z9tWIGv/b8TVIWxQbmO+J1LZH689SqJs/G/1H
sY6vW4Sbb0Oa4urwCLr83185/+Ot5wMLRSruStP7n1w4GKxcotYK614sDRkXXcl2RrcieR68Pnvo
FyhJvc4YHdlBejbqyMS3YLAHi0tkNx5jCnQVw4slYus2ZDbsLP7kBOTxONkwhYTReRRgg++9FoP9
bpkyw+GN1frOKYaSw71MiQLftmnmfQ8NUz2D9Sqe3gczHVJq00a8Cg+RBFFPyLqcwX7NWn84jq2L
Ugh6C6mXQ5KeLIs+CXCAlOf0vxN2ZkuOYlkW/SLMuMy8uoQQaJbP/oLFyDzPfH0vlNWVWdltWS8K
D4WHXA7icu45e6+tVz9G5t8mqdC8RG6ZJQjVYt4EoIuPgZWLozDf/vkgmn+/+mx6mDobSEvVDaFQ
S//n1UdRpimVSlXxx9UnAkO/F2IMtzWSTmA3Mu7FCHBWV2rKKUqgm7udCit1jE0Z/fdkM0EXuUtj
Qdwfz5nfmSp29y5jDUuW4gKbiDOkmCezEaS5MGS8ilTlUp2t6Js9gCRTBkOhjxFR7xAMSO84GVjN
Ov2l0eSPWGV3gGxiLdsk+zoyHSZn6hasD8TekFXV4fgCfY+WOMPlH6f5j2VJWVEBLAxqLB9KhQZs
hs/yKuOZeUKcNV1J/2jIngNDrZKc9N4nTGSjOVb2aQGgV1Xlt4bSs9fj+LukFbTk9DA/QpHbp3I4
QEIqZ09KIJyv64y9rjOPr0prgLIQzh4009M/nyftb+dJACixZIs7ly2EwePfVkmBIkeTJkUcAgEg
Ym7mTw0o1W/TTFBNt+nPZFwN8hDbnqXOmJ6UsDOfUs0Gw69D0MhElcH3iGd0mVb5Dt3TQ0uqDKCG
RhR7z0jCxLZrS3On46+OgVIz2uwQYZlSce4s7VkXaunp6C8sNfisw5KMv7iez4hx8ZuHGipH2vmW
HpwNWHeXx0NklckRovbeHEyeSntj/1+OyQpF+ROawkBStYSuWxR3612EL/7zs1vECHMyftYhzn6S
AhefKPwGgsqJsait0tg0nR7uyPzTn5lsx8404NwdNUyNgiQQl9VDfdXL6D1qWvpBBgYJO+urU7Yo
6jsIqjQpfna2Ne0pzMsT0+RwYlwxlCerH+lwKMbymhkw4+wBR4Yo8xrXOUbzHLTzj9n+RE6Wfdcf
1LMWKxxeqlUYR0MmK7lo1KKcv+c9G7A6zL8qfN8OkOrBV/XSvtGDqJ7AEk3flXx5VSXzv6ycmvJ/
D5zJR8iQTVkH16CsRc1faDPFgiKnSGasAlpJNGSw9mzbddcRZmwpIHWyw1UZopT1FD03qYZ6O8Zj
J+CM3AkyCTamRkBGPTXd3TYZRdopEbNqU7PRRE4zmqP9msca0xAasptFN0YWEqz+GthJ/ESMs1Nk
VC95TVRdJKXhseGW6ei9nuyyiSZMjc6NBIBuOtrMkoKpSY60VNV3Bi+Ar8Lh1ZiZeIZaq6KcJL+j
V4zg+z9/thT1/xwiG+u7xaVGSaLpf18X80JjYI6D7GBYBW6QzhrveE2PZZlI78qYlWy+gFopowHY
egKubJfcWtKlD37EvqrJ6c9mgtURNHJ8NcKIOGERTnT1sle0yGig1mD2hs6XP1ONLIRrJvLun38D
7f/5Dbg3CpZ1WyES26Jw/utJVmcIbRED/IMlU/flnekwIqjplCo4JhabWUtS35Ex+YZmd+fMtl7S
1RJtoQzcZr06bxuDj3OTTMtt9Wzg4KVNoYUmLO2uKW52kWVHcw3TW2gpiZUwnKv1WaHlGSspkvJ/
P1CyWJtcVCQvCj1n9d+qjSyd/ygozfZV0MGADBGB4UujDrZdoJ4jMyOKJ0fhiG1Ro13Sv/7z4VHX
X/+viwcyxPWGZwHPoQJlO/Cfh6cOQtJaNQUcwTiK/SRN7U1ltulmwGCeoJuhTMR1KGBLIDuURtSY
KmJJpjWeJUvzU9c15ltD85j4xKR7gTSILUrSabWPbX5J9YSkDvimimI8J1k9f5Ow1z8pQD4/ihgU
TGxnHRkr9ERFwHXWJNrHYvYzRvAx96YKiZ9YwyQV8yjsUH0tUGZc178pkbz6XYhx/efDofwngIqP
iUaCmKVgMTSUVaG5/vtflgQJzLGKFqH2DUkkk8utNTzPpEORX3uvIjrI1hwJIhVoUpcWKklhNuV5
WZrfiimIS5UzlTzWiZAKmGH3rOjZArV43IhOQu9WvZelavzMlxmYcR/9SOYK0kMvza9DphX/5YMv
2Pb955nVmIuxtTNgegnUXn9b3WDWcpZU7E5BP4pbFX8bZXX5nIrmorbkWTdIO57DeJIOWgG/La2R
ZKVhTht/Qn69WSyl8gyWK7o/5smYA91cAR395p8PuBCKvN6z//oRZE9LvgXp2AqXmCwev8hfjnkb
V1NQStXAMCB7yiaVyaz9OmLWaaYr9sJ91J368tmKCXqKxb4xxbYhOIvkDmSQxA8ohh+Be6lFvOvk
EnFwdUpMMoGYhCRLx2QAA8R6H1EO/Ndjp4hzNPVnqItPVdsTsqm+Xuhaf0uxbpAg50VKB0TROuWC
FbU7KtDzDEI0PjHlYfwyzplCZ7gOd0lhfXQaDniCcJccMNEQuBA3lC44gqCiGXzRuZ00kuqT+ECE
kLSLyYBTBlAW5ivjalrKrBlieFmUmk9+zsHm0pgJCWInRuTZsm2YdGYDaUeqShoHar/0l518JtZn
Pr+qKKeCp149ZIHHUA6heT1tpmf8lAkpWjTdt3J+DloEMfUlu5b8snRlY/mlIboQNQ4ITjYrbshd
JmpvjXSZtDfJdpnqNfZ3WSIbilmvdVAHP+nybRvtKSNSnUnsHiFSUm1N3bUwxQbTykDA5WN12xaN
5wxzlpMVsamalN20SO9DncKeSLZyKnsVolrRHiJl3OcLyCW5djH3OnoJYB6/2aCrJzHnbqXRTtW8
ELsIAaDOmIBL4pa3jwcChcz21maLrywt+1TNK2PzRYNgOOCaW+hTV8RcZyAQq+HQRgilza9Qkq5E
XuzM/KMK1FMmFtdO+luIjLxK6KibLOlk1T+Te1ENaMtUgt5I+9BlvJ+WpJz7WN3FCGuCpaW4m4mL
+MDZtpm8DPNwKL64vaFtAYauXKfFxjqN4z28ts1birUvwjLWAfMwYblZ8fgRzoidlgvhXXutD47R
NQjDt3BRj2FE3MiYjr8Bxfm2bXwH6euFlsYQ3XYyq9soqHaQ6mqlyU9btkYTUBT0h3nm4xIecJeH
7wSwrBLXSXvVq8s0bCgjGLlhZNe+5WgOYzVkKPizR5eQG+aOuLinNNGdFDFzKT56ojOX/nmA98KA
AXiDA/c911665jOdXhOb2Ce0bNehexno6r6NYbZrO+5MN3Lod+RNdKjgsPPZRFRiL4/OinII61dt
YWcRMBizO1cxAVDhF7Q9AKg942gOZsY2J/g0UFP4mnrNxCf3iwYK5ddAzEjpjtgxCaTMSKLV24a6
iVgrTZ/X9xLk3bbD8RyD3FQzxM1cH3G0bKvU5sUxdcLib2QE73SUsf0Ty6e4OEhlIEvmmkz8SyF9
aUplEnFn5L9wqtetWGA7SWcz1oz3aaf7/Mmv2G8HPGBEpGw5DLNC5KvWOfS0nHbhu2KU3zKCEhzF
We9RLDFWiVw4dm5HITnKk6fy8V81lmlyQ+AGjWBwNSSoiVE4E2l9Rk1nycali/zCHGxAEtJT2iQH
E6HhLE5UG16bVGerEFeDGLgarUrUkFPVKf4Qyjut054RSpEKrLnrpp0BvJuRZbZe2gRobSWgJAbT
82U8CoRqgiRC+IjkH0sXcGtN7xAXRV52Ge1r1V16F/UFAYiL/NSERwAeIcN+rorlGNlfIwrZjHlB
+iPG/ML48wlrqmNHmaur0nbQtLWHd5pw4EQBA4OGCgf8gulUXHSHKbM42E3ylpvIpTHkBp+FTgiZ
QHKEJao9aXP3i5QP6YUyVuxYZrIRD45S51TekXHLY8ARCoRZblGEOuVDuluqS2IF067JqFdGKdO8
esCmrC/N97Scs2ssjPHZnuAPJWzBkggRS0UIsgc2J2ZEkfuq3Gj3Kp0NFJ0yg9DF9GBjlQ5MdXlv
AtcaYOS+ZqbWX2rT9lCJ4MGV64/cqpHdBEnqNqWdekwtrK0qDZ+0ogQ9u4sty/1Om1umRRb56zgY
FGhHHx21smeL2N42WdN+oJFHRVCb+UnOC+UtQ8Xz+LYKRr6P+3fVVPG/wimXN3nc0mXpiCdGssEN
hoGaEnWIHxvliDs+3OB1fFMnI7+VUz1sKd5sb1K04UOjqh7b0XiFNrucypGBLMnX48cIfnY7KX3p
0dM7T7KY7i05OXNEYt/SDxOSpv9NUX8krqvJYO1IODk9ni8XJn1E+YZkliytgk4L4nNptdOKgPO0
Qat8shFnrk493uj/fiVmVKDBFI5Ym34F8iw7lgTBOLBoAjU9OgxM0N9Qzvwrvv3xHx8Pj+f+/Ovj
Hf353GxYbh5ygSMxYhQXxTLd5NwgFk4KpMVRM6vwQ33dZOQ5+42xTDE/m4263iZRKD/+iYy00n88
REXOO3l8WXTr/gQm7rhBuYj/fo2iDyTiL5VYPcNuxrmIg6zvnJL0P9ClXtLcDF48j0Z/MJD4MaUR
OmRA8GvU2Ow+Qgfx9DYlVn1gtmo0XPthdx4VlRsr+eIFSWNMBItS3aHHQ/iveJLy2ZPbm4jTaJpu
L4lzjsA06IkhRq48K24QfSUKjYhO2w1ZtlMwIuk1wrtofilrFbc2p2D1DzD5qkL7zhzKJ9ferQvE
qITbjjYycEKnyjb1S23t0TYuBxN+PrVA667LVamZDgKdbQ4jwahQpcXpSWlQKmsHxKDHWYl3ZDs7
ZWKwCLY7qdMAduDpAKW5asCKZDnJdIUZcuCgGZwSfbrG9ZvNqzAezFChuwI8NSBTVwo0rAS2g/KU
8WRYGV+V3h3yMd7Zfb2thg5oDfDpRfJK7H5mJEFtNFCxJBdj0i6zAZGGJEFq3wt2YX/oaj+XipMm
q8/D0nyr2XY1zXvWc58KlrfQXL7r5ATBCKU6P5pt6w4W70MRl0jqTmVcXYF/emF5nurM7VDkryev
H6ytxMI35AirEtitsCeSltsNpqbZNHfK/DJMsCdIc2ZW4OhIx8mpduZBWfPRHHjKq250Ewzpnmxe
n2ufUI9uY0cpYIX5mTwKYrpbGKZuFOoABbgjM3EYIR/+InnJN7lm00lzo3Zw4wCgSK8ezUbBwB26
MvAZq/NpLnpxVvkmC5qeVs6MDb1RMVO0hT+SpoDfV9JtF3sYuEuZwGQoBvlxkSmH1NpRlE8gGqQT
kQRF9JHWN9vSEk+yKjv9QLYCLCN8T2RsIPCUEImTQyp7dtn7Shi5RjC4JoINu1OxR7I2f4zCutYG
nh/OcCiXLiGju0yddvKYPAveICDAXcZcNQF7iEYc2fZOStKDOVtHIWU7M2JUUbE0QLSn2YQQmLcA
+aSw3mQqDFEmjt2j79cM7vWEWOUxwhwM7mu1ao07YbUHQ50OpSFtyf/Aezrtm/66WMSEYujqbNYH
6m8dlouCeSsmHjdYtF3Fnm+ECSvYztqhBF6Mj3XS0MhwG1LWsLZw9FIPmx6nlACU0LdrohOV+WhP
K85TvtcKbri6PA4ovAziNZXYdkuKeypUT/tK62BvLNVpCYlzYqE0deIAhfCMvGNMLna9FTus084y
ykR5TTtDucHJJroJXZMybOv+yyaPgw3yFkkXSDyTMNbomR3Fh1x2l6qMXskPp/2K2LRwB63hai9f
SxinNJv24NUxj/GWB8U1x+eyjve9WmwRv7q5JLkN07IQkp2iAU1GZT139PJxp8UI0gh8SgYTy+7C
zOkmEVSrtbqXr/fYCKkEumcdvkfdE1Uxw0RRw3vZVUe9ewdTckzGc6sQysm8R1vMXR7yWVN1Ch/L
Fz3RlsNM0WMgXiHjUO7dOZmPtJ5eam1xiwW9cflmTIWHWu4eLtOPzGg8u48PpJxdOUMDfi7wBuCI
Va/SA09lhMTZPESNeWsiB+haKq5RCoyLPAfBedTU9BTjkcqX0BnEisugc1F8X+t8cB+Ipwmf1nC1
pNIeD6NYM99Yf0Mbe6jFClMNgPlgKonMzSmQ8mk3VAWsn9bLWAIT88YowEER9A3mHzIliGZS4CmQ
6oyM6x8DQ8faPGftBmcqkYRZFj0pmeYjYsV0w9jks240v+znUx8o3oyxDgF/ZixYtRcHME5rzAey
TlkRcTrCp1pAV0rZh8oHJC/wPYJBgObSmLNfjuoFukS06L/G8Rkg2pXd6pPWFvc50pFO49pS3XYB
hJFC1ACNrI27BaWrKX+XwYzM7eTZTGBKNXdoIDh6p7s4+xzZareSRWpvezdIMkqL3gcn6jFn3iLF
vOvIjWflmGhsCvYx4sdMY3KwCxiZ4AmmJt412OerIHQBru2QQF0srfpqgl0SKw5nfQOEmu22gDBa
wosGtI830ZBzFw+Xo5YEDAbdqbYR3MvVGmiVnewpOnay7CuaSngxQecMP2h/vw9D9JqSXxxhq8CW
hIAVXGFynik8iNp7MhJpX+fJC/XgTau1e6rRpMdrXtp3Zt4XHVJNPp3DwLcIerd3SvclhyqYhqMx
OuAXecdTerGaV/t7MN4StqGChI3kBRhGmbmW3J5kxBmpEZPrXb5KZn5vidMrzIwZGlFtLeJ12fK1
Lv/IhPlzMMNPbeLGKid+1ES7LCvJ1OkOU937a68hK2ccSN3eNHgzkXYi2+xe9Lh02ueKlUPCiF2s
PgUs2KvICI5Hpu/bZ01qvdIgQgCSnLZ0nj5md5OsHKMevT4y4R5GL0b7KdChSsPsKV3pyfJMB6Tb
xW26XczOgfzm61Xn5bkj42TUoxYbRXwhQ+RtVoYzvXX8HswbFMttgsWf8hvU6n0+fZaqfRRLCaA9
2+vEiwg5Qz5pOGmW7Ylg2JrqW/bSkD0CH2JrKQeYPZQuSU5ufPm6aMZlGpNDpcen1RqZ40ODLbFH
GHZKhAWqYTg3y3QGZAeSNXYwVlFMboeI22dGh4Swbto0Z/Dyd0awXhMN90qarlUX+ThV9uZ9AfNX
pCcpQDdTq/JOrgKHxq9PDCYFfMwnD+12nZ+MFP9pKr1IkAsiSewrgKFrVDeJHSQfBC+SsN4Ib74y
47ljtbnEdXrW1IQGMtQ87Gfkqd3y3D7l2KzxPPtlZRD6Gu6tJHGJ3b5W6365kXeBvlwzpdvX5nwO
RfFKHOMtTZYj5hdM/lcz0V7QABwznRouUz1tZBdUc4HRqLLaXW8bmIjCez/OJ4R0R0vBBdscrcHw
J8lyRSn2clC/2nn3ZgU/spA4spZuANkQwtgO0+jm8nQAvbRvzelQ8ykYJ3mjQZ0RA+Eh5fyuLsE+
zYDz5MVnlejvUDJuxLe+ojC8txa117pSxvIpZ8+I1OmTlfLNpqrTiWDNpRSVfn2wg/bTWAJC+8jQ
A0THVl8pWz+ty5vciYMV/SZ57xuJgmekeNe2KN14oK6IqpNQEqeq9/JYbIewJ8wmeu4Zf2Is8VO8
+HKl+Th67+hkeJXmDfzsWSHQhFk8zgevI6ltrGUSPsKblVtQErJzI9k+0Wq3JiH+aSIMqpyPjOtw
QhT3sIi+isj0DUr99SMuJ+FXZgxeChNTYE7ua+0wqZ40MDlYJiSI4yHLsquF4LtlUzhNrzK3xr6A
7cMr0CWEnhn6VU0vYs1znjZ6320Fl5ddi52KFSKGn9Anise8K+vfKugklhbeR9DWQMEOdJDbMT5y
C6BKR8pMN5WUTWiRtvnZWIRbz9WRGbY/aGTUzRnd+Q53T4IYPHqHKfKhpeqzGZquNCYQg+ZLZb5k
FiHcfXwqLewM+K0Y8ZwG3TzKyM8DW9oHszuv/I1Jws8oA591B9VAF284NmFwpPmVQPdG1elMA/Yp
TtV0ufShfE24jEOu0kVFH6Gewohxa1BAOq/czGg95lXPvWwewkLf6VZwSiXFiYt5FxrvpWH6VTS5
dscW/11oyyGY8JhQwStW5mfy4ktKdW7s6dazkWWPt0mwMzZGcrDn6awCLbATNyabRFvofsTLgWnc
m8T1NvbjltADritKQInMBKnzoKAzVRB+CiER5L5OkN+WMCjAjzhGwXiQnDN3NVdN5LH3lUxxxYu4
5mmt6n7SgYpLnvIRbknORAxSqurPoegOjG7uKW2KNjWf1EDZkIx1bW35Yqrqa5YJ1unx1zCZLLA2
OpwMHbijT2+ZrHlZviDsTE9wsujDAVGvo3pvk6o85uVNWqxX0zTvjASvYpTwIaZ3GBbIM/d5dp6I
yR261JeSkY073eacMO+5WzuZR/iLKBlxaubU2q3mG/p0GFAqCju5sBc/Z2F01PoJw9u3iWy2IdA+
8c+96L3yw+yUvaHN+3EIjmmh7XHl+CVt2SHuD+Os+4l4h4K75tS66y8AGsPtewRcSctK1R28yq4O
ppYfTIWUS4y2plS7Wm9yWyuOScY9QWYuPX3gZr9NVvG5FNJH3IdXKQgdequE2BERTbtrIphVmpzq
d69P22q+mDTdVFkHRkb2HstePFMDaYnbKQZ7t/5sQw9Hp0bisrRvh2hXqr+k/Her1dtAli8ZlVvL
R8+o0x2RkzqtDqy8U1i7U4C6U+n3phVATLfcliJYSMohvdVa+a2OQg/1Np9CG22SDM3gjWvwwAJ1
Vfp2H5fiHo9sflLrLM8Fm8czMi/6kdJOBDoJSNBjwwmUFT2kglsRItByGY6JLfa6+DbVwQUF5wlW
5TEdKVbmhT0Zm/qGBkoB0jyXCIGSwoh3pmvbPrxIg0pX9N+tlUc3xMbRRtjl+uTj748+yeOvj4dH
6+bPv/ZtlQGAwUADHOJv7R7gLf9qwjxeA0dCUAXDHqb9agSOaAW0EV0ITI6CQpNJQNnGBW0FHqqg
RMRb5DDJiOH647nHV0XOgPyPb4xTjT5kDMuhEjjANmCBC78OV251jxmRXfjkP5h7D/pe3dNPktuG
W7Mw+aAixvHFhAPx8VAlZsZU9vF3egZrYfW//x4wokeUOO0fT2l2XPnYe/juP7/l8eRfX+fPl8CZ
D4yhzXA5rUfj0fx5HKZ8nNUnHJSsyOs/lGb3rhZ2vJMlVfiPh6TEVAJCgDJV5DSfiJRhviryP77K
0Bhx6ICV0+l/79eDhjsF+fH6Vb8eConERy+DoPbosD1O2eNHzTD3HSZzPzMtSJicZxMdlEEpwdGt
x/bxAoWyHtE/Xmt9QUtPfgQm/XlscJyyGntTptles/7ERScF4vGtj68ez9UC+jHjDkZhCVyax3ta
H/783sdzMEwIAv3z/yZtsgbHp88tKn+/Gzk9kEo41lhFG+zLyPUGySbxcT4PVetWcw2DtdqZ9I0C
pXNHzFoJosHxd8c+KZ+B/Q4Dbiyd/YEgpQ73hZ47CRkK/dg7cjdt0ml+gZz4Ha58IBwxWE/hpUnm
3UjaWj78Rul1VddcwGp0CBahNUJfIZ3P8+8uYAK4LJ7ctwcStndh3EEDpQOUYszLtuYABLXSD4zA
vCU3b6IpL0xnXWIWGYTGreDEFNdyUQ6VHB30sjhljexE4NCxcIC3G1qK6tnwIuh3BW6PsA/9sMW4
st6C0vRcHsYq3BOLvGfHyU1R3vamcgiS6Zya9QvtlN86fu6gPAwTYoK+KZ+REPh9tbKfq12s6vvG
zZJ42wEdS2Nc2ANyco4H6ACXQfyhaZYjtgdPBg6gtLYPVpeg4JsaUcEOP9fDAMzfMXCU8YlEzUCP
Dj5r0MHYkq0d4jx3tHoK41+t3LhRApGfJElt2ak1FLj+qA9UjXK8zUiqDPRsqwqyJSlO5jZn2xXu
KyT0FaVHigizqtNtt+SMOJyfQsJRtrAHKJdjr6bbaFn961Rys+XWwuS6T1wN8g/6KNiRRBkO5a6i
ldmZsxsC9rGal4DdVZq0u5ISJuJHkMvgzZZxSVRm89UdL+yLnC97LY1fOo3oPtqP88LeNhK3pAZ4
z86xy1QOEoccvAroOYyscncPoY+LMnDMaS0gGZ0sjLRgvxvDuNfK5omUD+4Ywk1ppYF75Gfr24QK
CN/fk1yTPYhvUAY6ktGhTItiF/HrDSUpfAgnGdnsDem9lXGUweBmgSZX8UVYd8EeZSjs7agCbZ9Q
3Z/IDc6CJznHCGmRc0/4hwQbVrprYBbYM4DB/RnrH0b2W+0AhFkU7hOhVOa2TYudgTFskJV9pYIy
X5l86NwCwqUEkMggrx0ZgFislofaGLdoiLZmfSvxB4aQr9fxKTZa9s148zDfLCaC1RkIKb+Z3JPV
EVYHRVE9c8V/5uwQVwwR9PcxODMljEw6maQiFEH9CZzXxSoCU2ggMtok8Vv/tpQMP1ZFuAUBJIBN
E6RbmQD7mFtKSEuvX77VtJuI/zUJWUgFQYodZEn64oQd0kMAWbBNbSaXBgPo0H4i9ZMmAmmoWUPe
3/TUa8zFJQwrRDwNsH0E1KwcOy3ebN+MzO9s3pCiSW4dVm9mbDq9Ffr6wJSgUtB3ZhjqJYIV2bWj
A5SIaUAqS/e429Smsk1CfZu6yU9CoBkXnJTQcrIAjxqE6yY/WVHqJKtrVSfuVkH9oyMDKI9xmG7H
QOEWPeJdsnGTBVfmcY7acflYFDYjv0RyRJG5tyQSJ2z6lAgzU9SvHTukfvih8qJzEzoRHVC1anzV
tv0okdeM4o3Zta7NmMUc9O3c07giFRw5bJo4JuRBuyGleI422HW2+sinDZlEiolHYkLRQnIc52BD
Xw6+OcSU5Zfcf8/JULT40QOHrQcTo+FoibeChO9YJzSaTmiHTTVOoHKlZH7F8AYq6pAVvhf8JsPx
KRcynTP9KSbVJSbXD8HDclnmfF+m4Mu0FJAVjlURHe10dlp6xZpOGcV6TBB9nmW/+6C6Twwfrbrb
R+wniCL1h5aCWz0oGQIU2phRngFztM+h+aFOWPMwZxpBtQ+CNz3HBk3HvWKoF6HIzbhl6IMBbYuZ
p6TtLDQrKwtQM6WtxFLZ2iSsmLCMpAHzQO4FbF7qzHbZYfvhDJOr+gHDnZB5smD6dtX2PKExBa0y
jzRO8kOnyy+RrNP3lv26tnYao9R+Cn3RdtS6lyDRb8JkGlFXz61BmkJft4cRVNFsMSw+5HSv0oWY
eZyP6YKUMH4rZdizdkdWBb1vFk/C6/airzcDeXVhfdVIy60IbR9I3JLmGW9ptlFA3tGkYc0Fl8Z7
NxaKFMg7hg5e3hg2DTtLQUPQ7Fv8cSBdwFSQZOkuqGFjRj7jKG9mzOWFeenZh9ahsVHj5Faz0kNW
pm0gbwfFOmNMd+wFioqmsQ2o9hnKH7s1N+ZcbowFzTjEjFwJ6WCKG3kDbgT+CrzObwzb0fysVgOJ
4OY6gNL9PlLfdLVzcId5Gkc6zibHwsiQA+ZVV7IbV2Azf1R9/DrBYIUo8RGW0ZfaNX5iFpj2rQ/G
s/jeWRFldh/rjthIQ7p1Kqp/4q75xTQFwi2zNG7pRqcfBsROlbguk+QJvE9x/qzYwymJ5+fIHj6V
WP+5NOyCSv21CdmIVzEN1EU/Rop8byUDnwUJZ4D8G3Z36i0V2VnrEwobiqBhYocnbXRSPKpSnEI7
fg6EfmkCwgIk6cUS3FtAmbRFcuxjc0+o1C7ggxAAnSNF1Ox6GlTAB1hDZwQIKC+fgWAHypWciENd
Lhh7F6csyq0ap7ugnhy2nNuAhnnZcLtMIpfY6sri1g3Hoylp7gr7AKnJXw+DMnuRTL9i5J85+bGS
MHZGL97crEUlM8ILcaM12HZTZO7RzM1iSE62pp1YDtfLHowmLLL5Sh8MT2fhkAq+xw5/0RlEhjEe
/UDyUqXz65KmiXGi1/naKMoRk/KhqIQ/jrBoEuucRAEYQMZhVbIlKM2tYW4Etj+XiRcrvWdZNBdD
7nbwPnG770Ya32kCDrA9JtLXqMpPE96CrIu2gUF1wa6nT9dA7R+4gaD7EPBa/eit57m8muINCDP5
ckjUHFlDidR8GOJFLFe8g4gT0N3MyxYvm50cAvNWDpj3rzVAmWvf/8rZf7HXfNIGOHj9izq6rbK3
FT73t8J8UyUkTd78JoInbpjNixJvMvLbf+Wb4FJ+xBNao22L5Fne2N+1b/Y7awpADsRr5+qsb2oP
8OMLmgCKjJrTxqD9mQC9HGe/teuZfTxF/Wb8DesCUoANQd5gE20kDfe7sbum5gC0HCj5YbEswM1S
X20RxYuXPh2fCXNlqi0XrDFld6dVXPs6KKknYQhY/qFiMMlBbscPgtE8R4S/zWaP2QI3iKijYk+2
Tb95mEOyOJnJruZNkSF4DPve/NmW8rNO7NZZMof6Rx31VF6Bao7OPJFbqJG04kN4G7gYOodEH+lQ
j+Ept8e+424KYViTdIrUIgZCka6B2E1aMJSwomCXDmq5mVbfTzExUNfm6aqbGriwIqvdhAQSVj2A
EfaiHDOZntu4RBZUKIJjbda013SGlMYCLY52hFWplHOim1fnEib0fz1IM8HeMOC8JJhRqRtEIsY6
PKMUpdvp8VwK5H4f9EvjChAjRynCYFLWyvylpJXXElRSQIZ7KcsmvT10NWShkrbMU6kAhdUVAZcR
g2rZqMtN08vlOUYXy51QOij0Ls+PB4JyYvpSSIXE0ajC8kjI6nxuEvzwihDzGeIJXZRa+3o8xVSY
LWweA0+YQaRKNHDXE/U4W+wn2bumXPzhMu/q1UYDelPeYgML91MnTc/JLJBmMk+LLWYuj//5eKiS
b7FQ1FtAessTuBIbk6zVHOHJtcfHV7rUHI0pOwNrIZ19fWVEKHQZRA/2Xa5+SYmsP/ddzTSwjDB7
UzeetJgye7XvSXo6naIBX47CyR36ElKFvZiHERPCTiKM7laRPripRsbsplqFT4lFBTfYOd/dWBmG
IQCATHGXfPmWRt80Y5Y+a1C8O7mwtT1IjuAVtcMhm7Co5nl1l9UGb7MGdDVTJvUdW/AzCK9fqFkI
rkmJ/Fn4qhybEx15Q6NTZd/kSehEu5btM5usR8hI/mO0gju4J4o4S0BA0gYfB656TAZ69jXGmGuq
cmVJLROe9n/oOo/lxoEt234RIuASZkrvSXkzQUglVcK7hP/6t8C6r2/0oCcIAmJJRQlIc87ea8+n
/pjvy063bwGBgqFo1CWl9rNgVZisMOaP76EFZNzsq/7ktoQwaumnXyfmGXQtjFqZOuQupDBFe9mT
5OLGRyyFhtE6P20loDEQ87fCa5LNIXl2vk+MKDw3zsM4EX4ude2m4wgGsNmVR8ON4wuYMLUaFGSy
ptdRz0TDDWG+9dcigRE+dvRDdi01bo1nK4q1g6EXJXGQIGe2UkBzlbR7RWX9FH1yLnSksHVLUSvb
QYcPzx4ZMueJrIkyS2n44zzKQM8mV632xTZqov4onMpdpaqOvsvyOrHXo8lvJuv7bVKRxzbE6ZPd
djzlBIKSLpKHZwoM8pzopthEj9T8CxzpznCqqcafkrBO1kUVfjp23e4tFxYzZJ0eMRpFtKRI+fEe
aZeNb8Q3Z2AkCzrrpe/T8WnueEMBa7eDXdLQpRzl2IX9NzTMLaUk98tpAPHkBLGAV+zokc93ttzF
sYe8WpnWCzXyPusfpQV5DxDMU0GdGD6veK0xqF2kD2wVVo94DU0T8VTX0Ym24WdMhuUxWee0ue0a
X0trdM8yD8ScKnwkJK5/bugALYwxh7EbT90zK8wbGiNx8Ueteyb2uYdv70oKAkm3cqKB7NDHhAEk
JCk+P7sy7L8Gw8RUl7XVi5XTRavzgQko7ZgVbZs5RoIfUfoOlkn8U8x3pGr1/uYoBGaiLGBYmHmM
uCCRzwRtMPAOnfNjs1ug8h1+E4aOfkzlgCK0xKN710cUco30oMk8OudD5a8npaunKeNTmAg0Glfg
uSyEumLjEGfcsphiWnUtZNJcW0gWRKoW094GLbD2UbxRa637cFkXLmqZ2brajiMCDBTGrZ3TO0m1
7OYY0qNzB7ojnv0Q94MuSV1TTjMuRw9hmFV31E74O8V+XDzJ+emZXG8Rj+THYoOQrJlRN3tVFp5x
oWE8hEX3IFG6SPhgMwqHn+yanb0qdLP4nCkYrtkLXDgV/Yre4360Rnnu+wGR7jTiNPUV0MYGCKRn
5tZzI1B+EE98uh9skKvwrTUSbyMfXsVsURzjBrTKZL4VQy93U6xIKJh7oXpL8y4a8AWaihXF3c+B
kTZZ1QQiHRjN36te2G82JLpVGbnGFa5Yv/NSwPrzCGA2xKfWk8DsAXuXdNgE7UJrX4i1HVZmTQnz
brxKDTmx6cjgv+C9ul+6HzoAcmlGapErguSQ2+0fVYWstmnQstKMDnnOOEjlBEBGxn6GqmNwHDU2
gYHVzszyFPCwOw2wuTyWBj3cOMSsETARIDFHosywy8R585ZGEpVSFv/ELWGyrfP1z2ecmcASatsJ
nzzNGc6WEDcHCvfT/cBALiFzWtquQW64Cx0nh3GS3HTdRnMaezQEHKGA5rtQ7xL7Ao0GJWFsxJsC
UEKJtRQSc+AQTedEHducYHT8nW/HJ0zwDHC+09M0u1sxjZHfVeXl4+V+MHqLMpDAd1aO/7k0tAaG
qp51OCu+tUtK7qewy2nVKSc7p0hAT/xcZ4VHxqcJGxg7dKRa3H0adQm3MjCrbS+L8ROVUIV4tLV1
bc0tZuYw/kf8PHWzjVHUiHpIzzrd/bPs8/R8P72/onuiobQ0ITPwjvulFqvJCpOPPTsIjNMAWeXU
NvZ/DpoFcnMI3Xyj2XC0F66a9a8DvIuDSuIViO38VM4HQ1PeVmjew/2SgzPi3/X7q/9cM7een2SH
FDTJucxTiSjGg2QjqjMKJYXwXXQVrWnOYazgbkkDhGF1Rf5mrQgkpz98P/g+Q3tHSuh/L93f4c7X
C95/v27Vudr3BdHFXZB3TyXm/yQS/cP9zLSodxSF2236NiVB3fnOiBS5euwgR6tAwTQfmP3spV9r
xr9ryfyOgHd02MpX+LIKYpxYcpQm4TpJn7ofkUlBB/VCfiPxwrlWPoT9aP6CbDvYll3269SavW1D
vTp1Y40mj5jTK1TfE8Icd1eblLvAwRqPChzlYz8vqL2y6Q6gUIxHKyzy2ekuE1qTkvIZwji2SRP1
T0dU6clK+nOYG9bNVoa3Ry4JMqBDZi4Hcy3VFDw0FmvH1ou7vRvSzbpfC72U/Bp/PN9XsAkxEmDT
LR5iOFdYrVsfh4E0tU3ulMMZiusrTgJ7U9kBFMG5JoLsfdUPtqeWtg3ualDP/dRI+lKNgTcV2KBP
beToRrV2Ezr0GyOw2++IvJZa6s2LP9nZDkRXIuqd06XmlbBfoDldbb/psfdOGuh08FRdrGxSrjZj
y14URZL1Qm7X/5ySGVgM2cXNrEVDsNzl7nPzSaAUhrT+GWb1KP+NDarZ0xRgpQqzZ/i2LFRgfWkM
NyRBxFPLEM9GGjW1R6C4gqnDdprSCYudV2n37Jd0MwTFHuSsYLNgP3JfzHoddXZTs9hQMlNUMlkw
pFY+vRAQYOLiW8AohG7tk71Jbe1vJKxrYvfDB/pp4FPFxCK1b+kyt3F3SMs2Pwc2seWqjR+TDFRh
YVGG9NI8OEbzaaKgBssI+XBAhpKYGvPFnG552U/Pd8s2J6FtvlqQvB5S8sq2NL/I10O/8xqN8Tmd
K0FB0bqHKNLjR6SPQEItduS0rtE+eETOH9zcGv99Mz+4jaXhbdnZVWRh5GJtEgx50ao63QEpDrB3
ZDScdT3Z4ZUvLynq9LXy/ehxyimchu1EfbrwtbNXlk9a55k3SxP9S0lcw/2zJYV3bsyRoDGoTaDG
8/KtqXJtC7KvWmuO4uMmn0htzU0yUnZ1dZ2Fu5Mn5tWYzmiwSPqGqrpxzay4VCTLXu6vpCQcoveR
OMZNB1/AbFF/mvWcre4aO58Q3SN6OlDosiWGvCTJtpJIknU/gRAxX6v9sixBX2I4quOnQsnq+N+D
h6Xg36lRkfCgZRkS1vktZQvThk2GvekzMvq2ZUy8r57hkckJXh0XRWRuAEj2x/usIAutP1SqBgLG
REE+dmkutNG49oPMdoLMzWNl9PR9CiqfysZj687XjBL0I93t5NkNnu62+iav4f14Rn+Zw5+PiXYA
Tw/LTzg53NTEe2vdiZ6zCr/JXCRFPIC9GhZbo86tl9LssnXR8877rZPSBl5Cf6dfrVO2nGxKJ0X3
n4PjpcFR1NnapmugNUtXofFTpRxRNciywvLSUq4XDeT8KqOw9uqDSYqfS1PP9mIiV0u4UXzpLLHJ
cc88TEasHipIWpfmf12a/HrvltwRnVNc7KkPHmItCR4sd5I7eyCI937tfuAX/2xOrL20nGjjaN48
JfPBDaturyeoTbR8tG4imPRj5evnNLf6czSiA6y9S08j9szmYPh3GWZixwoErWFMfWd0iApZS70c
ttiQmesBqWoYeQSeyj7vd5PedGsMJdUTnbtHmGgIbz1KO8U8PtY+Fey+tMPzoNzfNKzSN7pQpBAV
UXbTrNl+4QYRxcHod0KnsiPsMnqAjYGryoiKr9J/1hMMSIOfXAn5yp4DrWUHyzSLQM3KH8xZ6Wj0
9lmV+e4fvaF0FZJvcHsbTFf+EeleQacrsUgRFjSCwlkrq8+GVTaH9TGAe7hoWcu4ynR+FJ1KSAD5
99T4RwMTKdXsqTrQvYneXbiFXl5Nz4zHPSIy/a/Kk/idf4e1WJPC3jlpGK+G0HrkOzg73ckEMxIs
522g8t8QvSAkVsbXo+NYD12DMOJ+xuIn206p83WHwUBnpsyKq2YbKTtahjO94X6tcvHN5XX0aMgP
AjizxzBsu6e4DfuVPkze5n46+bmHTCh8YDfgQyZ5K4nB2NLA7hD0W/IjSe0Hu3HbRyf0qmss4Iel
rtcc8VsouiRwdGwguqv7L/J+GMcuX/m2N4LtpAB93wIG8EAwoWkeXZAmlVRn56Uy2e7NwhwG900M
wV4OIajT+xeoIEGHCQu8BUkw3e6v4qrUb0MYca2S76QkOTuX3dWhqLAXFWFqn706+kVO/gxVb/ys
ErB/U2PwyAWkvyFc1UBf5d3F9QhMv1vCmQQi+ueVVq+L8tEh7fimopjdqa5O97NBGGjdWukuLRir
a+hE8EOsLgfGl3a4Z/B/V1Nb77yRDFa0VEzkIpAnM2nqk/DqZdab7k3YoXcbiHCxId+d75fuBzgk
aMVLKDpBkMOYrKYXqstYkMIxOYVTER5k13u7Ia56sjVISQ0JhaJITuCmnWTxa5v7c2kiWEmWtNe6
UOrBzmgU5JnhY2geg1UtVXgpiNxcC0B9D6lvETZQBdqLZVNRNfze/MwpDcWj4/72ZreMB1g6xliG
jyKeYaVZ8ld2s3al6D/7GeJvOnn74qSsDInIYmLziFkNU3NHUJd+iNuSXNums1kO9/m2wBz479U0
Xwvnr8pBEHL1f72vKJZKm4wddhPrzainRypu+cNY02yTJVZ/mdgRG/xywnk+RSSTG9NTAYv036vw
f67dv/rf9xWOEofCwbl5f8s0f4N/r8YufrS7ETtg+Fe5HZO3burdGmB3tC7rInnsrYChIoJb2ub2
VwQl9ngHwtA1ECfah0+9UdIOR7O0alMW2gVen919yCktBKVt4FkoupzyCU/YVNT12ReUQEHrWC/3
U3c+bWZwAXIHlqxJNKy6AN9EyA7mXWv5lHGNSK5nxnyX4qluPbGvZqOexiIigSVc9MQsSb0l66VC
3nYnMd0PA9VsQiqQLWkpKSHR33stEYswEa0KrSN1ycQZZxuQSNeABDb/SnqpSQ/QyptzDaHoEwKN
j9w1tp6yQU3r0Muss5a1LSAYiKc++QqXtOhx/La9/lxWrb7QCy/4qpHmBkH4RMumeGkMfLVlJIKn
2iAWpC5olpIHI45KB1dnMC4+hQPJDrZouldzdF7Tq5YJ+aERuHiYQFmt7qd9xafu6sa4DPgwn4CJ
n6lfh5uhiJId4RbTpjO6cVsmdfVhmMGaOX186UcnP9U+VXmZ+eVHVof+InbaiYaQb6wqfY56SIVz
GlzSDybDSBZ20zmniWIpcFwdj4Iuy43VQPkR86ECGLZoigSLQKncc1pq7aZNzTLc2GmprpJQkCOk
233VOgxsjNTI0Uu9YNWPY+NfQbN2nYUEt0yrIEXLMRel7QDPS15rzOtzeVqMkt2qTzwcmSbjloCj
OULpXtmzoT4NFl2+SMCSvF/sJysgY25EWb00G2VCOm2qI6yX6sjH8CFSzi/rwg63ptJMqMeOGeFj
oILMjkid0Oy85H2rb++X7of/VpZNK2w36IOJ1GK9XS0iK9GPce9iBw8a/diBi4zbI8WjDsbnfOX+
hvsBZfG4MCdy5rMps08WDTYajFZESLVqgISlmdYunGy2SmfzS9/zrNP9vJfsKzLU3JPXip2v+5eG
VT9PaZ+aZ0Y5b0GRXqxlYgGItS0bQI9bPyXqNQgDMmdlbOQ3zv4VsURY3c+SIVMPo5c1m76I7JU2
dhReILT9q8SDB8g2dewlGzVvi9qQKvz9qzW54y/3r/47Nekx+Knstv7MacJvtXTdprxm83e/X1IQ
Re00Lq/3szt9Y35XbA4oa+vpobCT+BIadMV62YYfQHPTFa1Xmx2D375nwwqmibqR5PKdSlOgDtZJ
mHI1ndZ4k+xZ++ar0RyJQa06HGl+b/AEzV+l8L1wMRRgCO0Pca5F78EEx93TvGewfcVVp6QDMn++
7vCPUPRRuJbrf78kTRXp+n5+/w97o+Ei7aeOUOnY+WOp/f833s+VHq1B/WksXQkHux+EDP7z6r/X
aitc6RCXiIcgLimDyMPja7NwNLA3qc+qBfYpx+UQDSb1GLC5/UiJoaB/pbtE58UOxU+fhG6DenKu
k3NhtK9+Mm29yCjXJGsT2Tzth5rlt7ShgTc9Eg3FZtlwZm4dkCjqv6D0/7C+pPvZwH4J6mNhx5tM
TVtESWo91cat1YjFtmtsUP6gvKXjVZe2tB7SEpa7CPOT1RIekMfVGxw7pGfBbi6oI7Fhi4fGydes
K1M/jlNW7wzCpCJ9Ya1SJ900aSpV5ksbA2/TypYmYkGhBPmuHwQ0r8MHz2a4getEhwoLjY4ItyD9
0s2TL5wyjzSSNya8VpqQJW5AUjqiHuU7mtvB70+ZiS8y8/JH4SN1kZE4CzSF/Lnoz0RFw34r7naB
Qx0GRDJk0hcdfBdPm/cUZsMpjKlaBD0Yd4U+OGKoIZXW/wiKeh81xss8lmz1wF9lTfHmDLCcuiR/
ENx+woL9nXyrXN4G2X7Pf9LYslhFFpjDdVRFdADl4r1xeJ57h1rGOLkEnGp4P1rzNHo+TVYMsAmW
PT8OXqfOeE5z/0qPDdtIMrBAdMJvs+reGc8IodCGB7zRxTazjFVL/7qyzV8rdH604r2QI+GtVYtH
sXqEmI7fSi0p7/30RftTaemprNlY+uTXk60OAbozNo6knALOmGxPbqZUbhIqT6SNUmkyBSk+Fi1u
G3ljMtMwgKSbqnYOfQp4HcVuQD88raetnvQInmu1yYiULCbriUC/CzWzeOlQu6oqjF/NED1XtfkW
+QOR1/Z46Fxk1M18c7uZczPniBUJH9gCSRj37Sbq9asXD1fft65poVBV9RVpUelxxF2AWAevhfdK
B45owS/V+b+lLQRCHJzmuL4MV3eXJA1kC8wLrbS+PQ0vpMw3lTVquJMTBx1eSRp2QIKj0JtdNRRX
SkZfIkRVibqSac4gBHtIf6QJ7qhq5I36GEnI6FLDuHsvhfdm+jPFXaRHWskJMUDx3iibg8bISsLY
iI6JLdsw69HKwF+UbStXJbWAokRD7ZVbWTly5Uomykk3joV+rcq0WttztPaQwREZfOwtUbYNEdov
OlE8sN44RQF1vrppMCskk1qoWpzxRJJUBFpsFa9YijazdqUj3aQqb42RPvsiMtajgi5BiY2odts7
yqmHZOTg7nQSXD0Gf7XcRFflQP0T3OsQuxfOIH9LsQmQTa+YPUoqZBkjGz0RmF4HnmWyjFs2Lap6
1D1incukYH3v49b1u2WfYdpGGYPtPY1BH7gRldH0xH+N4WfuACYIMstGItGvyQ3J5ENcu3/SiCiV
aPLPxsB3zimp5dOPj4YNhQWO5BAagqKgvmnRCi+cem0lbCnJYf82sTAPxm4UmM2GilDdEal7lV0D
sh2WpEW+aSGhmjRcZ8xDj54x74p8ORlkDjjae44IpZBoopz6MFIsa+sDycjHQuR7cCmkgDaS7mVG
RnCd2x8iYTRMzfFbeoGFMVEXCzwG1doI2Zq79pxBo2t8OMI+pA+bm9oVq18Kk1PSba2YoBnbaRhU
R/VUpc0bi6dfjIePbhj8sPIlTVZnxscYbw8mecplDSH/G3/UY9LELxpurrr7S/mSPZYmiBYvMJbE
4coqkNqYGoolKbH+JjE9ZauY2x3qs63bZNOX/FF0EqXqyOADEtAMOvTbztTX6EMIwVQtWg2hklF+
YsblXuhS1CK2sQfquS3qH+ESd5tn0UNghxvY3kvXQdFJhuC4MZ2KbJymOdG6+mpdMLVeeMyrkQSp
BKlhlz93U/IjS5Lr2HC8WQk5IK1v/QKGEAR97tphxC3p1zs5Tca5y4YnsqowEkOF6a2dn6hsMQYk
tsZuDCMItIDuksoaYz2Fd0dQRDDkiygIj36CDBB+heXAa8zFLyGrbyjZqZcavMMDblep0CPwMbhm
4M+nlsWqpJ3eoefQ+omYM4IR7FV68Qvvo7WgqtDsu7LkPFiuQGUIsQFMfPRsBHzPwjeAjabBUgdN
4MXmj2Egygoxu5tzubyKh5egQLXUS/rjeYyLQ6LwBOfV+GT+eJaBdqKrWetO7h/hDIhq6uZF88O1
VzfeIrWb4+i1z9DGVUIncbDKlyofJdaoeGu4zbh2PF8n1y76Q4KUIN6d9BkS1+3A37mt+eMp9Loe
AxAW5WE5wmtaMH+/al5zrQ3vr8xIGmzzDLKTsDqILRbA+KC7dWn/t6dQ7pEczJYwe2ep8crd025M
q34Y0fsZZFvhUW9/TaqYy9Locdsl5dLTU6SYKUo+uk0HBPXnPgouOdrLtEZpahQH8kDhvNXjClP4
r5lqatUTw6OV2iZkvZHmmK8CCxAU64FrL9fRAKSoqnI2ZerTpiu/SFrjFfIgkXs8GIuhab91NdFU
DcZT3cdX2WIYdr2S3CjkAdGm9QEqotWqL0Y+4WvNKfqnzqOrhe0lb4nQHqnALsC64UXGMgsBakAP
7yECFqC7WPeg1kH2AUJEwtQl1+BiOhjV42SYKNu1zx2CiD1irX4iuiDwc1KOMpzghLWQUIm4TEz+
G7cnjFFrZ5qA3RuQaqs40t+SNopXyDFpw5LKEln6iD8vhHqPSSdtzJCoPy9cNG4woJxX3jPVmlUv
zPDiptWfcEYy55qP9k1Nl/gOaJ4PNHOmLYKMZhEntbpAU/JY8170If/Tq6F+luICmkqPgdzsmoai
RZxpfwBdZbJoKb5NEIUKJvOostjjkve2jJowZueQbIyp/Mn9uLyZDQHBU1wgrYEooMirpyEf0UPm
l9dFSGLBbzlh++UTa2/btUOTch01fX8xK+5QyxkZcEv/iOgIDAaDapKyDlR+fFCBdctcxmOvTHcJ
Qu/IyjaqFOnWEWEMVwY5fxs0j8R/QfknY2qD9TdYDEX6nTJym2ShbXOn3wnbhThfT98qrH69EQOI
ya54UfrGzEjC/ZmEJoX3kOQI6K/czkC1VOiOR8nkHDb9F9s5jN8BhLhGiRfba5x1aaYIZKmvkz/3
XJGWSjW8Yg3Q/qRIHMirO9dpCHRNqI9BaT81onFJrOjS9iCKuXF07faRP2epDR77moZ6ct8Nb3Hk
MQH45riyuujWKOsvNLXU7T4Sf64KqmnjJ+QytapmlifCgt+vQ72dAcKGhOP65i5nZxOMpEsqj4V6
qm+yMnqSlbb1JCSKYhhqCGjuMtLxDnZdPh1GxOCoigAxFuRFGRVdkEmiTeJeB1jHJ0bZvvS7iR7i
5P0B7UVEuUaYVlsgoiW93lurIfzUon5WX6+GgDBrre8uWTxdxrJUa/I+BYv859ImCKks+d5AnL88
/l1H6skhdYvbUOJazquHqTB/dFZozeR+kUT149j6tcSLhCV6Uw6sgsXItrrWTkjm5oqxRJSR20Rn
BQcaObuQ8sWqiDPEPTIn8TLsvJ0feK9uPxF0PaQ3Eqnj5eSUP+FIgdv0a9gk1DnCjee1B78Fm2Rk
wZfINLK0tb9jNAVrXTVXwN0EAeOi3DYBCaJV53YvNjbUPh7fiOFZA1KGcdxWX2UYEkPane1Q5JuB
7Bi0H1tDQ5gsBorhiUStQ4onSQh0DkwK/SQ5UqMzy5G07eBqq5qGAo/WQpubnM4cKicA3IXFg182
w1FPspMRki8FPOoNXsJmlA7MpQSwVS0IRFEOes58eO39fJw5HxNlBAMxpGNkC8eO30JRnUA/Wms7
rQUQq2rAPYHR1+BnF4oVr7D2Tl/C+SzBnev+Mh9If2zZLi6r1HuN1nlDPQJnhETncRQhP7JsaUm0
doqRzQWg3BnUSN0an4dQur82beY5uEZ4dJ0Jj2YEvCJROCq6vShQKBeCQZYhEj8AJKjGInlIwyfe
dWzLwHPPLh7ktO4I5KPKo1OhWyRwWB35Qc4Rg2t2yAo+sRap+DCrIWUxUSdiuF578oVuImjZBFep
V5S7IRSLUJIpgiyN7Z7J7tdN8rVexQS8jNCM9bbaBKVtgfnRr/EUnSfXdHe5mxGk2uubusXQTS0T
OSIh8knHst/VSaQz8bMtGkGxDm3CqUeqTpX77PQFMnnFKJb50WpkXHtgrkahC3sksFirSkXxkL5v
v+gqTMEuNeu9N3IniwbtuB/CbEMZ6i7rW6dDJGS3W9CXZLPHrdc+MOIgT1EHrybm2zBZXWXNDo4F
mOY2+AQAOJji26BCtNSbob5NE3xex4Er7xTmBxsUYO4pfl4SZDaohLRF29Zs95v8S+nTsB4TFv5t
RuXQsvdmKnyMaLCkyKbud2lc3QZR/hAv2xelv9DDAfdLRmdHQ/OVOo6xBgXLbaFRNR+aoVw0monD
CRCDNq/P8r5JV0Tf0rdyvmwGsE0n7WMypEtD1MlW15yLVWrVwULI25szvsGKHf5HHQMrcKHE1XcR
el7W2c4cO6MvoYVsjQzjQG/Id0kjZzWHf61dPXsDEf3sdvaFSGkFeOZInVdsHaqNxFCDFE7vWUq6
8ZamA94IgQDPjwf2DPOqCHoVIQloiS1JRRJhvIYUnSn9ld7iUxV5+Ro+Cw6DCfWyslBWy7/x6J4D
iK5h41tsUGwKR6zrDGGVmNMM9NuQ9qJJnTUr++sNMQbhjEUuNYd3lOhXVFkk/yWWuyCIRjGi8KDR
m8KYJEPG4V2gc8MUnf0Ld2M/1rQQStKBaskj3HUwWzqYSAWP/bqpLXMhdNkv9YGmG4Vn2jYmgDKR
PgjcFGoQCAhd7yc1mSile1WlDcrN2xeS/CitRGE4uNilpmtue49unp7wquUAmNEcueQj+d4ro73t
0JmKiYRc1xZ3pWH75wBpRpBcWt9883rdoWEanWgh7pOxwtBIoFvkm38IdP4TuVAsQ+0YuTZcSI9o
eie/+B3uGgozPEwI1rFxwN23W1J2gm8XTRpAOjjTvfFbzj9O4upeNFH6keiQHXXFENrSvmftYHx5
7ogXO/grjI5wPq0ndI59adeAc2Qb/5VGzVNfj1uFIo6mKot09hpbWzmvKiNO0mttngnwgD6OZY9M
p51pE0bDDmeBIfSzdLNkWfvj3nUHiPYZlmTfjhC+DO9ZSJXJzQq6rA387Lw0z14a0RxRacAy+q8k
fnc0rOzxfojpJ2wlisPl/VSx08Kr4yHkHf1qz+Jym3mghMI5whksiNzIrDMOE//HQzWCnonFiOaV
kRTz/MzZGeALpOEhzJJrpWfNvunCaxFm/g6K3XM5i0sT7Q9ad7ZKzBHUyOlIBPEuncpp2TSDzybQ
Igcw87OVjjUdRNxEurb+VpKKdMlHJtxIlyd9xLyn6RjTfahf3SiStTLwZEmfFj9xjqcoREILybfd
d8L9cMoTSJp3cpuClVcS/0ZVaU8n5TmNsj8DBamuGZ7gupc7OMY1K/0+XPR59ORThV37MKmmvtxC
KWEuG1iMUGD+yOzsKbWqo1Amnnhw221IV6Bws6vmNhevn94719s6aXyxfQAwcY130vIwEyY5MhnW
v4xT1XuUFjdAXCs7fTXQOJ4nrO+WZoVkKjM5VJaPJKs+pAqYbETvIh1Ag7kuJBevcwlDDbErdHiN
Wtda1tAZJy9nhd1mB+QHF4/o6TzT5Trgj18pzCpBPoOmqNWZZFJp6ZtDEz0OMH6E5nCtiuKzNJMv
rRZHDXnURk0DEH/+JwhmZSm39MoCCL4k2+q9i0wk7paW2+XLpvDeKhNzo2mB+S0QhcJepBaXPWVI
9Y/u4ILR4PaGe+BWR7cm0m3+UK2biY1JwSwwyBk344CGffxdEzaBSD2tIZMSDT3koG4Mg7Us+EUb
r76F1S1iJ0M8Bc2d/uTp2Gnjxma0JCACKV2qUCaJPKIDHn5Ky1wzBBziLJtBdUW4khpMxNZkTDIx
iTQlcYhs1PEd6kDFu5KCo293nx025KQkpZKUt682kKSuR08k3p6Tor2oPl8WVo3TMAcxPRndmxem
ny0BCCQEUkPoa7k3hXzqpNrH9vhnIoJnVfXmRTKZMpR25tKFSUZ2R+fJZws8pJ5rz5lgNtFm92Nv
PcbJlQCBcFEHbJETvz1ZBWDl8IqD9agisY6CnHa/9Y3iHrIFtbN1RwsuSSgNGeYXdz0YUL87qCrd
I3calkDXL2O0lS5xz1TLy1Xk4ehUjflTReEGtuKBNgSV0fRPXZCa21WWsYZI9jvGFCT0mh2B5A/d
ZrVY2JmjMLrZR+TiT35MxiwaJywk3UNf1d9oKA/ISfVFlxf+zqTuRwbo2dBxks9eVg+ZPopthuGq
919pDWxkr/4oks0WUV2duH+oyZOdWNNXVY3xEU4BUcNgfD3u1Lq9GGa396YIB1/Mb7s2esTCGFD1
PgLOy8zcNeJbL8f3yht2vZUiW6/fsvFAbj0I42lEky3PASOLEzpPQpivjQ7ItVWv0gm+SpJyrach
cFYsp052AP6RZ4Snl/QvPECnKYzIkrfTDeCf58rLIFYrrAPV+A51FYoYvk4oCtR0ZfNgT8ap5ZdV
2evqNwgluePmrS0YD0iuXHo2TQuPKWeomZ0CCA50wFZhiVJxts1IYT8XYuLX0HjTWsw3SIxRcqiM
95gN98ptjQegLy6JpzVI80rjF2G9Qhz/tD/q2tlEQ4g6luXbwiy6D1GBVEtwhBrHJmD+8Snfzrw4
NqnY2XPZPke98TYkb234A/XiQZhJsLjFtb1VcoDm6A8v4JH3+URdGBvRQiEuscuRXSfjAQLYmE2h
1rwKnVksjMbvEE3ZRtA/XRtjf5pGuKSjwBJA3Q1hIKuj2v4qrZr8FYJdJ9ypPN/DsU3Ea4k7EgXn
mT1nt2jr/EL66F9ETZt4TL4cE1SA3356NxX6u8YarjoF/8rTeGole+/R0+DmFOBWxvarG6Of/8fV
mS03qmxb9IuISCDpXtXLkmzJTbl5IarsKvq+S/j6O8D77Dr3vBACSbYalGSuNeeYVDMtuIbl1+Rl
nDP41nCaHAJz/FAMtPuJz9hgTaymL3rEDusICpG5WR16c15/N7RvkwzKYu6n5zD6Ssh22mgapGfp
1zRzJGgim2JmToHXyEmHGUdfW5WCEOV6Ryme06bNV1ZqMgEll27rFx4fnTkUuzEfwDNVn3rJTDVk
nAlH75AO069Q63EuWdGuIQ/PzfL7ioo5yslPVcLjI7OeURpN3gSasuDbpYQEQXJktYyxLHqhtnBP
0iec3MQbEO67UNWa0aDSRF3Ac6mdCCRy+Pa6NyuGKQg0sW7IfFZwHSlB7CWsj22fwgXsxqPfdyZX
DKzaXkPvsNNeRRZ+ZYwKa8/03pxCMp9vADwWmHuDPiLW0wZNYR1LKo0Hs+0e9B6jO/UyhyVYkO71
bVUZmDfJn7eqz2CWmubU8fB7oe4uGJHD3MDYEZNZqt6IHXa21AbkzJgZSkbBoERod4xDipJ48DLs
AyM5kZL5c1WG5hYSI8M5U7nW8O74YrEoXJo5Lqzu9lYYUZg170g63kSaq3EWLGNLfOKSoNYFmuWV
Y2vmyvEeQTu/dT2Z3OncCBmsmydEvwn8/lF0Rb7rMu/Fl8MLslH8JPmAlCg8mYb1EOl0BAR6OaYu
7Sqx5JlYG0Kt/Q0uUZztE1N3H2XNPoseK008m2YZorf33oOeSQp0h8sUZ5eICuLKiaxbkxhPbrdq
moacUjz7OyJb8N0RW1CEngQLOX2QtLWGrcrJ2n5S1X7H6HAbiD5e6Rlet1GzP73iC8nZW04BjqUw
x3xtJ5tpnrECOxEkEG5qjIxeaN3lLR+Xl73UBdqROPUeTGzSWlYeWee8CS9rVgVTpHVv1SzL0+Fg
WhT+PRHvqR0gKCX61SVwV9QJzRSkmjozwnWERGkTG/ojQFxvbUCYH9r8aMdgNDyCqfJc/IRoBefZ
mZXiDFF2SsHU16dbROTQmqkuBBkXZKFV/6YTAZcjMf90UYgLC9RLCM+prekJl9robW0sCMyvgAKM
DvJINGMxKih/m43tEz8oCCSh+UuGzbvBWvBUgfzIJ8Q2rrbDd8bAhY5OI3BykJhZaTxhN9CeHOJP
0HnszOZURO1bEdNhDpS/bhPr1aq6S60CLkI41Vahyi7WIAmtR6TslxVgFIdVml81L0Ldxbb6oPO1
7xvacZTMiYzfeGP0J5URha2wHAgyye5pSJ0DNTwPUEyYGMx0JQIzIfz+rCliaC2+38iBkojXfV3l
eMclCD7UlKuaqbDbElQ/lv5LJR2ycECN6jXd1VpqgPT78kOYxR3FNeIqY4aR6h0UOtzxPrjOJNoJ
Dx6tvnETK3gbOPA8487Pmt9a5hC7Yl2IWeU9u2thBbBKM/offkj1NS9Zc1Z4YkIgh7apVnGRHDtl
/aSF5tbeJdKrdG0nVQX4oq/WhBP/Mtz8hcUN114NG3DY7xHMDQRlew8xeKa9Owy/HCrodhBfA6XK
o9Nd6aVM62luaVmYDSkZDFtDDS++BU/WLubpVtqc6i1Frd8OlEJW2UR12SkDIv0ZBp6JZiXgSqPi
9LGr1yCMidmy5G2g5ILh/afhqo3ndeuUfNn7ycrblTDUpx3o08qzWSz7dv6DadmPhGmM7bEi8LD/
Iv62BxyUyJ19J79krr2rEJChpkCUEToTlZf8FyXx+9R8wTYTzBmePNWp/vSyPhtZtichF/ys0Tpk
XSPtTFAoTGTIWlqxL+KIHHR8rDk5vkabXKg/fZVcg1aU9fFGvOZT7x67DOKiEBlSkoDIQMrPNaWo
dSG0Ayml1aZxGThCWuAeUI8BahY1L/vUp0gShu6DS3KESrleGVxOpwHpTyPrZ+rt1sGyGiR8BLf6
X/40uLeMcqbdPrO2trEbPpJJNEMXYcBkXAPzpyEeMoyB2Jt7g45arlPDBrc38TscIlhMJrgW0ARe
4ABbSeD4982r1NAVpRj6Kc2m0ZmfVYdRbiM5adymvzhZteMSZOxYkG3mEpJsaBsVQX+aQrScrqmo
cgvvsQnFMba69FB73YthVPyqDOYDrEF/o8d/dicECHYXwB6JuUq0AQqa1OWcaCnA9K8gq5kO2PxM
Q8jv+MqI5kAvAurpWI/tnuUm4iq1rZlgMpENX4nHslfCZvIr0Xy2cANXeZT0rK5sQKhh/N57YY6E
IA/mDvyH2+GuoQpveu3V5kuf0vKVlS+BPVN/N8Tu72AUw6olBCODvLNKi+Jp9M56M9oEnCBkdr30
0OMliEY+RuW40Ufca2rFKNWtk4ppZTvkO8pshU+uhjrISIJ0Ic/bDu77zjkzVjFwJj2hIdpJH9Mf
cZlQGClfmZl1x1QMb2JAPYaj3ElONenlJNR2FPZw6/qADOu0g68NZi2Kop0DSXKlD8mcQsOcI3Ip
wU05659VW2lHy/P2xjRY2zSYsaxdeev87FzngsQuqljwZFgRI3Xo24Q3Qh4pzdpmohrn/C5cMpTK
3I63YdfdWrfhj7HMQtuT6ma3KSd0whbF/T05aU+ggqHJRBoyCWRHmSgeJ2SL615mz6KPjkNgUgcF
p1JNv2UF4jROX9os+ewi4711+bG5qfYSNpRlp1Z9yMD68AzArfFgQzsYUY41xbAyrfTwKWsN0LZG
1nNpQCYnfS8bqXdSfWd5zYyeJZmnT81OsDxlHf9OleiQiOEHZaKVU/K7CdLnaKo/xp+iHiiyaZvY
3ovC0em5N0em+Q6BXFQPQVwh83YxKFaI2eBN0GLeOgGGPRAhuwEESDHe0BC96oHxWYzd8zRRrcyt
9Eftxc9t0+CadVesGTIV3w1cpkfh3E9V+i5SREiWngLZU6DIy/IFowBNALl320zuLdJWJjptnR05
e2scTjIytzoWmD3QSyLrtc/AzhXZCeSY0YVknBjwTc6VT+ykKKgH1subrgb07gLUH3zQsX4LCUln
8g+ZF8FIms155dc2Krd1Zf/MTedoeNWfKi3u3cZRqyaj3eQddRbV67KK4c8lNhQt2qwl0T1VoI74
Mq9MruF9k5AjRPnAdAYeVEtdBtUyxTuuyuS0r2UDJs/LTLq80znKAJ3G1b0a+S1hMKPKGsFaCN48
ZMWrWKfm7oHpZ+ZMmBVo6n3PFY12NtiyFq+9b8rPUku+Elt+jSDtohZ3j02puX0dFJ4HJzZurUaN
Zg4KaNBxr0jcoC+vT5tMIei223GT9ra5bpvslZkJHCtkhhQ1O2DjKVGt+fyCSXFyFL7zyXuBwMGc
JZzgAGWWf0MuEjUFLi3HPdcyhFmyj6RerStFWEGAVZG4W52xt9fRtcQ/TbchryaSkK7qYWPk3bbu
c+LdJqwOGphrwDGYFenKMNXf6O14NbocYpc5fExJ8RyRK/ILc154IIiNqg1hrQy5ZJQCsp1yxkEH
3JAUfCUEbl6wDQXrIfUIVVevpjDvO2G/F6nYOL7xJynoXY4jAeBNsO7Qw2x0u/d++mCi53mTDuGo
yU9eFb5g0sJUz/UhDT+FQYZ3Mr0hDf8yTIoLiHF+Zun4qgbmkE3IZcPVA+ILSmB5wMGylFV3LREF
Im4AuftjqPRHW2qCdXkIrZFVlx8UoLp0JRisKn0Nn4afASWvdeFb5pp80B9ihD0nac0bLR4C1MQ+
XaG2Zhhpk+qlrzGy6FznKjofvfiZ1+MxmLxma5vTg2ppG4qQPFukHAXEtXzXECW2sWOk+RFSbrhd
P6YwLXeiUt1GeE63w9v9mfZckTRJ31NjpRUBGJ10wKVh/4x8akOAubv2Y3GTvAGYP2Z0dD1Kxwaz
GXnwq1FgrZjeSgXXKjComzMF+QLrxPDAukPpJmKiftMhGVlPPQoFEfysUor9onJ/TYSY50Dubn3F
LLezLr2Cv1W0U0/piT4QThD5MVFK9vMITotNuT1KDOYT7audGTXXSRrhRERhNpKJBoY421lNozaN
zcIoaQDnUdSzRCzJ+GEZP46E6hrDDFChNr2uwQ2vS6P77EiZv6/lR9FQRbcNJ2VaMv1mNGkv9K52
jQKmTnk30v503Mn33OEzDWhC94FurmTosLAsd3qOQMEFdjLO3QOv0cV5jJiJpu4tzL3xYMqc1fA4
lFurTUGX68MeW1q9qzQ74bibHVquz1vXTz56IyAMJPOpsQLmlDCcHotkD2JbRca08n1Ai250zdrm
q61EgWEb7PTojD88BTFdSWpssQQiF2Dx7Yxw1uuU7YEWLaAIcM6CSViC+nqN+mmqw9fMRO9t9iIk
LEScWbwrrIgx1ciU0X9MYpqP3lnTYn3l9d576wAxS3v1p3VHirGcVBq+BFFSq4Q+uobbAhS8NQ+q
khVrAhntdIT+nNv6fKHF5xCDz8vrpKBE0J1ZbelhUSB+mmUTAb6Ssu3ONpQog0b9tiSPZ1cP1V3c
yPcUsAeF+PoiZXokJ/VFi2nVGOaOwM+5wAlWzjJ0ex3q8UPZAtA2KIYEqOf2E7SMFb4tBqRgp+Ym
DDpTOkx1iy/VeZU2M2wxsGx0beNATVzcRkELFaHl0Upa/2bgfUHMDpnMzgG0e5W1yXV0hGqkvIZl
j0w0xsyYD6aYyvCM55ruN7CKVZhwqeQUmnSfNyNya5UNdMIcqg5G6YFqStVzrouvwhD+XneJzwCG
NnK95LPrCiaRExleoI9I0NVi2tmN0xNcwgqg0Zi9nQxOySSK861sxuquluU/m2XXLutyzsV7dKkj
w5s2aXpbc8TO902cWzUq9QIZT4+BAJsdqtS6H9lOgYtf07dYvDdtgTyxOSOQ03ZxYOBmnQ8tG6Tj
LNmkdbI7ZP9yjsv5uwnnYJx4Scchf/mA7XXdzehQHNDASpdbMx30724xg65MOM1cAVV2V/ILTb5v
ipk2Os4bP/PpfmO8ZJUKGnXZaNF/bi277gxOJUa0BWJ31AquN2UGPJDJMzeXDWEQ5HvI4ipn4G0y
Z/PEXNxWFC3J9J17qcum9fP6+1bmer2+XQ5ismsQ8s4PSnWj4gWNH9n8o6tDe4BFrv7ZSBmxqB7O
ZhZqGH2MTy8FcOjwCllm6GuHohgTBA9opK+Jmhdh93xVqSJtis6IzAqqrQ2iR3+giVXbIKmMYSI4
YP5klje83GKqw4fQxg9Cs8AaYAmdghQo3F2CbfsORevOttQpm7/dXr7UDaKxMECJN9prxyxKGP6J
CRYgkLRpCEeEjn8aND51EZF88febWb6tZdPM35vfEumA+IgIn4/lPIhG6W07XX7EDTr8/KT9lgG1
CMWHZOtPI1LWTVZU9OdYi5v6FwXR32TXaXjNMbq2/JVJ65o78FP4uqqZ+hz/z+ciaZ+RqntYPqvv
u+lvc9GyPCaBVavoxc+Q3lpY8OOWm0NiALqtsqEhOtH+/D7Wo9P5vrtbbgaVXdwtmyGb2c+VjbBg
oQlHTusm/MjmE3Y+TS1jcoh4S16NhoXn98n0v+fVcnL5SebvINiduUb61dtySra9DvK2gPiiqzhG
cBUeAwQO++UjdRcC7/Jhq39/Gt+/j3938yZDqooIw+ZrzUAF3C23imCibFfTZ0QYQUm0auq7743w
/rm1fGJ0E2j31nTww6qd7lImTnejStAxzZvE0lokgkxJcnQxrLiBEvZVFd3aeUNboVu7EHJ20vFZ
N46SKMIq5zoJrim8eWPMl2tUMY1syrpRRWlEqsnBSunZV3pI1nmIxrs2M81154UtaiZwL/Wyob4f
0o6+//t4HZ0aXJO4OS5PX+4wQpd4iJwywfKs5Y5yjNpDPJE4rUe6ebJM7+qLwLtWjkGblsJwlnOI
JDRUNQ7QV9PJ+oflEaFfe1dpdh/IwOcIpf88M+tghQclo/VopJuSsvPN0tzgZleD2FISar+PDboK
bpqbE/NSFQZab3aXDXG46mTCn1metTwf61HzMHKR6P591PdD8RjlZdbdh1l0dUVhn+Kqk1eSLTEm
YItmnRzLazgfG/FBbzOa3ptJpiFsHGbiDIT1+/KQv4+zoxMESO1h+UPDxOKYE2DaovlAv6uuUWkZ
3/9keQAuHElK4sQCDp8koyD/Tlilu9fSgPBUBJPoAkI08aLwqbVH9jYV5FWtUiuxrlLr7qrJN8/j
/FzGd+uqkQGwzjDj7pdjy4bLr8UUh0LA32P6GKfneT44RpV/VJX6Qy0yupVOMl7Lcquoe91ciJs2
8rt7cLbG1bbHpzgR+altQ/O6HOpGuoIOKVEbDanHcmi5M0a5frQNFgPLsWXjmWPDl/3fR7SKNV/A
kkoaxOP8fWg+NNCdSkUPf37IckdskUXV2vL1739fjsM0WiW1Q4jJv6/KY/JFSZq+/PKIcX7xWdvW
u87WwAOVTnWFupy7lv9QzpvahVcrSZ7rJwxAbjBYV71wrKtgRF4X9lghPeQY+CfrCuNczaRSOmHz
sWXjQYo4zdngoCP+nl6xZqX3tvRouJ0GClOrpOqcrTYBKa160iGRy78oO45PCvU8XWHEA51Df1gx
E4XtPVzb6kmG01PdMl+fHLXB9PezaRPtWs2bvFbhLjT8cC6d+9flDlGQt2w4yHYsdLQ4GlSaXJTq
j8tDvo/V/qlizX/93os1/UbOxWkwpLEnLj08lBpBG9iNp3tkAaupIH5m7nRFxXAOausnV6wfTUPE
ls8yK1YRyvuGdnpyb6HFWClNjzZeMxDzXm+nSH+Oe8NbFRW9WKW7L6XhHxqAqY3PC2bUWFm1vbId
lCSNdxnwJ4043VoVfJUerMaodKJNU9irioydJvO9XZS2X/7QHWMdw1gV+fWqM5J65RXpp0oIGcXV
mxvqt12lAhD4MchNql52T7q6X/6Unm4ezCAi+gPxNr/oC0O1dTcxWS/5M5dMTb8CjTxSfvunEQ1H
hUmXm8vGbl3B/G5wtPVyU877yz1WWoAWgvzcJg9Toxg2lgd4aez/89hlv9RTHagpz6r/veXn03g3
ZV/kkxA3ttz5P4/9vmd5hhs3hMdn4lhpGtT1v4/+/qcdFGrUNPPf5t38SMvW3y3P+68/vtz7/cIm
wA1OGxNXPL8kCpvmqh4NuRld/z8ve3n0f/3Z7yfGZltu6jLC+zQ/8+/r1f++9+9/+fcde2FcY9n1
Pv8e+q839r+flCVG9yBJC0OrzXfw9zkKOtga8x0gzVE9VZYV70G5W6VUt6Is+0ctUt4hGH1nRRrB
zNiVSFbhucVHM9b7RymG8tZTjZl3liOxU6t96YbkyUcYKelVH520R5fQMIJcxr4bT2UxXM1x3xHW
8UPZWn2PmJ5A4Fg5jzLtKULMPtmTNdUjXaBktGiGRlRNTZbhY+0hPeLxG01O/eNyK8jR79J9jk/o
22uq7F63E6bWPNqs8ChvAZ5hoaGz7Mrt/slDRTrHe9epjg2rJMpYdwdvPSEl3S/PWjZalm+SRh7d
CkKqTfzd2ZB0ZzzHurOSPjlb/JZXle6SBGNZ1Ldz9GChJFCo99R0rIBOLHukJ0w0ENCa5A1GtQD4
wEMEo3uXjzkm5/mWVgTxcaBf5NPbcz3aS91jSljXE3hPncinGVcoOkx5WDC4dI4fpT+8hxlv3s1Z
4AuBXLS0Gv+EJIQoQKN2fmS5s8e9SlpdpAh3GswLLddgDV3HeXdN+sT0gbN7mdjaTcu9t4HOwntV
uveZkf7wXX/8kDEyINobTx7LglNqGSWVxtK7R/+AUanQflDSdW7VNFYPPBmfSkoRh/UAZTZrejOC
DBuQX5mvDiPQqMno0dNyErHzboba6qAd3NmErdGMvRQpUXcEyFSUT9oEeGV3spZzII1o3XMaUkzE
8v5gMSs9lJT1gPqEu+VVQsRZT4ZBNE43HTSlUcen5IVatsHSkQv/uQRVMDfphktAMOmdPYpgLTP9
K7Hy8UrNV31vqoTKHJHp+0E1f6Bh1SZ6deUcHEEJJic025/GDnA57gtHG/eVUPTxHScG39u0+BMQ
Amno7T2ipe7/brR5tx6aa1ak627GmLUAS3CjRLQW5t26FZIzylNXIJgUFcqXNAvkH9xOLzApmjea
oPDb87Ld+RGJCIW9h9LgNOtQuZjICaM9G9j3V+1Im5bgHmz3Oiuxk2+b/qntO//7ViJ/xfmgncNk
LM1NhYyNiCO9fLRmFB0y75fa17xbRY+FnxCSPq2zIXtWSsfmEDO39H3XglqDoLaP3ezOyPzhQgGi
wUvn79AMtEeUQuUrHxjca4IUDcl1s0wkzDXk34OWVrfGLD/dMQlfoSqqDbLo+KHzEdpZJW0ws1Sf
ERoHIgkArIS2sZNDWVE8B7g6hFQSjYb+gNQxw0QNdZAx6byHwWSdlUxM28S8uxwDe3LnlRVRGdMw
fkRcN2TTvg8egPuUCd4uYUbFmBKGVM1qgpIwoQ0ED13/a5PWD4FbuifpUZvMlIRoOw8jVcQvLJ/E
NbXj8tJXwSMRAgRDCtpcp9EEKm6SBvtAMLJzR5M42vVQnX5oUXFLIsTI0B59UEPdmy51+7WTZb4p
K8N8qFuL8IEgge1gAKIt/e5cx4pVMC2gHbHOxEabofXkhkVwwbGD52Y85l74bvrpbOlJR5o5lVTL
sU6YF72FMbFjzuneAg2xsYUBWeFtOHsmdStpucZd4BILns6Im9D/Td/FvW8lUxQQSSEzIcdp4Y9R
rJdaaz35Vl1vXaT4O9Z2zrkMo0+03sUdJjzQLFrIDxo04k9X+cgxKX3czBrFLYv64EMMAB0K36RQ
aWensOSqKGzxkwRfnF9a2N56+VROLqetTBPEJk4zsLrjW8MygulXt4+xmbTzoMi8tu1f9MQfmfi7
nyPpGkSa6h3iGn69dkGiPJes5Lj8osfeqA+Yz/qVmrmaRgavIINHW9Cr34zRPIETfX1zZ95AkfWU
SXsfPdK8i/PDumdV8OClvnOJtKB8YZjmGtMziXUCcQQEzevMradmcuST6Vd/CCrKZaKfm5lrYFmw
svWyzy/VvOvMu6GI1BqDBbFEhR3dg0nC1BUl2aeV75N2rH+NMxo1RG9X6bb3jvr7fiHXQqpea0Bi
nzQ+fEpUgiGty4s/6Fdm8R9C/FVkxdQQsKydfa+LdmHf6E/elJjEBQfd2m8U4WMzLbBUZkSh3is4
TdmN0ByeBFlsYMz5eWv6Whf12rWsmRgpnGjvC/VlujbGy7qhzyvtOQWWqzZEjpRI+UEmF/udS1pV
bwUvYa07dXEPZELtnAjBMfx6NfRPUQvSpRQeMHD2wob2pxbgfx44jaI6efoe32Ng7EcYawEgT7t9
r6zy4sgECn1C/zfPe941Z/6a3yNa22UEzpatNxA9MVAZ/R4NMW2g1k7N2zTS/zAJVds2WB1vgemc
KyyqP8gpw1qV4chddnH2aCvUlVCxYn65yzBYSSCdqWcc46hw70nUzQ7hGGZ4K/ozXjTxDi7D479I
+2FKLXoBZmMlqCkn6znH80DPei73zu4H2/jnlhaMao35DwTrjJByYSYdapv2RDyWNOmXg6RVvUYi
3Cek6w1W0+10ETLrVUpfhwEW6zB38m1jdtlzjkwYOrD9NbjkAulBqW9RVLTXEr0SShTjZdkTlUcP
eacpXbwMWZ2dbYuKZDFjXFoNH89g4H4ekAI+TPa4RvM1vrU1Sk1E0uUxkiJ8ioVDAOsY72Il9rJv
kIEvV1SNJWtfUJ9YjsmmBCw4jPWtT0JvV49kgmhgCocq+9R7+7mQQ3oniabY5QIjTVXbECxt27wu
G8gxRIlQbEI1xbFQYWRwyWpeJmVCms7B0MN6PcYdTnmdXLywT4nMwJi9VfNLHuwCiWHKRAp/o341
A0z3nDP2lz2CouyDzzZ5STvABIXuhr86kwhUfYqKR2NS1h3EF7yByxXTp+9AoptX36CXervlnS27
uoAh2joeiFJEpYI15JMZmq+WxN2Tw17ea0Bqb47uUnBCr7yO+Kk8kwXctoP9FNVW/8w//TLa2j8P
GlHLURK5/eOQRGSiBG5zKT1caHmpOc+eQdRDG+XVA2G2aHqd7jHPveHBYFX+osvmsbdG9bB8wa0/
PBb6VJ+qtLqCrI2uXZAw1emd9NMPqYzKXH837BB/mxflp0DwiFoDQEvYOMinjkaCxmhGNl7fnQIz
1X+1Dmv3UHN7JB12/uaXcOSVWyQHrW7yt4arviOZGSReJm5Oqj9K08/euIh4+6xKd6aNKixC4kig
XbMtJMNslJenySp2g+YTvFj0n72NLqjt4Vzl+UBKWhXIe4H9kZoMPsSoah5HkX94HgU+xAzQIP0i
uYdh/IPSh/4MuDJ8Br2kzTs23qsHiEbwgdMTasP2qa/y7gGNT4wO4TrUdfq7Sm8+pqPfBn+G6bbh
vkAx3dhymC1LUfkaRIJwkcyj4zTvNswCwEe09LwqbLBWW4EKq7zkbDsTsYcpPs/vYSeSnk3vBlZ+
qZPPXcasRZbdZbPw88m/xHzp1jaoT7DQba2ci1Z67t3ELDFArA7LYj5GNihXFy60l7428ColiQY1
qSY/Eg/6xh0h4a407Qkui/OA/5U9sxtfUumkJ4fSwrXD+XGn69MvSpl4acoaPvV8qVuudzQDM0iC
JQ4ULnxlHTcnswpehMi7czbMCt350mT8/92/92rhhTnOn17F6rGZ3PqoT3R4SjR1VNOh6y2noaME
jf5YJ9w3ipyzrU0kmUXGvVHStiqWS3oTllwq7bHYmpIaWFaP8Q8/Jh0a5kfcOkhCRRNSh0MC0Vtx
cW9OpcH8tTOYk1L3XiUFWKdvdJ0okNzXruipHDBO6TTa3pJ+7DcobcXRnHf7wDqQ3T095skD8ULO
Q26xCmF9OL5lQ3Ll0lfSm1XWkzTMV4UYDQdf8BuFfoUgFCxZE9UFkmSoJ/VCLWsTOBQNvcJ+dMr3
SCTwTcz+1bIM9y4LaZpnKq+2yml7Jr+FdqF8vgfyUN/smMD7Jt8FJLjdR5UDgcqeGuYULAzRo6Jb
l4A/9SLQL46go67lQfwcMkwRyOPuQIyKtWoI86Idwn4Tl2JtQ/m6aRnn3fLBFl2ISJbUibWNRXYT
FLW6OBrRJVSYfiEcQE/sfGix//vfG5qmflVWJc/LXxp18ZoLVZyW8atBfYXtNxWXJJEBjns8UwRr
tLAJyuEDnTKj8GMC1nGDEhuAl1szrsf1c10mzyzUifCdDw0OpbLKMvGazHeqpuzg0WAjXe6NXfcn
SQrprgyQqSYzATETiC0G3XPOE0ySF9K8tstxax7kIVl737tBYL0KygZUnjsyJBGcLo9yJ1lsC0CZ
lDXbaldHFrHOvXwLgKx+ZRPLfn2+AJPcVecWcg3M3YfIzqzPoks+40xP3ulYUzsc6nCTxqM8qrhG
PxJ4uNC7/j41+CjoDO0kufO42gCoe6rzfvXklcbSeUrc0P3sB2+baU6OFA40sm/E3W9PA4IRt9Yb
SQ4lgWEIWilrMCEegn1razFWxm44z/AnaFE0rlO0CaCDKuI+4N2ATAO0yMbZAJENWEf65fPwakQm
hTfHbR48rUMLX0uXimPRXIoS3EaoVy4JtI6xm4lyKSjKMNH1Z88e3smQ1y8jiSDPI8SDNWt2/yCc
cjdxbkPzxW1lK07PpFH2D5FoLMNl/OQnGIyyKUFvb0mWt5ZJ/NLyEHLI72lxBmgaG+MurVT4hNuY
Kag93pY9sCP4V1yqmT1ZNcshWXnhk1R/gvlBbiKmazMZCKL/szzlLYBu1XXgv/NqdUL+vCstFMVp
UpJLZdpMsgrf/kkBla7EzPgTjmtvtdrG4TjvjhV6IBcWapLlyXvoFM8dORDBKgBOwwTvj1cEb/hD
zpPvqXOWFMmLWiosqdHUzLc6Gw8/UN/vH1bauxdVESjHKOy/Nd2vMOr0V6aCLLz5ir2kin61nfbQ
Z3n74humOFRl9zz0No66KkezOKXiIc9CsW6VuUna1HqCEGDxjfByAqE0VjGZsZ7Iv7vinYL4z2kH
jmXnBi2OMDALP+3qM65YBAAE03cllzwc6kn0Q4bDWmv1y8TMHZUgsTYI/82La9KbIEiX/CJkCbDW
whmpQIbJRORZ1Ac5ouUAhpYIokOfIQqHE+oQpVOqi1+QedV2pbdLlebcl5pLLccwXsraxgYgGes1
Z9Y8ZXV3xf2E4NAJaP/i7KcfgNIpqYw981511ZirX5XXJweVk9ojSlNu/cBlsmF1PZd37YDzbSb5
TX0rDmrqP0vbZiEdTAbI6OU/kSe3lX5AqkXU+uHB5HQDF4VXXvkhwdFmXrzBPyl6E6F00+4yhgJO
Uau419vBpGPcPgmd2HUoYNbOLWL7jsqQRBzXNLdezIwLa7aBTk/4WpstFDINBo3VPH5vAL5jqjXA
AQ2yqndFvJERsRN9G7WPy0alJQGSSTvtwzz9FSRZ/RgkKdQls/wNJur7xnwkSCCWTkbkI6cvxh2L
xOIgcJK+FsOhcD3WXy58jqCkOaHX3FKcU0XVPjS1Uzz0SdZC4fLFr4H3cSArlVC1ODgv4FkCNKCL
2cYE4aCL7kGHXMjrC+ekPQpSGh8VSO9af4iQl9m9r91/V0/bUqQbOC5oIXpoZKxbw2GHWm5PJNQM
tjYb6oqqwKMxBMfvrwLv87iNAtgjbcLUxc30M+dtehyYjUA9ZPYbdFdqBeOtyfLicX5nOC+CQdif
843CHZ3PIBmop0EqVF3/bNtirj+2cm+WjvcjNMejaPKvforNq6632b7xIAGlTeauv2mZWsD1x8nL
h6pBybBAO83SgxqWWafwE3GlukcJiNJ/9ot/nz65SC9VpGmkCpT3Xagn5Hx2yQkKsHeKAlyGSxpN
6YNz7FIvPEGOR8eRo7/5P7rOZLlxZcuyv/LsjROWgKNPy6yB2LciKYkKxQQmReii73t8fS0HI9+t
N6gJDKB040oU6Dh+zt5rx30HEETLydIcqpiQTW8cL+p3UlIRMK4in7ZUte18G4wjMAUERsEKkQ19
Dzoj80GDe4OWG2eXnsETZr6z9vUhvumydvf8Cp9ww7NNmIIAqXHpS2imSCtnE0JVWieEnpxA9SHN
RtvtJmXA/5e3ZkCUwhTkGsSm9930f2HMCn5nCjKsokaG9cgQidDtVjiC02UbR/mW1KProPHVv384
PaV5T8DrYxmAHKiqiz6k5xTXXX0AMcm+3gzDL0c76ArKvCqGA9qo4Q0PrnZjRr50zT49O87w2qZd
9xroYfcaEz0Ef/nFc/Vqn+fshgihSKhAdVG/VipPPs3CoBIGLRpJ+TFiXK4xEQPeZNRSGG7su3wg
CrDEaNDWKUuFirzXd1r1/PjF9FYPNrgbbdRe7rApkblsEhfBXxRj2sgTy9kYsnSnG1KSAJ4ap4YA
H+R2uRWf1H5b2VBRQf6ZW5GYyns7YJpi67IbS0k/bhNAMP/2xTh3P/VJdc4zRrai/DiVKIZnwGXS
00VFkXS0u6Za5GC9QCIlaDlHNSGPwBeX+S8dgWBt1Dhg6FaJ8RDkZb/XIjanQ9h/z5+cTGfGFEXZ
rvYd91QakQOBxokRZLU/mjRXtkRu4TX3lEsLGuAjYVHCVRu4FzxYYmMo+qVog2mpy21+qRL16XqM
gYUkaJc0XWeoPEUs5JV56YJkSqKB7e5rhY6xO5h4obJ2Kne0x7O6lUwGOhZdL3EivOLH1yC1uWMx
li8V2xgPg+/jPIxxndOQnz4dOlVP7YRqXXESjMeNUA5GU0wrxxXlBaglf0L8FiGWHIDEea6xHjrx
998n8SrwBJPGuPgRebG/KowJ47ir/h6ycFxFyAR29O9Llri03dIiqm/z7j2SoUqTqCEQtfTRIFoi
1wKy/pRg0PgSfrh29d74i3ts71pJvrGA5K1MNx1P+K78p1pLnE+KbSJv8B0dAqcwtlQUOdNolxEj
TzzNQJfpNu3msf6AAiTYIDXbu02yZ6TG00/PIhLBGGK6qt7gMbRX8eMbpk4T0CUuIhMYnHT3pakw
T/SykUD/tUVNOe4K2RwhIWNZlWAg4moCPCm4j+0wvc6LfRn617zWzDOhXdISXKW/ouFbVdX6s0BH
voQLvegGb4RYSCXVa9y/BfEwIJLq5fzZAkjW3PqElFTNDluEN+jwJOiY7YZYJn00kXeoEBxJELph
hnQTRjVguA4fyza19bxS2HIt66cJgzvy20dYzDQMf6msi1dDHX6VCexvoID9wgvGDZh/6h0lT95b
996lzrSFlwH5U3gDierY2ppsFCeAB7gPlf4ttSbtHbGRtjQcvzxD2GyhWZWnFs0SvhHweTjWywr4
le8tht6asLflrxaI+L8q7Yt+nbmGZ5qvBhC4J5rqS1OmLg3FmJ70Do1pT2rRfKhH2z3Q+SXT11yA
KAifazP99XiXg1Kc5nqg1tGv9g2ACDpAv6nLlUXeDpJF3mnH0UpIz/MJHIGLvg8FzyBZY3bM3U81
snhVBSBTFIp66chT2MedcbDGju51XoT9Cxx8E6VqWp1S7KVPROiMF1sFBZgSuJ3bif3bCXTEWcUA
GT31IFj4xYtHyiHuKJCSI1oqFF0webWqW+C+9oncgXQjsNVshgyT69QnBBtmOIQdDPPt2Kj7Jhhg
9IJqwmo3sGKWzWZeVSMfUpgwp5Mb1hp4HBvxt6/D2XEm92UicAVNev+iWG64me+iymiHfWz3yCGZ
AJ8fz9WclfI0xAwhAEu550kpfrvU5RTLPbjIrKZ9n5p7mwCtlzgXL3P2j5njdUzc+Fq5yTXSGdYE
du1eHv9gFdId8cNqrRFNugwtumc0N/SVaVU0ZZuIAU7xMwr9g+Nr7S6zDf9E50pHpUuxgknsKbai
+rl1rOGpaT1MQuQB2c+OO000S+9FW5JIMOWWvQThwRxNFlNOz/pFBUMqoJUCJfGCQqOLa2MLLsv3
oMsJsAnDcQnqRP1gr/orMpil5gmkKKx+N8erXTZtkIiTNtwPmtkj9sJrl5dhi3eNs0jv/pwF/zqb
EJsMam68/f+/twdFj3cMl1bFgjRMObQAGW7AFEnBGky/eQ41oJUME9F5qTN9M7Sp2OHlz9fCUOOP
UEZ5VX73lbUCcX1nKKfS0ckfqUGw0ZfRPS3+2STxLhrYmaIbv2Z64v+wbPS8Af7AE3l43ppG4cnD
uL5DPMfsNG2ns9lAH4/rqHk1glwKQcBZjQpRpzQQ1pnUSs11/3wAvMi4hO4oNJZfXpnzl01I+jEj
2A+GAnIY3Qqb2xq/y2iopHpJHU6gJv2Knmq1iskOIgyaQzkV/c4qdafcBJFZAneG057KPWbawodq
qgnXfVrAgw1psIyCJhFzYPEUsJcEkoprSANZu0/SDEcXVpR7N6J+xrrib+ZLGFAImfi7h+xeCdHy
IEbbjI1VfQy/Yp/y11F+P2ILMEFVWzsXPW1/PIQjRqWD2TveofDk0B+N+sw3Ux09P81n88GjSUq4
OZlhQWmEK6EDxdMnQ90LLLHzrzgfxvTO2Cz/EWnTwZbPLR1BcwbH+MsAIzX6gBzWmeiNpdrpPEG9
ZKcSXIa33heHTh7m1+v0T4pcFujWmojiiYYrg1vuoIHNB7fVHNA2l+9e0f4YaoKfTTgaZmwkF9xb
JjjjFvda7ONAEHAjAqZoueeiz8mtfJvRLD4OJTryWMFqAGaL3AX5oJkXiyFw74+fVK+IeSIn0IHY
gDi3raLDaKY8Lwe64FUiIHRxwF2nHeqiUFcJGH2gu7F5VbDgMV9X7oFPOCjwbgjk8hIvpbdknG2u
Bk8MGLhCHVvchDJt+5j6AMnfhejKAazUsIDseWZFcFVIXHIKMKmB9ZnTHfhbwWHwSOAH/TkLEQT4
bAwlQLOCoUivgxEjoxgpO8nOjmI7fVUcM1gGY4JCvSHhLXSNepnVzlXpk+HXv5/4lE6TEnhHg0wL
Br4YL+fmlBC4D6Si+2xbTAJ8NT10lSUV/BosM1PFWaLMc/U2qMON7lfjjwpvweGxSJYiedxWtqqj
/4pU7o/MC4bHXZdN/bBoKuxZQ5ochrJI3zLeKHa8hk10gXMlwkP2L5hW22UZbf0Cy0QQGGw+iAp9
CvFgrjNnKJ7nHqWSh9pZyxnaxfXOQNOxmoUlFHkrvXKUu8cWehcBdl+AzsshVWm02ekHejvwSuyj
ysxaRrb9rk3U9PMUR6cYv4S1BevN7YeVKS/jQN2rdW7uk0mvV86vzIYmrMvyyXYVcYuIwyszfTcp
vDwGWvXCuHA7RIX+7tbZuA/oLKKe+kVoiXcQtQzoI+uIU/yG4JhDuhokSdJBSnIyJVrUfrPSo5Rm
CT7exNI7IIky1fHXVhY2J6+gT13TT/JlnQT6sN0pJaNENiFASoREq4oA1z9IrT3Tv/yshvg3mPD2
tHNDQQyuMq7pMdKgz5yV0jOixXRKq+yRf6aHLIMK85xiyvRngSeJekuuI3Lu/NiXB0Vq496Isle/
jYd106psgUo9JWIn85eo6/kbNTVj/VHVg+1guUezrKlHCIUsZFKKyb11YtE4ZHWUQ2jWQw//Mfwa
HXwXRIpuXBN6K97myyqwxSoBY+BVZeEtAHscM+byW5SF5Sara/VEd/DPGTf5n7PsNOjQKF0lZq6r
ojrBKvFhmAq+RXnI3BLCVCIlWmGZHYk1KZ6TMn5V1Vii2ZoR93vg9atePjGx5YKNU0nHfbxDJd+0
sDX0EUBXlKXhBsEx632D3UgeVvycUXwyZJE3P+6TgN57UWDvbQGkxIbWvuAAzqVyK+JjcTM1Z0OP
LZbvzuMtygLjaHT9oSuSH2M0Ks+Jo9T32NzN4x7UY+1ZHCav/q21oYdtACERE/xcW+BVXZJkCeFD
yVUYE2n46aTxi9Wt7UILvsyKzT/i8fTQD7F+xZG8QT/ONIqiXdWNcwG2l+1HOOk0t+L4VRFM18y0
wf/W2l2+sTXd2JGn7eHNDK1FI3cKZZs529pL8VzOFR/j/hMUinLTmILioouUt7ZoFtgt6e5OFQMn
1+Kd5rloDYGxRxmBXGygswKbrC9xo8bqlyRbBf7Kt4X6FbXZx6ziaPRefyFawTGV02MzmLs9DXkv
U44utlgXp2wN6cjtAv3mulazpRaPtuzrMho/DIA6hWBLrx2WWraYp9YkO6aX+SyDkOdoq2ayqLdj
nitFxRab9p959sPiDUe9eReqAb4oNdBnuXTFQRq0LOPrjqypN9/RvtGp7nydZ0FSXSCK0sPTM+6u
eVfbOmGz95OoXjVUHTuMMSV2w3gzS0U0uq4L+tgb6ovkphE5sAitZPyIpvjW2D694GikpojbFaN3
d4eKId4MAiNu5DLjdHu5H6DJs54/J/PHZr50HJrro5GtzSFTnvFtBs9tHyBFgVoEpZR2pNzaVXLk
7eResnnMx6sRs6BvPHtZKbZz6723B2ONiSlezZdOUNr7BggH8eY8G9rxN/lNRGRL3ZwbRSi6/dB4
jjxRX1XV/SgShLpppXzyBDj0FUNNeTJOznghZCFeTKrhyRk44SZy0z8f4iVI3G2EDvvLr5w3Kxu1
+1BZYkV+n3WI9aI/NdkksJ5CRtcLRlWKZrtLRSjhyTP77AjM6ZaquMNjutCvCsmANDUysoO9YjfU
geyuo4Ko0PwQNlGh8eppZMaxTbJZ1NVXITqEGoJmJfguOrD8KxsQwem+aYzr/BCOc5Q6td5obFCx
Y2Z53gHR5wNdK/UBbXbybDBig75tukshc8ND4lzOKDHh109lsOKTme2MoELipfKxVeFbP2s1eWTq
oDbvY0ZHU6jHslOcnWnkNimIUnaK/oOmkNqSKmUEB0cvg/P8nJxSpFGYVd7rASrr/IEySwiPNfaG
u2/rpAxhdQ0mYJrx/PGUH9RKtlMeCyDt//BmilbbsJ0cFvPfwBmEu8ykpG8CCrgiGjBDZGSJN0Ts
5pGC/FlrSGsenEE/9SYlMrYF9c5I0+UOcw3E2fJyYu/rawiv+LVCgpybdkmm3ETn0KZLLXftgmV/
U+ktTm/ZZ2sM/X1UjWCXSI2fVlXp3tHbehkLlszSVqZn0liT50jl/ps/PPMXgGrDBB0hSAqGJ6dG
gRYxGS4tH26Gro/st0bhgZGm8EWcih/W9g26/VKDQUDcQWshGgZOi3HfRkanS4tFgVixxWB5aimL
GY6lO5dc0idHq0rithkYIPsbL2YLg2ayE5ItBBg7pAZ8VapkvInDmDEiz9sP341VyOC9cmlsU2o4
EK8Oyl1T8tv8HmS5Zb60AOYjLyp3o+VBB8fjuvNUwz36NsraJtLqW1vQHgnpqf6oI/Od8ASp02pt
MOEWzWRjLJ0Tsh6rKkGRyEW1GjAXUKYmF8yB+rYLR32ralVwHoJ81Uet+mQGlEg68Xsb2Q+EplT4
77ru1kse2+FOjTpjSYZMtKrIsT4rPr4x1+l3j4oVniUmsST+PbZ6gx0cx62u9cHz3we3YKI9Ku3v
v1/CZLUuw648Ogno1LlUy3vGmGoCBdWnnFlmTthtwtnLK8/8+WzMmKREEV42bo8+r0BKtDXkvL69
FnSkMUwb3atGO93VhH2rnTrehZ1TLRULH2/vIJ8mAPxkm9CF5RUZZAR4dJjt2uoEOG/6rE1M2Tao
uX0WV2TPZ8q7STzuycNatDB7u+A3HcQSOQWWBZyWh76lIMK7rr0avetAFqiIMVOcp4Ld72IgyPHp
Ub/YNP6haf310FmNvRauYu1/Y2B7MTi7Tq+3upwuZRT+W+DWOTx7LjWTyWFJ24eNVDGya+Iw/uts
MiZW/lbdRo2LwsjWflABks1DVAjYVj2KNhES6B9jYmGzUIOvmu4KCj1nqTdu+65Z2r2Bj/eNGGsx
JCM5plqGXtthNqbjjz7RoyneHZqPE82vN8umsW6abok9Qtk8RDyNL65+5W9T7tZT0rD2SHVdKQ/e
qFvkonSbeemKTaEuhUdQThRUyDcqDCOOK9sDPp5nhntov9A5Mnsxzp28Cgm4vCQC5AP5W4xy5OX8
BT9yn8j77VdBTOzY/GM4jKrX86Umu8iS6EGXNHpOKwnJkLshyFXJKW3Ez/nKZH1lA41+KaN9vVb8
qXv++0yJZF+dbNxlUUcQAgvbwzM1/cjpB978LngfmyZa8LkrkeJxRu+Zx7g8C+VrSj/8+WrY8atl
ffH43vn1+Tvm781CKNXxYH/XtC62pjPFK81NjHc9MughJlBm+9y6zMqGqDcRf473XgdLrxH9vZ4L
p5K82rXKNCKJnUlmRAHKlQ1Ozx2fW4XAR9sO8938rU3dljTN25jPFIGFnuiCQzgW8cEW4C8Shd3Q
yAbgrWtyZZniFT4D8eC5l8KVCdT6ywzr+n3QWYClXn/sZFB4YcQ7AkRDUoGnF7cBeJl2QXIJqrE7
OmVGnI9qp/cq1/YKumNTbcpbYUT1nRGVnbjKWxLq/otDO2R+1e9A8Tpj+2ZporonfTwdkbx0TyNZ
4G+TcfZpQazzSaqzrc6+aQ4rKHFyzhfMh7c6CpM34DXKBqqTspkvhyZ6m7+hcaWkyrRtMnn4z+d/
qC/7CZG9hLF1ztfg4Dfzncpfu06AXFDTvKMyFMhSyFv5DF33Mkxh85oFeb0fGmSUBfDST7QFAFz8
4IeLBXFrK7gtyfQr72ZANypCs9T0Hzp0+x2xpYyF5aUSN69EqTS3rBnac0umJMRLXg+8eoTWUKbH
kf7qm5bSJEO6S+PVP5Vy+ttOQtntcd1SERdMvQRqjV2bhe22Akh2NKx0k+SC9wYl3nJeHoeWerBS
SEw0kBext2tuY2ICGdLU+HdHRIhQm2/eW0kC6JpXKxxIGwryZjFEKqiqhv5G0rre2t0j/GSs0vpV
8wKQUD1mKaXa41rx8Tx4cMSLdnhTyoJWPtX/RQ1Gm52GUh2z2FN2/LLmliQA6zROFGPl4B/m2iLJ
q+ji03iZr3CQ4f5qOvtAfim6EYr0XuBVsPKxutV2pW25851NP7GCFewbN5Rj9qZ2OmcnDCM7DznM
q6RXtHumD79aiBx/RUS6sHn/HtG0PMEgCZI+eOuNDpF9ycNH8Hc+VPZAVEaWkMic8yyajFb9dj8G
1ZhWXVwqR6oAatlWra4ty/ExIz1rWel69Zlq2q4nAuQeYkDb0keFEQ3lAkmqz+ae20IjLVgKhELH
RJYjCh6iTRJ8MJwnGYvjUQ0jRmUmOWI1BhDEjNErPkYZSmUEv+GywlsPa9JI9DffpOFpllhKwJsO
T0bDhC9krtGgF2vhxByY7NewR7ikFTAsPURuO5K6GrQbBNu2Hnw3TD3D1pK1lmbS4yotZDtz2TG/
Vo53x4XoEORmstZUJ7r1gzrtDLynRA8zRJ5fq8ryZxEm6Pwy/PAdg5RgBX1DY+jFNZxRKWmTmv02
K37MrqJWNMHO6ZWtEmh4n6pUysGETMyhiGkBueWLpkgOZWmNZ4KIFKZTbrkH24Phrk3vRadCQo9K
fW1Dkv/QgQbldTE855ErRcsUZ3HpGJtZEQwHbgW2xnuzLJm9YDPd9QHX53V2Te1YuVqlaI9IS26V
hOLMh9ao8I4n3nkAO3XnBjplDIe/Mocta+gnBTZbwz4EpgKKJHPTo5KORL70ufskEEbJLFL1pgdR
jssSdl4ZazeGyNotjlEdIerFg+eWP+OXuUKlfiaz+pTcpsKf1iKN9fdMh8ToxY5KQlbTbJohYPaB
VXPcEA4ZaMhwCudIRjEKoDQjOjkKpWJwSzpieeRWYh7SVEq9R6z9Rg2CXHEsxnPcUPP5g2NvDbwU
lygWoA99Hq19LpI9WfX52S/0H0EXek+dHtv3+T9Af2jf2Yl5T4zgnCe9GIznQFKE/Cj9pdPDWtid
3jw7cUOPtQ7W1eRbRyDN6oq5WbqwXPettaPhRLRz99ooLxW0yreIym+fh1l3THzjqhdOdeDHwQED
I6lbVqgqlukc3c1kdEE12l9L8ZnqHryrwVf2c/1jAOtoTJTJoeCBFJN/trSTwIC/4WxEr6MNtdV6
o/neLayozoVDUmKUIxiaOpnFrfcgKFE4LrUhLD/aApCC14n0OZFPUj/WTkWKzOJahonUnyRdj5sL
baXZF59xaOlHsybvgyDGYNv1FtTN3H6LqaW3eU0q2XwW0gPBzWCXmw5X2ybA9fITQUve9gt3MgLo
m+qfL7UKq0WFwI8qcV7fAObFkL709tLlfrBXhCbAhY3xK0S4IN6b2S0V0/icKEmGqmIA2zypP230
xCcDieR2cs0bwZnp1kE//ISMRnvLrfLbL+P22xRMqMxa/5oyxpcEsxfXGD7j1qYaqYnU2vCZLq5q
juJaJX37t5iWea5bvwcFWZvwRweBLXr0GMJWDo95pYIv/ay+gUQVn0QK+msx9f1OtBK93HnZPtTh
YtpFmn22BhRlORDII2ONGvMnQ+bxlhodUWvgaAiDcccfASrJvO6VV2EiprTG6Y6+tj5GtYbwXrYQ
ioramUdVe3IhpZHmZbIXtNFc2tgG12EPznhB5Mybo/Vb+mzqWRWucypGkA0YkMKvMkG9mqvXRrT6
S1a24Qq7n7Ft5WhKdM3ZYPG6GQ5K8DS1rjw2gwXWx3w/794ThV4lZrLYoODtdPxEsdnH2EJoZEp3
VooEAxcALKyMsGnguNNd8XufjMFKvWc+ykIl/+Q9RytsTaST6KjAOw2PdeGa0U0zZVdLXK0pYVnV
K2+fDDQKypBCMnNosSZiQV9ccgut5Af7OP8Qe8XdVRPziDCAeljOCbOaoOUIMQUpIv5bSZftVHkk
WQN9WBqqfZw7Ai7EM5qN1bkYquZWTCxr1iT6JdU6Nf3gsvrSfQAfYY40c4pJ3Waph9R10Fz5KPUe
71fFR11BDHhzfau4aoX+kiuueo36+GaJmtWX0Ih12IY4GRL7Wx1S/1I5mXnzPO+ED/LDT2VVXGLi
YvvxEZe0BeLY1C8tc/6nUiAmSZEW4eRj21mEpJVA5HVh68pNKRwJXNmZcqiTa9tX+nPTOmiP+Ku+
IakDc+8Yxleb2LQrq+zn3CkEW3nVgprsDVKenr3K0zddmAaHNEF23Y9JvWm9MbgYAuD+0JFMVAJR
W4toSF+pK2hM+ngg50taavyoOtQYC5DfvJMTOt/796UqL42qTqHsGO6mnRoF0LxHVCwmv9V8M4V0
iWmvuuCwGm33eNM1Qb035aOymY069YRvzSfycfbuVDxLCj+HQi9TvQqZ42J3KtHRitniLJEvqrji
GSUUZEjKS6FY0TOt4VOlF96fThEUT7LVxX7eihlFHx9rEtwKwhIuShm98cYqd9JvxL7zyMUrTXxF
fkvipJN0X3S7sIlMavXSFLV6bqbkaFCFFotOkElWW2q2pw1cvfjUUntRQYdUSZYXKKfPJX0CG+JU
mMJaj8ft45qMMIQxRFUtCpNYn6hFji6AeRjrKoO3A6RE33s8ZA3cV0g5imSl5IrxIgpHOfuEaLlA
RecN4OMQK2wF7fTDUmw52GJjOO8fnXzw1qmL03Ea4CgQupSsQ2xhYdvAGmtd10ZxRXMvtgmU1cPQ
+WAwuLXDEAq/VBEKm0+129kYH7tVkDHFZwWlc2ATBVontbULErVazkuIn9NlSIKwONRyRdE6lfU3
ym5IPOn1eiWapshqt45Re8u5WT/YDNV6kqh3nWsPF7vRf+fBuGit2nxnYutsIxTc60cnhCdHUAbO
waunDMUCmmIygIztLHkP09eRW3oJkcW8lwZpIZnlarv5smYSA8ZPdnZEaN2rwFxVansozCHca5Tp
J8GiOCBCXRUVz4OwIYjKCFkqHG5wlLSKkWPPqLJkP/e/3BH1CrTQw3ylyW6YA9946eFSBaZo7Ofy
Zz4Atd13RVGd5yuC45r9xK4IDH3S8PSkVIo0PadRq6rPeeoNZMJX5a6sNWVXVfqLocqBp5Tv9VnN
p8vx3mOvThEKlACq5GymjBSIz8yHrxaUtT2TCXxn8nI+IM8yiAMEGGeMBAa7gjnf/FFK6vEUkf99
fnzMepf/s2Vljy/O39Ey0LeZjZznKz9mczG2JCqEEzNZVWRY64aA2I2eTVHFbLJdIbE7eANjClH+
ufnmOzDH5sQ8dspQYPxv94IsXIwkBHfEKiY3M83cRdA4/i0hW+RoF8AnEeje5pf8rm43jKf408vv
mL9gKJmKwmnKN/Nr8wF1xMXAOAvltkiAf4rG3abA8IZSMMEETrac8GbqRKml3plMsOzA7bdXME6x
ZXOID+lIm+kZ8LwBGscoB9ztLVOxoswDtG40TnOvWyrMxBhVBxOeMI7B8tN0BXBbaSFBfZUswyry
9t0QtO8Zz4+2JC8hzJzbLPxPs/7gVQwP+Ch1r25lUkbqerOCqfhidwCHqXmRBEKnyaHNoLwGz7xP
PWvallaFZJ42NrRKeYi69s9ZDTRtB5Af46S3qTzRIxfnSTybpV0iO/aT2d/DOi23DukiT2XeD6fH
9FSa5eczUaY31WdKZVIQPl4KE0JmJzZrq8YoxVn+VFBxvUs2k4jMxruoRbdqhBue59fng6JoITtQ
KthC8wCChIwgVC10ae6LexDnyo5Bpfql5EO3ITwdmWE0JB/zGXEV6ePs8Zpg5aVR86RmVX01Q7rc
NcXeGudW+AMr8q7UtWrLiEdF69htlDFrP6bQ9aQUejxmoupOuu20y9io1aUZlygXvOmnnuGwmBf0
LkIDA7ubPV1yDQsknL29TzXP2fetqZ9aeZjPMPGkJ6vYPC6GyDiBByKIKETiJmb3bGgULmEcuCzn
bl41xj/tqs9PppM3G9jc3Yo0QMYzk2YuafwVzOt19T5arv3k5Y15iAZHOaZFpdFaIERiTNr7FPX6
Tg9rVgjZVAoyk/6Ojso+p9HvoUrcdhbTraAOPFwEX1Xn0MjHQoOfxnd3RvjMwly8mwjeXaYnD5u+
lVjXaUr8W1+1a+LwtENPqVauxchToVY/2QkQFeKyQYqhBzxpjY14WB4MNtCH+RKYKXfZYMO8kPPa
IYt/+pERr123RLUusIeCnSW0WP7jKtPCQ9u1/a5jwvP3S7pLKOO8EVZLC4OdLPuQmeu7PqQjOBd+
82t97JCRCrgCMQ55YxiGWj/Xd2lYROcuITKVzpEK2M8y9p6JWX4gTfvpMaCbr1m46NSq/KmyIDC3
mqtPR9P2I5q5zDTshGdOOvb13siT/mxCyq5WtdfEC99EfVg2/QUGWHJC6HxxxkQ/GZ2x+H8KXKaM
0Xq6VANJa0HowlCRM6i5wTufZY4+YpNAdSPkYSS5emmqrtR+FVL9k5Y+mxgvtF/w0Io3x5buRNN9
MTNVf5uKP1e5HCkZajccrfw3kyvIC7btnzV/ygATcUmV8pyOmn1T5RYuzc0DbgDvRc9Lfx9nCAsz
TwIjy8jZoEupFnHVi5WXTFhIOiED0NTQXGuJgpHCyjUKvRRPmtFaf64d6pa1WZjdQmtj5+KkbPhS
xWuXAz3Ny/wavM9+p9JKIRZMvpb7AzU98Eg1ytGs88jkLb0ZU4ml2VD9bay4f876Xvl2GFBsmQbV
S1qC7kfAMFrLCDCgcOie/ag4FL2Rf46p7fC8DKeX0Jngw4xtt1aQytKH6NRnBK9IBUqBetWA95y4
1iVOY9SYaL0JUbIik9CgElV2G62RD8K36QrSkJCXHFx5mC/nwxTW0PEn7wLUtj+6jdfBleaM1EzI
TYU+HLwMuyovB+rQHxXPRlQyszMUQjDimiBttUTTn3s1mSj/OjSxrpxCwGjHhmkTYZLQIiX+LisG
wPPImQF+a8vHymsF+XGi1/YouLAG8YxVsYnNJVdDfu52lIJC6nttgYLM2s8SmlKjINDYzRkE+11r
8unml+MuY7fGLsNtx8+xZF+i2Ll2Lbi/FrnjYCI0B/U6f8GSpDyjbOzd368N1nQxHL+lU0mQGwIj
scgHu3rWIdM9hZHm7VFA1Is4J1KRfDn9PfCYMMdp/8rDqLlYKWm28uWKNGRcPjjCEVavdZ6m7xB4
dwJEwFdj0jAadce/UEPZyH0ye4n6J/6qa9RDPEKDCAXUABfGkXARh93tpsxbZ19Zcpl3ZIOS9NcX
RS9ZTa3R+TQan0hdXGEWw0onJRop6AeG26bB6DkmOHwo2QL6Bi5wvYwvmi0HQXqmgOGhsq9xwP7O
49egacQ3A0Y0nmlQoQ4urJXV0ISGnFMcS7ZoKxK++jemm9JD6IrvqfsAnuL/FpqDbaWof3gpu+6E
SSY2p3i66oQWrwKD7ezAdGXDp8g9epMltg0kxj3T2WEPnEXZEiY6IFK2yk3kEfTAVsxh+DEkV7tj
dxfUo3yaaVem1wA+g1r9qHTBVDtuvt2I7EwQOcGTASgePZ34TpPyThyA86GGHh0xJsGvodOIZea5
wYXuGSoJitejDUFvj+FabO3ulOWKd1AiJIHjWBjH+YwyXD/6hAZt5rO/Xwv//TU/Nq09zUxycIds
19HB2pqRNZzHwSbOZtLSt4AJN2IAL/4FfJ1ByQAFcgIu48eD9sWmd3gSypA/l7r1HOHHW6Ip6571
iIG4buNm4UPj7umX+1vwIg4Z0kDix8ANnksMx6OJI96pm2FPqwvAsE2d2iNu4f5XcQvhNGoK17+p
JbcudIb0Mfdj19MroXL95z/+8//896/hv/zv/JInI7vMf2RteqFH19T/809T/+c/isfLu99cmnAk
sQk7tmEagiAUw+Drvz5vIfTn//mn9h8mgOTK6vBhGXYDFkBJhisET6ILiBn/qVvGyaU1/5cQ5AO1
ov5lOQRtuKZfvJo9mxPn/1J3Zst1I8mW/ZWyfEc2xkDArG8/ADgzSZESKVF6gWlgYp5nfH0vUFl1
yVMcbtdbm5WllURJmCI8PDy2r11hPhXVY+fnQ8EvY7u4HZoIEpGVtz85FPD7qc78qA+rS8EBNGZW
PVWOTLU/lMqywri79ntb07rZljULrEkzFBWp0TPWDR7Enu57WerQVMPgAVni9RQnCUfDYbsgPAOz
Lemf/91CniDfQ6v9z18CqDdOExKd3z+17JbmzceO5bwc4dCvCq1HmdYQg+xHaec+vtf/9ezFto8v
+if2J6jFKVU8/+X/uYxxQ2vLv7r/vf61f/2xsz+1eyivvucP7Zt/6LbM+d/5H3n2z3L1v+/O/959
f/YLzG7jbr7pH5r540PbZ90/B8j6J/+nP/zHw+O/cjtXD//1B73JRbf+a2FcFn/8/aN1QBkcOGtP
huB6hb9/vD7lf/3xqWq+Iyf5x6HNvhe/2hf+7gNoQ4aeJv40bUOqqrCQuTnC+eMf48Pvn2h/AvCz
IRw4JmV8Xf/jHwUc+Wj9S3+aQlf5SyrhC9c4649/tGW//kj8aei24N8xTNWhr14af/zzLfw9TX5/
vpenzfpMT6YNZVzTNoXmCPX5dEkpVEqDetLBUWy3NG5zrXCN2fEr0/GX0PFDfLEUoCm0arD8+E/e
1AuTlUd+6aLW+vtP5mii4vrR41OOQYTcRYbm51p33c/aXc1VtcVEUZH+GJv4+u3LaevD/Hds+NdD
WvL59XpLz7ImxVUgFPNpzMWuBA82LcaOzcNJp1Ux4LDVbEkGrGD39jVfe0T7+SXzqLemUXGUAzzT
U7iw2wAV1+M8HwTLThb2CYuVHe1T71zute9oiefXay2a+RXZOGDGA6wU0DVYlW+M93QL+5HeXo+z
hRHofW2zow8/v/2Mr75XRufT74iqVmnKoUJXpSc/ZIrvHjaXnBYWPLM0oo0eW5Twv8SwPN6+4mtv
9Sy4g1SKe6vvnUOV6d8Dyvct0PBYtXawq9wyh1CpzCctsN57q+sAeWngrIvNk4HqxJrJOqM6h6nv
oePH+7b4LGcsSVF5uQpuvkLbZwn0foc0NzwW0ryZwnvM6r/1BufIg07tykTsar4zcV79zISKpzeU
ZTQwjeYsDy2ExdS+l5Xw6+Bzq9uAjJYTGiJfFIrP9ui6Ls33XsP6el96DWvwePIadDqncO5gcNXz
B200fNrr79QIcHcGPbenh+GvtpYe1ogJs8jwC2aXMCUCLeOd7/7qc5+FqYLg3RnGIjltw58X2id+
up6WdlvOZ32EFH7XaTsd9+sxKLYpt/X2eNPW6fPCk5tnkaoEE2Y7RhIdYyzbpNNQZUH5AM5HBvBS
ug+Twm8zizlV9OvWucsDVBtkFBkBrZ5phBDaO6/glaFonsUwSDxspTPdOgi+8RrDlv4KFx4/GQO/
Zc7T+fve534lXJr288+Ny6tQMEGxD0luf8Av6WTQ1hT06XXAsXJZRps1hg0ghJcyeS+UPE/f/hWi
zbP4lS61hkXrYB+M0d7Nmg6pW56wOf+em/0JqdljTDHmcLO+WbpwTpyhoCC03nm72mvXPwtlaqx2
UqiOcUhEfSfoEYLGuK2sXxRXTpa8pfzhlwwzjqbQP80nO1pOFkPv7WH2Slg7z1kbNueqhkj0QFOo
TyXCl/J6nVt2BcaE7ztGqptZV29f7NVHPQtqdmVaNm1o4lAH5oljp3sj3K1xhK2tafpDIk5FF6Ip
N07ldBKG4i8dFcN3Lv5KvmHqz8eWWJQJ35mxg/Wn7Qb1uuNzW4j1YvJZK9WZXtdlZJ5qKfz3585r
7/csftHmzrmrvXSHVKfHf3R8Q8WZZDDpbRC+OQXANnT0e+9OoNcG01m0UkPUpplKcSztP46kM/i1
+COXgqCzGaYftIFj7kUDl7G4a/dXh90j9rvvDKZXQpZxFrLyEqNRvdWnw8JAqgcMy3oVI+Il/oy6
7sc7n/GVJzTOohFGbapTj9P0mMFhnA5bDC+cQHetML7OELVLQsRFPpz64tZCo5fnzebtS78SB42z
4ESzZJ+2lUiOg3ROtUmdOx5OrYNxL7lcxa975tDbl3ptphhnQcnEcaU1LGwki0PlOLiSN3dKR9NQ
jFVjGW5SBcIYOHKNMSvoegmPzuGdK78Sgo2zcLQYk56jNwnoSUXJk/ZuAVpwDQlRJX2HAp25nAbr
BkrIOxd87YOaz+el2VDSEWoeHOpiR9SxApqxLdIXPqmLtUsEibyNP0Z0Ji1JuLfxdfsPL3wWjRLT
QGFK89SB7Cqp7x0n/CEV1V/f8Rr+omXTierjLC/lgsdnYD22D7197VfCgnEWi/ooVAcrLYKDFtQ/
1m0I1WM/NobrMbBpK7Whz+CY3hjvrKuvjdyzKKRokd61SxkcisF43F9pbAFmaLh4j6yDNkrfTRNf
Gz5nAaiJ4DPN9G8fgIi0VvEz4CQu14M7HCt3pOyeiV8NCMT+3R2dtr6zFxIl/SzqZDSAzzHWWUjz
x12Zp34GjL1s6NVsUYdU16qJthpnug51jzLlKDb3b3/E11JD/SwUDSt0ve6kPFT31af4QaH2xDm4
cIMvDShAhqv7H17oLPIYnPg7mI+3BwQeO1nuuiY+WKC6w3A+9SqjprZPNpugRqm9ANDXO5d97c2e
BSFtdhqz1Pue5PsAMH8vqVDBA9nESOYt9s/LX3mCT2+gsL3EoCH6T697FoKmpW0Kw+Agfwg60Nu4
hY0fKe/5mBFvOoSkMaltMNsfAt4GxUY3nbGueOeZXxm/+lk0KtUxkx1s8kM5q1CUVWzxbk2u0YfI
q0TBqkMiDkBXj7J3lpXX9rL6WRxKzTqsLVmXh3naoLK4yj50XyIEXZ9Jed97p/ora/Na6Xm6kVqi
YUnRRqUHI6JnqTgF2THTbwv1Ky/VtRiqcurBQWPQQrPTNF+3juU5MYwxAd6Mgth0UAs4HqB7RcUL
wLBCN2gpm6/yWmzgGYXvReX1I780nc9jlTEiHZ1U/dCvORlh0EZ+1bAgBPq3KEDxOgRe23zDFBJ2
OZuBrrrOcSGZic/du1ueV6f2WRjTxtwJM2XWDybSWrvD29eM9zZtbq4Ykmu7xH0xMKjU6q7k/6Or
+T3+/i4rXv9+0LMq59kv/4dFz/9v6pnruP5XPf3fipnu9yLMvv96aKOndcz17/wuYjr6n8KGOqvq
tkSNb6zh/3cRU8o/cZw3DMuyNar8quAnfxcxdfGnMDRKmxwDqsIx1jTq7yKmrv5pUffEMdmiSQcy
6v9TDfN5tKB+6ThQ1sGk2pqQVDPPZlcecpQSKU685/BR4tcb36XEjNxWNsY84vwVoP6EzTltEJ9z
wAT74/d4eVYjf3r4cJYo2qatqiAb2T9JW4JVcM7uoDA02F9FEe7nQGIDpQGxxAHtpmsb1xBw/uYC
EJGmSGXT4rzjpgUGOQaVYXdqLaz4NOXHk6/39/h9ekPPU43f98M71ygeS+mYj/f7tHDTyrEfgI7u
dVmVW3C7WJ3FDp3eWn2Qtv1DNStIzT2ax7evq61r4X/HjccLmyocDp3qNB9cnC3KxQAkphJ6vO98
Oym3Qc5pNdJjsnSK2aBD81ujg3g0it6NsRSuhvG+CYTpMqcRPw7KJysCd9H3w92nd+7s7JVI3gbd
xYAgNKlR75ZnSwuQDlA/lmz22jjcycjECXQEMiA4GMAJuq0OUNp+rqfjgA88LLOcq874Njmy21Rh
aF+lPjroyE/Jxy8r89RZGJy+fYePG7Qn74471A3NWgvyti3471nUS8cBbwKh1ft6HGjd7mtQnSLz
rD6fDmGlQ9ha4pMyjyjJZ7F3rMq4toO4P7RrXeizrpRfUgxqd/WKWXVW8LbS7Zk6yLojwen5sPhw
e2zEIPGKZ8f2m97d6MAEvVcBrKMw8QapxPulyjs6BpQ9x5XtRaaajJRqKK9EtQ+6Qd9GWt34amqr
n+h0e7fQdzaXH1+CrquEDd0ydNB5z1fKuLQ4AgLhuq9lRENCjdYOd+4Z0VdtDdsOHj2q0GkTyOor
Hkvm8e1voD1f92jUNzltYXAYOseBwtbPkh+cGIvQaFtsyVEfn7T4Wxw51/YoVFRMIvenokl2cRZT
37Plrl3w5KJfipS6pAua8889N/dxkdmHt29rPSN6Oq3W21Jx3RA2U1nTzPP4kvd22Sh9kNJiVWSb
chGAictk2WAlOVT+rJUAYcymO+pQaxCGoOgYgjncVl1kwxAPaTmYVbdRxXKw8TgtsijzSkeNL+wA
eZZGr1ljkNxZX1MJUYyuLSNUTxByj1QOfJDJ83WDs4urmc3a1rSTfdpszcpZLqe8us+i5uSMlXHh
2Hnk6jreQ7ls76pIpIe5FMFWcrCOfqsUx8oof0xzn22HRccPagGFUNvZhZTLdkpr83oIEhrRi6rl
8Nmo/XRBRZ7ntHkg4lddlTa/zbKCaLNk1D3VMpBG2NpJRsj4oDwSTuYYHMIAs3btVAloALvMEswA
Nbot38kXjTUvPJut0lKlZtmsYqppnYV8pelkN3R9u4+qKtnCq58+dAK7japPcFpsd1GTVFf0olHA
RCdWhNL8KBb7FLYFGswowoMe5bS3wIPYFjHtQo7EV1XtZ7pv0zsQdz9sqp1eW9yDOLR2UlPa+xgu
r9FZXofc6KvF6Ydh9g40Rvw+E9qlCroaaerV3skF7fVJnj7pOviYDRrTco3s5zG9osTOoXyMAbxj
fBlsG4tktCYXoD/vDGwuGWrdsAPFV3kjLHyaFBzYKgEz1ciD22hp6k3WYFCsYtOGNGOejqhKFlqA
bANCotB2cZtV/oBFKdBVbLxrk48LtfGyV7vihHcElOECKqKkVc3ocjTfJP9mEAsUV5tBs5TrpZuy
T2SB2UYogCSx0lW92UEVnWaa4GwvBIfSxocm7UaUujhr97NHgxly80becBSpImpVVZSjCecMrVVB
SzHEZ6MKt2mEvlI3HPu72pQXht1It22y5souapo06tG8Ep2yr+JquE4Yq6Iosysllp/QuCrYkYy9
F87QgBOAC0g0nAsTAdA+TVy7QW/zTox46SvZlhAaSRfA5rOVl8ZfureUKNuHTcwFktkTvclblza4
9Vjs377aCwFJU4nOumasYovHgPUkwZBWavcTo2hfx0viIRDDzyNVNdcOBjyJBc0dwBuVS+408JM2
fC/POEszfodpmvnW9ZyTev1sm2JPSC2WhssbOf49Ey3Ps7nhXnHjNqXXS2wj337ex2rC2STgJN8U
JksTy9J5ncPAq0vNOqoX0DWSi8WkiRFxH6yQuT+EQxi7wxSOGJfVwo2iIAQFGMttafYY6lka81Jx
9ou/E6PWHGF7bHMxdThMaWBPEXAkleDQVFmEPztT9TXH+/Aj+FyiqZrDGHJoqSrN8Z1P+OJaZ/FQ
toF4ZtUAMKKefENlpIl+UNNq3+Oh1XVME1y36xVRjsST5shQz5rDirRy7YipW6KX9Ot+DDaFll22
/axsQ5o8PKegn/vtt3228fu9DDOUxWpwyCg7T9b0XKQCIVa1xxvkBn7BhY3JFsri3nWcZrcImZ/c
PR5N41aR2rulgDUVPP/WQop1X6JZuiPOUkV4D3Vb53q17+omQJoMQ7Q0jRNfgd6sbpezyaBLgA/t
eIpey2NoT7h1jzh8N6vqXYuhxL79Qh7zjvNbsum549TRIus7PymqacJEVU4KtlqYeJWBHxDJ2j4L
pcSm5J5mdQnz70PfTPYlE5diAa2kIDdvQjgsNn3/PmfogIm04xKOwVHvx3hXj858ka5tf2GFM6Sx
zBeVpm6w9Ljrm+CdFEZ76aXa5Lc0RgNBtc/PMZeWk9NBWtXejFTBPon+sLkL8c6bcCyvLsve8ujh
WXWsTXk0i5Fua30OL/QGbnnQpIjvMvXm7bf64j05wtJZ2VDA2I8r35MZIMky1LplBjRYPbiKgZwV
DTiuFIVS7kvau3g1WexnCIlpVMDNnFUYbS7i333nmNlNM6qevijynRX3fKuyJqGOQ7MomYWw2dQ+
n5iV1gYyHWW5t4uY8AkeyK+K/JANJD1586Xos/tgREn+9tt44ar6uo3VbMnAl/pZ5p07K3gwj5DL
z9XdI7XVFimK4kxx/EdoGN7krrLy+d6+7vmecQ3mukogQotk8tznXyEjjVYqZSQOjT8UKY0LlUYz
cNC09Wi05AN1AjxN3rSrNL129XRWvailFZwWoX0YmlgfqJ3qhaytnrrUDw2ePO/c4QurHYs8uZ5p
Ow47tLNX05T0mk5T19D31l4HbbX4qQZxXmVT642DStvL0Me3ZtueHLWgB0EhnqK5P0wDXX5ZYVyk
wrpKsUw6lAVbcZtuiU2ZhzEsBPH97Xtdx8ZZoNBNw3JI/zQNm6SzerxC9DY6til7+LeKP0/qETjr
Zi7T3TgAYX37Yo+VlfOrrUmwajlC153zkTqgkOi6NGz2oPc7r5/nZo8dYoQ45Coq7NsYS2lZ3ozU
QLYL8utDjplxjZ/GOx/IeiEfMChKacjhWKApSD2fMaWlQj928nIP2pvUw1TvuOGNDk7sQ8ZYmhtd
uZ9nnezA1O6Hcax3VdDYXmF29/VcTZ+nMlvcuPk1ZX0BsroKr9IW4iDTMOSAKKq35rI4E9UafW+Y
0TEoZXwxaNrRLqPkMlfDcFuAuHVzjgJ2yLFYproQy6G0AM+mp/rHMoUdnOTOjzhv2cBq9L4OIuAP
JOwb140uYnYObWrPoa36qEcFiUzqmFtzqjuviOPL1GTdbWxVbtjQuPqFCdV8rmrlUOI94lhAlULo
WhiWx+9kCS++WWnqtqNT3LMf3/yTELmMGHPpBfYdNOvBsioU3dc0eLC0coh9kpfw4or0nV34Y/p2
NqwM0+QQnssaFArPP2c0s7efq3KPUH3+0cwypdocVJ9qHYvTmoQ27UKNPSIF6aRSBpbBZs/xpO0t
lfUFlMl8gINhuaAvaL+Mss+QTOGoJ8OwLm6Gm9d6eRHJi7cnw0tvijt2KGsSRKWzbhifvKleXUhS
7K7Y5yb5bs7BzIXRV8Em10x4FGU4ekkDyePti2ovRG1DEDgleYG9lgeeX9VITbHmwvm+Tkea3ygg
+RyK2xucBe8T62EJ6+JqjmS+4aSAcyTB8O+qrxaNKF8mVZS+AfP5iMEkB1tLe9QNuA5pntvvxfgX
Vn98ZRyWf9yH/j3XdBQ2+hMMnr0dVGCv8m/CrPtTmkESHft11UdTM5gGJpIOhpZ1WN6WVTF9Agpz
q5JEX2q0Wb3z5l68JTYv5N8aaeZ5pQkeArDmLMj3Rad9yWgAPRoOdqq5YyGExd1DqjhuYncT780l
+MoifA+cONmbVrXFzOQT9e7rt+/IXr/V+bCnMmmsJXPdYV/z/Fvi56Pl2QIqODBMy4dW1G2WqS4+
wpKP/FZzsEftzcSNA2OAEyrsn13NAG/lPovm5lfh7NJc/ZTSXn/RGZRiZtvSj5UT0LzmUKhK4uaq
C4NwnxnZ5FuyhWFLy96Gp+s8cyCnoLp9p1XHtCw4vsXKeke22xwijMO8RbMRQq3M0ax7PNGdYX9o
dDcm2PTuF/xe6FfBU1DpU0gLOoVlodepm8cR+PAoTk+qnn/R9JLNeoDynV3zcATSQ0EtHY9EkPHo
BE0GhNDCFAd05YlWnZbmI+DWlrKdBDBEkwqc17Sm3IJD1j8gZT/O2vRdFmKG8Fbgwp5Te0+L6crC
LfKAGAbTLwtcL2aTX2Ll3S3hedF/zVtMldUPWz7NUrXzKGUIWovMQoVUlk76xmnEEc3osTEasMmd
OmLJp7IRN82vaThcAwFgOzcZK3OzNzZhlGnvLMYvRII1uSYM6AxoKlLPR49NqV/OeprtMekKoQks
nxHqYL2Nn5TviKskdH46apq+kzW+kBpZDHWyVM4N2JGfxZ9ZrSGR6XO2L5acEopcbsRs/JjN6kMj
nA9d10LYUrQRiiTr8Nvz5VG+/Xy+mJSkKJqzoRAG27XnT5zHoTKqU9Dso3rOvaBzaGF1Rn+eo2Rb
QysdMpaseEm/my0A/WaxaPhIjOOUjY6HFQINH1WbbkGC9n62pSsu/5Y5kP8MYWdX4J6wFKrUdlfV
UbfKtNTvoUbzkRlOxcc5xSOlxYXXhS0+AAw5jsZPC2yGqKilh6Md7pWWM1FoQcEGaki6QSUtST8S
cSnr4IuVNPmeMys3IxJcw8K/RiAHzCFVhRtDr70xE3pLKxyiKVHXF4Bfqi+UEgwEYzl+LG6M5HY/
6orJYfKhKOXoV73x6+3X+zh+z14vOS/1AVVXyYvE2YCqzbnFI5fzCGUQX5q5b6iwJIcqcpQ9e6bJ
Hdqiv1a1ys/JT6whvxkA/iKxR0woS71029YeN02BKUpfL9YxQo0GblaeMh63oMZySDW0Iia4EIon
vb3VZwpIqNjCrRFUF1SX2I3J9hs4oMsFO8owzs3VACLwcm3I3MyhLBolAcVqfHFKkkpfxNmhV0EG
RdTX8PJVW/iCs7NvrG4XhgqIBVO5KKFxBrJddmgJ3itLWdQo/i2Gw5oE6chhoGpQOlxXnSdZgLPo
XRDSyb7XYna2duxU11lHxXZxjrDMP0EJjj+WGvTbGFRRA/7mqPbO4HacnN05wdfZcVwrae3PxmCN
py4Sljfh+oxNSxTszVFrr8Lxg5UbKlsKCu3zOH1N5DESRsaRDOVG/Hw+p06MRhUrzzC+r7vBuC4f
SspKEI4LZyPQPm3CJvuVjJRFMRt17QobbR0eEmzBvQN3YkM9OHEzlEmZPorN6ER7OfQbSkKXWTyt
mpf8GwhL5DwltbaEI06wO36Hx2gV1ah9MjPfBZgw2nN728CH2QBRw1wnu51KA265+OhMtPuHFYa3
Va1/lDgShQ2uRTSkuPQue8BFPKDFX4JKhhdBNf4VFhEOkr2z7Qq0mtJMVTcyqFlp6di5qYl5Wr08
VAqWUbRKDm4R04pQBpXwRtH9WFSI96jDIW/iKt4mkL/GREDkhIs39AyQX42D/Uw4NX/NmfIToMVG
oRskjbK/Kjv6awgxKBpZm1yNntaiyUtPV/TUT5OGqIFzmxdra5eik/v19wrUODx++ZAE2qcARm03
pSN9o8ENrF0wJkUXQIrkwp1qfOotXNqzbLymFZ2qeSvuDFkOBI8l2ixR6iWdU29g7Nqu/WCYbOI4
Miw3fFtZKBBFwlb1YghqNni1IJdXpuw/p/Q6u4vTS4ol5MzSRDFSZkHmI7LexKs/DxHMG7M4pi48
3of2nHEc/hCRc1zEpX5Hro/EJzrBP1T8VmI4GKjC8MVAbV6o4leMM41bKilEsVTxwdrFrPWG7mG6
ZWyRP6XezEZpU2nFCP6xc8NIerGitYRljDVGTKyGPA0xAmp24EesSzxuGo8+KF9T6p8tRq5HfYpP
qY0zkM2GyKMnqcXQAW+ZpD728PooCCMAAttSZuG4XQwUmGN27TRpczGFA0DFTlyMSTygA8Pqop2b
g8ws/Xq2nIslzItjO4fyEnJagZBG0ze56BENRAqGW0a1KYxyj23GXwZihgs9mZPNhAAeImUynHB9
7vbG4By1ZDLo46m/AKoXG4nigCZ4bG5bA8OiYtBu6w5zATZTfsSBDKiv8adRVvd9FVmu1emlT8q5
eNosc6ygFVTJeU+3fhzt4aW5vWm6Vd/SaD1q7AXz+pfZ6KcgLgQI6xsoeBAJwqT1snloNhO2d3Zc
Xznym54HIAgA8TG6gcNSmqIwicEebL7ANQZ7JzOxA8DxKzTI9ZKFlWYsYB2M6ezFRYpVn7gCWh1v
QwUI4wx4yEGyN5u3mXAKDw8hnWGU7Byj5nSxa6zdMK2WSZF5VdbtddJQfDca/UaE/YMt64usna7q
bv6qRQ7G7A3U4tVILBw/k6duO4g/tlEJVK0XCkZSGIH2jz5LwzYI6WHMW7QBWISHNPokUXwY6cHW
9fs0mo3DMFN01ZPebWh7ps4a/cxnINQ21GucuCkNxfqmkcEHx1743SLywxlXw7RqD3ObqSzY8mTa
1YdI0nAJGtBVwDd7qlkeGnqaT1oraNdcuecF/AXyOsusdM6Q0BQuChy2NLYvqc9ecFQZ+0Jj7qwd
+Fklra2KMVJ/KSYdD59oGX2tVW+7pMObwFZCPF4blwXW3AUt3beWGhwW3S4v0xLoQbUO76W9EGK4
itvm3pgkphwtyLhog7VM5LZ1/1MTtKgjDzhVk3JBymW4oxipiK5faRmuAwN/J4lnalokP6VCoWI0
k0MdqTcR9vWrJSXeqABYCy8qVux+drR05UIzfzgTSwsx+0ejE5GTNo9gx3exB3RWeHa5gA/K2q+z
oV/oKoeRYAQzWuaQejX6QHfTlPktudHgagUsC8pR+5DqHnlLeSnyNMaxMgz9tDWboxoN93Mee1mq
g+Dla8Va+eBY1s9Jczx7ia9Zmq7pkcw99ml3Ahp8eLfMfHWoYMLBWWLh1JQ9Wu4rUXO7NOMJb1XT
RVX3K8HQQzftGM5KlXiaNRwAyuaHbiEfaGhS1xwJ5zL7lBrilp20N2NrHo4c2/Yk7vMAk5rNk8sp
MWTNFTAL16WkrIHb+qLGtTdKdfGisrxl65TAPbaYoSk5SMK5ga+O4s4J9WGPnNjL5ETnxjryKnyk
lwrWet7mF0NdsSTAIHdw7i5NSK5D32hrDztWyCmOoIPxMAvzZ232X8hgbyFi8e7XODdggqss0wYf
yITT7pjWcGXeLam+T3DIpO364MgC4ivIbmprbh/fRD0QRMWKgYKzhW/UHBfBPrqdUf4qmvBkwFhY
33QZaPwJ44ulOTSHL0PMux1vKyCXbF5WV43kFKPBNgvlrpzYBXN++FNoMRSvJHDtqbm1LL6hYhTf
YuiqTWVfUgX6NjrJrnFQosDedatZPUkC/lhPsZ8EveEZp2YeEXZP7bfAbL/MgOSVtozd1om+Limr
THKdsCl1jSr9NI1015mVerBsuDGDK+x1jYXN0NbFBu2Mw0owAQcXe7Oatpgv/qptsR2MHO6fRjaF
xR9aJ+M2iVKqynBnK9q2pvEKxyN5YZhcLQxIBAbgRTmO9K4BuXeHF9oeoXSEz0W6FRpnX3PS781W
h3s7fe618Y55WPNk0Y4+8wslLby8V28sbdm3AIGnBNCYEZZ/6aDzvZFErtJYKe3UbdWk97rF3E0L
nrWz0VxGptG7eph6Og2jwGE4LJ8R8pp6+jnCvM3leER49QjzxVRuQoFvdJd/msA995wKbgKmkztC
m+Eoov7oFJPqtboOskMbf5mpfaoXx7em8C4RYbabs4iK19BHfhIVq+HpDH8Wn1eS5ISzI4f1IhoS
IJc4mTlVlHvmGP9SJ5QUaWCze5qPY0GdLdW6cVeVdLCAW1cyccSXmL6hMaW7XUKaUyf7mDbZrtej
xqXvVmAYE+UrnNUtOvCqNjjBUlAHzqX8Zjp3lSJTD4596pJMdzTiRIinTZyXo6tANl8W2dfQefmM
8fyFTfbHZZkCz3Ri+JUd9VJtmkIvDQjBmoP9e5c327TNPrSAVT1ANKfEXo4ylNfp3G3HitCLl8yP
LquyQ1SgRJdV07lLOzS+TErH63VS8Jo1AohJdkgq+6FvYjBtYDNcC1X5WGDxGae2AXsmOJSDQ6+j
tCFr44JtOQu+dyhttr0kwrZOPOKmF2uX2PWqF7N1R4n4SorxskwX2JWsL1E0861EMe6GAXFTWGwW
gchK8nYOqkFykKIW0GYUwYqmYvkypZu4VUpvEmPOTAiuxzyIPOpHMT2BhpeuiW+ttRVxa/Z1FfJ/
Ok0BTUfJNfgGnADzSsP+DAOJiTyLbtYC0qg6ntbkqiv3uQPVrU0HJDikOCRj+IVVN40uQDjXwLSs
Rv9IEW30KWaGG71qyQHwvcWlwMfbi6Aww/E0bPUg2jR1swanCNB2p7IaXKsCnltBxFSQYWoDZogB
kFC21WjbTHbbIrzu6gV59wrJmnfo3xr6+5jqTNsiHL5ZFJ5PS7ke+2K14jktuhE12JlimPYjVoMx
cDEJBFlCX3AnYX9Jo3XTNRQ0sITG1ZxiPzYFmyU0foTlt3Iotw1gDgTUxacWX3dXV8DkJfmWihpZ
tfUZn5DcK/q7wRxvoE5Hm9pSDn0H0GL4jukLpp4NzitAsIDZ5bhXHJOZe+Okp+TfHHdqHOEyMh1s
p9y02KO2SMxcsuUHrC5UI29OEUXzTXitR98ns3FOnMwAzBLqLd8Uc2UWveVXMMJACcfebwt9Y7Hb
cqaFXsCa9DnpSCNGctdm0S8HBygv3seYOKOHn05NFR1hHZy6vqFxr0xIPcLZ7+0KLaBKBFMMt67U
W+rXZJeJ8a3PcDaqx/tMBh8Tw/rVaxYME+xG9YaFaTKtX7FqkIkUwLTyEzr0jQr6A1LMvkzqDyFi
SOzQiq+4rtZea17RD5uSdaS7Yol/Blpxx+u8Gh9LIa0v0rK7woDu41AuxPK66D0W9MJ1+tbEWSC5
jHGqdxfw5xDnNORdBsdHhn4jleKhW22PKieaN5DPjnMQXkOni3BKZCjM46ZugwdKs8i+8A9oE/NG
Xe0AKvJIofSf1FwpdnJowebGKU4IqUotTh6dnJ0/bjrgZ/Aq8gUFjaE6SkW5m8vdFNgfamBonP7C
o10s3cM2eSgQopnLLzkFR3WOD87QGfDFrcxlq78lKbhswxlIbKl8WVLVA/tToppPQeFYn5aRvuDF
5hzDqX7N6XCAoQXOXbI0KM5XzGEyGjKbxE8jR8WOPcp5uI+LIW0fSF6+7i5G8N+JvaH3oS6KZVtN
S78Rzk4KAiwTOhX8puZEH3uZKm4XsVvoOvEg7XjxJwzTlsjE9NZeTs6Afx4NzYqDNUeruD1KZgpM
8sMiMCju24Po24dAQ8KSadEljOS/epNegylBRvwBiEVFFaU2fThkx+b/cnQeS5IiWRT9IszQYosK
mVrnBqvOykI6wgFHfP2cmMXMorutKjMC3N+7sh+zq2ysmixLVC/0yWnserVyj2YvdiI6hyRAnJBu
nMr83TnDZUA2V0D9lV1VIFliLS7u6qTW6HzsOe9JX3HvLUNPa1SUNe0RXZZx8OivjHBFLOOvPdt/
LByGSe+058YoX/2AP7rb8g8yt+x4mXlvOOvICf1/PkDWotCp3A+jJXJwcl5rU3WhBlQWGmqDU5Pu
j7Y7fwkBt+N2o+ls8rzfqjfirtK1eN7ptpTlzBA1Bl9t0YcUTjku0Z+6Q/PzSdMo2Z417NGyJ11i
I423akh+dTjRl1wyDHp+d5dV1kY6c/WxeFyKkq6vpU73vSN1jJCwlWjV0p5DGuppTRnJhN94lPr9
HfkSATa2zfLKaRJ2ZnmlSOpNGWXNMc5eO1XqrbbngX1x+wOuWx5y8re0Vq6hmGs92dxIL6dnIWmM
deyFRnMSplW9z8fBcZ4DMVM3VdMI6BL0TSg+OdFrVNUOjTrBn4E1Ms4HaoQ4nJ76HBjBA3LqV5Y0
2taOiPFsYvo9GoLWJTHoFS+k65MMZnyUk0sb3LWlM5aJkfXaq4sftxh+4U0kIqme+U5yPU9WOvn6
69YOQTjZJvKxrdtiSrPMNAu+lmGh+oytSd2oXMCbMQV0uVWfVSdz80m8aojpr6gojIaR4K2uWBNS
pGg8olU1dlRZhjKvnj2UVve72X5SLU+SqucMEXkRFy7ZjPOFWrJSdCdd1igrhhxwiUApy6WZm90Z
rbr1wD2HbLShQJsCjglO9zaoMxGQYD0XqjhICqnRAo6SejCWNBaqGGKaOGO2mjTTzPHij/dZ7pB1
R5YTcf+qiypwYTiA5qPM5n+0ByXG2uJHLk0tycn3SoNFhyleSJ1EKpDaYG55tduXucwZU72dvAW5
P86c1qznVrxN9JLeSp6nhu7UlnfMoM7cqOiEYIsvwqockYsi3DzU65UtqD/39vDYEPmeUMvC6eub
3T3Vgi8m4T/PZfejppY0FJmtcd6W8e44ZDhqy7HVCSKztZ2AsEI9irZpTxnZH6R0ui8tUV+xrlFI
eyv9dUuHwqHKbi6N4JfIWAgrz30pgI5AoMwxHkc0vo6lgGDYA+tIPBdeazNY9G1Y1n11yvIChEzn
mQ2U779sE0Gk5opFfauiZVkB1Yi3azNfeyl5QghyZcxHjoUIm/ER6SeWoHNFSlQEbZcTJWb8pQH5
v2E3npZGiNQwOgKLe6Q+RVscJn8cwu+b22xz9g+pHf3ubNSdSzrgtFH9k1VpQ5Mwq9ge2jxnoV8Z
T1sjv2nYs9N6Y/Akz6aIiOBLPQ6ufrHAToztPI5MPYX3lQ3la1EOSdaSKUvbE2EhCz6QMucOzyj/
Cv3BchLY4XYPRKRoCQEfc++VzveANvXX1/qz0aogDMqNa0o2x0xz7GvTDXzWBX0HnqjlkzuSx+vr
+dlkuruuZqRIKk2G7FbdRfIpsK71qd161+ivuS7EUR3mufoKNGuMun27kP8NrsZyzIu33i/NqwpW
UNWb4opO0rfdozMrCOhbriDqJvcJ7LpJ4dvKsACeIbIheyvonMGlRVvkBOCozfmt2rJFFF19dwaH
vWM1czRMduShGiVOuWHYlcsdoljj2NMcedeX96qtp1vq3is63jVZJaOE3xuUyrGxY0aMaq+s0mID
jLXHbo3HBjWbnWMusceXpgxQh3umSovcYp9p2YQDdmwS5UNH2bQ/uzSd13rxePMxTmId47no2gjt
RBGZOiuCRW0g2GX/3G9+lpAxZ9IYmS1Rs5IQalaUGutpTaVTOntrZM63MjTLpZrkJi5wSJ+VkwLD
gJXIcVOM62ZdixkRHiD1TQxvuDRv8nCgdAqeOYKTSs+QUrHQnlbaOCrnamVhtxJ/q5ntA9Uf5L+T
bses/OLTTRYSYXW/TvOFhjCWSsBbw5qvncK44pik5BI5cCFdPU/JOj4ptxnjZUNeXNFfHlHj46eU
35Wi/GQFGNIV/b/IR3V76f5o68RhbmYb2rKAB8epYVwodLZzscCP9Mja5zJcDOp+zObe8HH41cSR
EkFIyznSjDMnxhlezUpWWqj2fT8iynrVp4euGM8VWNAhZ2+hApt9jASE3H1iKkOlYC/txZekfQLp
liXbLa93UHds79ZgEYJbXlokG2C0Kw+RzIn4IXnvOhXrWa/jrQdjkiMTVo9+J65M91N01fZiVklp
V2BNA6GRcuJ0dpjT9+a9N5V9tWekOAbFdqpFYDv62Ao96+z5zac5rOnG9JpZQdj0pZuodj/szdwc
J48CtamQGHJs72Fmw/U6Lc10EpN97QBTZYSCRZnqEudQop+IzI7YVGOzgMocphnb276lQb9lRa9o
uGINNk1Qe2r7loRB8GWYmYTXbXpX3dQnK7nqpms9DsYF7fr32igtpWTvIfuqBcVQEkFMasx79VhS
B3lyG/t3wFkAR0NGf+lb7VkBV2nowCN9TAT4VKJbPNWm0fSHbXCOOYD6oApM/DPvdqDn730H/jGq
nu7wYZqOvV8f1Wz6dwHZMtFEEwIn+pCfMGpxt8FXs4nlrCF2dq6W4DhQWJj4+/Jlj255qYRP73UF
HimhfLd8H1NhDvd5Jt+3mWKWcn4qO++jL/hisqV7MN1MnaVGjvvqvW2istHHWz2dL2V5GochRnnQ
Q8KYRjLgDpAaxj1rKPAkZ3pCfCIFUmhuraAC7qsvc+3tETPr00ygR9Rp81W3BwTwQqsv7OOHoNGY
eUSzhKWzf8OfJ0HHqE8j5F1uemCjBcOiP/XxsHRcfMWe0n5w35GkPlPJfsYRxhyuzOy4jN1Hbjji
0grUZNCVmpR9RBNhH/ntnJQyl6kz2m1EYcHJZWiK84BFhwFdf5yXionU8MMdecKlrkng1zPt1mNb
TKmz+i5pwFyy5r66VI+tf+io/oXc9lNd7u7pxiHTJxXcuQZ5qA0syi5RAe+q+TN7m3FH3rqdDjo3
i10ys6El0Q8uPJiYjPGuXIrxTgpiZvtgSyTfDmwWYYRaeZCkNx1kKUOkrXkiywFcj4VyoPg5ciC7
oDWevHW4Ok2fFiCdnrHmZxXcuDAXWBLqZTmX/DKHwnYeN1d2B3MkgN/jQbwF9bqnqXXHRJU0Plst
2LrLajbNe3uvFTcLxcxNyhDzHtzhkV5D7POUOS8EPnCC3YwcfbI47eNM33Y6r6tMZrp8WwWCuPMq
16hiQ01Yr+QZ/5HeXiU+NSzxllWsw/CmvnpYpP/gzJOdOFp38ky3SMlzhYcuH/Ki306Wln8iROrS
sgJ59BtLpmuhr7FEMF067b+sKNu4mSug5gUYuDC36y68O3ReGT4PtAIaQf+JXizquvdMYNgVrgTU
lgggi3CfhunRt7hNl1ncKGD6u22l0aRaWGleMaLt0gOGaj03oR5ivYO+W+/a1nnRR4+10dkSg4T4
h///36Y39UN+mJq1SDCBUebe7DFvn/GcUxTxMMz7J8yHuHMCELehEE7a6NUY2yD2JFnoh1Kb2sg1
6OG2XBRzyJCgBnPGePYCaMbdf23mCZqnG/RoHoNYryYNbsHY0q2DM2dvcoQWnKtigACdtSzquIzQ
2/0MO5zvvmpMRFnLbcpjd5PkL63XIdaHjpImoKHVCeMEZRlrnjgEXW+dGKSioVjdVNp9GWa6HFK+
c4vOU4IiZuethA2AptJe8ilPRSets+GV5pv8a4+yS2za0MFXtTzBBTma/rlrJmjwmjD1igqqoPNC
3S48rrvdfNS34luIJWJk89LNG+eLxsFHWfFy7r0bkb04I1b7D5517iafmPN5AK/aEYGhIYiaeLG6
51X3NxovZBsZHZdiNiDyF0PNJ9VqB6sJ/ukjkfqNOqhuvkPm6Vwz60kB/h3I+pzpF7TLeNMyebCt
GsRrsNmc2u2bWe26j4zLlpQ//AJZrLTquGy9PC31/F4BtJ+rqg39FoWTWtASazrDTG6vNrjLYJ1R
Hp/rvr8vHepDKmGR4UKeaGYG3GgoLJkBh8tsBX0ykm4dtRV/LdBPqZnXCkqgL/enSrT/TO6CMB8L
MxbrbatuLmBqz/ZQ0Ik1zle/NHYEcfY3PAFFxRWhuIKF1V/cd3clB3yeY4/wqJfco+Q7lySdLnI7
u7a2hFM3JWyheFS991JsoET0BrDycaLulh5alfG69ETT5nbwiXAwGYhFScqK+ge588tMbbWnjsak
SbI1YgQzLfvJ4I93g2QaJ+ze8EBa4+2E7VsPgswIktRnWisNhEe2ACAOrJxT2Pqb08SO9tELC3/w
YtG5nwZPXbgxk0ZeMW8hi1o4tmKOhEvTaGnClA79l+e9NtutZllrd1xj2rkogifqVddD5dQC9iSL
5yC7IyP3BsDrWySpmA1zpnZKOF46FLujP5wNM3hGcBJ1IvDux/nX6oK/fgaF+9VIFH2Vfyd6RgNm
hzuvFPd6VwCgtFAUDScLC0MSVPaVCr0Pvrw9stbl06RQWNYOWyWQYUg17RYuTH4FkIxY9rM+Dc9t
D69PmXskb4o+b6jfpSXO3CnBeVNVWlvdJ+vua1WaA8MvHWy9rO6Q3j7rbq6emh5a1mwPC3bSUPPG
7WbfbiNyQylcVM4c5g3bfNsZrIOTHwcrS0fTfqhd/63W5n4cTJYzs8AxVYN0WzR9aIYRjys/T0kn
+VVOXpB03gM/fb+bvAAN8UK5TqEGBzQc4RU+iko3e/PIXZYf7oLpmVDyK2WgkTPeyvs0dFzd7rzJ
3AxNiLqLYkDvdnGvStJ3i0q9WFP5mC1PlVy3CPwQD2y/v6kaikgN29PItSULBF+jaKI+G6qoq64t
3G3YerPGX0SzQ4uOGBkvWPGYuC5/oTUtYOJN/7X05kfmViBVnv9XblmiTHM+2+YiE6qgmSCG5byV
+vtiLbc/3XlEC5onnZ1d8pl5IvOyV4HOe1IkRbeNMaeFLA+N9e//Px7vfh9WHEzcy8Hj3CKt2Psm
eIVFwpxO77TLpBFozsJnV74M1GClk0e0+JRqyucJrkAL/KX6s1tUC+d0FumatacDabKRsnv9QLP0
F0wZBJObHYdM7WH1mmMYTIrMhCvpDnQzuQmKDHZl/Lp586NTM5mhLP7UmzNDr0ABTrq6N/NWGWzN
aBF8NLO7V8YK/d9kfnG1e9HoqX9ZE0wXyzEY4PynTQfGs4bLsvDyiEFNkeLLXdeB/at/UwKZjNDb
KszoCDzI3nyroSgh5lUv7qwpJ/Nb4P42q3NBaXmrzSDGA5hI88dQw0W47a9Z0hcilyJub6H8TdP0
odb7f8Axd9r9wsr+pEgloEFpabh/y2ewoxFIgRekt8u/LY3KF/7VDRJA5GO3GDV8DJyAXRHd4MB/
Cwji7AL0VCbDbn2uylWmrdv8Wp4tDyLvUDQvemLd+MXd+Ol9qHvSqx/5jJ1QipclUw+2aoFtcNI0
u3CYMb2D2xsf3Vq+7Tl94XL6LSoQOF9vfiG0HoVD+egygGx1FJmh/shg9dsXraIpbXPcRHTW76ol
uFsJ+lapHQxsCp06tb3+RHLoJfddyWUvX1HQvWEkx7YtHZbXAahldenV6/4QXN4lltm+gmyG8zKG
dWausWmCtQbs7Gi0Pqn7WXlNId0+OdG+FZoi7ht3J5iLXt3RvJ/pr0vIl/5nGN+6wbpP2TdE8IqM
QG+ZpZWmI6g2zjaSp83EiTsm3XBXqm2Il9GGyFrWT61Vd40zHoas+VdVN5lfrydL3ZnRmOUflb/T
3MNmAvyx7WFgorYacGnlkq4cd1gpAKzRgLYdhBIVldgnYWirJ1/ML55Tpq71Z4DBuKwzCQk+Apwg
aMJxmT7thVG+d2ti+qsWWZgCUoIIZ4J1PQ/NIYAxFDbbw14fa7kqxNh81svYJ51u5PxoTSjqKtqr
/av0ilvpqXrcmWQbrVAx4vPHoaqMe8c0TkVnHteNHVzRgBEicBnOznDBu0CJz4DHvVYzSudq0WMC
0Rfe3OxFBBlklP2plFan3YvSTR5VxGhMZ2SIIBVZNrrgrXwIhTM+Wyb0dNVMBQeVT5BFMZShBmu9
TBSo7iV+TZ1Vr9YKaGmvhsLDM7sS44DXruQlQ4k2U+oX57p256gstZ2qYPsieNWasFcsjIhYDq7C
pAWxc/dnd2h4OPg2WazeFf3jURMIde17ShMsH85lnzKOywLFXN4iCDLD2StIJEH3Qq1VELk1HB5p
8C4Bggj58rb243GnSENg6CFMMEBZMHyBIBy4Vq0EZp63qd7HeN/Fnyxzj85NxtMF71V/9oSD7PJ1
a+hsHSfrVm1XoOroyiOewv3gVeZL2+kXENpI6esf0o2QLY3197QigChWRnHMFHAnSnvpd8TrwTyf
/a75062SgcMVb84wv7YcJslAh1Bim/ZvY+svjhyQeU/lt2VMcUkkysEQskP6aR5se+N7HfMnpZp3
SXghhUx0ptZuiQTQn69E3R822iVNA4FXIf1YutubbrusIu4uT7Yz/ow1TaIZCH8/o5INHp2MEzbI
NvNiKpMPVE1x35evUzGmZi3vQH945ulHt0iH6DzfBslz5gQQQ6SWX51sbjk8H+phqKZ7LvYLZigA
Gg8ueNd5KZZKRsE8/G52UIWjKe4mAzGMM1lTOgzUWBTrxJFTMxK7wTfFYHzxXlkjIlvf5BKUse/c
a47lHJC+8040ZRO24626k2PCzGqZEJHp0O0rOQ105vqioZ9QziNVL4j2pkqEOcAdb/BH4xx7F5HE
Nk8OQ1abjq39b0GOV23qxZ64efathjGe3ixrSyzhoSMEI8DFCHR8ExQSE8z/YLhkaDqBOrccEVlg
/JC/DQwyog500dhUXAkoKL0XZygQlRIvmWOl8KfsMriBcxxXnh5x9RjHue+GR0XaR6yTsVEhv3kp
G+OeuzJuJ9S3Hhh2wU4lRHVHYPFnsRgfGroQRsGGEaH/z1zZKydIx2Hcmc0991ousky5/phW71DA
dBHBCBc500xhrGdeWEVzG1+npmFOKxQnu5G532aG6tk+mQ491GzHZfZkehOCMA/As9donc68d1vr
4QjG4qlxwJQ3M2fWfO2H/b6vtAtmkLivgvt5s57tKkO/QVu0Vtzurdm7Fk1NXAM1wyv8eDOSVTDb
3I2mXqMDKbPIJCfSNuXfBjlhmGGTjvqWs2QmAiHV+oJFO/CmxHOzyLXyX5yI+N6saUwav3+r7KIJ
CYUgw4XmadLK6VThU+Ey63nN3SISWX0AF7ISsyl+kJe7zPLDkPpajapX8/86GvJ5S/NIieRv56Uu
T6ZJY7zBgNXOZvinrCfrNKgD7ZAyKrOflkHZlx3jvu7SAtgmQ+fT9mVTfNpXIu7VCMqH3FjHCk11
076EMxipCoD29ba+TNrIP9Fm2KthEgAB/ER207zYOR03WkMGmi7seGt1in+08aJPcklWnod6gH4v
7of+dp1maZtROqz08d7eCfTtxfqtrO0h6OwjNRNpk813psr/Ev7iwvzrRGPkUAMluBE2gW/lqW97
hMTxxFvDeHL7SJa4pgd13O3XbeyQMdGNSpeVQFaXe49y9BDaaZA/rj1zOOp3dsUG3maKIAhDpVYV
/B22Ns0Hk6ESbV/XgRqNtguxJUJndD6LHl8z0ZyHbdTPTW4fQMNoXVG0BiHpZrhO1qD/dor60bNY
TZst+KkWHn9djGtiom1HUH0rctkecnN/Q1u7hUVLWSCSzmHWYsdbG6QXABEGdkbZAq33TWzb64HA
/i4agVVpMKcfsvlUDOOAkAvfqREiQnHT2SEJjy4SLXVUjamtPWDYvhquvOtW34DIyz91omp6zfpr
jDB/RgVFqQek4UMC993yYs0rlwUtcyS8/52U+h50rpveuLiUPjoIhYFioklKEHLlxLtpvmd2nwSs
RaGs86emIJIv7yQfqLLGUKCm2hpAwx04p3U2O9I3uR8rl9/ZQ9Y55vXDXAGMTNP0utWAnw62hdu0
Pvky1szOAcVCz+TkzpudJbVr1MkgnB+zgmue5wIMc3t0W65tZ8Yw0FQTt2It0Oat+RPFbfzX/fDA
BKZxefXvw+yCKM/rhyysH6uZPoYaE4Sp9UtYBAFr3NhunN+WIj4AqNEs7/K66CCp9nuqzSp2141b
cB//0ZuIKyNbTnhZGEgIJkg9vbk6wj1SdcjwBtl8zW6sGx6Y3m1OED6cF9xfp80sPlpY1XCg92xF
wzZYiPLtzqVHHPRLm/hHFPSEfiGN+ypQmDem9XPcr0XrlSjrpqdlN0ziZTxOJZC7bbDw9Dj93bSO
/5X4NyOZFqVj4VnIqFzOPc5eqiDxi6fO5gPgcb0mGAU+SbtKhKyrVKcCPGYe5JMojLT19TWdeoA+
1z4s+/ChpNnGAs1VccPfamp/DmQGRCqDn9je+b69WxyuGyuvwEWUtz925VgHyyVCbUMqnvpGe+21
+WK7hOfSVHhGe36/lmhyM5uFkzQWK/P91AkHFHUHXEIsbZNOEcR2bC10zJParjDcLQ+cfLEM8yaT
NZiZd/E40yYe4RVTKFFGClYbI1lzm59n5y/nZDTqeT2ufA+RtvOx2u7uxzXvtpn7pNGMg0q2TXlx
4ezUBHz4hbUeug1RiWNkjI3o7fS6/TbbwIs7hld+WFQqhqKgWNyUJ+gKOw+vQRaoN038q/zBTHVP
/xCdTal0H1CnV+Vpvg2nifoi4F7tXo3Wi9SzN7H/35QzrMyU6t822+/dAOoZSPkPo2zUenw/rNWR
K8n3slhIVxCF47YNRwB5PjBqy8MWSCTch/7fnCOdMKtLbe425AGgj7E5BpyzTAy9dE+Zjiy1z4M+
Jn97Ozd785+rmjchzM+m0JezfOteNYVDQ6vwVLc32CbvV6R1MovYjUnk8RD6UW6GPFwheFfL+mx2
sr9W61czb3ucw9yFw258TabcY1a7OnJ2/z/VgptrmMTS2sngdbIKB8ouq2iUlGcv5sNe8B0Pk/1r
6yMELyrd1FpL9mBxj6J8Is1hJUqg219QbjaYumJAtRuDTnMSNbQrxFLquQCXQ+n82zUm2nyrTSah
DkWnGde1O8f9nKWjmv8JeJ5jjQUaIcnHZDHREiNxViMHpYHFOvL06mxB4jwzAv9grsipscBgjaSD
1K1RQ0LXFCCDocTil4jAvewi+NLq+qfmA5lXTZxyw+IPpG+1X2bsndtkHbecO0fq+Zxuc/AG53DW
l5dqWQzORNYJrf3sJlsLC32XkShrgmOWR+q3LLLSEDmP4EZphy3OdNw2KWe6At2x+53Jk6U+1D4x
0cCzUjkVNcrjbBEnfQ9Ashf5RocyGGnJu+PC8Q0smaX2LXSiQHcSyjy5HbRmijUL6sns95OcHJs1
V//0avXJ7os+h8bsSENocNwL4qYWgEChDyeq+vDZIISPmeq/i6r9cvd6CIkFcCKjaj5mnbx8V+Q9
IKdGQa3gMlgo0dHW+cPMWtRzrcufaxyIC2Dyd4s2bq0n8pFvH5j93qzbf6yNCF/H3k/5yK8akNdF
t+x/bHKpG6CHmyClFvuqpJCHcuoQWDkJpUhXt9j/LS6ujcARH00LBIv76I08njXaZ2LDPEGJYGWQ
Q1W9TMqFc0L2RkodMzFBQs6Ug6EQHJbM/KGxq7d51PTtwpFhfrZwo7bF4jvrkg7I+XMviqvnrHWM
je+AkuozM7ovJxszMhO1qEeHaGE1jXY8jgn1cgt1W0VSWH9MU2zHYje/l9l5JiWebFvOKWEZzJar
hy5x3Y5ZoT/Tieac+nUFx5uuC7xgiMVFJ2muiPV+fNBpo46MAX7IISaf29ar0WHV1bnX11ejRUZq
ZMa7R4L+OPHrry62KRiIV9DTQz9CW2tqyMJSOaeiF4eSEl3ydZHeWLmUZ8/q3tx6PJK51CRrQ1VH
e1GWSXupNxx4ObZ4b12YUqs+S2NIxgUuwzViswQwqFB04kA4Of3+t2lubxVOkK4pmVOzeaJZbvlu
8lfiCn5sf8Q4o6YqwrB7tnXwsgLx0HUmav12D+R4hcZ7zb8v0LymMFVdusrtLw70CUEuZ9R8kZZz
p1dagxUGpMgoiHaoDLZl8k/KZLD41OGQ3Dhou1+FZfq13cllpOJdxZ6toHRLD2nqsh8Gj7dv3piK
V/m9ziOO1g4YcM605ZYHsNGDbXDj+TyihFu+tT499/GsM8Iu2eyfbNLSLgJeq852GkFm/J7ZUBNC
SF+ZHTRHY+3GyB6m/WoRQ9ytgZ3gF/7r+Yt/3OviTuVw9rILnGQGJib5bIVK0uhW3nGT4TzaFzZj
/2expJW4tX7nw52EBSmvkbMCEAxLzqXK9Xu4NR3RRiII5JwyjGeCoNXBu9OLokumSmd4K5R+QTl2
pB6TnphAnDbN+TUyRqbG5nwuLTbpqQkREhUJKKmEm0DXXYvcjgLK3awGx1DRayxYuYx2r+sPmWlp
DBt2OKOhe2ws58spb9ieuKeh3sU6aX8iovyXw0zDNnFqK4H9CTr1MBLtBc6Mokx6RtrnCDLAjbR5
l8du3VMSo5wrHs3n4TYcouL4XjqqTTHdS+hkcemf53nMT+L2uDi1fl9PXHi1wVBoL5pIGn1FSEnN
40IcDh5/cZfZXDcltY1DaUc3v263fdS5NkazauBkt/Kza6z2sK8rGq9Bv+t1JcMg9/jWgicmCHy0
RFzNkvvYWyu8HQKvYTceMUMpwK32xCTOhjCuf1q7irwKKTr44zkbnVccT3ZiN+Ip95bPScBlAaW1
lLRM3LNCxrINUqqEEf3qFlPbOAKmvPbOPVma77PWs8L5Oe5taF6rvacIsIG/rNlVNGjqlRSQkPPj
szBN8qGgIVvk/7Hup3tdfo0LJh/KKg8D8o/soZ7kW9EHT6qmH2e2BH6zu8Hz78b6P9XjInFQNEyj
eOjN4h4XL+ZqX9fjQdXBGeEAR0d1EhMfeNl4PyYqfyCFDRJzKWTU9TZIr7uEjGYKwMxnVqI7eD1M
pn1EA0XAJTEEbc7eXezBf6MBLEhoQAkoY1NyWby0vBBxW5kCYCg/jktHlVHtCKbb2yyh48Qovedt
2j4DhLARSRhNtJhtskzDHbJyjMxlcCvzoGG4NLMLAnw9GVtLhyzn9dc9bKg9EuWm+C+bNe4XXids
2Xx1CGSrePPkA6Pib2sVzamcPmYTH+dqgbSw09+Y2C9RYrsuSE2upvlHoaettYUJ2ftq1vUn6Hvy
Q4Rx3Nr+Ry/BoZEzOYwgze8aGKRl3TRKXVuT7khwg6kO5p4lk12RMAL2O/Jaggqqx/GoF5oIy2F+
ywdBmiV7lqWoATdCZ/UezHw8LeyIN+H6E5fXEzXceKaLtJgmFPBMxazGrmArHohRccz80LbY5af9
izw6Hg5+OZaR18Up75veJMHV1T5ckuR7eNnMRvLSWeJfXe5IW+btTo2BvBjW+qOM+jSivQJpnn7X
pmImssCd9uYHa4hIahbIiJJuIgAMca6c2SX4L1DJPPPZ0lOPfJ2/OnCJa+cmYr1uhQ/gqYksbr0X
Fg8XipNYJHfHDxbkj5VjOBHCDHChmzmAI7tcnaMzwEA1on3IhvaxWR396I1/cdlm/LrVghNEnz/J
lEAIo3P7cfYjzuM/0r3huozFi6YzM0uOOK9eyjifcYVYAFdqy+PNnoEOtP+aTXxqAvigLNfXISAK
Rne+S9t7btHIQyiirxfbr5hZoZ3m4mZn4bATqTbG9s2DhxE/HPTiy4ZXDM1Z4jGiV1QV1iWv8oSd
98sN3MfZdUndCU6bm//dN9ZjkFh6dmWU1dWF/u1IrvWz1RVTYg4uy3eTh+7y6LrDOcPfE94eHRCz
5dAESNcsnmNw03jVJi9ZcYKE47zelkVi4I1x+2sPpo46C/VtUV6mvJcxpHEeuet/INzhMNfvKMpq
aIby31y08B07ImOnOMkcYe1WPuBthfEG9sszgvzEzLWDxnZDiG77B114zxPK3NQyicAdbgoQBKBm
vhvhsi2hqcTfJWtwJogW+pl2KHQFKa4PY/nk3gin4H+cndly3Ei2ZX/lWr6jGo4ZZrfuA2MeGJxJ
SS8wUqIwj+4Yv74XlNVVzOgk2S2zNFpSJBERANzhfs7eayvq/PgUIquv1zqKecrqP/Fv/xTapjJ1
pLDOLKGzLwMEkBfjUHzDZ3QzONTJAyQxfXlfB44DoGXuSzV4VmrNTdGk4g32NaRCRilfy6YnuZB1
h84ycWlAs4EzLotlk4y39Q4nXgcgdkLE5Ys7M6wesufOqcJFWVIBtSXTWNfYeI4pSWWjS8h1r61G
M7gZx+JLPQVX3EXdku1rvqrYhLZ+XSx8g/VuF9a4DAp5URn0c/s5XUlHZ0BlkxiDGGnEMEs/IlHu
HN19TQekjlXHDOr0aFJabz1zQTDV1mye2wg1f/Qcqwk/kzcS1trf9H4TLVmNnOpS+zrUzqsfpwAC
SpFiomiXytBvGmfCzFu1y9qx1k3E6Ziw4oS1oJrUt6teogqfyAaQjHTrBk3ATVByCkkxX5Bdy91T
lztPDacBkyKXyi8u2QJ2tD5czcUCPLT0pNl/Wm7/I7BrNhRt4/GxL7VGux9kkK6jYcL+V13rdkSP
RqMYlPhf4rhsDgNq9ETSgFQN+0T9WTnpa+TR8BqstS6A8kzPIw6r1rhkrnfXHUwCdq52hC+54UnE
PUi0e4RCvfcBcXqo1pwRrMD3hNLhxVhHj5hbqU/SgZ9f2nWMx6pwj70t3dXIbLAYQv+6h/2K9Grn
RmwJIh9emJD+gSdbhOkqejE97AfgRUIT4Q8zwkGmebW2M7q5Rq9WdlNsldRPrWNidSseXOg8yNcl
nheK4LQIqWJLNKKurl4S9py4TB5cHepqYxuPkKu3qaHUMlNAurkgE87LdaP4lGzvtviKL/jc/cpO
u0s0NvWfRBRpb5uW9r/lpXDP6oeqE/WyxMPCunJ4Ao7MufAmgcRgkdesFbpe3XiyilbWTAzJ5xqT
UbB98VSsL3sH+UVq4fMLcbjn/gpBEU1Dy7kpzYFYyqgyL6RQIQsa/0tOwe3Cs5MQT8WG9n28QZsK
rgOfKcIoY+EhvBzZiOcaynmjwNRTQIJwykujin+m5fiKbP+UW5h8wmyBYlyeVNfeZjK58gqHhRau
OZ/xfGEaIr+w8HMjV5qHO8LlPl5Xbsa21FT1io+H6cRGkGaW9OzHSzIE956eVxsKOlCeLgJvWgVl
+DoG9IXdcHi04mhZNvgXc1QD/ZhsmI6uMwu4t9edUNUv0T5exVrzlNruJizzbIM/hXacyfuXLGjZ
vsQb3QTc06VbU6uQnsvSXkkXq0idFoiE7We6Ogpcn0Hzrc+alYsUKR4TtazH0t92BosWSL/4wEQA
dDnGIePYoPLyXFv69LTBrhQXVUGOXG3YySqqf3TO9OzRs26K5FWYRnPBtgeBkA3X0qsZG+AwWew1
eDlGN1o0vYpWUEN8l4shkOsu2b3n0CDZBlS29SpUigQ4cb44I0ZalHfNRsfCeCK8aeVkLmE5vpes
RiD4uQY9zAwLesQZsqBRTsEua9NTjQV2SdfsKJm6QqHll2VlIOJyvGjfN1Z3G2VYcTVaDewG/ZVW
63IDO2RX1bAL/Kr2l6OEc2S32uPU55Q26/xJ5d30YCLsYcrIY5NlcGX0K40y2tqQ6onY570W58EX
/+DBd9ikbWDtx72XLdO7xjSb5yzxruM2Tw7BSwftAscy1lDkMmLX27SbLe1qgPZX5RpioiLIVhh7
1qi0wmNb+wsFwmBvSVsgD4nEqrCTU9nmGQwFWnIRXltwNE9RC2qQE2+yTNeuiDmjRV0WV6EJ89Rr
u2hmgeUbSkpT2tD1inkCZRMaiWjQUbI6JkT5EHW4ENUOd/oLmn2f92Q/sFeHKEOrOa31nDPWWrvE
vhHCro4h5rBlSwIBlE4vOdhOdq9stugDuv28TK/ArfHNMNw2RdHfQ7RzFvD/XFpPKVL92JHkLjqX
OjufI8KrRWmH2mXms+ahdGoemloRfNq+mMAUhwALmpdT0W+6XD81BgtQBE88FEOM+XgY0gUy4+nS
0NlSaNP40PY3M8ImTaynCaz9HSUCLMq9f8zrnLvd0jY4TONlA3pxqal02ER0oAfDmBajytWxFNb3
sM+trWamAo1nYB1LFEAXuWddmw3UlKfICeUNzZRoVRtZtyJlAsZLq2d3EZL5IrUxJRAvdTuwLa4z
0Ba2cPyDMdBLdeuBUyBldCgF2elWfx+zi7nKJtc6YWLYa61/PzEMDxOltkwE24xONpR8NNFtgM4Y
d2V7TeB3gTWMxhXGpOckGa4suxtApvf5kjTRlZzpytCHgqUrKZgg/6bZYpknJzNrliHUttAAnZBU
BFSggu9e+82umR00X+1L9pEXpaz8ne6B0EI9STRemdF3d2R/Khz7Pm6K4JiLWC7cMPraJLSHgLqx
Z5vAYo2uxzGlRVFNItmUjb2RNoWJiMwLupDjF/Ak14QgZQdfqYVJuvGonXrcwWUqiFAOkF5aWfK9
y6ebNq+nY1Iyz6s4dxbBaK5ipNTNAOYp8rglDc0dCYEGyUjjFvjaTwBa9d4pqO22rBQ3ohxylPjD
l6YMkisbv9p6sAsJF6HMvJXpFWqLexbNs+HWt+xbqbtaYH+lXrzAJ+mZnn3vtJ40/QVyTnEoIDkl
VmEuIArJTe63c0CCj7nP+AI36jEwUIF0unXsuRbXQR5QrohEsRzL2f3gMcMGcWitwvrIsNd7Nnfp
OGjXfoEhS5fNoUujE6uw4JQFxxicwBFGWHqIWWxzfZ0tFtil0KNvQZ/dhS2GImIbIFzYIBbzzvyp
Z+xEYr19NPWmO0TiixpFDlOrb59SE7xCqgdYe6nIuwF7Et1Ql8qsVwV+4wUKN7Vz/IT9WVnti9Ju
LztlDTd2EbGeAe0VDSzHG59dJs5ZevVVD6HBokVZ6FZ37Cp3y+PQuCSuWN5iQd+hndob1DjNSZTf
9GhcuF9d7zveI+tK16ASQI4T265P0isKjEnvlSs7bny63gMjtbB/EAVQb30zW2FqzG8DuyiOPaIb
GBL1Iqe0+ehrFQg4qU1Lt0zHjd1P7pWnc0PCgBEAZ6Zh2TXytbPEEw13b2dnTbkUHlX22J6F8QlC
rwlFdoXExRur8Aq52Q8VFIQOO+klUWThlTv+aAxNv9FKggTbyGT3S50hKltBKjU5PzlL4Ispnz1d
ZXlDcfDHmJvZ7aCF7NL8scNY1CNuNtZaGuKXUsl95UNpqX2JIFwDG8CzkyfOvkhf8ylNtiz8EuyA
WnFKp0M4O1o9WyGEYf17UZhhf5pjIlOte6Sd1W1jUtr0JPf3xuxh9JGIs2NLFmY2ITmADqxY1NXc
cpufqRouisakApj8qGTfHxw9ZkmsPHdTBpT2IlPrr/I6+qk7jbrsbVO/h/CA/2Qi+hgJ5nambO5s
SEcXlC5ZLzoNLUYzH3dCg9816pM4heyWOjvDIEi/dOkEyGUtBDCLlKI+CbSWeeVUy3bsotvRLW7x
xyAcRc3MkjzdEODD8vrPoibFvlmQKmSITbcJLoRBz5vi1AnzYb72PIDRwAV6Yje0h3hupU5e3aCD
41mmlKUflXclXVAukKYg58Y3yu38q1/3ioASvvvl5LRbGyWW9mBI/gekxjNPpDXEFG9ROJq5pv39
YpjMVUKJdmfEbr/XTXSUUdRTmS9Rlo4R8liTpxBhZjtE3xmr0GnuXQ3jnhygdYjWCZ2P+Vhif5r0
WYAC1vmuRVTddeZtOLrGd5ZGlVF1e6uClanDEgMRx709Wf70DOJ4BgeHhIQG+av0seQ3HYAhpxHN
TTYmj/VUXJSTDqeMzvzCqdqviTk8JW2AE7J073ovsvfThDTB6b+jRHwBB6VvBD2WCxTu6SrJhNxN
fbKdRG7v8SuLjerNr0PSYOlzyz0rhmkZVPpd32LyE7VdHl2P0qvoDbXyrPDJII58bZYUkIyctlWO
VcoFHYLVq5cLVpuSVEjKKFPuJJsk0jw4K9V91FUoUstAUY7KG/Rjo3/49QVT6qovQf4bfmg+NC0F
vTTr4mMelHti4fEMaugw8iloVt1AAo6uy4pXqZxdqtGPCxILrakykDYqf9h3YmegTtkGTkz7buah
6D5eVjKITTTEVGgNE4k6leIHJ0vQZA7xdSuVgKWrUQ4RxZch672N5f1QDo8W1Ctg8wz/2u8bG1MB
eVc1ddCxUA44JMwyNX+3TYv4TmVaBSI6/To2rXZdV0yewRAc2664c4JpFuYOFjjTWNE1u45Bp4XR
lB4MVXz3vEHfFSIEoULdtZPdVvrAB5IOJp4ZUpEvGhp6RGBtfKrLp1EaNao8jyhnRQvL6sKDjNBe
10pk+86ofzJnt1mXPlhtGa2Lgf2Jsvz9EIpXy0dpT4vJXgR+pVaWGii3lqch8LrrFH0ozuxN7Sd0
pkc8uzAKEbUg9w/J29lGtf0tUGFOsVrXLyPk1+RRrUWG79WzEZwg2I4yIl2waPkjZL+mnbVDxQFx
lMcFv0p1fzkM0Tcl3CfNpQkD1RuPYsiiXoVefZV33RPAPnYI9poctu7F9dHhoGnJ7nOsnmx8Rbh3
9PKYtGwmQpk7N5ba013GYNckx7ztvjt9/1xkgEKpJPfXqL2HTnX3PevZsW6GHlOluG+rwiG4zDaP
bd8dEoluHuBsD2SmNe+zbl9TpkarIJFZiX4iC5NnLrZ9sbKtGEShaIylGxBkgEESXf6gO1cF3ioi
HL1F0qUmZV9DQ5fqkHUeVS8C1Ehftv6uGGr25K02RwRp0bP0UMqgU2O8R+6lRJYFYudblAePhVLN
xiKQfpfZtAKF66D990iryExmHscHfzu4mwEdKFqqOsfDl14o80YfJ/JEbArdXuM4GzkWKzUqe9lR
sDz1qXmd97F1R+YV7dh+OpahZFk47fKa3F9/EsO1sr1ybQBGROCAhMtNv5msFU4TsHJWdXb7aAPv
x0UBl0jyEL5A8HTV60h3y3Gex7uu33v4wVhLhXtfRGvgMNd9HyEoScYTDWGqQg3OFi1wmiPNtX3j
aM6SZW+992poooad54tUZ3sbjyxU8YzUxzaJy40peFmrElRdZZ0dwXqEF4Cd8g30BEQ0g1ldA0ur
r4cUd60bGneiRdZhJTgf2jiID9DveHqO45wDnOoHNI0tcE1x3XVlvjeLm7QYy0Oozzauup0b+Gqj
W/lwoU2FQrh870Zk3KkUHZabOd/sMsHzlcg92O7lSLF95+CBmPIkP7AV5nbRsyfdhRFgp+mWHJkC
OTxNgXnx4EzFnq28voOkbK6tNn/OhZ0dHdsUO60nOr2nwwlyiQakM5AyVeE/w9k5XGQFChnTP7Yt
fDlbBafYZ+Ah8iBuD3/cJRsqb9n4YUu7QUzLyiSMkI0UTsGazYVyn1szvqM01K6nSC0a2k+XWFpv
bEsv71lW4qYVR6QxiCiqAtFV0VbbQVUPRUvAnDPOOdwiiA5RWf2IMcVD44Gg0Q0YKlLTvaFgEO5z
R/9KF4FKqh4dkzGr7x0D2wCyeNJe+22m5fu8A3c9hNVpDMTJk8r5PqbHDCWrkU40lMNLK1fy0E3q
GmM2dIjeeKIWuC0odKV4PKn/A/RtHHs3uP0VYWaHsk520+jXm5AV7wLvocsO4mDSDeVGaY29Lrpt
Yoj2JmeRqlxxJ7PO3ouRpNaWTYzoTQzvUXjMUxt8X8cqIx9yeeMgPcDH3iLTCDDvVT5MBM1ftcwR
YKX88fLXF9NItSWbPrW10q2TA2wbHGhPgIyjvZ2HjNWcsksS9fdO0IC5kLsyAdmtN2K8dEI9wb0c
1+wFaR3UNbKowByPWMc3RopczXPC8ZSZercTnGAL3SK+JZuhbJTx5a8vQdNsgszpdyxE8mNSTCih
EizxeCwJ+EncXZ7jt8/HfFx4bThQeifTvPeCQ5u0D7ojzWMQd5cjHPatRal2S2TCT92S7iYbyGSZ
NCydSk/qRwq3PAjdQxtW/re2JSo85C9iNz8EahYW04Fdz3R6CMxQiyuiKIaalWU/F5sBFKzQgFKZ
tzxxlDbZi2NW7Y2K3PjKho9qYQ/HkwUQUWOxiUe6X8T0DaNmPAZILbo+LJfonE04OaW/8QsYOkHo
31uwVu9STaxwg39BNgCCFOfVvvHAnLgXpCzpJ6FR3ek9z7gYJ+L7AgShTD7s253ZFN9Z+y4L0lsx
mCEoyU5S8AJ8YAExHG1+nRV5SKXZJG2i1pI13oZoOaTWvVM69yO+7EU0WuE+njf/el8e/EbEgAl0
sc4tvNNGXoVLb2gOvtOXBFfHP+Jon+SklV4UkH3cDLpd7Ep9x7K1Xs5KULuYVpNt3U9+P955I/tk
esnOtSsx3wdNuwtQKm9abxi/SD29J5JD3BBNj6VH7oMa9ijVv3qbOkxQUTV0C6tBPcazaUCCJrAz
O360pzgcYrUC1u3je/iiC7QtA89N9DAEHlKcuFY5LqRl5cXkDg/RnezbHgQcqF9pjiiPfWS6VEt/
sOMXW1/H0iPttlgadfJA8R/FXZ61jxVqo0sOsTXs8icOt3QN0G0WHJTDKSuuKDDXS4jcDKSkm5pl
6+hIcJ3ZBWJn8sLsYQwgR9qPdYwp0po9AZjH1/pIe6abgqc+mxNf64g0mRwnqSH5orvu8MRGlwOW
q6iz1MZIhvzeoqXUR9xapc7JTVu6PVnlouAME1g8rYDVOodclDixQk+Vl6wBELNvmlKhyQC4gsC9
m76Rt45lrbufBImaEfW9oxpnRM6IliVB3BzQx14RkEZm6KjSZRHZ4aKFObkPspDUhgE2Alba/RRg
PERyToRJ0OCl9W/GyBRfq2otO6f55k99g4NBJ7jELOW3BtCWh+PeFdBpEqBtiygBWxSaw4CvVdjf
MLGDQey8G32CwmRMYJSGNqZMZZcGSV5OhBiscr7gP6vTpv4KCLfd2S7clIFQPZMtB49ad2IzUCMt
92hLtILhp7SBVVkVvBrkbLhw2akIDM4ui1xU8Vl2PRZ5dUVOjH4ThtaaMsrat4PqPuwVu+5Zd1aj
u01qN7nVsEwURpDA5KJbq+4R/BlfIdgfaLm79yLXHq1Wf/INTV4jYYKeguenkIa7UyXKUhH4yaGS
wDtDm4BZe6gvp8zUHmYR3EJZ3mszuvql73ftMilswkCEAE7Yt3c5HhPWozz1xkQ7xXHEJCGT49An
OE0Rg588ncei8BrUfBN2Mgu3/PTdNgyxEDCTvvYNfuuY51CclnCWCGJdNeAGFhgtUFokwfhoQBhB
FSU1EV39+uKP/mMg0ATTgdWXhk5SHg/XrYailZWMtwQtSGcL6cI+pYFwFYD2JhE32PU9MTm4m8j8
VqghNNrAq6pL+x3xIjuPDtQto4IKCZsn2kU03EsfASEt/I0y4R1qLeOjYye4c0boM0b3ikJJ3lUR
nD76TfvQio2l1Vf1V1IM6Nl5Llg6ZbBCxOdU9623l/GkAaJ+bV07e4mjmMyIGXXktma/dcgYWldl
gntTavUq1qoflDnkvk+9aoV2r7sOwRStbExbG3QgWP5To3zg9ofHa9+PZq6tBofBOLTtwDiP0p3I
SutG4CC6SAzL3yA4Mi4NYEudVfoH3dub1mhe0metjpMxbv3YRpbl8QwNNfMyMtWzTfjQPf0z3C31
eBynwl+ao/B3bCux1Q7Oy5i45loP+1u357QZTk2xMMdY63btizMXdJoCAISXEAtgj2DjXFggC1Xn
w7V0L00jrw8dKmnUrKwcIqpsyH0eWEh/z3HSbJqcVSLEBUEn9iquLUBuoIOWRqNfWTVlaRYNdGlJ
0VHP6jW2ewTlbPZuXILdHZrTlx1gogtdkjhvwFLSHLQXAt6VlPENJIlxa1QFWiDcwGxUT2IMoYLJ
mt2ITSKqADRVRv6rbRXObcckjGCM7iOSngu9CUA3sexcT7rqTrEh+4PoouuiTH5kIdz10fJYobBj
xiI4Ihxo9FWCHHRpm/EuLysq94nkIYwqwKwtOqiDt0Ev2aMmzUienfJwXcbtlgBSFHhmko3rXxx+
/Fz1UcEmog+HlRPNwr7yiBceAzaA+CVvizZ5sPXBv/eRh1KabyyWy7Klm2/oCCgE4jXIl+hDBipr
Swxjsz4NG7fbRMY1Spgts2u0lHxHIbz6CfYlOSjkKBdOa0T31JIE3nrwibpIT55rB+y7onyN333V
0of7tcbxDAACxMTSdtMn86A1Neqn+f+A9z61vUy268llRu8FcGtN43mlZyAxWiyRe51lO4uGgC4R
3sUuRs9i2LQl0gDUrQ+7TjTlJY4SufdNg8up76Am5LeGWRLLYakrA0QoBjt8rZMZb1u9PlU/uyp5
UQO8ZNeKEBiJ5qB1I9Zy3sq+cLo11dttWGnyi90hpdMmE+q/zWxahW2xb/NiZZRtdx31sYbHP8E8
jhonNmFgatN+MmDQ+FHpLkQ1BfsyoJ4rLXA05E9O+7B1MblOVH2Vl1CzbKgGJ9jpDNYIz0WD1EQN
5TMthOKIQqVeaxRGjzHD5pDour02uqa6xYK+8/L6RYFn+V7nlylT/r2uOzcgV+OrQQTfApSgO4Iu
nrSyUjiXlNwloPuXXQcXIW4al5oEXAS70eWpFX594xrmDxTs4l4P5I5wkXJtFrWzikvl3Xev42Q7
WzfK4guhFQ9l0U4PyA5wjpXqctLScu3IKfwkYEX831knrs1GyyHjySSbzz/LOuHkabruecXWNrAH
1tbMgqso3qeNUS9rNT55Uwg92gpvceqzapzkl4T18KKdF6k+RoAjm2a64FXmAg3DDNiiuukEXBXm
9l/hHf/rL5H08n/+m++/lxXbijBSZ9/+z2X8vSll+VP99/xn//61v/7R/2xey9Mz5cEPf+m+zPnv
/Ff+clhe/V/vbvmsnv/yzapQsRpvWh67t6+yzdSvtxC+lvNv/r/+8L9efx3lfqxe//nHd1Cmaj4a
6ezFH//60e7HP/8greRNysl8/H/9cP6M//zj8jl7JpWATL0/j/bvP3l9loq/Fv4/DFeYFoIFm5bN
HLPZv84/8f1/OJbuuCwVHdNxxRyvW5SNiv75h/sP06VcywPJ8yCRCcFtIct2/pH+D8+2DTINHd2g
BK0TuPTH//ns139Grfx50TgX//r+v4o2vyZOWcl//nGWAqoRkOhahKO6c/TYm1CRAudJNqWBuSNv
gsACEqWp4mhafuvytD5AXsPJWFiG9tS3k7UNdcu8tas6hTTqiZth0sq96SoQnYnp7WDJ2skiB8CJ
QJW4r03LDv+rQXLQTTCB68OWxW0p6gRPiTPbYOFBKzD8uCSXb07933wcc07p/U/AzH8+zlnOlZ9L
n4xZ+sO0wClPtAYnmJV9iqc4z6fwh9ZXMYYehlbOEhzdCPgSvN0s3qBKVzoq56aLWdBGbfUKL8p7
pIJMVaath4Tki4QAlovCN7LLILeNrz2Rkidm5uwO2PEcdSCyTURjHqFPNeTP3jTFcskaLroq6DK8
pAoha9t51pEMDveTYLuzXNv/fOKzKJ2+R1Ez4fzaAXnNqDt5k/puWEWuLxqt8B7ygBqe75Xew+BI
jL6JLb3rwi7JjAkg1HyWm/TOaT+LpqGhiXOQmg4ik4luoqWLrzSZgi8dRUftk9f4awzOfz7o2RQZ
aNVg0/2duPXQVroEqb3E1OXv3BGNkw/WKvv/m5T/80rG2ZhgORcnRMbtPJyY6AbzNgNOYsQDwOkW
Yhn7Ru1G023zMc01JKt2E+oP0Ir1B9G13kvfRd3WqzHfXXjUvbG+VQY+AeA648pC5fjEtg31oB5m
4/3Ht/18mv/urp9Hw5tBTNErskIsAZsptjdwBTA/+58kyL131s/ySdumb4D4TVRKxicSRSMxERrg
w/7y/nys/OWp8nYG+mvG2L9P9nncN7sTmGV9qzbSuA9wi8j0NWuvAZwdEAfobfh7d8950rwfkSIf
mTU4eCz1HokTGbu4XkGP+iQldR5vf3MN5ofF22vg0myUkcMLOETLBDkADFQhY9F8cpreO/z5xAaU
z7Jyen/+VGPuxOVqomShAffxHfTOZT4P5EqNwZiQkauNBnAibU4wYHD7QT1D8PfxK7z3Ac6miLzI
Yxz08Df82ryZyLlF9PxIJO4n2Yt/jcr8z210NjtgelJTUUZqM8BbJAWLRrG+Fz4rxWTtB/kns+17
H+J8ZqDJYiUmoyHoY+9LoUqxV07h3w51Ef78+Dy9M5ads7E8tIYugpyXUNFMtbet2n82wSN9cqHf
O/zZeM6SToAa4jYlN8S5QBA3419E+clFfuc2sudl7puJqPC9zCJjQG1699DB/q8pgVWMsoKN6sen
550r8Cu4780ryMzKZVdVTBeDvqQECY6yvJ6s+u7jw79zeuyzUSwdNnjZwLabFspdXtnLRO8+eefv
HXo+Z2/euVeURY+tU20qTN8NhDuBjujjd/3OHGrPJ+vNoSctxjCOZowWbz8+BXkqtuSa+49UqKmK
z+wLpQfiGPpl90ky7XsfZv73N6+IDhwCLt2cTY8EfxIhTTPrkw/z3hU2/3poaKp9aIQhUxF9szEK
lgOBGiKKlx+fK+O9t342hjs0bkblN+gtF9EuMZYEExQ/iq8kYaywxS5JjVq0x+A7anMMFjranHW+
jC5QRC+d1cdv4b1PeDbE8wpHVdzglqsj6ynR5FeX1afrD5uPD//eIDwb4mRnEbeqKmbaLhnWsiJ9
RVheuI6JOFm4bqptP36dd06kdTbYE6OLO4+22MYfx2wRDPQv6hoR7MdHf2dCP49AjQqwOJbPbSDJ
/6gkkG7xCMQEdqazQKTx8Yu89xHOhnsAvIEsKJ8rYTSQQVXxzW/IOv69g58N+KqIs7xWnJ9BoG+T
iCgt9/fmEmu+s94Mv8iPi0gg/tiE4EQvaqedlprVqE9G4HtnZf73N0cXNIvBWTqSjrF3cCp/WVCv
/PicvHNvWmeDeyhN07Izzgm6LUzqVrExGnkVZPGuFv1v3pdnAzzq22wsSyU3Opib0guXsg4Ov/f2
z0auDKOwh4EuN11Ejb6ONtIJt0T4rNCBfzI5vHeGzkZvDe+/wEopNzSx5hSWheofEmzMtfzkM7wz
sMyzYQuSFlAg5NxNob4YZGFRvb5o9Ws5/SxIcPyt82TOD6o3dxBK3QJAFjNcE7xodr4pglOkV3SR
P7uP7Pl0/M1y2zwbuVoO/RYMH45jpRlkaYxhuLWnZFb5oy49dIQC/EyhGV0JSU6zrKds2UF0IFwP
gqUcO2zzCJ7sL/Q1va+haGkaz/EqfpXre0z64YBwsHKfx37073zMvGttcJIHXZYKOx7Vcjutl4Pw
iVwxiagKAVOtG7zLmzjU4n0svVASFJAZu1Z2NZb9fFp59oCfqZ1TTzR4K5Ne2Dfgqjrk8XRIw34Y
fsSZjSMABSutmaQy3HsNtjAEd5lcykGbC4ORIx9VHUzXdW4Vjx9frHceR+bZcDennq7AfEMk5VXk
+EivxoWvf/n44O/MJebZgHeyMFAVHf8NS374anH7Ern65veOfTbQW3OE+m9kckNDtVkImSLAG/PT
7x38bKi7qhgmqbNfSbBTW36/K4F0/96hz4b4BFgD2UwhkTY0w8IdO9KCbMJxf+voxtn4jqYCXnjE
yGjcfpuKditxdf/Woc15znozrPUuHRsfadpGQakyNJt8jmb5e4eeb843h5Y5ZDszYGatfO/WIUes
TZLfe9fG2WQkeYr5Q8d6aALw42iQwUjV+Phdz+/ub2Yh42wWgog7YEswJIKuAJEh+TAk4hqAHT8+
/HvFPePshEOW6WoTtSkpPCoB05jV2OsabINabYAKy2CJTOMAYTDxrwUJ2Ps8YUNn6pjGP34H7wzf
X2XjN5dlkE0ytV3Cs7QO6kMZQkfQCCH45FH03tHnf39z9EQSs+BmIx/PKVddi9WbvsfHb/y9K3M2
7/CUjsYS09JGaWi40ZbVNrIfkGq/d/izqQcJY4r7mHsqt4HkTCVUrOC7HumXHx9+vr5/d1+dTT5B
rqdtRtd74xTGQaVf82HYhImGBOaTKei903M2BaWj0wxJUKLyy+3LyMWDAuJ+Kv3nj9//Oxf2V7vr
zYXN5dAIe37/A7LL1DkCf/69A5+NZc8V06TsXm6EP2DYzTHuflbDfu89n43lqiuKQNIT3fC0dcDJ
FmL8ZAJ652qKs1EshEbbgUCRnRnQD1UOjXF7lKT8ueZwVWHd/L1NuZgv9puz7ugCbU7NRa2hHxO7
2dxHZV/+5lwkzgaroRVVm9Wh3JjT5KxKTFhrOlr0kV1MpD2rykXn6+PeaeoYJUBjbqxYurfIaJ1P
7tl3LpB+dhopnWcm2ZY82EaWrZ4qNrj5fnx8X71zifSzU5dBLEysMefUYY1yjfYQNBG0XjiDfZPe
ffwa8430N4N6bua9vTzVYFo5+hT2PpM4FrYi7TO8pYVGYGJxRIX9yaT6zkcR51OTWVU9srN5iHir
JDQ2cVRcj6x3/VR+cqMZ87H+7qOczU9h2ja+BSgY10aKu1a3R5KQSkgPQBOahTYY0Y0ps+yFjOcZ
a5zrW4Vha6n5ur+FG9BBJRP68+jhHFAJiUGKAJ894YXUkXIv34SB6A6TFRrINpNpH8Mq/b3Hgjib
90YPWbab88ZheS8scWAFT2Rt8skYeWdW1c+WXqDHspYunNwE5UsNh3AavtJ0+OTg71xX/WzqG+Mo
VY7NI0cWcNERsSZ68dyNCewIpT6ZXt/7AGdzoAg1Toibyk0qMcVOxR21N8rpWPc+HgLvDeGzOcSy
I7u2hwprQRZV951t2IsRDeInE8SZmuLfTQD9bIThbEewWXrtrvbhzXs4PS+6Vvs6erq/RmyjrWFK
h/+bs/NYblvpGu0ToQo5TJkpkopWnHTZltzoRs7h6e/iGX0/ryVVeXaCTZAAenfYe6+1AQBoHpzR
tU6eone2KHDIuZNHsZ/lpne9j1atd4ARR6mJE15Z8ToHxr+bNG6/f7sNl0OUxCsdHVO3N3XobjJm
nsVE9P7mRfkkzpgXg1NQV+P7eA94xwOHKEDzuTba8mYI4WxXVBuYdJa09jeP9LOrXYyozC6TZtKm
vdWlM546x6CBdBxKenN97xjkAW5g/HTjP+3K3OhihE2xKo1ak2BwgyK8srue8l4x2Kuvn8vff4sb
XQyx2KyhmPbIQeOsuKFHY5frfD+U8dHPaKiW7TcP6O+jzI0uRpk3+B2dpGwtR2Rlmfb/AEV4qILu
/utf8fdB5kYX86RR9hQE5WxKKCoPzQ97+vVvn3v+Of+zvPCiqSADGdrbkR0JgKDsNVRl+E3k+exL
X0SGdqZjbqIDapuBpSg4cYGdTffzv33zi7igssEj28U+g8LDQ2UkK6v8t40AEJL/e1OQ09dl78XU
z+QtwAqzC4wHF6bHdsAf/I9f/2JAo2wTfjvNDZw6+3pgb7Cqysn/5p3/b/32/8/lbnQxgOu0FaVh
age7UBRQfd42u04aZzpURcBzDVPusBLmD1Xlq+1IET3qzg6Z8QDUJxW5AIMpIhBIOSXX//S4wotB
7tD7LocodbatogvO789Sorjdf/3hnwy+c7XV/77FMrPNIrJ1s4/rM2o5ln1HsexsPiGASR+/vsYn
cSS8GOCOzIp+NKJ6n+NM3+KLwHvjpMW96wCocXtfrt3Crh++vtgnIye8GO4QFnMnaqWznWr5mBXe
ZrLTbz76s99xMeKbTNSpE/v2VmC8WebuaAALRiGATvTVibtfg9WK9b/9iovx79izV6eNi9igpG4G
66akZtTefP3hf186ueHF+Ic/QO18GVbblv5/UJCo0tMscHftYLTvleyNb8bSZ/frIhgIdO14cuJ6
O3qQmCGJY0nzIJ9nqU0PmkkW0YLk+PVv+u949i/jNryICok7pDO9a9XWpAmX1hU70aDa6556XFri
ekCXhYsBJpPeyXFL3Oy5PWfryiv7Q+iaIXp2L3lNTCP8I1BmLbOwtW+7ODNpxJ+AB5om1jNFPXuY
peRgE2a/zu3fKIuq9lop489Es/bZL4Wq0ZhrsEERrVK935sbOqf8J+qWhyW0k/mpRNe0NacMuNrX
P/2zx3kRsUp0cdWkJRBbvNBrwGF/wNncpYH1p23k29fX+GRUBRcxKK9R88bxeOa2ol4YYkCstgjq
5defbp2jzV8eXnARhbohisOpjos9eVr/KqFudF04Rn5lZ+dO4iRPXoBigBRIaAB8dmGM3gAqNreG
pJ2owl7xg1w+pb5Se3NzGAu3Xc9n3TsV+araaT+HfvDNNz2Pkb9904tYNg8p3HGaBbcs3feF2wM8
oUliMg/AFTZ69NaRSp+DesYPrhbI5BdzV79E1TeR9LPHcBHcWsW2MaZ2f+tUWt2nctaHiAzZN/vY
T8ZrcBHf4tBqWiNjixyoaNzMpMpvY+CNe78SoD7HKgC31OTPX9/Jzy52EeGo+yYfyXjYp+wmnjEE
JqsZ3uRSIQNduULV64gpY/v1xc6v6d+e2kXEw0wTlzhEZirhDTzNkY2zBPTYlafkOZ8VzPtWxMkm
ryjbiC3w2F9f9r/029+uexEBES/RYAeMa98O4OrKpmlPlOQiAlexs5RB5Z3dPoNYZ2Uf7BwFsy8v
5/DNS6b82JRDvhWaRmvqKfMr1Ir+fQrJF5J8lr3KAQsAhqT0KmsF/kjfHgNK9pv0aVTx+DSJCGAd
FaKI3wOvuMmNYr4dIe2uPZ2JLUucBI6MhC041wI2++SfEaETvOo5r64cqNInDYj3mwnn/AL97TZc
RChdFuwjfDZ4/hyMV2TYTq2qOfqbgvGbO/1pBLkI/4WBj9Dt+3lf9SL/LSSC5sy0bQrfjBlqAh2X
xpvnD3pdWpm5HRQaevSQ6uSDVXyw2wAOcet4IX2tgEAYBR5wRZ8cbVSa5mtnAdr7+pX4JFhf1nfG
Zlqwo+rZkw+2ddTaDk7Scdu30j0vHe3E++Y6n0SKywLP3s8LGWtueRgoawlqHhWAnLxvxtMnD/Sy
uhPXTQEiNKUZlsr9FVDN+Vk4Mw4irwaQ9/Wd+mRO8C9iHbxlOyq6ptsXlmFPixFeKSzoOrlDSDYu
0wLP4ThHE+Ite/puKv0kTlzWfVKb51Qyp0NTW1DOg9rF1Rk78DdmE5O01Jb95tE6h5k0GWibNzqk
JF//2s/ei4twKOipEgXz1N4srDs9ho+mnW5Kx10hr0u/ucZnd/QiCkYZvcSjjLt9YAzFtHRweB/C
oNXY8qaEcx24dO6PkLZhkhSaqpf11z/ts1fxIggCRxjcUJn5Nonjl57ohMjV+u7w4L9z3L/ElssC
0QhUCka2oN0PFbCPyMFRnU2gLDpbQsSvabXf+WDCD6LX9YpUSU7LHbzxNM/pUeirdvguAn0yofkX
Qa7TQRx3qZVvs6w11tTfQ3GO0PgFoe/cNiMUyrGT9bqpsd9oTW+CF5rzrqdFaV2DU9w4Q+5twbWi
VHND+9m2+ado8INvhtMnQ/ayFtWhDI66JaYUGUIuks65Q9qYmgW++e82/5/tnS+rUbHElvaUq34P
z95+DkVjwyfF1VPQO1ZPq5iqCvrzXfc9lM4ZZGtl45Pfd0iMdQTTS+ih35kWe92FtJsGqcHXL+B/
x9l/eUcuy1jTpITbGpNxCqkMPfiNhm1FJ4ylF776DyCQQ9HBDrXMbQ3dxBkyD92IUOa/pV9d7yKW
0T/djJPjWhDp02A3t411nQdZtg8KJf/x+Z6f+/8cR8kZcGMZNtbOxiy0CQMTu1Y811t6Cfpv5pTP
XqGLGEVMgHJT1OauSJDyRo3qERBM0aaW2b8VJ7jeRYgKO8Ae8+Cm1IIU9b7iHVj10ex8M0Y/GaL0
iP2fe+TDGM5woKdgg2xETakoYRQHk6MeLQ+Cm5vT404jKAKAb16889f+24t3sSqJ3bqEPFJRBzXT
Lt4kffAuxqF+8n0xrkQe611hgslRg7LOvjZd79PR0VsfYtfKZtua0+vr6G++zSdTzH+1Y//zhsxu
HUrPrwf6xLFqIyhxApOkz7RI7J/f/N5zrPvL772sgR2aKZsR96Vb00TnIBJ7YkMaaQioYyZruBxN
FJ68zh0ezLDA+Bqznfrt1S6u3a+/wSflzO5lnWw6kV6O8nLYurJ9lTZ2B4yubBApPt2jKtrWFeSL
AYlL2Wxy7Epl7y5n1W3sQP4h8IBdBtZDhy44hrUyzWrhB+zvccOwIjSGdAv/8Zsj3k9eRvf83//n
cRAAZepbBXAr9AUrPTTFYaQX1saxLd7nvJsezWgG+v/1jflsnnQvQpACmZeUc82j8dIBtZCrxgIq
vhQY5XL/xogaw1mQDrHeDV7aXxbYWbFgeDv5zjTdbm31Tf3NPtP57DW5iFVp6MaZNr0zzIYxh16w
rPwFogbg57QU7noWIgdqlFYzsNMcOMYQQYaO84ri0sroX9jfv7fK8eUiKxX9jL6brFqRaSxPNelX
V+pqw3zb7ARz3Srw6NAG+CLWwvCzLdYffaxgCj/B2BAPA3bjG6fUaJqA/UTVN2Ptk1B5bm/934db
FrKg/XrqtqNbG7sgk+mucw29tHL9XbnfJ6u5y9rhClUseEiz22ZOLlZ0/BVQgicMi71pbIMxBixO
T929WRnjN+/Q+cv/bXRfhE94TagaRYzmQHo/nWAKXho1/FvtuetehErtoktwPLPdhnSmH01ENMux
meZ/mx3di8WZYcBIa32DbhPldYuyCsp6kVamCSdTVfdfD7FP4utlJXE6FPmYGOK/VqX61HL0eFJe
IU188FF08rIRTMPXV/qkEM69LChuLClkg+VnW8MSBzyh1ym1OtjQ1XjADW0swYfpDXmKHcevVyEo
6rn6x53lZamx8CKgMEGdbU0FJtGbEQeC35k3X/+0z27iRZgS7kBxcjDm27gdr5Rhb1hTPxpxsHfb
/ObrS3wyNp2L6JMbHu7gvKfWPoAAlc9wECcXbS506u+i7We/4mL4F7DDBhWz2O5Yym+dqZk2buzp
V48j9ntPTt9lzpkRPrvUxYqJrRwiHZos2V3p6kO2/nyTga4sFpDMpw3U9mSPKyf+AfInWFMOVa08
naNlLIzg2oGKXUOEF3j6aG3HYuWvDct6GCFZjyLdiOF3MrMNzcFrm6WxSJvsF8n/1cju0Qet0rUG
qEv93jUT0qpsy055U+Tu0mMF6kl8NxDsFmEuUUZggus5hbei20ANcI/gZLXxh++wFClLsQRawfnL
eb+Wn7Gtm7Icl2qEZmKpbQC2hUi+MLoXDVALuHS/0BamgsLeSwFrXXuv0PAW0HOshWoeffSEcxm8
Z515zBMKNkoOyEz4jgP19oarwZQbG4QGH9p/NAp5Pmm+CiakB2m/S88dBudUdJqtvfYelF8LLYbd
qiYF21bFwZ7nH+EwbLLZvqGvcgNUPhW/EK/dRt7w6jbl77G46ZlNTBx1Vno7pH9c8a7mYsGTQG/A
kq+z9DJCO2k7w8ptYHuy9kNetIPOcpQB7iBDLiqjhMMWXXli5+NGAzXaQnSZoh9NHsDArmAd3yXq
xejF0spuUlDGSeFu/9Md2z8ctMmyplCl7JaThSgds4nGKtP4qKXzvRd108qD9dmWcFeZQI0CKdJw
Lcf+pc4e6u49G1glSHqy55YG/3i8mYFu04NcLep0vMI2ShkpXgVdskA4So5/FoByXrLSSBeTah/j
6CWP6LxO5pU9v6V2cuvEH9nwlmmxDNMbBAbZ0lUwsuV2oiOcmZEDQR+imbd3LPw/yu0Ww4ynJ2jn
5dDd1Wm+qkBh8W+t8I62Reras1ENY762JbbtU5q+eINe4UekNy5CZgCBCEOR293npr4TBHtWOlyv
RP4Nmivqdlkw3vp2ezer8aaOimMViiULHx8gL2hho9Ubz4SZ0mAcjH4V/M8RrLY7xLdR+KcNGtA2
9jYGmROitUDOQb+au3RLi/Y5du1KIcBsF5nbLSvqTqTaNHa4LTuyTn40Xc2eeKWngeVXw19o0L/C
0WKF0+OmWIZm98OiBKtBlSHB6eeBB2/TeJ/xGLLSASBJ3qy8rwIPlRpbsdrDPG5znFB6+mCZEytX
XLwi3sYRKk3HvY27aOPNOXjbH2AXUSl6+THHQSyLAgsTT39664LwxizviuS2DTEVptNNGcBrH+YF
3QqHEWHdSAGUQB3QxftiwqndBriTc2ad13Z0j3kxbxIHPFGr1mCMF1Y5UnT5XDv1zTjPr9ZwtLAL
9tRQTbd+dQ29czkm/bJueU/SnwKOO+8TmpToKrD1lYa+avQchc8eFmlrXfOoOQ+ApCGvoMb8sko2
DnhORI1b7Fca6bUB4Djtf8VTtikARqvEIhRlDLIMXOhwZ3e0NVLmUCXxajC57T3y7MD7DW5c4Q9A
AEs1EIohqosXrfNY4gw0GRqd98tX76P9Gts4qXzOxkv+ciWA9fJEYXrTwDGKO88IJET7aiN8ZxlU
BdKY177HIxvqZ1Q2Nbo+gbAqQWwzIfhFe8pLANXK9kAIY6Mwq51XvISWOowy3HrZK/oTGGj1Bxri
nT+pqyF0bFrokR6E4gpvWVV12zTeti2c1PHGhIhXV6e8NhBgnIxBvOF7X5oxEwCEyzyIlmWBdgdw
nZ05qJiJTkCwAXYsciSQaSaXCUCq2K43KBEXEEVvjMlcz+V1FLIrcl9BCS4KeIDC/SjltIDNtDGK
9zG9bcoRGm7+JJMXV1pLv2iBnntb0NYrkVJJwPswKTBzbQdL39n0QYkDLcOmla6n+COsuQ3hz0Ln
TyClTyPc/FIOx6nikXCad1XG+TLtOiwOHUPSXji1uSJObCviRu6k6Lvqn3DiNnbM2921A8EdR1hK
zLBp0hsSVLVy5yQBSlN8djEQrQCUmCw1nh7xNkHjRH2B0nYZyxnE5LiMPTZ3QftBdnFPNxFCrG5L
7eLSr1lNq2g9N/DTnGdzkPsYvFRnF7e9SZeDbKisO9DHtIb4Tu8v4GMeDgzHZeXY27T6aXc/s1Rv
YlS2VQICMeTNZXFWmopod5LIFeNE/U4gR2rzB7g/lB506YNlwPVQP6uoU/gizRyeWOi4tEN5wKAW
NewVVB0WlPO0KMR16Wb2dYlweVXOslQLs/c8zjPi7MMcevPBbsZsJey8vE/MQm7Sml9ANa+elx3C
kQNnEt1xNCBcrrxSDPfgKfWpiycLoHcCPMCKFNA8tuzFamjs+EpZPtbiKZDokl3Etoe59uqGubeP
KHi2UCd3IRjjPFE7eg5I8tBt4P7RSkf7lCp1RiY1M3jCtILSXPmWv49M70m2QXis47m5KWFsQqhK
A4TZY/6zU8ZOV+bRH7N9LY30UDucEi0bUlW3U5G1ZxW0ue1ZwEBXi8Y1ZB+YZi3Tcjk+TiA2mfaK
fl1KTpRS51fPEcvBd3gOCESOVqEwxEHIo67mjxmdHQ5iGeDDnYPmUDQWThbVQB0tike8tscekyBM
SW5f4R/Jug/rOVcvEvorMOZkaE+mO29aNWTXAK5vyExAw4bse61n/TBWtAPTvna0k26T2J0+FAG+
Lq+yYdXPdktLMu0T2jFfKQJeFyAJYT22d0kUggwvfHcBueER87a/SlD/HpLQx82i0DdbBDi8f49D
HD9jbTjDy3NjWclulYW+WFAgyOhSyf1c9s+Wbe1V2j50oXuEa793isAAGju/KJwP41wEu1D4ybLF
5rYgXeBzFFuRaB9QwWrEXXw7PrDU94PdrJK23eFluQ2K/LpKop1CQVRCk4QtDLyVnYdFd9vSCqdD
NE/PHPonKxWHL2cHwD6OYdWE1Z7OXWizvDNV2Gwqy8NIrTfgIg8hcq98FosQcf2haswUm9j0plr4
5YBLruLWRVGkxVWTJ+bOwGbIMc6jmCN0u573Tv+gWFFGFxGnyhbidF/Qlt+bo8eCtNabYC7c34XC
HxECXdrFkJ8UdTYyhsbviITpEUYbRQ4YGanYFDNrn1470N28rlMZls3Yzu+7Jg2QEIcuG4fGAuxu
FE65Mf2BTgwnbqYfES6k53SO6vJgiX7yt900ZoK/7eoP9LhlukijIt9g4bPuzBDDjhuWLM6csq7R
YklOQsGBVs4vHNWwfPtCV0tfzimgs7n3HTyqRrjRSWYewzJlm4+BLCCj6bSn0AJPVTehfd+29DD2
tgdggQ9YMl6gXWPhHsrdwFHrT8s+53t6jS1skdWDv7LDisrgJJkfaa3CumAMiOKWGs/ytqkbYkto
Nug2o9hMriwX7MrgqBZjOCBxiVk7CQizuH0O9B2n5bpCCYB/grvW/3aTQcfb0HCzLYzJEHNEiAS6
dTDaUhNmMot6LY4MNIjk/i1JqazXj5rXsFM9f9bXS5UMiCKzMT7pLlW7MO66+8FouI/B4Jf+lcup
OiuaiMaIhW35SUW4TENrEbkVEqbIB2sbGQ3Te1KJYu9mUVlcdcCj230/0nu1dKa4EoRqYN8bJccZ
OKVuMEGTXP4IUrN4KAk/3iqaWo1UzBYVBSCOgVxxluTVwQdDtNhNvRhjDKRecMPeEjaNYgXDQiNz
YDVWIlzUzE/t2Rc6ZwtYxxNiNGj3IBXiyniSeWlfN3FZ3SF8sX62XUWT/2RQ8t9YZnbvecjkrrIs
QvDmuy63PCWxcesLC/Y17/M2Ym918GSA18CFPHXVB+7MotjqokNMOdbO8Wr9SJIvvCnKvlnLbBrv
Sx7EuChdBDMAOjtj6aN6uCkKP7rxuhgZhW+a6zLqml3YItUU3uRcg6euTlAb0lU+jv2Dqs/qaXc2
7wYg6fPSZCbfZAV+3klO9RXZMQXl1QbhYlapcRaH+B+DtvR9njvBNdC97NdoZNka/Subp9T2cfWe
l5NO79bxNirjcOu7HsmZ3G6bTUCR5TYT0iPqq+laeG59mIGTbvywLje1GUQ0cnuuNTINQMNi7R94
FbncKEjK44Bi0k9zoCPA+XUo4b7mVriGwNZfFXGVP3RJL44yH+RGZ356QOE+/JBxc9brsUz1zITt
sjGY+R/WN+mqy5pfUwq6WAzA0kPoyEykuEuNrjtMvnNV54pA0d5JtiALPx7tZYrXfmVNAWWiyO2s
qTwl3hy/aW/4OQeCPaUJWzuuxT2evIrtZ/UKogaWcTxLhL7to5nExTJM0uYa1Ha5aftI8IjaflHO
rrkGII5/q6yftfHfgWP+ZMAa2jUCs7pr+KxPTGtfNL6z7epu2OEUVggVbNCp+XwSjjcehOhQ04Wm
PBUBTH9dzQ7wAPVRCaKS9uNnu/aBOg26oGUg6gGp4GtA845TQlnqGCKNpvOznNd9ZEcrDLwTjrwJ
/4/s8CXVrMTbcnoYIq9+j4IsfDSAha1GCKnXDMIJxXkTLpMcG2ybB93DCMJ6H+XsE4u5DZezDMJN
0Tj+OjC1uBc0gB7cJq6wt3JXMEunLEX95wLCKsygXCx1CnpXSNtYSs+eN/gHcAXnkMFytoIJ9fPL
YgrdVchKu3PZhf6n7zGVN4Ocp486KI38Rx/H4tTqyd7SE5KziBc49DKvv6IeJznbu9NFm0XiONqp
urLLZrhXhUG1oQzZRdeZx3ZOeiW3Yv6YSmpyaHN6blMnJQekm4eC5oB9Zmfzdi7Sgfx0YxDsaYr3
PZWdjNYHOD+YPVSFHsNcWP+Aac5j0fG9ztSMDCFT67JFkZykqnuDatq+pKMZ0ClZ3ehz/OiKocQg
6OMDiwPQf2n5MhvUy9ke9KwqruRJzLW/TZM8oiKSm8w2zLl2wPeezJpGDNwa3lqyRboxUU4dkbM5
R0d2ckUuC8c4f3oxe66/MuNSFguwpsZKj41aDv7wnNputqzyflyCjGdWh4e0qLClryj2Gk65zP6k
mfmjc7q7Sip/0+ThD7M/C8Tb4Q6kgb/LpxjJk5Vn6zw3qoeRzNXCNHLOTixULi4NOshgkRAWXXrX
1syeme1kW68PjG3TFPcoebOlk3EGUunoPUOHtJ7K7KpuMa4PsSnWxtj/HBTSS9cVjFgK+VGC1L/M
qptvZsuFEi4cuD528WQlApxrM1tkRExrN/TyQ/kdTt8irm+m1jKBAhfI6DXiGm2Fe0X16zqjFXZt
1gFWBh3rtVl4T62fdqfYHYtd3lpgIMbK3QVWiYXYRNFOrmBhj5oVJjVdZzT7AUAxEpAoZPLyu13f
4UAekCBcp7KWcFjnveuXxkFFQ7oqbWtHIcmHRKW3xM6XHanVIQkcVdWO3mJ74xZWiM5ZhyizzvN1
aI2rYkZTacn2huXXntFyHDUhBCtwtqjt8B2pV33Ll78tgvaUW02W7PqqYK2lfZRtQZNnN5Pu7AR7
7QgKNhTjHZYv2DqjX9453jy8s4eweS+KJrCXluz6n5L+SGwtsWr2AccL62oqxbwe/RA2UxZkd2YR
UJ+ST8ZHU9kBPvnUvZ+ROa7mEe4rXWXlmu3nsEB1MuwjnPcrJ4tZCNOFt7BjABiisuLbkdaSg2Q4
PFQoiR/ZGeZY/+CV4AdvHevdLwPanyqBYDdVyW1cfCSeU+2ynt1i0qp5O04mR3aINJbTZL+MdpKu
rNhkyxyxZjpkeRrGrN7N6GlkSvhhsHZ7dJu8hn88UMgojQgFdzrcTfaYbmwdS7Em29D8aSnvWzW5
oBJmGovEWwx6yA5D3bCpinKbzzczrV9dCQkB+6rNRZyGSSR2zIXoKWSr3STbA/egnqAW1n1cZtlj
21TBfdsExcYabX9fQwtf4XK2DzHaoJUTdQShQU3AoenJqJ9YdEX0hNWhOFvfx+kNSiN1GnM0Big+
J59TG6vHLR4DdF7kiSZBpxq2cYs5d+uTO6GK2xV95xE0IOlbs3CW5uiaJ/Ct/p0leXTrKJ/wRNRN
u7NaUPKxxT0/b8K6Ld42eVUGo70Ocs1b6BNBDqVhBY+zW5BzVaYS9sIUbfXimIX7ju/G75ZxRpcl
ixpOvRC4JWuBmv1ocM7+mLk0KfeqED+13fj5phuyrMAsrTjKq0CIE7HLMHuylKrKZRlSMLxiGMfJ
ku7Hzl8GObg/tAQ1zdNzGY3VHQ03qj4VaWEcKKIYAtprU4kQPuYEka6TM02/N/SWQkx6f4dwDrKT
nwhr3Nomd3dp5IG47qsgvbKqXr37mu3FIpSFPmS9K3+rvm9Xvk6K1ySnPxLHKuSOhWGIHvOm6q+Y
Xiy2v8UZpuk4SbVU4MvQjQBk4lBg8q11QkYU30dgFAzrRjnBDQ3V8gkYu963HMH+buPUepSz672P
vROsDLOIr4WUxUbG1XDL3aweUm0zvaWRw24iyTQKmWlatCAzq0WF22srkUKt4jClET71/WvKZe0f
vuGmTzXJiXVLheHRNiznOWtz8eJDc/7ogyxGeJw4aYlnMJy7RdYo/+gbBUeywgvD37ZVBdvGDJLb
fHbapQcBZ60ScSQlMf8aIpNGRApmj7MI1MrzBvxiShHLq2iERN426e8cS+Wrh76WbyCHudtIQLwj
h8SGrG9b7eIN0kGLWzznnaXpSLPg7Ef5C0eKWlVGrjbwQO3jGFXD2uzRTrZZ/0dxOsGEAXdz0Q9n
sCflPwbTtrwPJ6JK7817o8Ki13pZtYzGseaITz8XYuKdwYMBea8Aw7VDYCTv8Xl06zwYVxlb77XR
2ThI09Rc8CxX1Bb1SI6pPgjNgAv04RGa7m3eJQej9EushQP1uEmNS0ipfNUPzC0I0jAMF0zMLZVu
Bz3jAg6TChuQ2IadsbPSiNO6PrgLquqe9Cm6RJW6685FOT2NEYeiLLdiVb21uB3vzu3WhT0e2TKs
26LvWcSV724/vdqu9VBMfCm7Yv1cYP0Lk6MY3CNyyG2dgu8JJv/K1Ox/E/URWHoX9md5MCfEZNx7
rAr7QZZo/jDIHPpM33LgvbMDnR6nCI1rjNZww67Y57ibYTeJisxE3run1Hir+kNfGE8ZnHkOZshl
JvLcMq22kSjfAi3WsnGPquN4cTwLW1sTAUAVbUkQYGHJtn4/bQlJ4damaJJTwo2TKnadGdOwc2Ok
jbEcMSidEyw+o3jeThjAanxVp6ZrD9KwSVRwhNq/eB4M5s3XGUb8P5/kyp2LXHk4tnbVBX68i2SV
6FXguN2zBCS2DoZaPHphllxbZs1yHRZ3d1+hVs8WSqr6d6GL+aGuGmMXBawBz2BTB/W2aJxtUuX4
TlQZ20B2WT0f0yE27FWXTEG9sVjR4TmKTHcTDi1ljng38Duzx28OkApaY8G72P0RupiwfedOyTk4
KclbD4XYRxnU1r4XOi6XHHSxI4obl8RaOffjWzEW9oNd5MkTxFI/BD43RkyjzTzs3bwb15SOa1rZ
He9eZK55R8xkABsV+rUyQf+Kz2XdWuNAkWkgjZuOcj9KrRuBSrhrnOpttPEXsCwyDZPuGYvJB8H0
j6psJ3eRzx2oJyvsH8sS45oRaOdHE3rzcepUfVMmZk/JSuhy6qtmx3CXHAr3aAX8itV0HZ/4Et2t
LDlHXVWVae/xkfBHC0p4Xiq/dM6DKxv/TB458sWYVGWwSP0JS1UKq4uVqRAnhLrOxzz1VIebcdud
fE7pgOwXznMTuHInKzbqLEeimiwF9YK/jQyuf06FyUtUy/I5mPLizmkdZxv5ZRMsu3r0jp47GYux
bqw3u0dY7bkOvqtMhtduUjk1Y8BpjsIJSFvRA/oHUi/nxWl45Uqk5AmF+2Sn6Ba4jae2fWw9Z3oy
J/eJNarcG2RzOcsMkuR3aUMLUEhP721MkscgK5hRKhkMeyts4vVIzflbQda7WMR1KX4Mk48sx85r
9yFKs/A2qlSKUo5zQ27wkORXdTNwLC4RwPKnzIkCzTFpTuk0FYiTEudGeA4byGSiyyHGWuDBNrMM
vaKYPkMEapTpZhYSF5Y9BWvhOkg6wsFkD+CLlqR4rJ/byImIxjY9tcjcW33enkfNE3Wk7c94aoS+
yhQmNY7PO1KygdF6Kco7J8g3U2kSgjRtFKsBsWy809L1jhi+g4laPlM8In4q+42wlDjZTprcZY5m
ove9KW6WxtQ22EPckdNVkU8OTm5lMykVaVZftZbljwunD9sTLZEh3f92Zi4oZ8XvxvsUPoU4lvnS
dGp4C5VO5U6qpkQkqUdxUI1Qr0GCIW2uBkG2d0zrZZ2wbgIzG0VHqVrxgLbNP3dWy0NFVusQV16y
t3XutKvBRZ+6NLI67HZdLAY837lMrwP/LPsWXfnT62fyAFDLjf/H3HktN44saPqJMAFvbulFSqRE
uZJuEKIowbuESSCffj+o58R019k9FXO3F62uKqmKIJhI89tNUiZ0zUejNV1NTgIvmHvrtee5s/Zp
FKu4q8wr0IVOitpoZdYyawrrGTK8/SgQXUUrQ4vqBx/by6djWOGBYZekK3d2xWSd7d0NUwOareoc
QJFtOfpS/xOTuf1RJwkoflQoRRGiZ+4cEEZtOWStfypwBzx1RqJeqBUTFDQk7a8xQDFEWnn7YtLl
R6sIay179pElDMguLeNFLjiscyYxKVeDUN1pKjHMdQ/OFcBBlfGl0PtmMxlOs+mKyKD+NTN0nBqU
j7+aFEx99YEy65UzZA1tjr2Q31rqxzccFRRrclL9whPRtstyYg0plD1cKq+ZXh0ekddED7VTEdf9
nRbbwSux0uOXD16/EUOvu0s2rMbR830P8nVSGEj6OvrqI7MjCQ824L0dSVak8Taz194YBs90VrU7
kejFfdB3+YECNP9VDUlxkpXrPCb5kDYrD0L40adkxFwEldm9lzaM27zhxgVX6nM+KWyuP6bUX6k4
0gQ/FebcbydIDpWeGfkNybY1TUdmNPgLT5/GQ1BgiIDfU+2Ccjfqjsgqz7YVXUHPTtFOxB1ETKOZ
yJ/TMfHEypy65CX0FTRMHYblTmqTOujSipulaVLKuaybGd3MYwERoGt9qy28Om/HTWz7CBFkU+jW
AqyhFTSc2NRID01RvdJFNES7nEA6Ugbzxn0WwWjuVOxVX74TdGuHewUi0kmgFG+q2ns3K7JXk+aF
zyD0wJ78krmAXh/51lZB8BkrY0poqA7H55hkybt2aqurgt48m0lf3gU5IC/4ey9IqvBTcQzrIrk1
pcuJB/BcetRMy0KuhBMMUHEjIGJo1Vw+94nSNJLt+FQ7PspqwbnKvTPdQW2SKg73eOTLi9fDBhh6
qWOW6KjDgSNlRV6F4Lfb0uQqF4VBMUsT9mLtl1r3WLiiKrn8FrDGDUa1DFRl3Wc2xBBrhH0qAak5
ZrcYYDNKFag+H6aafBeneMA/rn+QhWfvcH1UK6UyHypeqKPvN/Y+jgrjvsTktWw1vbjJiqkE8IyT
W9dI9RtVgTa4ZUbKATrGw2hr5ikth+woBsCKuKuxQ7Au06xTSe1X3qCRNeTkJzRQeMPWMLGpLlFF
09tVpDK7BWPsOOb4Jkh4X9FI5vrlOnFbBqNt+ktJwOoqdB13nwcmq4pb1M+BO3bTpkVWQdS/R39g
jwmjOoWxzRB3RRiFi0Yf3Oea80+4Qg/DjOgK6C7DYKVcwAiodzOZT6ROPKKVUEAXDQwJhNwY0BZf
J/g6cgVXV0c1p+TaqK1fpV+XxyrUUNiwW0HYgjLCXlZAJWCVuhafC2o3TnxYyYfVRYgu3Lxrj9ag
J9R5m2VwQ/+G/6twAuZwKujbo18NuJX7kBqSZR4K95x0QbSmU1s9tEALN7ZFv8wC+p7WvUG3w+fI
n8oniesf6anjJ2iw0vJZ1Ea5NiZN8LjV7XloZHKfar7cT24OF2tE7XTqScJ6EVMRLLWo1Q5joU/r
oQ69jzZg+l8Q4m5sG57AjY43Abac+2fmfgL+Tm6QCG3ewGREm7EhbIoVoFlqqtaXNTt+5Cheh6CK
Duee/r6tY+fBa59J+1FUfvsYmGW48Ezd/FVS/bjRW7Pe0nGarf0MVt3vnXc5mZSYx4BBKwKHbVBU
0tzOrj3Fx2iym2XbR8YucnVaDtvAZIvS5LQbr1JI2AWvH5yUY2j3wjWbiBq/1hkR9ZCIvHBcPhnw
qs48MXaKYpVWVk/9rZcNz4mbdv3TNIBKr+1QVx7YWZG+VV5kvYeN6T5p6NjMRax3kb1gdbUrAEwi
Y1iRGcwrAkUNjwMITV+JSZPbYgjGgqxK2YmPyrO1+tEbPeoVe1F8FrCYYCtVmFRLVlOM6QUyp9kk
bjCND9OgPfaR3sHWR+APz1qtRn832HpgLaic1HFaN/26dbp+7Ruh/VjFsVgV8UDFdh1I/S7zg3Iz
+FD3C6g/gmuVatkZjRNiq6CY4teB7fImNAcNeYjG2Q1t6HKCj1i3fjOuO8+0KMGKCmuRuJbz3XsR
kh6uapcUcHUQY85NOnbjckAf/pEmvkcJV1mcqymRz4IZeOu1rXlnWY3nr3vdzn7lVlKeYDibl1DU
6pVyjPiG/uls73giucmrDOQ8LY1Zbmdg1mFt2dtjM3w0jZU/RKn30qBdemWKpN8YWgH3HYtS5VTl
ez9W6lg2ctqwbIdPTRfpe71LqoNs3WynK+RXXuIrhDWtH+zCfjBvbGFGdL2PwbPBQsd8MVncUJFv
4rHHsz05YIdA9dFNxA2i0LEBVHCJ/E/A3YvpIbITdF9ZUamz4zPVItaKlYXaYPS+pp4ZIR2j6otS
YNQ249Q71drqDdBd15H0juXZOmtM2FyvEMjjKiocsfz6oqMFpg45bIjEWVddUD9MovP9mQ1o9kIv
4x2NVLAMIQviitNQkuyVZpr7yY77Y9Ooaoc2ESkWJ4rSWggfcbuiGfppCPz0BGsaHgpc7tEiiwz/
XI2Sh8AZ6hW5Z+pZxU72S4tH/SmvjWALB9yVS4dmpHOXEDsQ6r11W9GbtqeueoD+dLulrFt772sg
qMzWIVI0loYbKtG7BzgDyjZylV6jVrDGxVJbdgn41qBZqF1D/A/jOAHCwxUXd4btaFvA13GdDyHr
JbNDd1sX9LZTqxrUR2fM800S2opAs16Qb9+RdRJ3fn0S8D8Uerute6CtSSJprGrtbi5iPLudZR8s
Ca2bQ9EdnDw2TyBc+SpgDq2EP9z4VKg8Jk5SQtzGEK0LEnflfaQGfZuWPVIKm5POTeHF9VcsbQM5
55RetaLOXlmx62jJ4CElDfZ5Z0qOINKM/L2fRuNL15PyKgMzPqSFTM9j3xPGUppZiq0CeUa2pK3W
8oAyNQ+O3KhXEDvlG11u/k7DqcZeGUkAxcLuWIPQlbUONjtQEq4iM3i3Rs29o0a5XnXD2O7KcJwb
hGRT6Qu31aetGMLkaRRWs+kdYb0IV8u3HP+nNT44tQNCaj4wgRXsZeOaPCIGKCRyV4iBf77xTiyu
wy18eXBp6FrcBSiTtD00+yiAzNL4GnvxgECHUs29l4/ZbUpy/41P2ehn4CXaJYjSaQ2nVS1tGpCG
Pfurkhhg8KE7WWcmmhAR7DyrNkn84ujhm3H13LCxY2VBtYawjIZDIjqGtdWqdMX6lexsRss7M71x
HbXauqYpZ2w1ZPYSuCjyCM+vwo1NXMYTzH55CqsYOyydqsa4JMbJWJad5q1BFah4rk1xZwpP3zMY
fPRzvqDpFRWxb8JRMqa6m5GcWLgY5HJ+5DfIfIGCJVRVMD43hpbdNwBOqyRzmztYcsJr4ds2OKaM
fc/J8uBFLs9iawfvnjnSLpm7RRIsXNppjVWfgrQs2tYo81XFQh9xgDaQuyWWPAppxtHGN+vqdsgU
cTRFVPAMCWNYDOUYr2N22+c4U92mdovoPmxLdcjZN96J3pe3jc7xTtpB8itR+UQtoYVxyDLTpUN6
61bEsbHMNSekERDLMMoCWhvbWm1Nqra2Fjgy8K6cGJolRTk3IoNVxRMZZQg6dbNFKeEFOSyJJtOt
nrnazdBE6GhdyRmUAJN9RHfgKjVoeSwChGHxiMYpCsHcrVL6OzdLxrvJk7YOS5Il27IZgkPfxjFw
vuvxF0cRH+gt4sTrhuF2qkLnnirTyQRxQnXDIS8/lkTDPURdaOwbzSK+JxuTmSE2T46TiqsDAVrc
2YNvnoLJ7ciPsYT7kvVF92YbhnmRIm03MgnKA7M3Om/bkHW3iAdI0g2RzCpZCqbUz2JqdTyXTpMe
sml0to1ImpvMZtUcrdZ8y9253iRCsO/d+7nGB+dgMv0apnY4GlSv3oDX8wTlgUOBC01A/lmnARUe
cQzKHbH6apWkxXDm9IEOxMmicZ3ZgdpwppSoqxVN1XalrUP6X/a2V8g3qgejB3Y73YYqX23Vydy+
U52If1GsZcdLYQRinYROxhob0yLmhOS9tGXyJbLOnJa25dhHO6B+edkPwj4Q3VS92tZQ7qwO0i8y
ChNJG+aNxVxADh2k6ntDuuW0ppnRPJaGZNH0TO12iL1m67p6f0P9OslfsQi6E+lD6oRrgfbZSI7P
CfanYDn5RXALUdUvmHztdeZVPiKLWvPwtdGRWlGQ2K8TTMjBoqOKDwJkRDwDrVWhmR/1bsALC229
lJ4qUcxZ1StzoH6SIGg3bV/69w47iLfUoE9BICl+8IPBoKk69B47kWhyZTS+tWRr4D4HVQrIGhVu
Rht8JrFbJ+QOdpVTgjIKC7UC5dKZUs4DK4xzbtMfOUgeTa82TEK/UhznaOqt0hRxcmRs+gw4W1qF
tcu0sTzkQi8ekj6xkGyhE0vRcR3ysTSWDpPkTKIwiajcOCMjyc+wUsk1oq7+0DSJ+sxQdSPaHpXz
CA4eIp0epnVYSppJm0l9spuceYJAUhmv22sbuHWV6Fq48tzKXxVDW28pHaKoPIZChbk1lxJyfV02
yGZ10ZqUlHaWOmZ4HV405sF4OfVVuk2scdhoQvQn7IfjPV0Dai3SsZILv6nZd2XgwW48+GtNhyLj
Uvpkm3mSrMWsyI9CcyMmeT87j8SBE/rl2ulL54/g5XEHXA9D3q200J3Yk/nJU1IU8khGYws2NSAf
LW3Oz1DIQEFlpNbxmBX+Lq0A53Ah5NlTEGn9p4kp6TZEMkqHNjXI4g64PmTXWUhv2dUWUKHM7P7U
hOy6lwXrBs+vl2w6AxRfjm3M5OLqxcFLg94/aJbp2au6sg04cZvJbBB+fm/1MLidY7jPcRYhCMXw
3S8Echr8eJ3cWGGp7Qq9k7tWamjYevC82xTYU1vKKhhfZKZDkeUVaRmG8JwjGG/4yJbIOOdmlxNN
2bIHImTFWEdJFNGtkLVIIms3yd4BGmPGq0ih26SbBlvdZJ1eQfrnBtCPbJa1I6Yt4N+gHchbD7x1
mbveZZzZMoRi0Y3ZC+sBp8sUnDpN01fGgK3wyRpcLdjERqKjSLNMq7uFgFFgfIZlutHjgJHlI0nU
uOUEzaHbHAluvOtH3e8A99r81dBcm15hHs/omURzt14NmeaA5mbhcIeOGoTQ1ubEZR5NSEWKeRKT
DXRA4tAID3Coh3w+pTsOJhoTEYUmnHiJKcF11nqkh8Otq4dTsYsEiydHmMD0wujGDlGPaCj3iffU
HQ1sSGJwX2dZ46fYBIzornEQH50NK6mewwZcY0UJcACfNyFXWsZVCsYY9HFzLdK251YkmSl2VcKH
fWhGGJ0FzfRTv0ZqYfHjQsa4QmJ30pZZXNDVYFGsnixM0meewf0SuWw8duRbVx9LuYcjQTgSSVlo
71VRxzthouVnKR6uCONt761MIawXcVBr6PKLxEm3litiQsWMoVY3wyCNx4SdmL6hX4EOb1YAqpIN
U7Aei7i3V4kS5klFrRsvgFyTEiRsMM+jk7kfpsPOAJJvSk62a/DBqymgdKIsMaok6Ua0DNoWBu4F
+Ua2sgA5V57sp70ZhpxtIKo2Pkn91hLBCZj5aLdUd1OTjN/Izs1qV9hauPbYi2EIcHMOiKjZoflV
lm1aoaIzjHWKr4aBtkcuF21p63YeRT3lm95wVIQWdOyOjRe37g4wJUKnjrB2XdhD89Z6U/cF0Npu
zDa06doAWhwiGB8CbLIEkMjM0GWa6bRwI4SuteaoleijHEmzC2R2zJNx/G7smVvtI6nzkJbJUVXs
ghJdkY7RmlG8ZXajGpByo+2QKvs9likOJgjK9zLOCJS1CBq6S8O6fyf9ITtZPJ7n2E9bgD+/+VIZ
OomqT9QGRUuyIUpFe2MSrOMlRSNyjTQ928fClxzHoGXe7RRXupJd/WWqCN7ASCDQkT8QdsVWyU3N
W7vRpi8LhMdZWmKsn9FhxpuhGbFDIFg+CxsA14tKfw96M3yyGkjwUUswr/AhZftBc5uPIcjiQ+Z2
6Gxk4Vbmwo4N+Yu2UDtmJSQTfw63QXMhJmA8OsObr5ozoDKdhWMjcheUWbsFOJNRH4AVgj0amb6g
TFvoj13ZM1mFfk21eZi0EWBFjEBAhfUaEY8HNuyqc0sx7O1EaNunE3oRF1lQqSoHrfMXDcXh+7Ib
LQxDogaKCSHPSq0/xJxAv022XWsg3nkpnIDEu8j3+yXlyNWnNgjzw02reF9rVflBsW72Sfhhu2uG
kUyNMHSp385nF9IPw/m/aj9++r9WFv+jCHn7/6g+/v+w15jO+7+RvP/Wa/zyVX6p/isnEeF/io1/
/s5fxcaaE/yXr1ueNzcR647OrvJfzcboJSgwti0dQRwIHdMbHs7/rjY2nP/yDPqGEUQCrHtwun+r
NnZd0zWRlHlBYHgBxcj/q2rjfxpFobFdC/8DoB0iCZJI/q21JMl6aU+NooS+8W9t70D2ZnEsuupI
smF26nuVn4q0xjl3Ya2wsH1VrPpZOGdROGhHmvAhylKcGpO+0Dubs8/kohcP8yeT7l8WrMHaoee9
BkFenazBGc9efyeb+A8JD/+MTXDYqboOCdTguI5jsjT/RrCHJBfAmkdqZaW92g7arMaAW1nw7OaL
lLMyqoR2+oPh+rdYCceBPrcd3QqCgNnaCX6+/7fQBt/oWld39WmFND85EkRb7yaFWC4E6VyIujBP
2YSkxU2K2xDrDtog6xc4U//QptM+SHG6cpL/4ogTLnNu4jMWwmzhS7pj2Nc9VPbkr805+IDLWKYQ
ZGcqwv5ggTfmsfQ3//7Pm3ANcC1P9w1XZ+fF9//2JigtgOhFB7Ry3RUyqDs8yunx50vTSLFzHZT3
U2Kbe05GAJau6I9mVt4iB0eNGqjiDm1PehvVn65ZVMeoIJtxMWBYi3BfLCdEh3tMNcWORYJMv7Ip
N470w8PPl7TR4iWTZLMfvGE8BmkULkU1VZd4/JKw51etDL2FOVhqA5rlrksCv25/vnSFdSt12OGE
Nl+8a4n2oqVxsIgmsyHKLrsqH3WvorIbTbhXv5W+uZ4Wmt8kzzpK07OXW5hszr2qhs8hQyWcMtxP
CIzjA2PnhCzN+jDG+oMdNE5OYWpPyWB/N1isTvpo1muoTsCgToY4XTTA+ZjodNcVb8TNeb/8LkhW
Ri01wNks3CNpytYqmfxjRIv9MURfvohCSrV8f6p2EQHJNCnWEfR0aR38ikBfnV3HIWO/9kgj9nk+
tnS9k93SLW5vOvSthbgtpzJ7lXGN+JTzn4oPw6BNuJ6trj38fMkrvLPFNHQcwer28PPFqaf2oKUZ
Pzgv16jXGuuYNW2BHS5fTbWXHayeAECvF9nh50vCmvzXr35+q2k0nPv4CkItLW7L0c1v67YSOwrP
7+iwlTeRcm8G2H4Gb24+GB3dbFY3Yq5wS/XY2PWBzMKvrr9N9DZ7yns+ksJsGQxo1Nu05uDoypcm
JxXW7/WOXWrentoprG5jM9gVhDI9ZnnT3ZHP8ToTLtrgydvIaNMjx+DoSGbP2HpvQJFLuxrFK6RV
vo8GoIPmOW8q7ZxbaMFSxym/yiUp89nX9Idaid+q1X8epgCHGuJRw8E0+m89BBUzn6aLHk27hj1K
67cyLK23diDQx84xbFb5WxYkWFdzb8NBu91kI3tbDy1w3lUhYVBZiAgfb7yqEdsDg4GyZmFwm5uG
tSQTrl0aMixWpijnI2Ir9w2OuwVosnrQ4h7o37eLc+jbEZCCOFVxZtwUE2Lwv61y93+le/y9j/rf
Zz6S8AMMxpZl+aYRzGvX3ycNPBXoUzT4ILMcgjWAMG6b+UvTTzQKC7m0si66LzLCu4Yu6c5F2Xdn
aA3hv+mjbz8wj1d3uFI8gKrWQtw7Js95Rx06oJmFzJWklhjaQ3hs3OGuJxgt+0+5T8bvi0YAk2gw
9+l4JXkLvwdAtRryx9gmD2YcQDcopMez6mCzRWQHdy3zLytOAQxF/kvQLbdwLOQsg+bdyrLV9lEb
op8caMvSUuzBWm63t0Y7Nuv/fKf/qRhjQHGNZmC4ru/bDhuB3260K1Dgov/MVpGbcAb26hhWm1nz
P7/KP1Nj/noVi8nH9j0wftv77VXaFN82j1C2kqnzq/H6ZK3HyKiYlFDnrE3CHFTwpy7wn0ij/wmO
cdgR8ZzoGK90eH4MAb9lvLhVT/GPOXHe9ZN8X0ZxhD9h6XSefgzHU2IznHoyqZcyj7W1dKyLiU9s
aXhKvkQNAlqVvwTt0J/FYG99q5AvRqoJIHIeeFEN4aEVZbwdBUr5Pkb/O8bW2R7t5ERq8LZMgmwn
GxiGEunWHSvUrzTCFTZZJMn7cavvEj3Cq91O/V5l+TfP0V7aZXt09Pix6IMeoJffuWgk8WoVJ+QI
9nHA2tKFgXgYVPX0nz+g37Jd5pvl2QZUuunz4Pm++VtkDSM4Iki6gXm3CnNVxol9J8FMOxf7EuYy
sVKW5SzHOCWMwtOGG+EYzJ9I8/7318E+i6fFt+gUYsv4zwef/CVkPNVQrKSvQ0FVS0Fd8Cmy/fRF
4/kZRt150M3gtVP2yVZefapkLFd/uIh5OP5j5Fi6y5aLW0LzHzus3/Knhy7FGlTVxUr38Gqbo1Hv
ZZ4kSzMo1TFWZXvb+oXOYVlADUtxlqx2OLXARdDTgwOruN4MVfbkDIPYGoY17P5wgT9xS/92hZ7F
xvRn3/97/GPgibFBXYUJMBX7fF6cJiODIYOmrheZ8eQPVnzKRALhOeSkVpe+vPv5YpXFeOcR4Lvo
0elsIYW6O/kiJ9vGdZLEW2mn3XrI6c9B3KPttXxQO1mQWQKVSEJ5p9DdtdO+ynVoF0dWcPPhuxMC
ujLj2o8ub993m+SXWUzbvicW0JNwemLsbDiBJl53EskvUqRpV6Wdvhz02n8OEF0uPM+PT5HnooHy
RUukYNWciY4jiCHx+v0UgnYULSw/+cLHCW8WHQgiXTJtwHCUJSozOLRBSg9DBfXeBBbnd3EbY99A
BRBNR8sw+BIjsUqQoNeVRUpJWzV7uAOky6gKdpVtfmEjI7kA08OyJUYT7rfEyZRBH01CGvtRZHsp
tOocVeF74vvpF+LLZZWqoyTZc9eTFJNYpbn8Ga1R4Q3gQ+xZwPRRcOhvSe55h58vtutucOljX8/Z
18sym9ZkQ/dLZU9PEQ78bQKKQJ+4ee8jysJnT6ZchMAhats1+iMmJzFEGzV7jSaI883PpKBwItFb
G7p4aba6J7hN85cC4zaZPN3RqpL+LhAJfqJJPg6l2d+VJK3v3ag/T0lF8IE99Z8TGDsCKcwozh3X
mx0TLzKe/WhaCs+fibn23ssNc5/NLmQcYPdNYzvbuEwxb+rZexQGNlNF/0qQQ/2Hx/Kn7/C3QR84
pmtzFiIykbS2f84NQD69jasrX8ERWh/55DwN5EFGLuOx7C2CXhU+rWCS/o0fwHmh7kJ46bvZCf5I
32VC+06N59i2bjxRqueIaW0zkcgaBb1ASzI0L1GbsQFuyks0drNXqMTBBRb0h4f3n0lQTLWMNTfg
wTV1FiX993Wpaa0Mi3HMFOdsMjGGT8FQ1ut0dt6IqQx2taHwl+IDukaTVt6kU2auMjIDDhwsVr5s
N0HpOOBcf7gun6P57/Me+THcOpd5z7RBAeZl/G9HNbyasd5YJjELbXVxQirEEI64U3CTquJrSpyP
XNbkEvWP9Rg8pfJx/hFpVJegqW4Bu9d1Yl71PsX/oMOABg+RV100vLY//wXTd+V3m6IABESxK9TV
GcwPqykurqq/xKC+aepbEs96zGvz6sN764aLPpLvt0grSa0e3HPhOr9wC1/m/2zNQbbo3pCPHxFW
gDcgu1AbcO1882oKhBhteUPU36Vv1AfI6XWarIUZxGc1qe/OLi51ZH2Ql5VY6kqkwXX+J71afedx
+IRQy+qKXV5qN/MFZlzs/D49HdirV2gDYgzA66gOlsobnucfCXLzOv+ffIcPegPuNQQIjZVe8CQM
WfbL4FsJaffkZOkfbfHYVuq15wAal/x5GaEcrB/hExKib6Kr5eQXDnoHFweuD8mzIJj0UoXhJ3uS
cxpi00uQSabT9GE3+jWY4kcRzWfE8VtAOS4Sz3tLCWIICu0EW3ydD7xhnl6YOG5qvO1oPz7md1OY
wcU2nfWk8FdyfdCELDdvdcZhAtD7Clu+V7W29ov6EtgRvqj6S/nRdVN73bfS2y+lJa9zagfqg158
JeQtTEd4rKOrqatvpVfpjstIr+/nGz5/MH6tngboQhaPKyvQFTbh2yvfpYkTix9BLESoTv7o9BHJ
MfKbkIrr/LkFnneyPBMtqPquJ+6T9mgzIuZR8jPAwlmK35zmOzsPPp05ICk/uoi/zQBD0HpxLXWb
4IJLSv0aV/HVdqarh0lkgVD/aon4iopvP3rt1svKizD676EqL3gMLzgIda8k08p7+/n0iiG9Csu8
4lGGzFQP812YRyfRysQuvGqTf5vHFMNmybOcTmVgXKkDefbTHSqiay+ry/yEGDm5ZkZ0HQz7DGUw
ON/z3bVr+V6V8rvh0xpKBoFBDojodzWDgdj4j/mRHDGUkTBwaqljGIbyS/Aoav6daxB3wWt5UAmh
RW4/d2Yej1RL39oct+ffDww0XXw2tfUWKu1r/rznMSlVfJ40RMr2CDCD2d6tLvOPz9eZGMFnOvnn
rPzG4H2Jy/EjdtzLfI/Q9q8aZR8TN7vkQXyd/5+Y4zf7uUssHxrbuovVL2IWosXYlZf5v9LvvwtL
3tF+vozleO0xQyDSv9hDsrFxJFtqvGq2e5lHrDWiKE209b/mDqDkj/nXKPh6p937OYY2HsP5Iuc/
nh+kn5s6hmy8eRNo8cEj4tXPqEZJ8fPUmb1JQw+PS/MGvn2TB2rrjjwZPAm6r28MN75prOpS5uPH
fDP7eV7LK6xd3kOuy2vrgWzHxXZ+QTjj6yDUTdjIjeb6X/OdpBT4WttL9mNvccfQyhgqnSou1rw+
UwMz/9rW27th9ly3DKHAOfkR2iqmn/nvlkxBnoquUQAYCkk2/1kczMi/c9swLuYPcH7t+aNAaXhj
2WJnP7B1+DXfHbO2L7mIrm0Vs0tz0bZH1zjkw+IJMHp5hXaiuuGWOoDl/Iy4DMdSdu+BjjxZM5oj
XvHFz0w+DxveuQmsSXLg4/yKY6IvRTI8zH9O7sRfM76fM9WJbTOqhfE5kD9kimQXZM627qDf5mlt
Hu5JZO41q1v/zEsZT18t+2+rKReq8B9YH69hoX2Sc8ZrTzcgvJH1jHPha5LDZ5W7lylwjgagq8OE
IqPxGvKc0Hz9NjJre/JKxsrVYRx0ZrpFq0/1SvDZDeQeugdsehg51HX01VVn6glaesfS7igm7y0I
y4tqjUOm4hthYuGK1Ydb5hdkztfS5HtFg1svOKBDXw51dT+P3p83MC93mhWduogYFm4MmQ3Xu5Hr
mmdI6MRvixnLKcKl22nH+Zn+7wnSmBeosSzvHDVuAj7jn/HCnZ7/kWCOmeDMvACZIYTQWs/rUMI7
0eaPQqRXtAWX3iGegY9kSBbIhj6DzPt58fkhmG+1n9ufKSN6fERFOV/V/FGpPnybF64QsXOUBw//
eloMLX5pvJWN1gdxLFbfbdSpV8O4/3nheY2aLz0W4sXr9vNcMD9F83RiDAQe1s5DIuqvKlAfhZp2
DnLf+UkxwuYhU9pifkfz9wZXMMeMH+Pcd9Fe5getR1tFOtX8fM+XJrIB0FXfz8Nk/lu+Utf51cjd
vettExlEem3cjV3KX1nz10IpYbo7k+RE8zpPunYv37Oq25X0Qwbz2pBPsPJyn89PEk/Y/DZ6y38z
wm1iyO/5Q3JLVtNQF+/BfCPVt5T8Pk7FAcX2BkXe0pTGPfbht9kGYWm4oH3vNc9Po8gvAUOk6bw3
UpteEn1vGTzkQvDJho3+UeryJi/1XRGYz2H0K/PsnyVzngSs+jRNxrve6x8k7EWLifJVSUIGuxKn
zy/lkF84S4DalZe8M67zZVn+mUT/Vz1hMuaPkIvs/Z6YLwbvvK7a87v4P0yd11LrXNOtr0hVyuHU
2RgwGcyJysagnLOufj/t9b9f7YO1AGNkhTk7jh5D1zvmjMHLyhNzxu6xn5iwnsIvvXyUOAX0zf08
Qo2Q4CaD8iI2BHzNiZRqr3TjVp4OTCaLclKe03D+A4z/PbGjQR/vs3LYuFp2J7ZGFj3h+NVso03e
drsEMAD4CFwwEZjvnEZL4zkBHCrDjdhN8ZXis4xcOTLkuuwISyRkvO2gVv3rR/9J98N/QU0/GU+w
pC+BNHERhvfrDLhM11uafn0QZyOeT45o+d9Drr+PefstB4/7ghQXJAG+uxVHPmj+T5V020lt9hIU
VV7xO1nsa8XdqqaxLbmKJJuvEiQojv+UwuHmTtNupMItK082mWwcjeQqoRTnGkfZXHobrZyiuLcM
poedC33tf0dgBco9k3XrLJJ8mxY1gHIehOwF+Yye6ANaoEPfQffKecg7B6D3oRIcZcWndXcXO/NG
NmrGfpE7LNfZxLQDiuooPKean56YvxXPJsa/sbtf58dN1fMtFIkzC0jWpwRlsnHlcdbT9B2mG3li
cpMYebt9bp43q8JErwfka8dx5V7IVzknBSaeyjaf5LMNSArc0f8p/IPeON8wCv+7t7Wvv6YF2jbO
/Nfk4QvVmQXFq+ttNcDkIkZGrqnmuFPns12XVeuuIqN/kEvXTWgNeW6+Vq/qfHqQx5M0KjSu3bnd
5CoPpixuJ5s6/cukmwu5Fjm5m92krfxA2Yqkcv4DF3hFCfQ7LqBHb+fjbfuCHblqSISaSNe1ZBHi
aMUEiNVIgVepIfo/ZxeEn649iLeFz+ESF1BLGa51UsrorseAAMA/i8s1o/mNQdoFUPwrGvNMajrH
1lR+0sg/GQA31OqJ6ZiF7F7UuS4ZW9QC092m4b18L7nGqMwMrx66WL3GJptZDMUEMCFVvmRzS/Sr
MmGYGIw38UliukaobmVxUSU9AxTeJQWqFjPRkx+ww2aiVjXfeHpwn5n5bxQ3PwPRn501O3jS9/Xk
/+RA/3i4yrPqQg4TxJfKrhlfjy89qJ52DJ4rfzgrASEXuHTpOY1h9BLXgJkYPboCMYXeqXmjCcQ2
hParK9xj6rl3zVxsEm28ciC7iD8RlGUgaVg6vXptyUl6Yji7D16LaliUxMnyATBUXB2rW3Rj84JF
vDZyzLnpmRctdv+9yTMnZsIYx+PAcqa3N9nOR26WH/bAuhN7EHLdHm9yo+RNXjSJENuUPjFza950
rWrr1EUEBGFz7AdlIT9HOnaaVCfzQ0oCFg1RKMcS8yJXH4w1pRTzWc6hSrPfiHjWmkArZJ/yJ0VC
9KRWP0Zn0YoPPsDuntrSPQDyXxfsJuihDkEVr32bMec5B7QEXL/wXmquFyqra92Of0Oxcb3kS05c
bk/WJOBQ8249a/pB7pmvj1e5Z1GWs57V+yCZ70ead2k1/snvoeHf0x7fyAGKkT/WlP5cDtWv736k
UvTkoPI+l9HqKn+JqYkhA3hfBKyU2fZ/emxtWV1S332GUOQaRCR6pBJK9MwR70um5zSagQ40T53W
v5ghfKFqsIqxi8Y07qcCkty8+/NIfAhAUJ6uXttWOzfvgx/+FERGhRldIhgqfVfd2jgjLSOyqpLv
0V7ffJJpz1fx25AWfBTmScncBRW053QggGCVh8RsUB1fI+OuMvyvuXUuikRJg/oe+bD78j3MZe5Y
f8v+lZxcgqrByY5zES+71LrGWfxMJ2Mhv5s852N2f5jlXPhx9dKJbxVvWWj+d8IgR/DdoLqeXsU+
MBW5azV9Hy6Lzrq5WPGjsITo9XUiRLSn+BonLhWJhWxZ2d19ol11tflIg3uGWa8RBA/NjLKs7EpT
P6Cp8S6vi4ftYWshQJDgAOqy79qAW4bzx2DBpnRB3XpJ/+1BbiDTrFfDyA4jrIP+4P4Yvv01H3Qa
dQsnIrgkGpav8tb4qCTMmZTZ49RHl4Qk67/f2Pn4oakvqdN8pw47enwDj/jSFBPh4vjSNGx4v/ku
mvlcEkNXsftqogxYF3gEK780Lbkvn2EiTBLUPV3Phabl3+DOrgDfL0HH9cnnjzu1Kc5yRmn/BKva
p8s7Ut4h11Axk2Y41QtgoksMbE5g3vzK5i1zaF+Gd6q3z8OvTfEMBqtL50QX1/a+qjsQoVe5T/Kq
nMmUHOhOfcwh3MZACeWDs+rfCXrVvA2bbDVnw7mZjWtWtEfN04FnTdc6Vn4M0geob3ZjCVlhqPw0
VFf10F2BLfuT85Qb0vTaXQOvq1yGOuUXEEzsznu5/rmNnsWSdxICit9wdFy2Fq5cSFzd+l6KExLP
SwUidVvRr3qSZaeRTYyYcSy6n6fnWwQolt9UFIhSxr0/9N9i4v0x/dPuZfFNHaQso3WtEsqMUfwo
i0JiTBpRP9ZO75yT+LWyH85dRoDXd+sYxG9e3tEdvErUGWY49KZ/qdWImerhLG+XZWrnAVM4zUZq
KeKMdKf+NtuN1L+sntFR8UCG9R7680fPIWbWqFo6p0QR5Hh5pNhD5sAT42qcXN06FBtl98oVS7nG
VDI48RUw0f929a2GhZPyCIiSRwvhVomYemIhCU8kCZcyoWho2kSa+MR7JvdLQz/f8uH/Ba4BlLNm
4r3qs3qWjy5z+2Rnd0FCEFMSQRTzuenLe3pnKycJryqZGsPCWCRWDMC6uv8G7nSa20Pcwt4rTxZ0
/nfR4wzNZi9r2LNwQbkQzTRPqjJeByukkDvhz72F6QaPTPX/FcW4tFT7GFjTGSahK0wvlNQoY8zq
om+0M8NhyGdkQFGma8rLo+w0nLGRlWt9au5llfoxDTI1P8rqlN0su6Eef3Gcb2IaZBEid7aaEvu2
4uxJe0/Ks7zTSqrbPtI9lzgFOHd+SSjnZYqGwzAY3/UYUvK9je/o+0SKfcxL/4j1L+z4eUBPEoaz
P0ZRL9Pc/cnrJWw6gR2+ihdQphdG3U7yJ5Hvvzl4CfA5F/k57EjB+aomwcprzUdbKjQaniUpINIz
bldaKB7KZeO97B/ANtcIRtBa99dp3h4qbTrTjrgC5XL98ku2YMlWLEZMWw9tQf5F1vpVFnvbnZaO
2j6KWYlA+htFf83hZZis8BBGDPfFF6VVr4MaUkxVfsRoaJXy47nOSzj9+TaObbSfZXWqjnGzV0pU
bWwv2ouJKEPtKptC9nFmOpty9nc4NbnhzvTvOcVUo+S5+or+k20LCKCG5CQfN4TTVeO85Z4b5pFl
+SlrRN6rKjtA4F/yyJN4PEUJ2J7mO+bJy72AcszUmg85sMXn5kHw2v1a0UnrlZ+xPZjJT150T73l
neRKwLH9QnZ4DqI/WJeY06KkG023A2lhtxuaZOOV05NW5XCsEiAbzfdtzVQKYE19JVfmT8ZVbL/W
Zk9l0y6jPj+19tbBIkiYeTMjmpBFMGdmuT9hW11uHzNVH1NF1ZmCIEeRoxLMPtVNuEzMEMvATQlh
BjagA6CUNw/+QnXrZyba/yTukDjGr5zPLt7Kj0BFrrQFriCG9lFfbcs0e9ADeyUWmOHDS9hgebk7
geFux0zfiimUM2PVUQNrGPKpT6Y3/Emaq8FwWjTN/mZyJ4ek3sw/HefmgaWsUZUE50n9bbFNyS4l
fyHC+vHt9KGLYfeXrPGW3BFygXaLSuUa+yG4wfBaECTR6OQTm1edxV5xFfBFX1213rpascwj+AO4
nIrTTomhpZqeJhPAXfSiWQm3UqVUMcHRT6n6OdXaGWwX9Ov4I66UNT9jOuE7axWaGKYdbmlTlXfJ
yjKanwRXXPMUpXbV2POhH61li3crrGQFHcK9wzom1z6h616YKpVlTox10vGIKDE+VMiz9o57+yQp
QpVYhDH6bozy5Bvn/1VRHaK+qIhWjPbf3+5F3Hu/yaQcgG4vGyLiPtbPkvzZZbSBl3UnNzBGYkn6
CbEBx4GBDyESNlw4TSgB1eW4qXP1Q5D+JGiT8M/zNYZK2cePeJV/y+RjgurG6ICVo2ZXerfnckvC
aTUjbvssWb9fxRf5Sk9t3xjOunPh2qEywKHlE5ijhJjEXI+l+ysF+JG4HJJXWF0u8kClDsxUxNYp
xk0mmQwomB+P3D4elh788KCP1jFpCOMElC27P2clzQ6j0Qj2OcdW38aFv5VKw63KEKvTa67YC6lU
Qy/9S3z8q+bOi5/TyKVQEIpFzSvjCr7r1chgYCT+9ojNJS1VouSpS9iV6nsbmYzq+z9MtZE0Kj9u
/9FN7odBtO8Owe0vAiOi11y9DOC2E5ZPb/lM0KKt6hAaRvXSbMZHefqgDq+95714wSvBnrSriIpY
AgN2YbRAfTifDOX/pGP/6GuUKrEche6diNdCs3l3WEuq++/drK+1PQ6HcCRMwhmOFRGcAW8xcpqr
LGX23fe9UwqBZZ0M92PnP7JtliQ9F6moyvICWX9GnBH02PSQEI/JOaSybYHIm82XkfFrAn27q6iX
fRl9/MHQHHAB+8kv0t8x8H9VdpjC/SKt2zIYdFdM3XvB2iNJk1aVYRegKFHVk0cL64iszX8jJhrt
ZMpDkmo5+lutic68uUzS+UGaVHWln6WYIAVHKJU2hm3fSYKQm8ZhnM11M5ksvvZHyoTz5J/mei+1
FolC5sbf2jpEpqQ7Hcu+XskBpaoilQlpXShKgR7itCspe0t/RcqhI1ovRs8mcH14RWeY4Ik/KEaA
3WB4xIY+0tEexFTYZbgvjWgPQf1lxlv4nbkFb7pv8DZiNeQ9YoJoya8Ul4G0cj0ZCSkm66kfGD8P
gWrOZ1nnsWEzUmOsFMOF0C24kwII/Nln2IQu8OfAZ+o/SSVGztkIGQ+iFzIz2CY7LtD/1dYyi90Z
6HvLV37khsoxmEywPGrSJMlSaLc6Z8PY/x7W3febsZB+i14fysT8kvX8P6M3lj6EyAHqJ+5WcZQd
SId/JsfGeXi4oGyYSYL2Uq2H+YhR0W8NBykWUb7aZv8ZlDtpAlVecknaQxTr1DlIIMzuD0IUulDJ
r/sIG8+mzeyd7CcbF/Sv4meOB3RbNiXCGgU1T85bLkVXQVMZnxF5qdSUxIzB8rtyoI6fjXAh9TqJ
SSWVlIxzbC2og9yNJHJJaf0rj05RficjsPIGf452NhUXCUFtVK+VZjzI9xIf32pMNiPtef2vxac3
xSkX1pZsTF9Gl8l1zJ+cWSuFDNtjcCgb72fyZLkM8TOwY3pjfZJe4q29gVGpBRjETsgI0yyskFpR
z7CNXYtOS6+nx5v7gabu9ibd746sTjg6eZNZJbdu2s3qh561zUxShH4tq86xpzNwoCtQ6yu8wpdQ
Ke6HIIaBzT7OKDuIgytwcPJ79MHO0048jK4E5+QoT/NmiDAlt4bHGByg/IORG3/B78A5XBuXYqZn
Hzum4SuHaSl5nQcrz1nWi6ybnPHBPnlTzM847r+xqr//W0myOTw6MVN30jP74AX+Sto78ldurp3l
Cnr4QkODWD65TIwXcTsRsvCsu9vV+o+tVzJGV/1GAy0h+XRfbx9daPBbEiMFUkw4a1/6VHmT30Fk
dQ5HJEKqSzVz5yy5O1oe8YfEnk3yJB/q59qqKNsHuSVoRF3L1rj9oeMDWoG2zjXe5Rw9OBwmrgWM
5O0qI8SLGKC4LXqXkcbY+lbM6ZwS9EuHSEKCPtiPnnPQjAB5ZvYBZyR7Qs5KjH3uUF1ohmej0g5u
ZK57Poxc7mAL4bg+eKc8Ku+UeNr+F62MvkOfK390iOqjmjdJWCP3dlZCNEq6l1SqSYOMV/97GDxs
mOb08kceu1X9W4+qFi3HrnmRtXlzc31Tfnnap9THxXqIfQSy8OJTwxUrKBX822qXeus0dJ+x+igd
pbHbUur9FtMq1lYSPPnK5NkGmtd9Gkd3KqVfqe3e6u9ePi5bXYWa9Uvc43+l53FjOPbP1DO9ryWg
u4qLYCLyjBJLYF2TYNrXjHrdjoyrB6r2+L82O/3tJ+mPSl+07igg4QjAY3HzrHpjju6dlw/vROuy
wSWNhCVj0zdkF9J8lRdusI/s3feTj1uduKFgFXceZXfkxnB5RlydUtxfZxo7hq83DI2e85WJ97tF
1mkInybvzm2sIJ6ZEE81pwfHr+lB0wFnGTjyLHPcdKrRoGG6NjPqB9CVtPGoxUhdoYx7RsXSfWxA
gAOOpIMGPbS3UqJo2Afwvr161rfEzwhT3EoAku5sZs07MJy+THQ2a0eEUBJMF2TT1Ty9N14C4dc/
KyfpOvOfyzxznryWPoGC4ZJC8i2Pb/aMjsMN2Pz2Znjf6zkTYfqVMGBT0/KazPwkSYKnwdTURm/q
0D/WKMLnzsPwWzTjB/N6L1AyMC1PnxUcixtqX5CDbKxM2eV4z5wec6CaV8RVKPUxCFzMD9LBT6vq
VGv2Ra9fZif7FG8kYVrduvdtGq8gEh8D60MifOnIGCk9Xr+AEYzyC87LlxqysepbCt3iD3gJrpI1
A62PAhuQjk84Ms3cxcu0cW+R4s2UCFwjwdwCzocG9rknzZNwMcVQm74JlVFyJ6tZugJygySWcDMm
27MfaQxOEGb65um2kMK9Wegf0aAdyoyNq5insCJ54bO4W4E1f8qqgQTkMxv+NRTlABB8P4xWvZZm
ThAO39bYn1CeEB8mqAFBD4gHl38yvdqW7WvjwMcYFnfiwdWUugo9o8ZoX9ziQ0JxeavsSnm+QeY9
aZF1KxQZavQxouJQB8WLmVln1OrlPkq0LtnS3AVUAd6lWQNZF00B/D4YTdxY/TxRHbhhh8Q8WF6+
nLPkqYAKgfnXrfikAFMSxUxgepq2EMM9q+rtF7Prf2j+r/yd7G81odBcthvILlYxk4TymkR/N5MD
4cs5UxcSD8kx5TCKw9/k/rPGZxax9tpVn5KF6SWHIZ5Xww0SCV83S2KkmHnBNs0aEmvx+Cgu9r/P
dXwmeywGW4K1vHS7FrkoTVeedLu7BfK3F2XZTFH2WHjlysE2yl2Q9AhR5oUXKUe557IC5SbP8bdm
mO/SmBZMhLTGgqR8b/zXzoHM1rn4mXv6192jxiVNo9K1qc0j1+T82JV1cNz0tqZuHXsANNJqLQJ4
0Otqd4saZPlLEGwdq2kByeCHdLgEoCRBaFq2Xz3SZKytBn5a6JPlodcpJWeEy4z6SbfYg3InS7k1
eZeBie4f5f5JNnu7X9DY/jCUmlubOPJ2N/chadZkwu+W7eXiZS/1dEsKo7mbMg1W+vgygMPv2+5R
nIA4g6b40NX2xcxBxUhGZpvPPjR1twiTraOL9ZWAGxjaXVZpW4uguyZ8lnBVbqQAUex0+B7ArNId
lXphNQQUjp+VHKNMlH2Sgv7NxE/u9OZEL9rmP/fyn6uRr9LhFwkzpd6PiD1OxPxVa17kc7o8OaOo
S8tLfpJTa5rknQKcxPWBFlGyonbPrY1yczG74cowHnW6TLJCxXaMU3iA03MX6FyMRHFRVX4a9k5g
YtDcAMDD5cqSq6P0gM7SWnKdwYNQRNYknAQfRr3+b7feYC6yJojTTUQw4cF+lWRTtoIEakoan8l8
JRKUuFa6odIgNjA8vQfohpUmbeXS3WN/zrNTneTKnQatIz9kcIpwNenPYMSky/s/B5ip8TXym7Vu
Z/e3roeUo6XT4TEiFt1shDRqrAgliRSyFOVHJ7sTw4Xcxp0+g02vpM+C1ZKuzKxo9/Mcr9uyXw5d
+DQ02hZhtxvQyTLSq2RkkAE8V8iyCY6jGd1DFfarCpFt9OmIKdJmZTrIw3H3ZYnJQxkDWNBlLbHH
5NLRqv2mUCebVizyPzBA20FSbT3csi2xV9ANHOFcWWrNv2AmTQ0CenNbK9pK1pfYVYFe5bk9LiCu
h8RRP9yKRtxUu24etACdhtL+Lj6kDPL/Z1Fx6u7zwNlIkX9ui9XUpwcpmUs/IowpeM7h3TzmdwW5
h5QRpbIphU+p9mmt+lmYC+sSQxJYVO+N+SoVQyC0p8keuPPODRA2SEiVKc9e6cKo30CIxvok5PIC
Y+Ep+ROTou9D1yzEM0lsl6veXdDCLsiVyS1rY1Zfxt6JjeEWv0nMJjfMUw8ogFAgUa/y72YFoH9B
XFJ/rokiktR8i3PlZiIshUomFSLmNUJ0SRVADv9XFJE/ReXkx/2WOFBO7gYSmo3jVG+6GoUg+8uM
wreW7miDqqYg/QQqZ827NIXQR1JMzhLJlasUjQOzeM8S/It4fKhWToMonpMiirESf9QS+H1J8i3X
F5JDMbb36oXfs/Yvj5VbUzK+FYU6BETN3a0wxT4CB02qZS/AyR11d9yrZr4TgIPAMSRovKE1/GZZ
JvOzXghNW3vf+96H4KrkfeLcjfQ7G7vPWx2Bl1JWc5KWB2nfNEazrOz+MYOEZSGxVeJVRyNQV3Ak
SGz5r/1hOjBfp97r2M5/gg+ePf3sx/Fr1CFuRPTaoXpWBtlGTkgAYHHHFLxO6wnUKh/yv61aFeUh
HgHGIIRYp+pSTs726GCQuMtjsOw1Gestw5WdIjuG6f6FFELEIYSqdTK8I8win0aZYdcRVOIWSatF
nITc5qhX7sa5hEoEwBuAP7d0mVMIN/JwVSQsM8MH8JtddMME0Ov9yNdkMvZw/K+LZL6KTaJIN9MF
L6k8DEa/kL0jzkkOIThC3Sseq3BY/oc2G5DQGBQdhOc/NHRPf9m0XcaEml+vHc/wQ12H+Ygs26dc
r1g424WFXf0SryDoMQPRlzjvmEgBlgWgpbH0dx2AhkStlja8JeP7LdT/73nePIbPGxPo0pCzWsNY
u5YHLogNcSByw/sk5B7DxC6AqJvDodO01q3oIIZU1gLSWoo5XOQJCZZYjg7/2tWEUDKkixwl1b0A
xSRIlvYaDajIM7+kVSlG1KwHRHD/KOi3Vf0mfTkprce6dmYo9SOuoEAj6ic1MKm1mVN06QprrenO
Ph0jqu8Q2hT9N4bzTzoYObJSsOrdSTtL+oMS3MFht/Td5EGa2IZfnuR4rRKtnBpdkdH5LPwPaXxA
unVOyUq0eVwjsXGAiuoUVP2fOaZfcUVLwSMFJL+R8w50TBg9FQ1WZHdWN1C47wF73BrDNvkyALwL
bNXS4GJIGciFqy8ZG3gSkIH0ieRr4bg7qFV2QW7cgA5xRo4d1GBCne5o2MabZgOkVJscrpOs3mVF
AwuPyex5QYvha8rV56aKhr/Qhojd0AEvttUMGrJ3Xw0Y3DaWMeT3I0NfBw8hgw2Qi/DVdFGVzT2/
v0BosL79eTNPDx2IgdPYKXDcZon/1EaGvTWhfdvnuhE8MjIbrBm4zD4SqrNwks7V37xruwnJBdX8
jeEt/sh71YUwo8sf9T6x90k+w0foGfrTnKXCVG2OJ8w6DIucsEsbxqoKi3IU+UOvpdWr0xPzVm5i
HbQ4DO8hHc03GVnGqzroIgZtZz82S/3253TAn6q8zU4NInXLDr1LVG2ybMcY5LQPxmF4tFPFWBXj
W2VBeWAPFF8ALUBoijpG2uUvUL8kSy0s5mVUuWvmBjcUcjuUF4PXtoR8J0mHfJEPuk+YZMDsOnsI
K6Y7p2qnex2IY6f0MBK3rbqtgREDbfmruzFZOY09IOXH4BLjY8tZT4aVM0VUF/K9XXmEtPWbRi0D
ebT3KGgciIM6uL5KRJW8Sw415cKc4UjOomhFi7eOh1XR6AYiqdwAS2vefS1975Xh0IACjtvwBMvs
B6zhv6aVz0gOtHew5j6NTQFrZdatAPjCXsiVK9AqcEKojHSqtfYKq1yg2MCkQx5t7RD97lr1mlXs
noPE6vZRORFOxsOLRh7kQ26zrLwuX6RGJUJZNGGb7Gl082NSaV9tr2dreApXjs7clwFyJWMIeqHM
ag8mIjk2Wvyehy2dapZGkru7AfYjFfrvhYaqD7ere6rY0Mw0dItfu/Cype/r8AllwXOraureHp47
vTQgpITC3kRyMxg8d69N1ErHzoUZ23Q6GSRnLqMK2xWqyx96fZ5n00E3GVnaoQOIog7agpm4O3gb
jqTU5D0Q5DC0/NqG7j2Mc7vaNR9njbIxAMGE0QPISRWIrEII52a0i7PsKQjzHUzYB/qiw16PHmjA
DUt1qNKF2mbMx1FeipmFou835suG7HqoEfxw+/FIQ/fDj6aAYbodQ8ofcFwhIVDAjOA72odmpwAM
MwMf9ldpOavcTd47EMNpYJ+MnjjUreott34TaIG2mnzk5tNqV2UckGHWeFvyVLNuvoQGaHoAsftR
CS6t8H9XWU81wI+JVTKYH0ZEmmL4eZnnezLGr8zc6iZVmHbOk7WtQ1DoM5g+THAbdSGhUDW82jMy
xmXwEwRDc6fpj3GgIIzi2BuSdmuNJ2WRV/AdMCyur00PTrRq9tajT99h7h7qNIXICvbOFXzbe2pM
uwYRvzWkAke9V35ha2aUrtbXs/VS5WhQ5pEdrOpI+TPD9uJWcFGUQhsl/1lpDIf2Np2xTbXnNCt0
SC3kRRKkGtAhHVZZpbKFSqbOUcQFETCWLPngezDaO10f4LBNRgSqZ2Vl5haQz3jaJJrHfVQClE0h
dgzNH5Q3sA7DOKPH1SA+h3zlmk4ixMteg2S1o1ILZlo8M+e3UnUy3DEMgU2vV7uuHx4KbxKwxHQX
Gd1HYGlPmql8Jr7+olrR0gvmL8QFQI8jQDMxMaJA+w1duMiL6Ujtzg2CTGg2pCvQgsj0JAgMKRAr
LTo1c9GmnXN+hM+76GEt0tp47fQpjZc8RuLVCuC2c6xjGesQaVRpsQwINh21/xgs1AutuTF3FWKb
DB8nW+ini1WaH1vI41yjm1AejeY1BDYHM6+bdW1GxaZgqoVJ0GBVwfZyZFn3iKx5ZeNtanBGmzEp
X6chfIx14ztNeurCSbHJlZrBNSZqRMpxr8TOMocFKa8gF546c+Y9vrqA0mmrutkSZcI3ph7t+0YJ
vwDswOmoWQfP9YfFaNsI9VVVRWPPBQ3aDAsHtvFeNRthRvpuS63fjW4GfV5XHfvwjH4kO6DIzdWo
ewgB9nT21Y2rogdkgcBBNlw5zraZbKEADSRarBrvaQR8A9kF07GFjtaqdkjTYZFSpraiYlU6FJuS
NEYvY6ButwhaFdaLMN60M2ay7LV9CGnnouF2QjUFXgmRpr7yVyFba2H0j8h+fzPZOC4nw+DJ2gh3
OlO8taDlhZ+Y7kpskJ7ku8jTme8LaRM6zTK2hNnSxEaD4F0Uqv8xm26xQh3q0XHGirK8e7RYsEnf
2xvHKi/U4b+G7q2fewyvj0xcpqkn5h6hPIX9N9TcVwfeI2oXJSzTlrb0HG5nkg0vbZZZOzJN2Hih
CJtjlDUziH28fqkwlQ1Qq6gYRmntZTI01VI13WUYsmOGQICN+uhstNxWll5MZAFDyIMDt/+qKRF/
ZRh4qduluar7JwUp6NXoyyeG7s4o6rcKengUld2SSah8Wcamt/Z8nrUypqzhLILdUiHItgZza2ms
FWINXHcR382DGHoErkslfrEdlBIVDatuIF7teAg3qzhCnEV21zbNX9gl89KsBnvb2iS/reI5qxK9
oYZixBI8zp6qJ8LDORJirTajl5RbR7hnhlXjhODbwh8zU6CYUy9N06hLD4ZkO4a71sY1eYKghJnf
RWRdfTCI3SyApclYhCjxzuDJDHXTtNGrOvvJqiaf5yIHcTREZcCsllrXL9FpXcf28KZYopo4sPGp
upAIwWiZDvE67ownAUqChltrGhJoU/cN4xN0TRroiiSFcy5Cyy61CNK9NPrLHG8PzXW7iCE29uGY
BJcIJ3I2SaRjVusI2ZcNkTyM0QBnmwY/aTLUMPfAQBX/eUzRMIfrBGp1eA8gVb5EETaOInSa1Z/U
fMddDLHEonyq57TfzZnhMUX9wrk8VUFfoa5LjOLi5VG7OBI/QxbkuIxQti8V3cz0rgEgYNT3Vde1
y6KEQt3wLm1f0XHQSqiy9VVTK7/F6GWEQMWpNxwf5BJY1w4JvRlZpxQ10SV1gruy+0oiSEacklwJ
CoXFNFdry2rKe6/aOUqpr5UcRTp7tJ7czMz2BSPycZc9Nr37VzX1n08SQMMqfhgArC2QPgK36kdn
EiSaxqgHxh2xNSNylFSVpqaG2q6DnZUzNweKl6g7TMbNqKsfbmlR0Q3br7nAejdl5S0c7X5SUH4I
3PjORsQIrVd2Tte/6p36m5J9ThPcnV3Ef9S478pRQ53QMtkFTDKiWkFY4ybdQmvKRRC3ELHqHQpE
dfPpl/6CqZLnpieWEmrelda41+lliNXXjI4D/D/9prbLYqUH+mHeWF1Tb60WaQN/YNK86AfGFEae
AEIuZcsWCvXJOjr2mELFXIBhGJyZYR7snjUNn+Vk3KXwzqIJXC1zoyDeJClY9GXpoiNcPWUDkBmo
gLMlfOf6tna1x8JR942bZQ9B53lrV79re4LwrjlmJnJjGm2yMJhBDqOI3g0NSnnlExzUHpTiyQZE
6zLQ433cdwEFlK2v5SQmUASGXu5uOxstufTKJDWEOW1Aem0pGx+B7y0Sd8cuo00zJka3DAJnx3lR
edeUB6jk03VU1OODVo2bVBMmgN6MtrFbU2DVDHZzDw927iV7xi4xs110FxtOuUNndIEugsY7s1UF
tfTa0mlSwQWfhTi7oHrM5uh3ChHOG9Hw2Tote5mt8I1onLFCqQ4h+7obtqHExmNoNasQQpGTM0Jl
0CohGk/FW5tW6Wfc1DVA93q8z+S/24+N4yYECcVbiKjslvTFgAU+J3WfVYo8U79VlRLSrdhQt6ZX
2c9ebavLHLqDbYgq5PPtNTU3f6EeoHVrQ+Wt5WEO0htK6IPbzHxbmaiRMD6I9AWdkCbSzfWQOcdc
sxHkHQFo+mppHxFQWMV1vM+VYXwt5b8CckuPhOUwTck9JJ4D/ebg//6Dmyk52ECbNUP5TBm/9Gv9
SzNZBFagIKwnP4YVnJWsnWLRxEVDQ6wz3qH9XHXl5H8xaRBtlCjOl77iV8shYdAblGV/GB29R7GI
75wKAc6F3wXl2uvRl50m390nXQ6E3hv25Df6vTa1OihKvku6GRFqwreVBphiLgJrY1hTt6egedf4
xvwBozWU/73abgFwGp+IK20y9IBWLlhdEhxrfNI7A3bQct6YqgiT4pk/ugQUtuoP428ExExxpsX0
/4g6r+W2la7bPhGqGhm4Zc6kSEXfoGxvGxloNFIDT/8PyufUd7FZoqTakkWwscKcc/gVABQSaLcw
aZtMe3fQgyjnzd7ckZ59TfsgW/O3yvakc3bnTDr5ZuwBfUjlfoWKZbsyRbgHPnJtG5BpRjybl9mx
iYoEvrNjTLdUVppTkHGlpXVnn/zsyScNJhe/Lvmuifbrj7bUL5Rlfqx2QdMP3E5dbtODLonu10TW
DeKhDX0Z6yB6UWl1Gwloe8iM3BQjEK8OtCkFYu9FmFmLM61aXD2QHuaClLS/meadQrJYRKapX2Rb
XoRpRcPcr2QxBAdrIKzMUbo4g9LBHlffiaFwNvCuTThdUfjWBc0p9u1xh4hSbNu0tFdO/EQ/eW39
8cTdT7W4WpKuLNThrQ2vRVe4UEz+C4jf3reiEtjEo/nfA9nzZ+XGX6lDZk9GkNqcqfocP5+RCQ2q
LJnZGZost0zLdde8I8SZTq8kH1WZ72mAUbSZk1sRFwry2D3Ix+kjK3+MMZODDDLiybHJgK/d/sxg
4kWABD2DGJ7ot8zqNZ1j8ykm7H5Z9FiME56rIWPctEX75dlFeNT8sa91Nulr4BYHAWoCt7s7HVzV
pNgvyLouE6t9yUi6oLQS6Y7tyLCa+3Y+O+0MoBxYC72sNZ+bYXTAktOW80vdkxSPQhLnP5uAmbOf
kLSNXDfbQes29hPgyhNAG49M2tm4KC6bozsJyKupF3x4mTzUwRrSe/kHnO+pJmb3v8HyrujYxO+8
Lh9KJwGekOBdeXiYuOf+8Mda/eTQ+cNMeP5BPjbxy7MdfOnxT+F3jASYqK1p8pp0SVA2aSxp9jNi
MmZFvnyTymaNIc2vjFqYYGOssOcYevALSDBOQ6e14VdTnyUkrl+S3B1vuoEf2XeR9QNgqrcYybak
YCRdwXA0KOqhI+SiHLvNpCNnbdmAD6SAQi9k0i2Ux0A+CzNCoWb3ZlRZ/u4gJdiimYxYJRvMavdu
bya7Ks4AWRftGJzoWLbTMKU3Vx1tU1nHCtna6Ob6QXB3dg8qqolinD7J6gAKEFlqO1egjuo0aHfa
ob6kHfAvpELHhwII2BZbm4BSbmMnlm38IAv6kZFAvsga1zxMoKHe3LD2KZ6HcPf9tB11RGeJs8Um
TWndWn68IhtGSDSFsju6zwfLMNqjlScBbwuxDUvAu16dmucixvijGCS3RNafXd/uNYHdzbibJ/mK
NG6RQ4aAqMMgNdGwgYn+tMAvBAwGfCKMA2uM9xDdg2vcJgNN+stkpR7MGB3fgiZ7YyjzPgETJY/Y
iV7yolxrKMZvMbjAt2jcpX14JqM8/f0U3poEQkJpZOyXKZ8JRt+ubP4f21h6uGjS2nWAVeC+n/Uc
bPMI2x1HUPsyFIm39wGO8C/z3Q/o0e4ytntx8BmxfVSKlh4AyoPjh6IyX2Ef/iq0nv/m5KU1dfw3
JdCSKVKXv+OOWcO3+tFphDBjlJ/4ewHdbFV+aQpxdJvGIIFPAHupylPR2tXKJRnpyGTSwSJjGke7
ktgGU/u1Ng1g1xXNXeh5C2umXxFCDOdKZxvdAy4hQ3u4jTo+GO0E9ES6VI+pKzed33I8xea9ThPv
6nCmQyS13KubJ826j7tzwl6grhEkqMp+s+ebiej97rbzQH3ke2tLyx7ObTnjPyNXUYSleWzKwl/z
qgRrafT+3cWXAF8ngauSH9LZssi6Mud1lOr5tYhdKrtYXuIgnM9Q/vjdiClHSDsSkM+yQ01JCaiF
zRuQqHQf1dHKqAtIiBPx48IhakPO1fF/D1IF1dHKVLQizIELWjX1OSR8mRJ5zLdtLWrKqo43iIkA
2KePdxYGF50/E41e1cVbrslQN5rk2j7rPhcjKYkcaj0+oWJ5BSWAsMRFLGK5ceNwA8oJzRU98aXO
IR06pXed4la8DFN2QNBVH6Zhdk+hXg/PHwzeT7K45CNoWfXZQkC0bwswxk4XH3EiGQcTueC/j74/
V8eTu8pzg2L6+YX5+SDINUAUKb8s3642oKgRB/ZVdk4N4fYH2NLmUo+ccT0MhfP3V2bDISw8FIfa
91tzX5E/hYxrTtfsJbNTZHgmanbFTFTN2QVS2iFIFTFWzSVsY/UpVFbs8sAVa2GTXcsLM+3CwWYC
GEu9ghPCOFqm0zViLgndwiXPzLG6Y+7Ap9Iah5NXdFtLotk2zJqpRt2dGD+3pxwS22nsqTyHOBGr
wfOD4/cDHFqUi1YOxtNtghcCaSmZm8hgXgaHSjw/14nh4TGIKLit7hsnDK7KKwB8RcWwt2vfvZlG
vYALVV9DsfTRU55CFV7tPDU3eqIsi3MBYzNpwNIl1Q26Rv7SNemqoEu/DhkB/Vlw8NRcnTI3Gdc6
KScuEsyQGGf1pukMWoAKsLc3DHTudlasK1Grc2lFDTdbjiJWtwb9XmnJZRE2P4vJjr+aiqG8H8fe
MXVt/52156Kg9eWSxK06155/iEjbPVhO+6esIc6QKNSwHrDD6KwnAMFuc3ENi34h7dJFD5kPSxiv
IXi//Shy9z94Kwxrw7q7OURUQb3mxg+4YZ/lJrkgcENvpJumx9SfX3pcxJiaAYWzue53DiPnYxxY
8RlQOeFEDFfXw6jCw+QG87YQZGe5bTAtept9lCvGkAyjwCYjwIyIBnPXPYzeo2UO027WTBhSu9u1
DNO3INYV+uoiP5mutwUwCN/blnIH/YAZsunvZ0UiQO9M98BmZ+C1pJOhPXs3XP/qRTmiYmcgZzYf
77YwT31YeNQ0jDUHokq3Xmf/7S04asDqtibv6wVCk+JauP7nyBVQ7fC46oNP7Ufof2Lvmoh+jSLo
aH/Ht3a3OIKe2OXBfMwTWImzNUDNINgrBTDzCRzFXpZ6CPZcEwtEgO6bJ/xdFFjTqp1heyoB9pUe
NjJW8TMxzOrK6BjmcXVtPPBV3ManTZGjG8raexi0xkkhFWfCUXVvYZa3xNpJffzfA1UcoubAiNfq
CfxIM6c/lbUaTt8fOSPGisQjRivkNyTIOJ3VBchuPiqPV4X8XZ/J/rW2PTRK6bCDQt8SEMkmZAB4
cBgjV11GwDAxesoP6pwHuEPUyAZ3vrqJrI0ZzQVHDEuxpUc9sDLrxLh8P/CWPwaOE5GWzKcGBl4H
nVr3PtXljePmFOVJeBStXa6i1Oy2qad/Anoad+S6yEXFlm7rx3VxSqJ0axihgmzdCKKn8+CdXNOP
ISN8UMhiXMvQze5uzN4h7DNYrJaPL9LDEtKU7Ap7AaIBlcn0mPvu5Gqy9+3RvHrJyhsnuXYYxtyU
D/OsKNxT6ZfRBTj3Ncli7oSYMJvRTLi+U7H4fpt2JnBAQWzApi47oixARu0Mnf3phZDMSYJbHAce
wQy/lSFDyGAE5QskohED16uooV416fRHxf17m/j9mw75l8a8fu8V27rF4BWMj8z8UoRGfhnpkaln
h+Hc+Hthxn9IVCRUmHx13MAmrw95v+pMXyZRpyU9kHD84l0ETDtIMGfkHvFCJdUH7ToPbY0kIZnW
XtdYizFPvE8GjU+goRNtXRTdvazGXeIzUQ3sFIi0hQpDWtFfP7APjs0WgEIZ0A8FujDqTV+UE51l
DSDBecY7lhPhlKZuuX2UlJlJfEmnhB0+gIh/H5lPTUJtg2XkMCBOO4vdYQ3QcF42zwuPk5KZRKgu
38++H9q09beogCdGSkV8+98XJJXNwhzSbtcEXboGpIb1wTWtR6L0ytN2ePt+ZtddtxKyy7ffT0Pt
y5OcxH/kt0YvIrWfNnlyrYgYzKNUfhZebPFO0BE0OJ7KBNOSMTY3s/XqM86Iy1hm71lojr/V2H+5
vR29trWrt0bW2DsGKcmD2zpynEbG2wmy4YG1gnSmmR4p72/JPFo/Bp/+xgutdWB71mmQQ31JzJpL
zMjLUzhXgM0Vmi/wi610/UuJsnYJcDm+ZFoYe51zdDvEgK0gBdNzMr64xiXFlvK4r0wD9exgYorx
WFkyC3UXlp3oY1wlm75zxMlg5s6kE+zqEsDze+51KMISHRMdZe6i3WQY0xZ1/p8ir2cG5EDMvvt7
0r7z1xj5UR32BzOdqFa5t5W7ecTpA/fh5rLKYPhEQOQ4m8dknMI1GWEJxx6ll9ZOcXSe9df3R9+f
mwd5gA81nTI79zZJw3LJA4gEoKXmTJ+PKUscCyJ4fAsHaiBjUvE14d7AJRPoLVu3rFDTuCtmO7xE
eW0/XNREc5moG2sw6zGS770a48onKt3QtxjiRLzMOvI6C4iKp8nTZOD6froun95cYD/UjM8vOLYT
bgbT+oqEPxxClY8H4/nw/fT7o6IeEdTT+C3V7NoXzQlz4pVeUiDv/XImKboLENM/I+O/P4onRm4S
Nsv3p9KYCTfrVLFxp0qemB3b+5Iurx6PZnDJQbdcEXm01++PpmQQu6F32Gg1y2jKvGPlZOa5DHOk
ty75r8zzipwFcDTca0lOaMaoa0FS9XDXWXnxosC7Nm5G4g0LtBpzLGsTf11k9Xxtwqk7ApIhRVwn
8LrYZTXlkVe93A4J/ggL8dhbYDJKhU1/B6RZkjFP0KJtyvSWgBZfBIbAYJlOGopTU60GNcLuKdgB
DqSHcgegZHEsvQz6djh3eWpdAgfWj8A6YZXNI3s+UDuSNIaegX4sJ3BbhCuzwQEP4RvvQg/Xl1Sx
U4NUjwQEDkavg7UVWP0PBW8A5Z8ioCzVrP+zIQFziKSCdAdrNThN8MZr223NuijWpJMGqAOUj/je
gA/5/GpuEhBbMdVdeVOzjU1LfWYMcqA6GOnF78zpLRoIHTZq9UkUfXEYfaR7OAxz0rBvvjLVS0h9
TOnD0KegFvT6dOP0Au+0U/tn0LoVU6q3SQR6NapZntDm59fcfA6RK+V81XG9ZqLHQKngblt1zT3P
7OQoHfVXFflvxozqzsBcL2ut5VWatr2sRY81mTv+NSvR2TDFyAgLCsOtHCf01SBZQT9hqJricN3j
pXnnBkn8eNxmqLIa/71QjwCUtj2BhYVOBDqqzxkeTflvTOqYv7RyH2Fpx/t+quplySu5HOxIrQEh
GN2iYRIr2MTpnOTXOdf0AZE+tGDm/hUgYJY1yot6IuEJSoZxj4kAweA9dZdIDNMPBCRsvKdTPjhM
yZ+ZwAXH/8oFhrgkd3m6zKM9XaTl3oqUrTjqt3Nqu8l2mPkGUfTetsaas/CknD5NujwEr6laeY7v
LgdrFO8ZGDUFRPHuatL7chtEQoY649WmtbK6Rm9La2BxHZfNgFM3Dplt1N6K/FUs/qqJdr6Z/Yor
h1TjOci/ZvhUPsnzVwndiWo1UK9GlXyUvjlR9g/NLh4DGIdpYl/+feQMFIaRdeH344pvXeNDAR1a
zTIe93AljI9QYujwgug+xahRUCNVh25GPOk7pHR6TXJvGundAvMzB9R4//5MFfxAOWuelMSyF5Xy
BhKgxp/v17chCFlmp4a9+f5C0oFFVFFX7L05i1+iQzLEOZH6giukLRuG9wDkIoMMos7RL9nsqoWL
jHfvs6x8wQvAG2uYgTcB8lh2yJ1+T9ZxTGWIUDdJ953oafq9GFSDP+MDCcjoFMq5kmevXgaV/mCo
Ad/cYOzdaBqSVmlnL+KqeSuNvZv201F6kKUqPGgMn6Peu3Rt2BwVCrF1zov0rsc3VFcvaVDNf0a2
fflck6gA5A91Rmuda9BO58hxrEXde+km88jwiOCyGKG7HWzJpk/V4Wr2sundSaPXehT+tbUs/V57
xNpmZv1KuAOqeMPZw537W7tJ/sMsq+dlxQ58KNl2W0ziSlwsu9ITCWfaF+vus9c27gsCIAqn2PoT
F3m366Ni2iSChDaBCocFDUUWekR/0ZqNcBYlY3J7+pTvtrfMSA/nViWD01jkn2Hkxi8WMsy2N9tH
V5Nl3iSGv7f8+VV7pn0hdqZbiAyLO/gBa4XC3yHM2WMGrrg9uYmtNpHN0+/PfT/0JBVtjNlvcd0O
S2nNYbiq3KHfah/EcKgpbJHuVMfvGXFhBugAsqzZPPc4LHXmF/Yh+aGfd0PmfsLODhc9EgcUO2G2
09pjCFPvhYT63aSB/ZIRhaGk9RrN1ngHzPpXBRYuyQAkRe2tn/81jumfSRNKHrxJ0k3g9Mbq+6nS
VrbqyzGGhRmY1wpVVlazwAA8ThP5fAge2lbgLLIEOEbuOg9WMN26cQWQnRlWrw3TC+MWC3/B/Efm
7EwISFy4BaOLwqEkqpmkL2xg5mLAHRZwhm9mJCSXMSb5x86QR2pMpqNxDoG2EHI2k0ISlPZxyoxH
Ny8jp62u8KvjbU5DsZl5K5BrwlY1J4TJinS0RtHP38c36kfa9v66DSk1B0JjH+QMBQytw/wxuE59
Cfvuo7V+CeGNYDC68CTYV+3poaCxlwXK6DBxdwY5ukveWM6ZUKsjAaAtrcr/LxZ8aqkzgraiovU2
ij9D3cZM95JuP+Q2+j6atR/T5Nyd7rkPtF1kuQqyTu8EzIMZiF7rvF33SMBuHtnjhBT7AFomtu9G
Ik4CtqEDnfduPR+CjHggjM7FlpvM09vaOaeqz6IdRlVjaWiazzFJfIxXkb1rg12faTSEYTq+UGkF
NCCmf58m6xY2YXiQjHCIGKjLiAl/r4nKkR3wSb7y/blxVIvUJRgdKHh0+X5IHZbhHBgEMDEr6t3L
/x5Ar3FIaErURkG4Neu9O07Y+2ZrlUZl94bP2TxzqtM7Pz+fNeyrykya/76tydul5zTJu2PVxVla
T3D697d1cbcyXSs9wKrVu1gEzQrdARMU2x/3PWqaez9AaugbDP3PZzrqrHtOrtyqkVa4br+/4/lQ
JyTFxQTxzjih1o0Q+jAFf/+Vv/8eywwvHuLcmMnMVy4Lh3+z94UiWpwrtzbPbsYcVyBZwIKabDmf
gvfSG+jWBf+woqpJiiREERmAu7VJ2Vh0DmhKL/isqjQCMtzOq/r5dPBzqn1634uRNNbDmCFUOjgT
TSGHbSDwh5ZOtIvR4W6lEbi3hNdrmUi2sOUkrwhdpr9zkK5EExS/dWC/zW51NbqxP5KyZL/pGU1h
K6uebnKw38qAMYiYXJ6WFlmTjfv/vmqaJuW6rv9EorJOcVhXJ2mvv5/oRlsnY6ycfoGSj1tpYSUb
exTPDZdDBGAKQiCto30xw/qjuOc+AtFqD8/qf3ObiKlpnoa0c9CL16rnJKv63rzOc/guuS8dYuma
V5+0yev3R3N7EFUbXb4/00QsCQnUPlkkUp2lGzSbibNy4XaDd9amX+yp9W9Qd/Iz7+r83Hw/OEF4
TMy/359WEXFD9dhb57Faow2Ha+TJYI0ZNjhGreWy4ySxDEMg7kzQytfCN/udh/9t3XrOkQIpWY5D
028lp/vDKFKY77N1V5Umt87OUSEGBjTjqxxCUNFxhZDYr8E1zwJWLxGJdtFji+rEStg5rjPs+AjZ
IkA3PHwo95PYaqrt1jaW2SCbjcBhdJosvasFhl/9AC5lL4uOHAYq5umq43k8Dm158mFyHOuU1smk
LbVFtSoiGizHfLZU5YxKlblHYubpy5zp/qBYl8ms7a8jJdKUW5y74EsM1zRWYW+466JkvmoUKtyO
Pi18GCTmpm+fjVXnUTNK6zQNZnlFZWKeROeS4NwYJH0gwgke3pNE4J7tomtvXLMPl8Ziz04ZP0bx
NyMnzxiLiwWp55zG6jK1LE/ihGiDKfwlIC5snsSQDUr19Db3xdKYWDELV334tF37TmEIGxCnDKwS
38MAkGoCF1RnhtqMiqg+B0jNco5qhfau6Q/14Lt3Fp/71EHuMPpsr+ry7vv++BaWj74C+OqKFI2x
eVMyKHAhRwnlcH8XBKmSnOWQJhWPX7ZJbTMqMXFvMQFcluTFizKsN6QgRyQJ+O4L2nYaZxrevIgx
ZeqSJY6bqnUwmenKyp4DLoqdwhpvbNU/Smu+ARS2V1Iz9ECeuwAt2qF9FvaSDBfwrI4D2VjCtdAV
RezEd8UZHbDjtM2CEMFu1WQl6YVQsmP52syFOpXaXDWhMR5CAo4WMHqbjYQdy/iajL4WMUSIGsdv
HVw4mXFper8jy0PQhsbjq+sYWwVAHBTmMRidE8EX42Yi+Et0Q4tsNf6sfC6QqaJZzSU6r7mixBme
rUN2rfR9YLiE8EaaKJa8GWFI/OYU4xuL+XRPQPIP+qrYq4tN2fICq5gZNuSaFK9UNS7zFAkhkDBC
rGcSRn5mTTl+OUhSwyE1WZ/wqqkJTV9iM4MSMKpWyihJNkNp5PR1vpSes/Bt7P+Rg7rONOS9LW3O
I0+tCzf/ycSHHUf3kINVQOaFqzklsVyFpScJaDPPWLGDZUvk0cKPRoza6kEek7WqBTIj1PCcBBrH
g1PY29mKUaInz9FeMKcs6zIEN+R5V5xMy4L3OiKeAMZzV61yUuDsqvkAmuQy5ES1S9z9hgX5uYPt
QbWCFA3OxKaZwg55evZquryLMB/tzdzOmbTMTHGUe5TjT+Z9/Cwn1cDLUZYijuDEL7cWaosllEIL
9Zn1c0SLu/bjgHlj4zz/SK8WOwpAIMyFR1svzICt9hyxxep68we4nBH4tN7bKGuXhvT9DcvBdVd1
u9T4GSXDCcFydnCdQ58wHmo2mv/Twg9Hucv6BLCL/QdscIGIrE7YOS9UT8He+bYNPNTzl4MqM4Rq
ksZ9oOxCoXQBEvo26cpbt6waFpPs6mXmpNgxIzzWEVF7LMDfpVW0eyt0H34h39CKvsAJoglM+lUf
EHoUyp3z/BEeXW89IRkuAG3wercZkr6v1vLGY8Yah6adb1KDtU2jhV8iUWRYSOe6TH3zox1501ZY
cSYkgyvfpns0I+sNrFO7NQI/oHL7otwxt/Lip42zbT2qrSzZoJNA/GLIbg0Ls1uBONtV5aiW5sxN
sCrQ9cP2Y23C2QzNGeB0+UzhDvlzEy88MiAEBD0Mi7+x2VubsFAF1Aq5dcf0VxMBjfcoOKSx61WL
9zFqLrLF6uALjjlsiYic2xOq442tY2urp+aaYZhcCMdNTkXWHew6RCSYdizUEBCjlnjWAPFLZjnO
Fs2P6QEBd8zUW7Rll+19m8t+yJxtbSsWVnixkVV3MpqODequhSl8tK1i3ESOxk7e2ec8tZG7BuLN
UZ8dQOS1k7usQYbmguCMjaJmEZnB+xV+fLXZmEPotA8VF8ZgDxM2iZw7mT/4LMKQsCqsWRVSk41S
S/H8das6DDmCUNZDdQbEIM+xHW70nJrLvsk/86HFe+egg0ubYR9zFfaomUFbFKT/z+VdTcYP6Xhn
kU/eOWhR/9UsnxajO77id+i2yfCLDqTdteVcL5KiSl8Kdp1kgjME5Y7TOIQ0tlGzCc3hCI9nX1Es
IoTgF7ctR6CL4CSlL2PFwqLP+U9VbI/DAQ/whG1ktjz+vFbe7AYpLwZq1SU693iF+Pen6Uxrc87v
ll+/QbudDk3gnVSrzuz5zg6brb2pzS9P2aAZqKW7iuXAVFanltM+i2LSdtijDh1y3KLzSH+ItbsZ
UCyvwmyMV/BdIO39VOE9bqJgRT8AZKn0jM0UGq+RK9Echjs4XznvxbjdFym54+VIZiuldOTPzDbs
/mMY0Xb6LImlXVRHx0PzWozpsuEWZcw52/au3vqkbBVTe6WO3XZWjWzjaWefGn4F5FiLsSY2xQsA
bJczbQ1STNG1mAO69k/jPMPY1aEK9RFpFTssch0k3Z8/h6/J5D+a3GuJL8n3A3Y+o5wfSR+4sE/V
vo+zleTknb1Fquabr/E7zXdjni38SeF59ry/mRWhWbIwxXSGq5YKnbC/ZTqBBiObWH4nhUMOkxgo
k5p4V+dhvTIrRmRIaI/un2lmcin9hrGY6e5s4d3h+f0Zfb8+IOa6YZAq130EoZBvTo1jFo7Jgxc+
n3tCU7r+Szs2wjJCV+KwWrh29mYqzTaakxBBv1xHNkulzH2dNEF/oT+siORhGMB7JAu4PWsnSVcd
1MxgPOFY2qKuBnytqQ3DLnyNy+G/kTXMIuj+M1p7OhhgTmIrT3e1R1RTNgNGIj2/KL7SsD1YGTM0
q3+3UGIu9JS9tS0K6V467zm52sv4b2Al64ncGeqaU8L8cKiGc251OztUwaq38I2UOTOPhs6APMtf
hlKbbpTXvpifTK7d3IpVroNPhNp6oamuWaQvW3JSGThVzrmgIq6T0CJmhHmywHCykyHnXJU33aV2
d6GK0quCkm58DXS0S7P2+0U6wx2Bu50bic8KTBoXNynUfpTRR6Njf9kNqlgXlqJltGPWJdqgzFEJ
Gq9+l9q2faz+4X67eZVlnVw5iVHhigntRaSN0yzqejnMbbEB6gtPMwv9bSeiDsl2fBLlUyM86aXU
4gpbwmm4bb1NvfkXHDgxtPnddcMfqUviW1uUlwJAJscU7ALhH9iW1/uyE+oYZgQjZEa3ddIx3E7E
fl242kG62QyK0c4PI2NhiFpsWqcIhsiMPrQOEud94EYX5uNLGBaYuGCAVPVBVybE2dp6USr+HAIN
/EDJdIUUG4+vyLx12hPsGJvjTmr1q3eeCcZWzGWYFAsv179mhS4/6CAJZ/RvJt6+KVcP2lF7E6c+
dDVsKEZjTuuErXTHUHIt+/AmngA1I6cZD5in5q276CeMyvwFzqHHMrCyuKLnmrF0rs/ofZsF4cjD
VjtjuOGlwyliLEaLaCXMb3LhxNVWCaTaZYabpDLIfuBLDhLZk+L/g8CFlW32OXje3Ydo2NhQN2XE
yCH1EK1089HwG34LOd4QQX4MzkEEXM72PH8GdoA83k0PFQl4KqjvY5Af3MohkcNmcuc6/cbV8Kui
nF01mlXuz4Gz50K9hwSBw2OAP5oUWxBI3kEA4Buc2dwEdD6cqM3RELTpnWgW2sUg1B0Q4HgryFIZ
45z8wvnQc5Q5xnIoUyTfJAUEwt3JQm1T1oKs3BainEsEKd5vF/UqxApzL6rhnXj9Taijz4bCsQrJ
Q6s5RwLzzYu4FG3tL1EcY3tPxHqq68+pCM7opNelGxAzEVvJIXZotuJgqX2xG/3sCvnztXNLjafQ
/bDlsJsa85LY3UdK68I9VeymrNsUxbY0infTdDp0kbO5sLAxSkSuY2XPS1PGDi1hUC+yQNIhoL5i
MKk2UJz+DEF5mBKGtoae1hMpmKX6K8N476VDvrZVdtVh9yVKUaAr/sVSHBsDBd8avQyee4Gjn9CI
LHhquKvi2luEUmcLmRhql0XGGhMf46wYxlURRm/CTsI9Yebxsjb12p4cGKFWR23ZhksR2ONTrf9s
g7KvUEQ/geJcdRsG20onr7G3RnSIua+bi5Vj/S5UwwJwIlWEP0e1Rqi34Gak8ecWhRjWYxSPu+xQ
6UkcK7vqeUkHJEMUKyFu3DYwPicfuxpywW0XOena1P6w1FghSWOpPirLeWvjiOxzhkJJgHvHMV9n
n9RkX4EGUTl5K+XDiGLK17Lax1F8MsXMfEuzO3Tkhvdsxax6JrkLhi8nc7LGi9F0/QcN0EcwWnoV
S2fv+eaLNu1bl7vB00W0DQ1cGXX1ivAmwENVH8VQs+qYtnHRMCGdaP78KrhPc7hFabtLE0hDir9d
HHS3oDBOhp9cUxJ2vTj6oJvAKd49dfpEN3qSAyvHOZ1aDZugQp56O6nXyKzUssatOU5Pn0HQonCM
L2YDcs+WSq7pg5ehNtEveIyfOrkpmCTtuujpE7I5h0AhLwIrS17TmASRub/6Be7VNuq6vckgc92S
l75C6RQeLFGSxlSVVz/5Y7qGvU5N0e4sV+s9fG5vRQDGoWE2+IjC4B199MGamvFM+JHzFEiNiOXM
YzaQzBPLiFGFPS0DLfYlhz6zCRw///mjEyzoKH5XTbe3avsExlrORbIoleiQouwYjaJvzhm2miMG
XdDny7St8iPXOoPpt46fctBzfBYmcSYB1Ww5fdqM+Eiq4UZhkavFDxt+8IZ72tPCa2UUD24vn5ac
7vQva5sAMmJdbjEXV1fZ/0fdmTXXbWRb+q9U+LlRF8gEkEDHLUf0mc/hPIgU+YIgKQrzPCSAX98f
5KprmWHJXfXWEeUoy6TOgCGxc++1vnXjY3Sh5MjZIDFfsyyBeEOab1ngXMARvDSdi8w7xGRmkfuS
g8GPeBS1X612AqCSPvLoZR3q0vMYBUDbG7tosCG/gzewunrDKz5V4QsO+/sqru5JiLw3hIBl5CXI
nXrihiiueaYLi2moycZ39I9+DH8eyVYVjJisvKJbFZ/yKPL3wvNYRiQp2Ya5StnMouWwWLase8+X
jEU6AJq4wygGmxXWA6QPTjKyE3rO4sU2UwKjVbUm3zKgXJ4MbCsyISEkFBNvnHY70cqKqkHvDXNo
cSJ5LdpddrVcXBT0UfXu0Q9cG6W3F2inWO9JxshUzTLWMm4tMMBZwrUvzfIhzJKnzvTeKtSFiG+n
rZiR2KOVuS5S7eFo6EIWUvM6n7Z+vRk7p98EgZdgiQF75vjzEQr+TDsEs/c0vVXDoi3q5s99hhMq
dk4hQ4MzOAnVkAyIRoRe9eOzGNChVb2It3XDNJXA8U0nk2jjC1CmVKwYzleTL9xz5kv5uqYLtsrd
UG46M10ncmBN68hNHU30YHkz4hfLbq2mUQfY4Cv0sNG2lukjOu17XrlYLRY71CYzPfK82+Ftvqt7
/zGqcbA5vTmwJ8BemJp2uEv1e6wY+yAaYf9EAdppe5uUWPu+6TawipcqhTuA42oAx7mhCz0te400
ix6ruXHWSWKH61R+ovISKz9SN06UR2vfodHfIsAltGg6oDNFtSSAKykqJD3JHdZ6azNmwYOXsXXD
TpSr8AYx42fSM+n/Kfo2imUqEra7SoNnPGjnE+741aDiCTe8eUHi9yflJFsdqcOSQIou2j6FfjNs
BBP4RhXxOjWRes1L52pGQds0tEsM6bJXH+6KmPEmZKV6ddhpWeFp0/VOxnjgo5mUqokhdeY6RwNT
zi6pA5w5cddso8Yb2ElVz6YWwzbX+a0dyG1UivHGn8WlTQG6Ci7DlJEh5i9uJeMpUK3axa14EHTf
tgrJemBQvbKrJsZYqgZHlLtpebzbwzxtusg4882RSSsD5jYeu31YOFSJKFmRo+l1VkI6qcp46wbi
ZHcW8Bc07DifsG/Lcr4T7XBPscNaQyo7fR1aQKO7NuyMfXLTtCQH49NOXKJ+uuRrPSMw8afqUAXV
syU6tclSZHvCqx/NMjlLOSRrsw+PVafOGG1dFT3+LY/mVQa/7Nvq0I8ufVZVogz3b/M2exifyu6r
yjIXcXTxAFWl4SAT7OW6eYUwiU8ZcFxChCKMJ61x7UKz8DVdTX/x9bZ6wCZxDbQAJoZfP2dOtUcF
cW6Ti9RZqX8yIp7tOi/YRhF6wgNtZ1AF7toC814cP/ZMvjbLBsEtMdsggbksjSW7JHgMS7mFSATZ
16uAPMzy0TSyaTXXyBns2x6f+qpHv7Nm4H3hNRG9JWfn5VoDzW5MJN/tCh7IMRgn+lyW5FPFOe1L
fRGjs7pIbba2jYVryVsS7YVzU9tNsjXLg1XJ19BPriqiuC9bMZ+FMwanrplRvPgYiTpWl9QYGQZH
8Q2XGfkzwJpYLaYUGIemC3ET5TkZfijILlgbC7Sz4MUGdvv5fGmj07ubvfHNoxv4YgVELrvxJeRE
yDF9JHbaD9mFaf+AsPBiSIdiY05mflNrfNd+CE6Cp/opaKXeNG1b7Gp/no+ij+IzPXJhmb19X6BI
30guwfMoZp8344nBSL/Gl8EY1CjvUXJRQeTGQ1STcmiIqd9EoBPOpWNsG/Y/jyBx9qnhBNsu3YrB
EzvPc96S0nauoudaYqhsY+ogNdgbqXgmJ0XCDRihPPZ8dzcXwXvv+MalJCiCmttqb02DgCCodOei
iK1PNhb+DZvEZ6tK5K5xEgq6JnxoMrEuArclzl3nlymNmw3Dl+w8rSClZfiUNoaJPwsC9cpctvQ6
FM35HHvXc5HptSxzdXTNhHKRLkGAVmcjLVc8RM10QoAUvxqVVa+zFJ1Np5pLJ6u3M/Z9iSRkVVqF
s7IQjxelvg/j6hNGjPzIZO1UmnN+NGQOEWzajnL4lHmVRdmMZqAon8A0QINXMVteXXwt0XdnkX0b
TOnNCL4rkJvAAKuQcJQ69knUtMC/YOfu/Nb96jT0KMY03yKhpDo2Hka8updoP87m0D90OhsPnN51
mDh3gQjLtW0uUBP7WTQovLkbAJQUwxqRVXgwSCjaO6raB7q+mur8eYw7i8glmvIq7jHfxS8qruJD
qOBYjHRUt2M8X2NBzdklJ8u63sIBMTjnfVwEa0fQDNYdzKE4OrM0iIEYw6XbpgJpp2eSo80dx1lF
LFVERHACrjUD4l/DLMb+HsJo7++0zxf3uuqiS9BQjbdx6V6E2tpx27NT0uouiWAGdosmKAuIhTKT
YCeNnjAQ+oRzVvpUTsfJrJJ9P0PLkkWxN6Pxekj7jUVFpavJZWKBCbzB2FuN9z5orkXAQbJh4j4g
B+OWpKuLyK3YKwMTbTBN8Ua6I7d/ZZ5Zby6jjbVqiGVDvcRelGSbrRnInTniXQltjjWTjGvcBRul
UQJaFr9ZBV+NJqqOBLZetzBxep9dclIaCHVhhJqQNkUyboxZPrvaf0OybjC3c2+roPia1s5JZ45e
203FbT7hAbbL6d5z5LCTOZ6nAioN6n6GIsGpUXHwqWjH/eBPmC46cins+cqhBjlLNO0zHufo8Eax
zob4KCarXcP+slaWqnlidfqcoOVl9NCc0FdfFnEhdm3ZP8UWLM3Bs80t5hbmnHZjrqpFiFiNsEFw
1G/IlDsgzG6UfeVya3/zVS7dHkLTryf0JSu3Bz5SETOxA3p2ri1rOqeiyKEsndWa0t7oNonh3gCm
/9J6wzPP0BgwdRjRz2DlkRZVWBLRlC5LA0E3JVGruuGIB/iihM6HE4VxNg/NtRniNIPCDSrFKGnv
FSB9Ep9hDJXVyis5gv6IgMilt4ZWeB3VmJQRXAJmN52cJnjWX6XpY44A9aIPrNMcEDmIgi3cFomJ
Brre5l5pPAtnOhvdNwKiLVDPeLFnkLHbfGDY7Tds/HQ1b30dMGNsD/6iP3UL48UMwJ8oyxBrYOj+
OvKuRK0Je6pGvcoN8TXS0Rvti/7gmPmbVDVygAzWEZrcpeFRc2l113ULEaQjzHGtfESKtEN5jGEk
b7A/bopYUr5rLOUjk9uNQrA9FqQV+SX3Gf6igwxkegA3G23CwXlj+NKhGVQ727cOyu/p4ohg2Hlb
qjvM5xMHmofovLGT/NEwxmFjl+W0m9AUQUZKDZYmx/XXcZ6zIips9L1za9k6POCNHvZ5dbLb8AB2
CfSEyve0ER99keH4UApXAsCobKouXW2xPDrOznGjZ4Y/0PCiCyRddLof0e/xvQv2WsnQPVZF+Fw6
xgu2FwmKFk2RY8JSgWYFMKy5Nmq4NZ3R6C3koR6wVFzW4b4WebruuxQ5o9VsamXcsB6fJ7iK0Y09
53MAdj/qYbn2+67puTOMoDrJhUaQyOs8H/x1pe3kUu37MblVzE2448W81xwBFwRqa9EU6GZ9bhhc
viUsVjGZ9oXdJfd5QR88rZsHSTv1WBfZnXaLI0I/huePtN6tE+IxgAd9IzYjViYWhBj3vD2hBhOQ
dCwb//1qnKenOEjCqwJXaWLJnO1RzIwKI3zndnvScJhwAsFZAVWiibH0ykf/JsA6ug5rp11vO7s0
t5VXwUEdjnkOxyIu0+cpXUhQs3c0Aj/a6Izw6pwGhVUVE2O6duuS59S3wsS/WbE/Hfmciz8DeynE
d+fQoSbpAJMq62jYNZYjA1N7MzQoBWjI2C21OPHuBVwDmEF5cpW7abo1PM8FwH0/t8ZJ4gRbSUiB
aywI7ZZUmL1Nq+6gWH2ohPydZNzZIFW4bmzEdYPO7if6skdvQKfUdKlcFQ1Tx7wi6Ylg31rr8UbT
bWvbWhy7KGH/FiuWng6QbW6cfFPdVxaSH55F8wnZ0+MM8ivO3WwdIM/BigHq0e1Y82L25+xrJasV
zkuv9flu+btVZY+tTxmaolbbUEE9zrZzmxil2OVWwcKY+PHBqtubIRl9AHTTBI6IOrUL3lmy5RGd
PQVBw0sn7OkIk9UoAdXGDOAAWJVNW7ztzylSsitUs0jJRb0BWIBtm+bp5HARNna99y0Lj0N88ic6
0mla3IYTvCoYe4/IWQPuyuChD5pzyYVOsUH2OwY6Hm8IPWyr32CWFqtkcBB69yeZtgaoGC3WSISS
fTOX734f3ylJrzfIfJouQ3heltEmVUZzUTAvcY3i2Zow79VJsMa1Js6BcFA8oCYrq4E88CRkIwMV
azeAUlxZ2jnJ2XTXA/7NTTZ0PsSJ5I4mqXOgmkvZhe7sOIs28xhXrIMDtZVwVpKllY4zrRRXdyca
Sc9+V9bHuMGomk6exwbrhFMU0r6HE9+xs7U79tduRZuw9eKLaqBQymN6WuVIaI3nXyeplse0Zg9T
YYO2ewXTxF1QF4B5RFI/mdK7tMep3wn0ClY2HQaThBIV3cT6IZn7z6XClBt0XP9Vi9CgtbDuLHG2
w0XZIx8sLUp/LtkzhxlUGRW3wRibm7ntj/Sw/YDdZteRR2/p/kpAdCKwfpI2FKlpcEHduDDn20Su
Z3OCgNxg4bXZ0rZsPDc+4kjqllVm8BoQCDFreQQ7hda5Coe7JPCCI51xQVXcNtDB9E1kkCk1Dt4a
5d4qroKbMKv2jY+xcCwJ6pGjCfuA9b1p4Ikr+AvTlKUb8Ey0HaPmkmTnbSblAkmgzEy951w55GmS
bjZxdcZuQ+R5HKFiUsw1i/psyOhoREhby8y5gD24tC0Qhkf1BcslOi5A6bV7QAF84yVFcDW6BOlW
fXdfssU2xXiOxs85tGFISDXRB3M8bFCHsajPqHdalypcMZmwbfm1ChWdWsN+q69838AUEexqE5hS
J7n3DEZxBBv1e8JpIXJVOeOGGMR1NJyVbSdXozW+0vHRZOOwiKg2Oh9TMR/TkMUHw0S2jBA/9Ubw
jKxrH1n4nD3XCHYjPn3yQD75bnSmE/vBl6N7cCv3FAmj2bQLsakoTLbzjMoE2QO71g+ynesqXCPI
VNnDbeugO829cFEI8LwEMAUazHdA8aXj7Tor2KqwCWJUP1/6nmNcYKEhALxgfOgtVT6+bAKHYnMf
p/IUMZA+NnV7TXTYtcHR3CQuvJVGJhvDX0pDvsbYVWuWtvtm1ER8x28m3WW23y0Wmj59GwzC7n27
5hzZ1aGQobGy/faZwbNG3svWJRNos+h0aa+FjYdNxlC0NcdZJleDJmrBLpxtWw/mTndbptwIDueu
p3ZXK8i6FGROcZ+MPNj7KvY3Lhd0ktPQzwlz85nWFNTI225I7twyYCedU12rhxnaTY8d5FiH4/us
u46Tz2P2U6pwoSl48mHpEzHNtmQ1Y3CiqEOtww60OMz0QNTBdYqvkug5xo85DCBXIz7Lt4bjv1EY
3Ay1AQooYv1Di/JO24uGVViIGyed6Yt5rjwveQbwAA9WaY4UPidooyHixHaRWgsKgZWrmtsmJhyK
mdt85gbZF9LlzrApIPeGjPpI6vwbFqHh2AlX7mU1rbzCeci9zF1DPDgqcMEqNi6TojpOgnZlSnr9
hPxO5537yrDpqx3Ka7J8SnAE+YPllvnGLL3+Oqt0u7dQba8cwVMdDlbObcUsp2MEzmV6pZDg0tpz
ifxw9Sox2FeFANw2Hh94Vu5FqtmQKNNB948uK26sap+QJj4hcAdt+hgb1smNuqdoQvFKpz3beqVr
UGQFNDBZNkW4M7VsublTjGsoSpfaehACJWJxPcHKQaEQ36YOAZiE4K5bDT6EUWlhJXQzA3YGVafv
JRapdjpmMvmKKG+ttHEmBPeyF71NDcGyLK6WPb5G+2Do6YV57juCq/hglsYXh/SSreywoWLgacP+
0U2jZyLd2aDg11iRdkRkUY4HQp/NRXHr5+0XZM90wfBiIMksctqdgjG6OWPht4kFYPjHJb0qlAWL
sHaPBiclwek/Bx4CxuLZKcxnc3wYiipZRwW7ajGYCwFsPoR1fRa57In7pXNGJkeK8ijXI8NLczhG
5OgMpocLh2ErQAjWR6iLYYK5ehyomNnmrmbCyMuvUqbnKcA/rLFpwoR66xJKq/wBygftCndJP7ZM
PBkUeGR4IQmSBJ7WLVTvgIFFDAkjj2v2q1Avo5w3S7GDzzmw1qKq71yzpC6cA0AKRrDFtH5F4TDs
rOQS/s7Jb8nWqV1qCjefKAZaThYGCQhtKD/aPD2GGh+sIc1tM1m3GbpMjtWU7ZqWhlTCMD4uaK6z
FSVCLEpwRAAqih08lEOx9DuIwEFweZYXDEo8XCzUv/aqLxTb57Hex1Pswo2DiBql4T1MOGagjd1t
fI/kz741GEynQPwAQunYIZO0RsLhWBQBPRg6x60yBCPIPGjboxOZ7adKqFMe6ITUNcHTtcICFbio
s/CYLA7UW/S0eFxo8NuF/YCez4Mvco2+HmVyVBKBkPpHZ1leXdfkmRk5oE3L7gblpo+qKmfttxnk
wU3TESoh2aA7jhPazvT4L4N53rNQwYmsM2dtAtEgsXjeEf2H1gKdNMjZN6pbe+MZcwPH5jnuxXsC
32NjtOIpoa7FEo4mdg4BHQXlqrKm4TzUOzZvuGNnDnQohiXRxXO3SaSv+9h/isvTLLOTbCeEtAvY
ke4kHVfUEwXrNXfDeaxzSD4lffqY1kU29KBta9fZ28am5jL1rJatZdadLOTGiPCzvcpY5Hscl6sY
x93Kw5jmULEzF1DoHqL+IZcuQ7Hl0PVJiJNaFlcg6cIrY5Rf+qw7q9CR7lUis0OunkeT+amtHXl0
qvJSQaY88k5LzvfTNPTVHQJuP+2ifR1LSHswUQml7S7gsFIQpmm8baX5mPSeQoXbvkUN8wTWGTRz
TvuQjGwe8tzxeexyYwXF1Wz49Jur/CYk3DDOprWm4DwRIY5dy54U41EUplrhdxD1q4EyBqUDruMY
8kMcv+alBDnrB+1mMjAScpIL2JNwoQijQVzZbXVBOqOZq88pj2qElRpl3LQ3bSO9TXAHTSij95YL
9WdIy3XLGr2j1f8Ud5VHR0NdprAEG0fzJIboItkCdMoZj7WZWECEUUkEPf9mIUOYVVRxwskbDiC6
us7tDP3o2EfcViKPdrNQNMsj5zLnibSfWp55NtuLLM1wy2VXsirrsyQLb9oJQKOISDWscqqfvvgC
JH/fUlhFvWD6Goz2GVL0q6Co1HpsmAHTKsBE5LT+ylDMX6um19cxgwiT+tLSVXRDauxAtidY0qY1
tjV2Cc4mi0zdX5pWDJN/xAd2Nra5t/NNQJPAZVC9uFF5LKLqBKRdbUs7q9Z2ZRnHUFrvo2no+0gA
VyO1ScKGONGiqXaGZk2b1lasrzM5khpVhGQVoMIIGmNl5EDBGo2iw1g+dKTxmaVmvkdxlGxcz02w
dsCHc2lAzAryPivlwGyVAdTSl9XRaWDCvR2NcUXAyLABQOdfRol5dCx0s5FTXNO+eUeBb6+nktWa
KX2/SyWSPiswroMQE1YwzWdNIdPTsv+moz7cW1QA56aUsC0MpFXplFZbV1DwGulrTUJHT+JP6N+b
DGE2CcmmnrdEDzj9FydGrryk8M3DSwTJYUWt/BlWl+UibhtfGFEB7C8/M/chZiefJ0ZOGAS93wI6
bHrnBpCKWKknSUrCkkswc/Y47NeuOT12JLOwkt8CL1nlPcm7SyjLEhqS+KQf1hbfzdi4KBKWPy+p
YN/CyZZfWP4x3fHaD+l9LR9LNhDAyu4yFCSLIjvJ29usHE8hmUoL2r+Wixgvf3WqC5GmD8oUL0te
zBJ4MQ8R51MzMBNfKnvti/Flgdwvf4xKfWUFwTeWPpvw1yXYBSnISgTd1bdszZFE0LJPrrwYFCSp
MEqTUxGOz8Cpl+Smwpq+jpn1iALLDtuLnMBRa6ifuM6+fZhxvLOzEH+Vse99YMtcYsuPlkiC1Exe
l0AEaUdsZJwdwpaN7ftvs6M4EMDk8/bdy00YOovB+LdAMRfYcJYWF8sn70PzRVf2odXxYclBKUiC
sSv9zJIDiVO7gLF4J3q/+1RMhyU7AH7YnTHeLb+4fJCMeIHl14DKrUzV3UZCXmWIJ40heFoO5JId
0sbV+zAklzZaVkEWwpJ/MAiUOXTlgcBBqXaZBsgbgzilfwWkDUF3YfkknpBB48YcZl5ryWHoJrEv
7fZbozEU3/5zT8TC8qPlZOkh2HDDMCbq3tp2t3zKJT1nAFUF7w9SU79ZLq4lWcPLylcvvok0rgVC
ahroQKsCVVg2JIclAnEJs1xyNBrLP6m+2s4WGcBLoCOO3lWGFQc39pKDtMSQBhkjv1CvljSIJcph
uV6WcCgcQQh85N3ye4J4k+VyLDvnToY8vJdIj45QkigvzyoUJssvBBCHKXLTOXuIiUGJagmabXoR
CGuwxN8uQXg93La75V8gJH17QZqAdDM/L3/sSctarv8lyzTaBp2xMxK4IgSutISfL/GlpXvUtCYn
clgCz3qxY/ssm6xtWY1foiWHgYNCfb4yYn0HCmpjgu0PCHrANftW1bSdcJa6rXqLlsAH23OePBIh
Gr96ZLRdCyjZUXQFDu0F6/yrK/WXhgSRgOtqtsn9o2Fo8f+1Z70K4s2ytP8CyOlVVhzQOWcSaWWX
qgje8gES04SYnhQQQphvXDTiohOvwxLvls0maQ72eU3O7/LFzACZAqnOeI6+hftOh2DA2e05rx5x
Eex7X5cY2cE16Gj7R9fJ2LKU10tY5vI7S8TTtzWsgyA5jAbDWT7ML3/7r1//+7/exv8dvpcYjuDe
Fu2v/82f38pqIicw6j788deL+A2Nd/m1+/bX/ufX/viXfr0vc/738VeWN/qfv8EL//ONNy/dyx/+
sC26uJtu+vdmun0n2ab79up8xOU3/19/+Lf3b69yP1Xv//jlrewLjEK372FcFr/880fHL//4xfK/
HYLfjsDy8v/82eVLzl9blV3LPfTy8W+8v7TdP34R/t+la9kWwFEFjArLzy9/0+/LTyz/776vfB5t
SirTNR1+QthEF/3jF8NSf1fKE8JTjq9oUAp+xijm28+E+3d6mqb0XVsga/U9+5d/ffU/nJ3fz9bf
SOy6Lhmst//4RS5fpvrtLC7fzbMcevK+JxGuK9BIrmPx87eXWwhI/Lr1v1oU7z2wYJr+LfLGtUEU
ck8WlaoaWmiDhEGTTzWhEyvfwglxPXRE/W0yT2Lrj0Sjs03f9WZ6KaU34syEPhhsyiSwvDMirDUN
MR3ocF33pZV+8gpgdGeVEciBFIlkgRGmUf51yuiQPVqjAFkYqY7nbRbDdJapKNd9XEKZMSoewZQS
Dn4BHHjN2rMkCrSB0O74UARFDkLVQwp5JtpidtYiU4oIR2+wyx3qc6q0hC6RQ70fqXYd4fomqE7Q
XbH6UlEm2iEqa88PaLhTnqNudEWajzvq775cqbAeYEj2+Vtfo+BqTBosKOZ13DOGIH7gs/SmHihq
uXTj56azg23l2JOF0gE9oKEdLAgJ6R9AICU7NDw3aQSoLWJ7xSgp9uetUY8Z9hi0UTmziTS5E4za
470tTEftPQOkyapoE+ajHGnvQeM80o8laRXnjkiXDVnnRez7aGIPu7RagitQBRVP2KQoILzEAC+v
Kw4jM8Iprp5Zw1T2EtN0yM61M4TVC72hrF2ybL3i3UEKrMe19PraSte8fj09pL6esnrtz8mU3Ree
nQ7HMcqYVEodyOCYY5yppp3sa9RRphEKG9Cxra2n3I7wzWhrpD1GymNNSpF2oFPmc1GPh0lTfl8F
BkrSBA190XUPmW7LN9MLYk5V7yIjhHzjkezp4PKNrag7BOPyGJmr0UBdnEblMnCCz0N/aKZCt0rT
tC5STBMMrB2r3jmDGzJxttmnepEKCcC2XZIC5/x9xmuWHDgRcb7lC5fZVTC0rUEvXDC0L+FVXAom
v4qmjkZcSs8nBvggkkmvmrbGqVrRv7pHykwMlztCXyVAFbDhtrTqzrs0M8umLe/aZAZ7k00FGQ6T
/3msrcG+E4WPqICOZzk9goo26KKMBnt4UK2WZpxeSM9iCzSCuVGC9vmejlCUn3rpOt5D3Az4xExG
TjmeUyf6XJhdrN6oiJ3oVIZ5kXwCQjaPxxwqT3FGgNr03mvIA4CYxFjMTE9DIw2+uZSqr3AL4uSy
tWXpbIRvYLOSaZWXm8KZnE/zRODpqhzt+sWYyvbJoumP56+fGKGtaRQQfTk5TE/gdI1tcm60Q9Ps
hWIZO0xZP2Im0S1gtyTraSaxKSk9GtK0kPp96luB3E+MkiG+1mE3oESaCk3YRtJnh3q23fgMTUxV
HjyVKPTjaB8lE+QgwG8MKNqbj72PHe3Zzli4jqas6DpoL5udDcyb9os/VFH2ljtdbl4r3zZpeKim
yJOboQvr5iyYKM9OBa82PxlNbhDT5cSTl22GHqPmdsYfQ74JPXrvyQyJaYFelWMNDNCzI425ya08
SsDdxfGNDV+ihwvvVs8Vrdz8RCcSFjpyei02NaLGkrz0ND8g/IgLpIVd6FW0RAS9xGMmJlI8pnKU
cKj0gA1Xwm0gZ8IrdHAy2ziQsBOYzLJ2aTgE5PWZ5R0m9AgcvmyGO2QapYHwgd74SnXjwEQ9jfN2
5+LI9rGVevajC9TP20HmEgEkJVGiu+8j2+dYccNuRydA2+yb5ZSv7A6WwCHz4B5f2ArnztYAM5ge
GGSU/a73e2/mcUeCA8ADVZL28KYy7lu1aUCcpKZ3ICEMDemdo4dpSTjxp5msEXS0cEDWtt9Pza2V
lnb/qYgzozlvkDF1uzgs2JtRrTafAyOmu1JrVOJbAH1MkWYj5W5w/LqE1leFtCwVfBhmoNCzJqRi
nnGbaTXeZQYWZdIg2Wkx1Y4JGkB0CANKWy5Dg6htJhcbshqfBnbByJwNM+7OMQI7j2Zr2fcoJqsb
o4Hlu85EWPvocT02pMIuMgKCYoN+X+7lKU79OsWlZGeGIMWi6NhFTCotjR392JjsxpaRSbaXJCWo
ba8VC3cbMDLb67IxowuNcsXdunWNMOXfL7f+vJD6vo76df9eLtVK+/9BteWY7s/Krf9TdC/NWxe/
/aHg+vaXfqu4LM/8V4llfPv3fxVVrvl3eoyOwKmC98KTDpXQv4oqbynGfN80PUt5yjL9f6uoUn8o
qQxhkd7nCekv//27Ukrbwq01KSj7QTyUPgIk+1OZMU+v0DRP5999638Wct8Xbn8s235/Dw7W9+8x
Us55quQ9rHEXJm+yvqkRZebTXQkas8cQ8Pnn72Nx9L6rD39/I0rQ79/ITtqiirXd7+WEbQk4wqCJ
G0CFhWyoV0eQ5ystbyW66Z+/of2D91v++3cHr6lME+kS71eYdwnS6rE3/+KVf3Ra5B9fOSnZXsWm
0TOToDtIQE3/Hi6ttS2ohZ9/9uWY/F5L/36sxB/fIWLoOyRdODDeQUrKVOJbO2T38xf/0YH5UKDr
pmuUWfHiE85irlzCm8Rvq8hvO5Y/uZh+9NLLuf/umJtos2NXcGR070cvPtSux7ZmRvLzD+79+VHx
Phx3tPV1CnC73TNWVe6xgILKwl5JBZpj7am4McnqHtzKvAd5x+ixhfIRpKefv7lYDs+fnBNvuYG+
+25O5tE2yDhsffQZx6bZHKLixR/2TX8MqusmwVdPqhQqb4YzefLqNQeZUG3ftN2ZdJ8a+w7TCRFa
+59/nB9cg95yjL77NK0LEVK6fJqW+R+Ct3WvHshpQoSM1nfzn73Hh+UHjdeM3amquYNAcoSU+Nux
bbzbqHGNz61BMEzX9oP9F3fVD64d78NCNJi1mWmE+ns14IchdmJVxY73Fy/+gxvK+7D4JF3v20Hf
1XtzmvGyjf0VKIr+rIWF+Z/dVeyi/3BCEIMNDoo5Wusk5Gzs3nkOZlttf34mlmPwZ9feh/XAztOo
Z9jR7Muprm4Qwc77IkSoBH8QPpoE8BZc/vydfnQWPiwOsVfLgmlUtzcauhvrZGw7e0c3Oyn/w4vq
wxKRFh2CXja7e2eIFmCSqVaipR4NwyFew5CwtmZRjX9x3H5wl6iP9+xgE3NUV80eOwdqNiw0l+gH
zEvSONH6hCrYAlz2/uKW/MHypD7ckqGBrUyS27afR/Wqxwm8iSAmDklcwJgaCpc9wlMsc1v+xbf7
0Rt+uD+HKY2qNuf+lExG4SSmSoXtLQKHDpNBm6rqyCSHUHHkVL71SULVmiiCaM79u+u8+nCVzFE4
dGIYyMFD+WUd9Rxm0R1hip4u/7MbVn1YDWBVs+vIyYfIDQb6ehgHKJzzWzjP5V+crh9c6Usj7fsV
VCJgqeLMhRM0NOWxrpA1TMg97n5+hH50bj4sB9nkNkKQHnGo6Bs/ICMIBNyA2TXd5Aiqp0X77TlD
/WlGSojj1+3oOR1+/tY/WCzUh8dkF3WS5lU5HbBD1uOV5Y3aOkD08rKHDBBO+HnmTInrn7/Zj47i
h5WJfNTI6URC2C6idnIPbK+/jB32+39xHfzo9T8sF1bclWHamu6BZqP5FmtpFFvQQLL8i5riB6/v
flghcBSNcWs67iGp4vQgiL0BdiDbs58fneVa+pN12/2wJLiJrXz2pC7y/Dzc+bYRnYFvGBCGKf/1
52/xgyXO/bAIQHaPapsOEnnGKG1mq7PWM9jzx8igutP18BplC2Dp529m/ejdPtyWc4vpr7P+L2fn
1du4rkXhXySAlKjCV5cktjNJJpOpL8KUHDVSokgVSr/+Ls9ThjeyAD8dIDgjmm2zrf0trg5otLpB
RnuAq/+brunm6GMGyUcOc4y+hxwMtw/jCO94aStd/mhSaAXbbXi+2bwfkI4EIbY0eSIfcJvHcnMA
z4dV0W2OECKBv2zm6icdbaKvW9VCpx8ocGZNANeaA0uULrdRCOQs6A0AdK80zFJHO8Fk9mymzJmB
UnlVCQ2Xx/JRvDJ4OSNfItIw8Lq2JCewUFYSGMD2uJEDi2ffSAt+CxKA94zla/vspTnhBBDoNHCZ
lBh7MCG0ffNAIJ1MpFiZcUtN5f8bd2dkqWoFX7kDeAF43If/BS5zK7JTOXAWl4fpUhHO8tR0cZ9H
YNkckFLzI5TAszRn+0awXM1KCUtN5IQlAtPTcAoKe4AQr90mKdgkGteEKxF84fefLxbeLk1F4Cd4
cp/7A9RcSv702AxAJt4IkK28rSx23h8vt9NCLUInduDsF+LZIxggOq+K7G4u8LSEvSvusoNmf7mI
pao4ASNhkW5m3D4fGhgOntAV6lc+D+JZNnH6fLmIpVqci35zFIKdFvY9WBIOkeoSf+/FCbfHpOHw
6LtcAF2qxLnkNyXM9QC0TtsjwTOWOgDGWcVF9prwZMhaPOdZTQCLa8Kq+wUzvFn/hCohgry8RTLS
/DUDwsXcAWTWFj8sUp9xi8gTSvWzqrtKPdrCwlPn8g9d+J3M6U9gVYCF7KL0kEA7JIINXOiQcwMp
IXIW8aDQZGxl1V/YYgROPOWVBy+4RlQHSZGnCG9xwJ4SvAXACgSUARwaud6WEtKXbqULFgoMg397
IJ6KLocsmh08uLw10MIPGrJlrvOsfYb7HYf+vVUgIq6sF0vFOTEKF8ywmusK/yAh1x72SHiokCUJ
jcN4rDvbks8p2FlXbhLcB9O4zi2enhLvAH5GamEsCa070tGBzILtHtShRZL+uDw+FmZK4IxjmZQU
atEYoRfY4Y8MziHPGTynrhsUoRMTc6/vRQ8h+KH1aTAiCXIE6flJZikGxTaPkTT5mSPhkU67y7VZ
Gu1OlNSDgRlPr8UBnz6vH32F9KiBE9adMEuB576uGGesB7ATwjNf3IPHjOdHJI8Q7LPiEcmmyLFL
vWl/uRi6MObY+e9vggydpwkRRfE7CQov0hfzm7Kku6zmAPP0NwpPCZ0nYNaYnWt6xP9e73UHoors
vmeR3tlJfuyZv3LbtbTRY+dGf/NrGGQfQO0QfkdM8yeIcFCGU3mEtG3INiEAtHe2kf/1pPiokP66
1Q1YtrazcBmxW3omT2agE07eN1501x05mTN2LeAvyMgI+N3gk88wLlN7CfDZSh8vRXjmxBecMpDJ
Dkesg4DasIOtBmCA5xxBQyo7QTpftFBTdbMPsTSfx356watPYW9gW8jLjwpLHL8pmUzDbwTYFq8/
xnkRA0LdGqRxfqANDoMr1/X0HILeOVIwJzQhRTMOJSbVnQ9XsO1EcRlZAq+aTc0zNE5wEZ7vkCZ4
A37sr4w2j14AxbCfIAf58jBdCCHM2VrVAv5hqeYSybR6/EOUB9tpINcNW5nUS7PACSK4vS0BPWzF
Ia/y+a7N+HzKc8jrkGGPl4K+4yvTbaEegRs8+jauhA+n+QqY55+e30M0wIShKwvI0uedlbiiQU9r
HxBIME94gYVRwaGqTYnUK+20EPwCJ1pAbdx2APtKZI9JAohOq5P5BphVBsxY2noN/XC5v5fKceJA
6JXQJA5le4iaCCpXKbI83KvCgi0YVjSarhtWgTP/BqgOI1xx6oMu8/k+TXO8lhqaQmhxuRpL/eHM
mqzxYThDPA0nG2T4Q54NsIsZUq+78vvOtCiQsFbpFnjBnkwj3FRSSKqfrZiEtxKQlyrgzIsxaDuN
pEB94GflwSYHwwcCzW4O5+sGlO9MCJxQG1hkpPpgAqDHcY3QQTwFtFBYIX3jqk7w3ZUUhByvK2l6
gIicvrTIyfw9Z152c93XnSnXwnINWR1wPMCrSAirLaX+IO6R58tfX3q+9J0JF3K/S03F+4NpcbES
tlH5JLErRLZnlk6/aooIK2BoBtZbC3XHmeAF1U1vrxzAZwHf2/VYQQZOSt6luCkJ+9cEfIHqyQth
73XdPCdu60GMnbW1ORMQofS4A02OwaWc1maLt0L5/XIjLgxi//z3N5sK4rfZlIdDfGiLDEIUAlLw
z5iG5coIOHfFO0uj7wSRysPLddgD9AAdX7iB2K6HCJaKRzjqfgbMYe1K8jwj3ivGiSXIqTJ4QMJU
TA30Vh2IrLPs/ySEaTw5JsgbGsDrou0extmmuVHNKIIH6O0GbIkuN+PSD3CCjYCVohh7UGiaKDoD
pwrodKpb2GcBkgjBIauh++PG89SjGKJk/jzh+pl8gpysaw6Xf8FSRzrRqAmRwAK3In5IiIrNoR6R
C/0MXC+QltcU4CdOG8MiCNQwGzXHZMCOaifjXmaPPEzAa7hcwHlcv9OJf1Wsb4YiEtosjKFy5CGl
sJCIDc13IS/B4Ax6vWlijnSEABlslwtbaC7qBD7lRYDVqT49kAaonKaEs3kIt57LHz9/5L2aODO3
A66Z5KNJD0ySEvA9jczt5pxGNRlz38GfBhc67LcQML+6XODCluDvAeZN003T2KnZljmS7kub/Mb9
bo1Uz0aU1dME8D1buTtfajQn4kUWW6g2YvkR/jRxsgW4vL3TAuiplXZbqsa53DfVqGWiTADmLHLe
+uEGvz8BV0IBEUXhHHu5pZaq4AQkXHUmlc/K7EhlXHUHgW2NvlU4oZKVApbq4EyTfPZqBroGP8zI
wsJ9SGf8jzZUcGljXku+XlcLJ9yUydB5wzTYQ5qI4tij058BwG6u2yn/XW/fdEMeJCCrQId7gANx
9jJrFr7640heLv/2hQYi5xD65uvhWAseSmUhj8wDpNFVFoBjpPIBzZyW+tflQhbWHeJMbxhKK5wa
i+I48+pYZ2e9ONIuu6T51Xr86XIZSxVxth8ch2siKkhCZVgDngJEmoUHFeSM4MSH5ffLhSyMV3Iu
/E1reZ3tjAilPsBk3lNffHjQiq813J9BIbpcwlI1nEmHEljVU1/C3gn+fhtcq+pfYc6mPwEyAFZq
4Z9Xof+PiH7iDNiq6soGR3IDTS48MeCX3XZEfIPs6WwZGSVctB+8oIGoFuljAsLmTdWaDLmeZZip
R5jrpGSP5yo7f9Khhmt3BC4U+0/PVdj94fC0b0A6Agk7eu2o6kR+hDtNI74AmlBqekuRNZ9ft+cn
TvjwPV22iBnlsalgKbD1sgCMzYKX8srvO9FD9ni5hVoqO2ogGeBHEKrQO8Ud7j131/W20xE09lsJ
7D0GbYvjNXwHmi2v4s8jDdZew5ZGrLMRqQWSj3mO8aSqBGRP6cd23DNF0uvOLD53AohtoR8xSKI4
AuJNHsYzICseQrG/3EDvRw6fO5FDTHHZwPRHHutkfvYHuOkFMx5A0yl4JCxY6QX/vBN4Zz64MlJ4
pRNSj/acMVrM8VMPrK4Yb7Iqn+oPcHu0Ad/CMryVnzLMdRPtJAFM+JDyATfQyP3IQelKPcn8D3jg
hFlkqQegyJHDDgwmwRk69m7G2I/6Z3DRigg8AkW8F8zzSMMKKgIY+7HO8E78dYC1J3tUZVqBup4w
zmAnlZTzR594Mf1MI7zJrhxm3h8VEOj+G8ekh2eBzhTDocn7Cjkk0wCTZchHwAm+3G8Lt3Awi/m3
hLqcVDWUmIl8bGnKt3ERA8q2Q5Z46b/4QB8Gr948wq5o19azGP4bPEqGJ2TlxvBBTW1H80OZwi8Z
rNQEhnQrke/96OpDdPxP/J6UBgd+QjIC8vmRbd6bHMwbze9gVN6vjNilpnVikmoLjlv9qYTt4oh8
l0zgqgCCx8vNuvRxJyB5Yd+XIm8rGLHp8RBJ24DUmrdXLaE+d6JRzLQgZFCQa+KevU5uQh/y0X1s
m7Rldzm8m4CIuaoernhJWo73gSjkB4BiOPLGANpvJ09+u/z1pV52Yt5M/RTwwYgd8E7si+cJ6YTe
tyhWpnyyuNGaqutq4QpeedlGPPNgYhwj731b93hwQ+YHXRlIC7VwBawxzsXhpER1nIEQfsHkT4q7
ZPRo+NAji+zL5aZaGFDJOSK+2dBQCz6SqDNx9LmaP4CJy39AEAfy0uXPL9XBiTNBJ2qJXLLqaCUP
W8jzh+E/+PMoQKKEtxZrlupwLvxNHQC6KJkCFe/Ii1x2myRpARYSYhxfLldi6fvnv7/5PmSxAMSG
jTpi1wS9rWiq8AVJa2v5BUtt5ASMoDF484/G+mhT/OdWB7Y2Oz1CL3uPki3bX1cLZ1L4M5B3pZrU
EV6vnQcmCdJzjp2IydqaslAPV0pqPdpPdJbmaExkhmNe1xEzOzH58dlAFk0n9cqoWugQV0dqQCsp
OgCwDnhAL391MNd7nhiZHi831FI9nClhIFzpPFYERwlTyhfBYn2+uIyrJxoGM70ukLvaSp2nfdoq
PzkQfxY/wUfMNFAmdThf+X1nzALM53Gk0Jkj7CKaO1UwuEqwiRfXadF9V0LJmlEPDImWB94hJ28b
hl2V3/IiS7Lrhmvs/zvpPL/EBWLeDEfRZdDFWK78/iYf4Rx65SByFjswSIqQyzQ54NqkPMVwIPsR
w9HuqisBP3Zm2wBqZskiBhcsbTKLM0mGLNeo0N2wuzxKF+aAK8v0FHiqZPbQPvB5A/jAjuorAQnp
Ou2A7wozUxnREOCgEd5zNf0lqmyAoZwa//iAKb9ersLCRHOFmQWEPWAogG9Wt6p5KbDR/kJJXzzC
OGdNZLzUSs76U8JCyZZjPh0DoQgAy7M2Nfyh+PDxchWWvn+u2pulobRsNGM9z0ftU7jOIKu2g4MP
ydTKIF1qonO5b76PzG5lYSUVH+qqMOw+zniQ1zvg4Lvhrm4KC0ub6yriLELYFZczhRE1eK5F/QiV
EgDRBEiftYosNZQznZHzim1819sjEu+nhziV8SNcx7i88uc7kxkot6CGFao9jqS2xZbBbxyEfi/L
D9c1jzOdAwOqCtEFO3YV9T8WGQFLtoklRLpXff//9IwcYj/wyIIjj2qAvQP4CZFNIjOY61wuYOGE
6+p7CQ2bAfhT+RFc01o/6EqEXnOjI3iB5ts2HKr2I9G40B9vq7ZqkZ98XbHOWgqhB2WKS0jGkYu2
j+ph3NMcbHFmzLQVZaBfBFiKN5cLW5gsoTPZwzmA8qw07Eg73A1sYAUOcg78AZ5qpvIVdclSGc6E
x26mLQt4Ch4Bhpf0BlhKUmx9U3b2c5nmwONdrsrCdAmdeQ8OS9/Ck2s+Gk8EBdhbhQebCC+sr0vG
8l25IAFKDPxgTY55N1beJgPmATdnYhBid10N/H8jVwqtQklIFxwr0I+qIyQrEsX4tGjurivAmfJB
QGIl4pIcG2jL1YZ0kn7W8EldE1Seb5jeuRNyxXq8K2ChUxH/iRvbg2gtAbiEFzPw8xkMW6PGB912
i/N4DmrCYMsif5wSr1xNJFgYaMy5VoN1iu2aqA2OBrCF1zwpaLFJxpwB+9LB6uJyGy4V4tyuRXFR
/EXUHEWYNY9BrCHfI3WgbjrIBn9fV4YTAmRnQRDsTPMIm/Q4+hRI3HHBnBnom+YwjXksrrvphKvR
vyOOwniiY/EcHftEyWzPs0h6uyJFbtvliizMSVfwB/fk1G86L3iarWibx3yypToqH9fdK/FrQUEB
A6N/a6AnmRTBLPgR+R+9JlsRD9L72rBI4ekKOP+53k8qauxNbZPC3icehzIWz5iVqNQOZy7Wr9x7
L40LZzcAtb4YLIHttIkAz9omOeDqt0GdFskNKYKqum4Ku0q9qolbXgqQSAOZAq9pozZ6hoa0/nJd
hzkRIlOqrPJIBMdxDoBXpqNsNKgrbfN6+ftLreRsChB1fN6B1XukJbD7yAiBtkWCw3g7m0msvSUv
jDpXhtfD5RJaa5Yc5znsxLGxPfw7jajyp8uVWPq+EwLyqk/aqNXY2RhbfoLnJoeJGiBAVx6zAmf6
pxIHH/B14yM0GMLA+wxokj3e2rNod10FnGk/2h4qo5bET5nXwJbNlEkGn5DexCvTfqGXg/Pf32zB
4SYSGalL/oQUzubFZyQnW+p7gL+SDKKIlUh8bo53VhtXeD6SKAGLhfKnqq8jCmnFBBOUCnSYXQrz
qP5mrAM4EzXpr+sazZngfg7/z7niEJ9rpLIgcz2v6MEaPLbsLxew1GrO8m/GMUu7qk6OHmxHDgCr
0v9MF/QgEoI0Fq002rmL32s0Z4LXJuxhfM/4UwD+E8CluDEDbtZgT6nJLZmr6brXksCZ6FoBShM0
I1BsSLolm7SRoXdLAJUvVsbwQu+70sLMS3Nwfaf8aR4aIExKBuR2t22R5Td+Q85ApgOg06FdAABE
zVl15f21KzfEa4jC/jIHVRUuHdWugvbsYTAA4q8cOhZiy9/ntjdTJ6m8s98hjPDqucm6WxPP4fAD
O088aV0eZQsDwJUcDtQEBeAz/TdoGRUMKv2XCoikP3NaBoccVMW12bkwml1tYRDhLo32ZD5CxQWq
v00ne0v5HCMzn8T+y3WVObfim9ZKxxrgUsVhHpfSTIudyJhuHxLs//HgOQ1hk+wFLL67laewpc5x
QgAyb/UM4lf4TJo5PpFSzQauTkNTrkzOpTZzIoCUk4y8hqXHBvZSMO9hXvIz76YC0GzByrWeWRoB
TgjI4DAHZsFYnYB8BC4dBKvywwg/Wn0s4NvWANYJTfbl/llqMCcKUIFEXdvT8lTWmJwM2Y0nsOv0
t6u+7srtmMTdL5k8sKxBWoNRc2LBfw6iEnDBywUstJQrsUvaPlSii9hzIScVwqmkiZBtGEIQ6YM1
DH+Csa773XVlOYv+WdYtS4g+nmRj40+pAEDprgEIs3tJQ6Z9mIiWqezXTmpLNTv//c3E8SueUjoH
4TN8GfPP2RgVd2HAukORF/kulz2/7uz/NzXmTTkVx3sr3pbCP6PGA++XpgzSJth4aaKjb2yoWHed
KgRwq38rBJ5RVyXzSI56hHhxU4FOOSF5KIZJTswMbBMv99L5KPnO8kmdCDC2miJHcYr/4Emc38pZ
pXtYMzRsY0fWvXKvijcEuR/fO3iE7RtwTlYu0xYiw1/JwJt2HAYKRkHXw6ATYx1uq5MY9feGeNFw
mgGcWLsh/7tFfq9+TmwQZrS4Lc3Kz34BrQPddAMJ+aOEr8n0GAZhn/6Gbqsu7uBnJ6KdznOawAQo
qcJgV+BmV+xTk0UUZsPWh3l7qsW044gA2W3EdWhu/bGtoug2NNR4EUw7xprc5KECSrmUFt5PjAwU
D5Gc9znypXyT6/HYaEbPeDK8Xt0VqQFNvfDw43ZNNJDuqMoC7ycjaGnTJybD4QzOUl7/SfJmqIsN
WE1Dcd/G8EsvYdjY+8gxgtVns+9lxAX8OGlZ9K+Xx8Z5+///bUddoUTYRxO2b6w6Qm44fjGyeW2t
Z8BiF535lc7xb19M5imf2vTKQeFEV1KNVjVcm4e6kR4yyqD1GUEAJaCjFi+GVtb/fblmC9HCFTzC
Xb7K5GBmuC7EGaj0cJ0KHnM7QLR+K9l8dhWeu9bL157AF5YNV/uYh5O1PSvFSdGRvgiMjy/dVFf/
Xa7N0tedSKt0C7sy5N2eQtwcmx2P0x7OuLoPVjTGS63lxFakW0pk+FbFa2rw6nDokrBSNz2S+sxv
C2sR+wLdUzx8va4y54DxJjDMhY2iCDaPJ5jBy99K2BluEa1Rvy5/ful+hThxlcEjeJJkbE755Bts
3voMaWjI+2YtTltypkF8G/MzeC/jabnNZuHVP+s6YPRRpYG9Ss7ru5rFrLZBU3q6PVVtDtC8MTCl
OYWZp9cOxO9PXZ/4/7ZilMCvcNZJ+wDSr4+z9oD95EsR9BMzGxiWmi664TBYDJ6quK6a7k6QqJ9X
mnhpODohtytxSGZ14MFja8r4Bw+4aDz0IO147Z1qqXJOmKimYqraAjnAQQgrsmBKT7bMqmE7wGtt
M3bw8KyiuHrRMy+u6i/q6ht9+FdHeGON7xiUpr/8cSiivaZAtNxdHpXvNxl1FY5Y6xs7DGF2xAoT
jru67bDlI+0IoOF1BTghAgwZWft5B2PYdLDJI2C+sX0sQAmoV0L3Ug2cGAEyJ+gbNNSnPgyRqL/x
8Zj1kKRe6f+8XIMFMSF1xYSepDPHG0Z1xItRC3tOO/RbODO1/AD63vzs5dzegXJhwk3tBxVMY9sM
cGrdp4+8kaTdBm3bXBfPKXd2TfDZUyo1qX+XZU0J1RdL22bX4Jr75nJll1rTmb66Rp5qDOLPSfZG
qy+4dq6rE03NmG+vK8CZowCFkzGWU3fi/oyHk2aIxpvAR0r0lePNmaImwbZ4UKm9E92kkR1XaVxl
lybPVybk+0sSdVV3RMIbLICH7SliSLqAd2nU3voqZGCYansTB2ItjW2hJ1wBHhyuZ6D4ivYEUAoN
DFyfqj6q4W6b6/7pqr5w5XddiS3ihJhyEg0A1j32fLvGkKuurajLi4y9CoylUo2nNkvxejTycvwN
mFeysjVYah5ntbZekMO83h9gTC7AVx8wjrbJQIe1ifb+8YS6vEhRgvPcFZn/2lad/DjPE+Effehc
Grh9Yrr9rKTg3j1WOysf8UIn2YPFyWL8drlnztHxnQ2wi1JlLXCLGS/sHWBxwi9vUkaTL4kvAH4H
27zHqFA4lnXFpkg54ytT5/2TEY4b/y7dYQriF6YPaOSqq/V3sNwEYOhmLjm58ybsSVd290vlOCGg
DP10VjqgJ9DXguemnMlnEovuuQQf48vl9lsaHU4UKEQNkccs9YnjMV79ggeCkfciA2hsd7mAhTq4
csMmTHuRZHCgCABORu4HUnDu8jKgdMuiqlxZnP1zy78zDFypIW7kmqk03QyGPXDqZhPKFtv4TTsE
5fzd1DnxP+edCrsPRQLY+FfYgNZshGQdp+X2VoZERSduaqKzbW46aj8j8lKhN8R2YxvB614L9hWu
T6mGAWLUG1Xf4E3M78JtlTUjTALqeChgWi4r2ocHkY3ZkOwvt9/CbhjryL+DTY+wrmgKGNH5APn/
l+WKNnYf0nLqj+AT6nFDWVCHACynTB8yv5PdjTxn2Ev4oMLHTq/048JAcaXgkGWBHFIE7Um2yNLE
i3rFW7hCyyuzMakrtYRJClzQyTCdqOwQBpus7X8TK3izGT0fXgeXm3NpOJ6r9+bswmJYqEUwqzyF
Wg9qE4px+FanIYjGFULJdXeQ1JVdCl0XYDyr/ATvjKHAZjGdO9xrwL34us2BK7sElEvGgPG1pxSX
kbBjLttw/qFN0ZuVGbXUTk7osZSovOiIOalKRLh8zCtRTB/gbh1l+0FQf1h5wl4aVk78meqCVO2A
0c2zFEYu8ODwgYDuWv3ncn8vfN/VX7LYU8DgVBT93Uzf7BzKfJPXMOG47vPJv8MpIxkXiSTdKT1b
Kh5kM4zqZHUKF/DLBSz0gyu+zOOUmJbhnqCNKX+JcCncbGAg0X8cdVCsrAELO7Xo/Pc3cwIpefAA
64b8F8xT/GJXjXBbe6zaQIW3ZV829bZHzsfauXqpQue/vymsqeKkx43BdALabSg3LaiuatONQj7j
5rnqV6b5Uref//6mFENbxWZTN/fwOMrpLdZkVIYzWC1d7pal7zuniwiJY2mYDeRU8xbHWs2r6Lf0
8fK/0u1LXeLsMEZ4mkoZZ8OjbfqcfheiLMTO4g/Ja1IUTH7qgePpVu5zFnZwkTPX4bRpi7Tw/VsP
bjAB3rD9/HPlcX0v4zMehyJt5nmWuXic8oQhPOfRzeVWXBoLzuRP+qHSczLa05zH9Ak3EeEM0+h+
uC0GBnvdqwpxNZsawEKWRBnB05NHvpAyD+U28qk5QulWXRmPXd1m2pk8xoGNneZGqwIM+0DznQGM
8srbAZdwOYY50inmLDwNigok24H3XMJXXNL29nIzLWykXVVmPIYwg8jhA4j8vmYfmLIPtoD5cVjh
4SEoS/3u46wb/8/l0hZ6/mzx9nZ+jhGmjSkIRcJAFbxCFZw1m6hX8XPa22Rc6fmFSeqqMyXsRbqz
Bdo9HQP9KWorHW7YHPfxyiRdqoQTBIDC7irJPXOv4FskNqav+61SXvYzjvNuf7mhzgvJOxvb0AkE
cgQ+PBlsd+/14aju1ZRIuP5GML1KPiRTk9sHuO6mZb6F+5Qg3+YhIU22MiQWSH7UBTomEyCLM8j2
t9hmfjGpil+VgMNoL2qgwHy4iv0qBMVzdzNG96XVsJMadVV+tTal0caKIjiQMg6xgSOJvFW+nItd
1AUyWAkfC3HLlX7msE3nfQ3NUpxy3XxkZE4B4+kiMyZ0kwXKtALwSXhk8a1G2qpod0j1KFi/DQJ4
uKyNsoVR4CpAM4W9mFRJfJqHksH3G5dYD0nIcf602mOfLg+DpUKcfUbCpgqvEzE7tgkSkhksn8hQ
Bhski/twvS5JPSRrS+fSLZ4LX2VRaG03s+R+gNvmYHZwqR1gaAVq4cSKXWrBUTp7cWcjuw0Lg8PO
Aw8K2MxvhOp8/ThH0yzgEY8ko4HcQKiQFms+AUut4GxUym4sYuQCD/dRBsJoucXDKIGZJwwwmmjj
9bJNV65klgo6//3N9iGceR4rxKj72GdDBnt3+JMihaT4WYFGe+XC5MpI4drcm3pq9X0cmeS3AeS+
uMkDKr/rWKf+yhxeiIEuD7KK+6anfTTfNww6ok1gsRBWSb0qiFv6vhOfZhUrLyjD+bVUQmKnWCoN
n3AeJ/X+8shfKsDZnEQSduazV473fRDkcBDM0oz5m5yHFYt3l4tY6m1nGwImU4r7q2i8L9SZgzYK
Zv6EaRraTQpv47Uci4WKuArRGKd04QdJ/l/Ql2n/qIuiLuAqHAxrDIaFargs4wiKM2AICvgXF6TF
e5nXT/NwRwjg3t1sTbTyjLBUzHkD8WZuQL3tlwJ0BaSD6Q7u8Dnyj7je5BT8OCABwH4ds5WOWVqA
XDhk3ni9sW1QfUixCSHii6J06Ns7r/M8vov6BKLVfRuMOcfVSzeAKLLNqiR9jWw3kS8z78n4kKp6
6P6DeTEPboQekJ29aUxFWbFNkiQ2D4HMslWpxlLbnP/+pm0AN+SGwMfpmIVTD4/kDic3CtR5ycJw
wI20bdl1maPUVaLOAfyM/MpG90mJBPRtb4BKeBimKFvr56Xx6uxuJBfCC1nrPXmmZ3daaZmDJlNJ
ub9q1gVO5EhM30E+N6VQz7RZ+TRIledPGuyvDo7vGRpqvG6bFjgRJIPZJrTGWt9HdQqJHrVd+ASm
XhFvKpuvYdiWWsuJIaOfKcF5hELiDCbzWaWzZJebQq++qC7sdlzx6TiFcIXkUn+0U5sw8nUIFIRz
2VyqFNaQcJEd7tLMr5uf9Vgm7S2yrdOq3TXgBZTDxjAzZ2pPqixtN5LoyG9vEzL1hbpH00xFvlE4
GXk5HL/hafDVYxWJqo2sJ2i27qdo9JMEmycvyIp7KgrSqJ2eSj4e+hg+ESNCTZb09TajCoYZKtXR
3G9wCe8DPFcrlUQ+eKtySINtwrvBVnhmwqPH3geBLW42YMhnA6y98UAQHgPbhuWHqFMRfqhXVHr8
UXDgNo9+2rbxHrrhHBa3TQqVVb4dRVbU91UXTincQzPCIPqU563SsYy09bYmKRATseeHEeVLJkBM
6m8V8wW89GD73pD+doKwQN8x3xDvyC33pu/gEdTTPS+MeWqSEafTbXwmqP/prZ66dktSLD1/8mFo
7UMUQIEC57mmg3xxExiA3vKNBa1EfO5rmiYYYKyuzX0TFWF+1wzSz++GWFO8QxRplFC7TVMSREcN
Zm/9wYdXnoFZL7IGwggWwrNO1W8An/LIbJG72k94RItgZKHqLQRJrfzuyQjKuW3PGlv2uwjwvMxs
0JeeBDYF+pLfkYFc2WyKaTB5CFuV0uPFpwrPE+maIJr+HX3vnE/+msy9iXi84CEyHxp6L6JRBr/O
KBhIVZlMcJSnKVzmvA1SkWU8beZ8UAFuL1ji7bE/rqcfyNNKcJzQcJzHfqSpWAvnwXKYAbgM8qmA
oZ/FGIp/BAHQBF98sAHZ1y4RSbKBO7sIMKgw9oFJVdgZFBBwIcGAbkRVDPZnq5UKQL8eO+p/QVrA
bI+9Ckv5cyIRkrx3UxDmCq5d2oa22CDrHtL6XUcZ6NMbpeJ4kjs7jEAJbdp2zgpvUxoywJgBeWTy
W1dgt202PA0DXcF3VYzRtA9S2Cakd1LOpgg2lsI0me4SGNXCz2qy7RDBsjuYwWpEdl1Qj/9hFpf2
k2a9JALixMm0451vdKFzOM6kNn8QMKYB0bHCIYKR3ST/Hi89P6PlRz0FA/tTesraHL7F2RDJD6NI
faA6Blx2hP6mbAE8YVsPfY8bnLGKqh5pfZzCBWDLxxz/YNfkYTn9zAIOJ6rDKEVhp21aEqgc0KJ+
M76UWRe1cguwnVJ8l1g4XYiDMUh2SA82ypGPv4MEEhi3/djXGGI3MMYo8jONP0vro7R+Vj5HrSX8
XlJc9cQPoq0tC7YBPGxGf+uHHqbdeXTK6HPTplE13siqHJp7GPq2/WfQnDSmY0bnMNxmvgGyHPn5
LfHhuBMhouPBDbXJ6A3Ng6AA5K2PNSi12hZ44tyXSTXPX2SC87/dRrmI6bjXeCHpYfKD43n2ypC4
N5Jdokej7mcyx42/VbA0Qw6HP9fkNQWZtv7kqzyMn2A4ZhGoVBUBnXBXtT1jw0a33PpfI0Zo9WSN
rau/3tVIMdwCWpknZJ+bHivPzu8oMlBTuFnN5SbTEWF5DkcN7GzSPfX8meGZCfxTDsvnLLQ83yOT
XBQjfgzu+INvVy22rroNx90+qEk/PNU2Mv0Wdqyi34iSmz+2H8aVF/+FNdBF73I8Y+MKd6ZPqVCj
3fWtHhCr/sfZle3IyWvdJ0IyxgPcAlU9j0kn6dygpDsBjAFjMGCe/l+Vq5z6v+qScnOkE31qyuBh
e+01NNO5PLAT1dWxDiJp4YdWQuP5CHhU4tNY8kLLMrj1pT9HjDqBgh1LIaAfoCTZZvEYtJF41NgB
c0Fa9zLoju2LmLfvCUILz7yvU+M5us5ufuoQzpw0N1DsMbtv+0oG4Lf5OPxZJ5gaZ2CSU485/Ptf
WzRdF0RY8YZAs1R2n0Nhx/Uy0JKFSyo52/Tbx1PsBFJ17Ik8b6BQQpQin9jUuOmziZRwOx+rGace
zl4F2/utTVi8t0boxu5MCc6G3X388FNjPCpWBxeWfahI+ZSwZerr+y0KqG/TWsyH6a0mQaozb/PE
JP/Tgf7rba6Rt8R3m3+aEqnoVaRh77GlM+JAxnOMilODOaolE7TaQjou/BHsAjIil0eTHevp+MXq
+h/7e8c6hoUtfSvHmT/ORVLH7xFDtnyYAoAPmt3agDt1TmNwYjDHegYfuiJeJdNPOMoDtq+biGow
OiElvWrh43ymjXhi3f5J//jrqzSraWczSIomgi6AlUr5DgYKexHVwPYbSlW8Rro2Z6yHTkFkx87B
Hdr8wPkr8pDEMriOKfyGsDERKHA3/lokvZozgJBtn9uRmyab+tDAm7JvH2Bxa765EdvvmT3k1MAP
r/2vgc9g/5OyH6JH3w3h9zoi9R6khXYHA0P96PuZXnODo/njVXZi7h8LHhyOao3awX8tdbjGKYWN
Z4PjvBS/P/77p+bK0SrWSHlsgqjong5C/c8BAGcwVMtuEZmjlAz/pA8J/3zUv15ZgdyBSGnhHkWL
W0sOHkD40wdurna1hcvTmeaDwAf4j8I4PLp14kCfOawn5kcBAXmcLb6bryrv+csaGzRUlKz+TfAe
/iGO/DUe2Yq1lCtdv5I1YA7EWj0N+QEc+DfXb2TAH82xYo0sbBS2x15Wssq7pPGQVVDcTM68qxPz
6pBz//ckVo3UY5fM0eNgN7nkCi9vunC04edS7k5MrGM/YGANPIh4Rx4ZuEhfRoW1m44Fcy+QutLv
H0/eE+ffMWtdttRoFzb+USei/o36dAY2JmcQ0ED/uK1gX/kVFJfk3kUDvfz4kaf2oWOSOluWeSCN
VI91zcX6A7lpfipTZPcuvExBIQShaZdwRPdcRcsMgDaFNbByL14SNd4wHMBMZ1URFPwTSjf78vGv
OvU1j4CdWagVpN8+fAwsrt0hKBJRltAW6PPHf//EyiLHK6suIoOSzz8WsAZ7KuehSZAa5GBI3w5z
8IAgSSBIHz/q1FCOTmLgKEG9eNU+DgBWoyxggP8Bh3h+jt313xOTHLPWx66w9daM7JErLhN0VWqg
Bh1RrtuxSjB98S/jIMfkdViQrXrcOHl0yo2fIaESr5DJ/hvARo5teUWRmBbpsN1TD/7IfEAukgnu
Cknkljs4Y8qK5x8P48/m+f83VXLsh0umZtw87PIetwKSpmQHclxFYYx0qHF/QZndgvOnI6ZDnZto
QD/wEl68a632sy8DRHQIMCeBmEQhmulnpkh46hMe/v3v7beCNaNXtbpHiNhaNbem88DBV8WbOZ9n
aM7kDsFrVi5pXZOYXpUjOkv+BuXqUsNLWrdmfhiWXhu6q+cGZX/KXOOQgYo+XCParEYWS39uQp/6
sYeJ/tePReZqPPO1H76OUR+VCHQtzdcoEPzNB6U5U5KcesbRKZ4oYcZYjOWdMbBeKVMTRjb6wQPE
PCG9ZA3pmSrsvxcnwmL/dyzLJlvG6Vbfr9wz3Je5L+kFdyUk8h9Pt//eaMixz24YR7alzhXPpEcf
9AryS8JlClQzGHXuunUCv69L0ME5QyY79byj3Ya6oOgHgJB3M22GXu2oXfgis9Z2yODNSm69/U6r
BkyAM3P3xJc6ZmGMCpDl1JL2p0+aBhRIyKdG/7PpsY4eR96I7syX+u+jkRxLAYai1LPqN3un46rS
v0nCVxLmaouEfYg5imGeVnED1AnOfzVVd3pMhuBMu+rELDlWB9AVdN0eyUbPJJnj75TU/geJ+uDb
x1PkxBs8FgYAowXQmPTbs4MO/FrrRk6plGF/hZuaO6cEOTEvjgUCiM4t2DhV5LllA3squr7/JCpv
dlXoqr0fvXj8eDCnPtNhkH9tDmCCj0jY3ggQyKj23RvbYqk/xWAe8Nc6nvx0T9s51kmGmzYT3xkz
PjpzfzsRdUCOVQThFMQtlAPzHazBQv0tmF2kn8zcRiA7dTDfX74Djh0nnrpqkFxnxRy3MRL7ZhWj
FYn/GIbk6aASz00GbXQn90NUN8WUulYH0R52M/XislCj9sMR0U5C/VRd7+NtV5c1VOlfEy2AR5zZ
OU6QtmHB9L+vciytHEprYKSy1PyHRRcTbQ73eYIewTF77YbgCaTyMhfD/GyL4NPHH/DEbDx2iwsi
GIsOYkMJCA0lm9GMrVT3sETLAm+XLhrPxfOeWlNHOzxCV60Q24BMbSiHmv4aOs06+Byznusz8+HU
lD/a25GZOMuh081XA8nlz8Fp/gTAdLTQcQVJnEFyEsjdxy/t1GCOyklycAefpy16rqYlRu55VfDf
vIqY23/89098lPhoV0eam130VHWfPHHFS7yp5rewdvlUIZ/jXBFy4hnHIou2wJWsKlf2bOoawC6o
QsNzX670KWzAGfqncRxLLKBw4T3gSvOJJMMW5rOzfZcaXbEFvmDz/G+5meRY7uCdAZOy6qPnzrXb
FZIIx6+ID0kuw9iEO7M49W/nwrGegVnJtxFN9E+KBWjIjbSoTDoXQp85zP8YT/1HrXqsZ4Az6NgZ
ytqvFKd5cQNtV48b4QIBTDVkIeKOyhylWGuavPUxITflGgiTQhLchXUOOIuxC6A5LFTI6UAQTJRN
wRpXr8kyVo3IZosy5HVTIxzPM/BoS/e5doeYwH2BjG/5jkWvV55XhDjK0FtMqsml9hA/bVM3g1fB
07Wbk+hX4SGvuJcwY+H3hs5TsWWKLWgdZ95GZI7zjkBhVX03a0GtyeYa6tEpxZ/lw7AXgSjQsvx4
gv03lIXw4f/dM+mohxbwD/sJ4TBp7hHFUW1VBhLfVKi82Eo7TGndrmOs8hbyne3creLEc+XRXg3l
qYidraJnEi7T6zIMPve6Km5VvIiHuOnLXdG254DKE7vNsTLE+YjQGkEbz1W9rM9jspI4a40oz/lx
n9g4j4UharG2mqomeUa3aVvTICbhIx0Zan3f02VfjUn3/vHnOjWSo31TCN9Dhe2b16UP6ylfBtBU
f/OakO0fH3C0cQ5jIdygtuI5WuEclA4EKdUpDFb9GcDm1CF9rA1BNnkCT+iFvyR1z2V8AdUGCoLU
yLaO9gogsqsuk5A1Go38ZoUE74l5jeVysbraFSSjwUCX4AyWc2ILPzbyhjitI4UNgmc4mNFvHUdD
4yqK4LbxILa1P1OI/2nG/MemdCwncX1YmEoP0ZeOiYGSR/Sg2ont0PLiNno0cHih0zWk7TA0lW7q
DwINU1o33UjaTa/o6MRmzegwoE2b+231UiOwyHNlbpHiXHfmk9QtqWzmCscCfwHXUumvOfR/tssS
IbflngiQosoUkUpi+QrGBh3zYo4G71I5uiWAg+bH0/O/6TLkmJEPGhyhHJvHt07gN2R6tvNqs3oE
/eGZJUhkCa8YafuN5eU4+fgTtli22cslRvn09PFPODXBjkn7VdBy3iCR4gf4atPblnB70VUB01AG
xMF3ElTd7wR7HLRnZehvoH0qeTpOyVm85MQSPeb0g2stbTMGFq+76kT/jQeiai6lS9y/0Uuh/vrf
Pdt3Ub8ifEs+67GCMZnE8TGn2zyfczg9sZ2Jw2r560qSxKUEATARL7aAiotk3dSY/tpKjZDQHBFZ
aCCBq9KcS4s/cRSIw4v863EuHumqQZd9thUI3X3VAaGxNoofOuSr3UEJF4xp5A07sxxPfB9xVEd7
GIyodZb8mTHECe/jkMcMpBa4rmcfz8BTDzg6UsOgJD2UNPwZdGZt8jUmoCHK1o6f/+3vH50B4N1o
Jf3Cn21Ts/eoh+1MFpaLm88s4lOf/+gIiCyB270v7GuHPQN8FkFlCRLWgbUDsYEBr9nsQw/J8s+P
x3NyxR61OmyHBLnes/IVEHYQN6ncEtW9AJpg8ssGl39/PevIxOqJlu1ioOmMFwQjmWma5C2M22Ro
nj/+JSe+3LH0AppIoZYCbLM0hNVNdyMa2iZffEgi+/rxE07M9WP1BF+KMlnD3rwta1OLr3S2TF2D
MxxA1xs3ugT9ilS1ia61bEAi/rdbxLFagrRbT0GGXd4SsiX9nd/qbfnV+LLO0YdAR+LMxD8xcdgB
4vhrIZdiSZDJTPwbnAbnZtcYfKZfDqFPJElJgNPrBp5wABTyj9/lqccd3vFfj0O3ZUPAihdvJR9a
dQGNWRmEKWlZKR8EQGp5q0F92t7+7WmHX/HX00Asq8Zw3aY3AJ9k+FzPW8PKPKAAbQ6uLitcPeBB
niDK6cwyPDFVji21K+1byBCtfR9lxIIqq9q6PXDNFugG1Q5+YAv1sD9om+YHLcKAnVPVnXruYXH8
NdAEcREhr33y1kVFMw8XXQcHtecJAWHxetk2nSuTbC4x+oNSf12j4h/He7QvF5Pfqm2zYFDC0iEZ
97brI/BloUQI+W4OMYvgHdAMU/O+Evzbxcef9dRo6f+OdhU13H6cLd8NFEtrkCMbo5b3LKhDhAIt
UXwQYuGFj+0eKhiuzgn7TxSe7GgPpyAzCFJv0ZvSaJ1dzbBJLBvIMMdtztcA3cVzxu+nHnS0mXsW
ocIjEMrCoA7oNkPKEdvbGty5tLPcnxMynkAxj3UWEF9DLrLV+n0TIwU3eWo7iYY4TUC+T/YliaB1
vh2KutF3EZUMtKSDsMkHLx9/xRNbwbEKQ09zsQBTt7+aJBDJJwTouVqkMYk5eUFbe8axpdpExWem
6olz4ti3W46xmWS81u9qLacuZXIF0wnZB0gA/3g8J77asQQjrtqARYAO32TtbbnnSUSndOTVRPfN
FAf1mXGcem2Hx/+11Jux1WsI04436EfqHkykkPH+qkRJIb41LbgMF7WcYIR75nGnXtvRzoLTvYTp
R9f82mqQaO8SXoUIBemkZuaca/OpF3e0iSTKBh1Vpf4lSvThvzZLsFVpk1TO3QkzTMXu4+9zYtc4
llE0ahzm2Sj93iZRFxOYHsdIXc0IQejGkvsu1t9ZrwnSSSwor+ekl6eeerRpEM1aCHjl/K5mi2CD
VHQ41ZObOfSBCvY14hvZAFLcOJXBHhmYYfjt49Ge+m5He4hdQotmiNC/UKQty5PtRT9Cg2/ac1v/
qQrwWGYxrx6U3HEo3uKks5W+6IuihqgxRMejyeGnwkZ+V4pylpBHKDA2vw5yI9Mt7u6c8JxVQSHn
M0vvxGCP+a6lp11S1GPzfqgE20dGGpikpYUSU/n4T6/zmO4ahDbwtJXTuzTSu4tqIXTBXTnStiRn
VtopyOHY/Btog5L9gijbVFYNCbaDneMgyN1U+bL5traUcn5XJ1Gi1ntItnDkIftTqmsmnXDBzg4g
3fs9Qs3UZOGqeqg2dtWKS02Vzhpiqy/QCrRsShcIP2SZA5100KIaMY3hzsZl2bl0MyhV1qxafKjB
4ugnp0SeQAkxXPQJdswzgNKfIf0HunLsPx7CfmXgzYjkz6ZkunnzcoPw5mbmo0keQjj4R8EummJ4
b11TibyIq8iUIpgQsy5kP+eyRKeyTNu16/lDj1AeZW8RPwiHlEsNNHdTvxUQ2XnKt6ZuujFFURZs
z0s/WYPoQ9JbKy+gcd/WJ6HjzvWPpkzK1V8kLii1y2yD//+1Qab0IL5xPko+nNmDTmzex9TfhQUc
H7EzUFIUJVrK0P7gdEdAhYd+1uzYYJImzFQV95s5UyydOOXp0e46IqBoqiKHWQWqdEf0BRumRQJk
WtFAb3fIMkLR5Dj34h7xBuP0oFdFk3Nazj/s1f/60vR/jyso4DtUnKO/gzmwq7+N00F09boRpDna
TwFtG7YfOLoL8mlgSiS0Tse6N8OFRJq7hAyAzh1b7xbA80V1DfER4uky8KbXsc5XXhVCzmkrYVXl
Mh0QK/tbsGm4bR5l4BfVnnOWPtV1PVbvzI4l/eG9lWkMr7Rl+VLjYlEVebxFvn5tGeIn4hQy0gG/
C1LfVm/3vSdQkVzBBt925X7su63rLs0yj/X2HMEOIaxvS2kSMuYj+Gd1dWlHMrU/QVCjLMw7xhFl
fw+hBYPNSAq/53LtvowQp/H5zGSk7OSWc3RKAJjuA2zezqQlRF60aRBwnym0kjRdPkXQIxkMyxMz
NDKn6InU1KRq29BNuWBhB3u6CwRazz1JDV/YeiFrPtsgZ4mR3KgUkUjcqx1IkdESXh2UYPOS1TAW
YjafiQvnMO17VVZ9VtS91TuI9OvlRidRC4JDPcR8vVRVCWJ0NrIE5XcGZMN5u/fLtLqfLA63AfK6
oi9qkkoX88KmE2zNHABn7eNRZsDEQhZe6YknBI7XwYEL4OrGjU+hEFyG15UNqzlKl5ZPfMnwEeKp
SqcOxefF3PKxeGVS0JJlSxIu9HXF1Q6SRc7dXOxKqE5Wn0MpA6TQtE2MTACx9dpibUN119aXUYe5
0aYjsvU88i4S4leIpYJVxeqyXDZdZiSOVPJ7rcaFbPtotbLZt3JRdtcHcM0z2diKSLa7CDPdg67s
al5Avp9UlRr3HBai68NQhfA2u2tjO5PhblohePPXguuewd+hBxX4Bkrqrv8+r5DnPED/qgaetlDm
QaDEaOkeNVFxdx0Fq4xxMvTQv4VXFB7dwdMqZoSP5XhAF4apD+Ws/ZNetsmEV2gz+PjNkwJ7S1bP
wVR+YUD+QF8M9Ayb737EMRIhWKQu/VfaVggzznuY/5lP4KvE5VXEJbgSl6OC1r5I163yHNLISS0/
Cg+5g0qjXuC4wdtFlD3LmjWMq7ugpOjdQogkpH+EvquBs3XZgj4aZgtgGHkLpZXTNy6B39cX+AW0
tc64JlN9ySqiIIOKWeE5S6e1czH8zbtBvmiBFvBtP07OiD3SicNhN+GO17dZBDucNV+mJCybDIfy
iL/ThyBnFvnsCzhZQH3VLFPWJ40RQZroCMKpDdYiTQugfHF0voKGqtkgpqpop1Iw20m8a3rm6E82
6kJfBtLU5XcF2WfyuRjUgSXMGuTvPcBTD9HxQRKBIJMK1cdobcRj3zyzNmnnhyLEl32OuVnlD2wK
C8zaSzj3FW8zLIQLu9+mGbRPeEXB0QuCUsdwoDZpNFUxf1oHXxN/gTOyZkBsV287dTG2IxBcnEWj
2OIrRVwi2U1SVIH64Vrvu/VyTfqmHa7QdUhIPqPNrBk0pzyAX21l4cJZbnwsx7e25gNMquJqqOc9
Cg9QNvNW6i1IK4CAm0lbt8B6HdLP0cSQ3NKgru/WiRqS7KLwj9itDaUhIh/cFoMBAkKftnuNrEX1
tMAqk0S5juYghqsgfJ9Dm84T8rC+JMgSQPK9aLHspz2HoyFaBfpgbQXLQt+isEHsONoLKcg5sL3P
ceOMzd5TVBVdtsiiXvbYLqDlzdDMGtcgFVvTeYB72LLkblxUBz/QetmS7W7SPenvx4Z2mKVxUiz2
c8M0K+Bmj5tZ+cjaFTmUpgbcaXOiGKvjVHjod++NKtGnS1voE6lCdC5h/iUYixkN5qIcnb8waxk1
nyY7AUxBegWHV00TeNe9MHjZ+L2I1sXtlMPuSbM5cHU5ZXKFcfPn0I8agFaHfJopVRMWsdlThxSM
d1ktTVnhB0TSYXM0EvkYQ9YKs0a/y4m4Yc5KPVCZThPgMIce1sKh9TXoWY+5oRWDxRSgdyi5rku8
pjjbwhiCysnDF/JV8BKO6WkXLW4YMhWtenuEuaiRIvPQa6G6p1KF9ropGAwH0rakaE1k4TBG5BJG
3gE0SBVlwwNHHoGGZF7Tsns3KxDBiwRBfnCHGoRxyqYFgfHuM1ZoYbe0q7yY0K9fYN3+Fd16Le8X
qC/NlYKt6AxZsQw5+Taiv1o/UdUGkoOt17EuLzsZ2KekhgoXLvy9wyTzNTeYrpsfmjdtYAbxAhu3
pi8g70H05btAMiZs8/t4oN0PBd/Iathjf4Unt9Am6i7hLUXDnNS6lS+DLbjfc4Lkib2dqr4DBl8A
0wA2XFtbJzu046fqEgddyO4b2cs6vggiUsTfN0CFLVS5VpPgx0Sh9yEXYulj1R1uUbIqUjhiEFLh
0+MA3SfTQMO3cYtHmA2WM5iJKTYshA4W8PN0W1p49GEu23iG5/wNnyrR3DWI142+zp6jwbeDyAif
Cjp3NkCICVBuKeF2InG5vxGBjfyNcaihv+Kjuv5XDxYgzuXYt8NdZMxSQ7IJcu4XE1Rz4Xc9BEvL
1daLxOi8pFMzXeDWYUOSEhngZAOluOTfamHK5XZGo5E9KdWz5BPK3MjoNIJ7S4XWARMRhB7Y1cEv
Std5mJchNZFrqpug73l3SXospk/ApGv/Mk1jMyIRAOZUjc3BQwDGmXIxVUplNdBrTnNOY4uQnHZB
PPgujLF2R8xvJXWZBjPdJFzHYHd6tbk2iHZyHP34UparghPyAi/sg3yVT6x8wRlK7T36gNh4Unxc
eJVeF93Gl3DPCkHFxQArYn699X0fyBwkcf20GYJhdfAJHFNauRmFSAE11ZcOAt5mREEAr1QAD5vv
eLSbeBvUJsURAfpyPjNvK7nvHfy+k5uAH8zBu0k7TNa20VstoZCSYfde08JNX3CyTLXehYe/ftNv
Yat+BqXShUpV1LaD3ncNnVx9sTWmxdqkUR/KZF9vJJLPW2MjvArQ7XTzu+wherr2zAGFDxC4MEGH
qhNYiORt6xr6GmJaY74zO1p3M4WDRXTbqnE67+SA8/59rbeAgX4YH4yslE44vwqHOUniXLToee46
oIjJDex7avZZDzwYfnnJnbqcFLo0Yt9OgWIvCR/dcLGsyZCkVKPHcevwWbq9wD49vg6GD+XjvDk4
7aWyVPDvAvFfML+kqLp7e4dU9Xi8wWr7vYw24I9FCEuHYb8x3qif3Rj6W3j1+uVSLDYsd/1kSno3
wnrL70KOzvJNjZQ4AxZPEbX9lHvnR7dv4X4QmqcCqwgTwuEbm/uEwQtru5wKPvoujZArGsKMQfpA
Q9RWQEX/fKAhwU8GV1Q2vrZhqYZv1sXhOO/iKvS6SBEw3/U6i6q2CN/pvLah2MEvEFnM6dB5UBsy
svi5FAhKCiCi3gFvjnrgruGYAGNfqex/mQbbkLhQqlGNv4G77DabjDYBcld2LZuhiLxDmpv25UWX
rKy801XFUWwYnGHzliLuTW3DRRiO1UovbWjnYHhgLvZiyCFj702XKrMG/kvjoUn+gX4FrHJyB6Wt
XLLFejCvdu1YKDAnXbiSpcIyw/aM22XJeKdMxghCMHGc4n+jX2BLMOWulyRm2+26BZJ83thkFWDe
SNHxWSEFZlqeVYhzuco4iKrJeBlURUi+VOs2OOS4odjQOzc0SxReFWOThP2ujnuKzAI4YrTBtl/A
vlrfFwJBT5/BinPV0yf0BsJyumQ4d1UBsw3fk+1xwt1MsKt40pqb52RgcN7fQ+zTzhb1exSSaxco
8FTSAMyMMb5Erk4PWy4oNDBda+XXfB7BlJ2zrSSdQ602V5wVuxaj1l+rjdroe7j20xSlbOj78LLq
BSVL6iDmXDyYUZMNZZps9bC+9KprKbmGtXvX1vuJiS6KEJmD+w9EY6aaJ50uyvOozJybWSJ2sUD2
q8km6WOOsFwzTxDa5yxuI2QPgn5FYhiHLxsydlI+duhC5QtpuxkGAEk3Rn7fgrsXdOlWgLVSXjng
H10qW7O0SOpQkYrGfPK+LrdsOdBIc+SZrZ250AWKNpo2BT8Yt6Ja02N5CyQR9OIHmFA4++rVBuEG
dmvwuS1GDlkGqBk3HnfX5bIAnCq+lxH8Xu9jCskRh00F0XGS4vYLE9tvuEY6Xn3G9kZRGxLr5PyE
oGiECeV9L9mkH2qsW4FLlqY6kFf9COBKgIMjCXevKpnnYh9Y4HFfVrh/sGtweJPlSUhN1l08lKj8
04qxUAJLKjdjBpR/AuZsFxwnTvHdiHADNrmCzoigIxitw2cMdhpolW2fEuvMLPICLiK6uexH14Yw
0QhRbdSQHqmA/hwmLcq3ABW0+IH+WhOQDGUJsrpB+cRHhhP2OlePcPeo+OVqqE5ecGvGTElVwZfh
fhj5wD6jkmmTC4weW1DWM0xh7NVltfL+kAISLNciKMMldzCAVPlkkslHv0ZEg6K4r5uqmvbR1g/0
kbuqL+N76C3wmW/MTM1on+3Kwp6mg9DwNMjKcR5oeweX3BF+UCSMhzojzvxhUCaADfu7De2R4Ldx
xPsdDxZLciY2Og6phfvIRi6WuZj7pxY7kcMqNwKJHjkAShuJDF6HTI4ZsBmmcd8EpxYQQFhuD5Ed
Z/d14LLBywcrmS9R5lCNya+oghqQH/AIzfi+COjQXffU1O42hioXwH+3zdXtSGPSranDlJDkskO/
NMR6Mi0E+VsQRTCMXmRthveeJ6u9M2w9mOknCpK3ISXjOhW/tEtWRGfAW3oA19vrSIR3wGOsf8MU
hZEPvElinFzCFx0y6mC5M+gdHWI4QGSAq/rY54bw1l5LbGHztCsbghIWvf5qRWhKK7q+gv2ERF/w
0oQbKMsZiDab+VkaL8c97bZhvgf0sAD4j8YY1TcuQiiPMkFsOK63dqmUrzOcHWXLHxSJlm74vFCA
EWHmR0SZNg8450sksqP67kW3c2HIJblG7m8XuH1I4dDD0yaekU0YpHPvNyBHOqnmKkk9hwJhzFbR
Oo/bJ7ruUX0B4nYVJbtgg1inyR2FxBIVtUVYRnTpLKIFVYYxAa+Bc07P/XsSTmBMvyBbPTCSISyr
YBF9wKZUFuouodXK+rRUuPfcBJgEFKzDam1h5dFP3oQ032i7yk89UUCRaxiUB+8bcTE2MkehgNvN
qo22zz08XQRAALpglabcEbbqbLX9nNxDqRQUaOm2A1tuQJaRy2tgw+0LB+ek3QUljk74JqGKdBfg
q4EK7aGBdkAFxhiUe+AWCXkdKBQmr5x4cbh3BnW3ZM0kIhjaln7auuF26AtlnoG48+lqnqSwX6gM
kFv5OKJinF5DRcFkyXXRjZvJY4ktaNfBTrHVFzWdNkDTLjBwLdocxGobxPMC4sfcGg7OUtaHE66x
C+40ZM2R3bx10TVyV5GyN48S7nBZXQtHLztHC3a1ItNluC7BLKS4stlJTc3F5As56GsNym8/PAof
zPJTrWIYbVg0U1A8z04Wwyt3/cp8ivZRKFnGsWmO93HTrrPL4whLcR+QgfufUTfgKM36KZxKXFuV
cSxfGTK31ny02POA4ymyFqg84yWY9xKuccC7DA28/xVLzDqabXaBY1sGiFEc6mkQY1p5uZkQvlbp
tqGN/LPC/V14zMaQyDCPwiDecMGwBaSEVzwpWVfs5nnRfYfLABbNBEC+K7BuKewoSrLzgi3iqpBy
gv2B2SxS4cD1VrJrLxGDEFU8XVZVmVdSGYmdCKvN8p8L3AW0PwTmAi5cU0iIaXs7UaqC8rsLk75T
V2XbDHr7sagi3P6Ps/NakhvJ0vSrjPW99wBwyLHpvgBCppYkkzcwiiQ0HMLhEE+/X/T07rK4VV1r
bVY3rMyMyIwIwM/5ZfMhUj4+z5NVdJk0ScR5wJ3OD5pe6gP5xDLKjzA7IdU7xFVklBeYcnZitnFx
T+7WWNvHPvPM+KHIGrmOiarrOlC7aA1a92oN53lFjuA73hfhVKlhNpKmu266ojWfQq6T7bisuaWa
mEzQ2tn4OaQS+yqr82HcsbFMy3MkKRh9A4c1DRVQthsO1HTOtZn2wjSbe+vD9yp1cMKAzNE4bcnm
S1gK+rJPiCwJ9Se5NL4mHWtWvXoqQpHW72ParONbSF5Q9UJOtlNQrKbKcYxD35TbSw7+HJFMmaG1
/4B7Tk1N3KFWzneoLODu4l54l1rddkCletaR41btlRGc1ON+ZU6OvIOwQ73pQ+bx6PZR5RupkDRx
Lplr1699Z2h8PnHfdUp5pHmytJf9aMpJuS9kBKEn3Q8LKpKvWJO4IR8sbuvBq8OcK6tk27SsrnvL
w5904Jizix+qXmT2mDJKLsngyZoyi0hFzWNWZ46rk7YIbOfLuliDiaO+yEq0PhMJ7izmVTVKmrXZ
lHkw02NE5T1a8841t9IQfffZDS9iQPYDJ5Q3reH782NfTbN3zNxp6YKLda2MpmMQdcU8AnSvUXnZ
YA03euPyJoDWcv6YdX/5uEV3vZUW9ZVb2BosSrVkV3V7h0iM5nUaDYvBbmEbSjeiv1gKAPjssHmh
Zc8Wt51ilG32m/a67DZTUyE8mA72reiweXbLmx6aqpuOc8aoEuxnUEGOQHvL+yxh6ssnCeJko6q4
0jqdukPJpjd89DLyWW/SOtRTvZd+DRS2I34pcoJnPhFt+nUmGqrdksoi0bWJw9QHpz+sbkgjecz8
u7p+PDtSZElNq2++m2rWKoTJk19HRyI1Iz6TeTsVKbuTU9T5/RpJLBexcrMtSmg8u/A2fmUjVerm
SYXnTXNYflLjGKGma/J2XW/RE/rsF6JaKu8eE2naniNuZitllh0vDe1oXhqZN47MgDQzb7UHz92P
4bDpOY6Mitordy2B8uOJFL71u93no2iSLSe+ZTttG3CWPgxp2ltzMvmEoSwJTIvX+AewynnQJ/R2
LHLJ2jVT3xxDX9oh6WaQDsuA0W4eWnOUS+RQLi2rcXXTxB+XdivPQ2h6e3vweL1Vuxt0j4PlzQwF
dSQefEdnW92pQKx5gQJWBJFZ9aWSnvuU98TDLkdNBE/VnaNy84fmTPvcqMVDEUS2qZ4KPnaDe52Z
JZ3CMx9/ZwFg9XwvMnQ62WtgykQybUhHxSveqS278Wg0mks3HvD9RVvDa0uxh941vRg2laiFqhTB
fS3zaydZjeNkzp4m3UhXB/K67M7/VHKPFMB3ulIovYDSGxNtV+m8OUIfLfjVKjw6q+MF9Y3pMfKQ
nVjMTe7EM3UvALBAJRRf3mRpuAX57TrObm7vBEHdPoV+zmzp9NPQhutYUOkXdoS6UaCSynI3+abH
PxPkGwPF3sqBeH/UxLGlbpynmV1/Z3vmYxy3jB+kqg5mVGJOfCNKHqPKyJa8t1OhnGlHr1JA36y1
UBJ0bYZubLJjZgZ/vA2GcHLT61Usgxj3TnFBNq5WT1vOMdgkY1SMwTe9DBRzWGfs/IGrMh8kOEMc
n6Qh/SjE9S2kMhKxvJVujc8yCmCZd2G5rto7L0FbTzVC4ibtiVWD7eRahsMbjLmpUttp18QQ58iV
kc22Ab4ZsmFk+0tzYDrqnz1S01/SQXvOk4wIcl7JOMozcQZHKmfKut0m68PbrbRMStFyr6ORKmKs
P0OVdG3bNd/gXyb/o3ZHTNGH0u+Vf69hlbjfBXqeRwRKq2/r8dD7oz/3u2oDFliAzgE1Lt3srdee
u7Ueg4EzqOo9voObBPmpNATwdsYI58fqowdqqbojZ8TGylq4yNCXnYfppXrCQyGlBiQbjPe+iRpb
+87GD8FU715SD7urqhTj9mKpVo/ymIdlOd4I4yp21m2iPDeeEcpM4clIs1hqvxX2XDxHo5qmLwp9
dp2yIpOpl+1dI1qfhHOdj+n6jbx5zotP1tTks3M15oSc27eaNJ4hfWpmyKBt5ZNTOFb1ebDSblAP
jvC1mW+dDCXQ/KAj5tfqHvmKHAHQF4I1g12YQ5XiWF6J7QMJZYczbjLmJaMaN962srabeoSKSx+G
dA7G6b30i2EyhzBDLJXu2UQJOiJarPUftiUru9tVupWXPSmUHQTsRWFelK/cDu3pho0B5CyZllao
jrvn7Ln5szUAPLmviobFWiXS7Sal93PnIO+Mlx5d0bDnGMYoFTcmW9KrvhwG3WwoXR1L9K+h5Sqn
vR6gfiIZ53mGpuKmvWQM5jvpj0LegbexNOzgLwlgvC78PNw+jW0zFK8ZXAEUQ4ZpNqpPBO1XVn41
6xHf3pNgJ+noWwgHJUexb7y0bymAEx4Qemf6rb+ye58/8XYK/EI9b32/FA0g+SjlidQz3bgsCplf
PMipL0oV05ymHHnKnarmlBzaFXyWsELAJSu3vW5+7sXWO2/+ZKb6K7HdqD9joPZieJ1nydm6V1Hp
km2YBJFbLehENHOsYy4dyIzZT0ZqXbef+RSuS/HeVpHbCCKQo2mGzashUcKeAw0ecql6ckn9qd3O
gfDGTe+KkUiz9BEMebCZToW38hHcSLQqR7WewgCV0/ySWrhjxRkNh48gnbO4Xi75FYzNcxftkTxm
WuzGumyrDKa261wIsUBVdGrdU3R62Va7adiW8yKavMjiMTRtHfCLDYRhHuaJCtLowc5srh5rz9SU
FTVWx2KcWxuOb/LLMmDe7FHgJwYui1zUxOUilYS85Tme2vVYbBpWKrmIhqswcVC11w5NWBXNKe8F
wYrT2u0yVN9lf6MQiS4JBTT5po65ouagOkQ8tXB3DmnmaT6zkqJ+8B98KN1UPW1RhybpBLnv+Olr
p6ptfgQ1dTvzkE8B9t6Dq41U42nhauvYybFfB1AqjG5EcqmrbMOVTZ9G008OED5ZRNOhRMXtTk/G
ANAEt4ExW9mfpE+qZPtkA8PQYG+DHc7ht8HilFtfcgF4IO9yJmg3qljaaXoOT4FxRlEeai2sZt3n
DaVx4GMzPqNmZ1lOnikSuo0VvBu0OWOBxZVUSViXoMjxfSJzoOMd/Hneli8pVB6/O6M8E9rMByfC
m9ojQDqP2ow+5ilmLj/um3oOrLu60KsOElTLiIdPXtD42fAacNQNcoerqeJgSWdPyTP0NjFsfDKF
3PpkhCllsS58ENs2AVEMwAHyFhr5Cw1xvsjPhh2JLrUMjUOmTo5Yuq66yudeuf2BVb7ttm+ZrSfY
xGbZ7OJhmyQTVByOgxk0bLff1mB22l+6an72AhBcdCBc9dv9XNq6+mCtUMn41rg24HPJTHZDmajc
rsS8703bq/kzSrFctm/OQJ5btkOcrKoFwJU9jVvM5V/z9rHIFLBxE0tn01Qqeo1dWNQTg+A3KcKz
ApnXUWaErGZ7f/B8JT5nXQpF+dqNc9aGjKyjPyGurgEvmvVcWE2O8kbPHYfLbjBZa30gdgs+bDcb
mJboHp9Ljw0mtgkXrpdvBOv5+MhOoSOG1rmRwIzQDnv8Y447Aa6bFI98lZD/PAzO9zqAPqpeXZId
0FdUoKTZdevpiHJehDUkkharDENq5FJDNC+qBmM560tvT9HYXxlnBk+KB6+I0nhbDaolqKOAw+vW
gsh35BOOrNANTqPLBIdgSFhTRJ5yQ9vTh1KuZZUlQU35eZpgd2PmIXm7YDo9QkNBmJxHP6wcJyGl
NjMvUIR6DXYyGx11aFtUPBXgTzVHN2xYa10nICYEZnIklq1s9xa33fVKczxB9LqrTS5BMvcNJ7GM
Gi/86LWhE/mIQ+zIvmO26YtmZ2+mGZ8tNqyu+FAuVhld56nsIfgKCRtxC41vCW+nGKZYApkmIxIz
nSnsMkRNI8VuwAuhyZeDgcE3T45RWRDGXtkiDIopJhBOmMX15qbWGa0IY+uRYCQhp1jQHGi+BS5j
ndxXgZ3354U5Lu9AC2jXOXE+9Wuz7UdKE/t+3MO1bU2XLEC/4WOVDigs4kznYmmue7iIGr9ihvvN
uqNoyEvNc8razDiQjDRUCvMopdOF0x2fDDPwfA5Ad3eaNwXldsrBlJww6SJBdjgfW8Dne6OBcUkx
nOpxANxwlW+/NMVgEae01bxR6go9iBvUuzb1YedA8xtpwjsxqi67427Q2EImpS4amRM8DpHWfkYT
QUPoTSptyQFOfi6Z/AGIPQSI80hEUhXegDoF5n4rJHfzz5AZF2FDLi3kHcnAUmNlb0UtizBMDEhU
9VwjywkVv11HaN/O33zbjmJu8876WqJd6muk/lifHfQfDPdXZRmG4xendUv5darpu/7e069Rn/3F
Tav6miqBQbhxQTRb5h7qSrjclXKLVNY2toGXimeLyZllmCqkrP4Q+DRz38DDifHMVZmNn/PCeNWH
YeknP4iJSLB1ySUiCnk7g350R+WkFvO8V8w97Skdx8W471pVdnf5NtiiIvwX6esn16asCNRR1qq8
UX1EkHZSI31NT26lu/VmXCZruDJ9LdjIC5tegbeKz6cr9sE0W0sUl1XRueI4Fwuv71zy+yxJi8yQ
WB8B/CD3Qpfl9G6KJevfy2bhg3msXAd2GrVJ2tQHVFIEdSdkYDflK7FnFbNk3anOv+89u2drLtfO
sabdUgxlc207S9leba3Jw092F9XuM4GXkL3HDDx0c/bV1kj5xBpdzCFyXdy3yOFG5vXXevEr+bQU
9Wbj4and8D7yXLGMUAhj0H0xlmsxq+cROU68bFPKdZG4GyGHMckQS/ZACyVB00lP7Pa8gw0SdNP0
BJB5FwTbWNkeIkLI8NgIZrTjZrdO8WkrQJS+AS+DTiYRkdoVEQaYuN3rClYsmvZZWQzEpgfpEB0U
K/F6A92qo0dmCbexYVpt1A/sAF1o74nJd63y3MF/5D8WTLt1iJJv6/J3xN9bcVTwc+2SCLZGaUjc
C1bvGVNWSVq+JyzyabiZd+1VWcvKIqk7M7i5MG5QHXHjr33EREK3W8ZqyipYm8QlpD8NdiR7NHLn
VqOe6ORCsbeeGXXIjR8bs2wvdT3J6Tgy9iz6jMZwXOmgKH3K+8qg08WWRGbxo09BLfvsaVEbLo6r
hk5sY44VN1/6kuxs1HdIX9ZiL+BqmFQvw84UE3tV65sqcDZcBauteTu6ZtAGaYbZVvdblsN9Bzsv
DP3q61xvc/fA9CL4XM11rqpHi3xBfyEPlSH2muwKNY/7cZkj4rynzq3bd2rIZ/O5dhiqd2xjQdgc
XBkBfHMKDk4D1O30Oc/mQbxdaPzGQzvoZ7l+1bJAOiK4Z+smrrbFWg4jBQbEtYOooJSO6dTJaOYC
/QL8iOnMGt170oNMM+wKUgIRmdST1VXXJqI8lqw4XV3ZhJhTDRtUJcFUN4DownqIRA/J2fSW4zNg
gv3Or1G1udHrSL54mie80SM4EWwuieSxTb3L+mgu6ibEW70EiYu5XLIpiiEygEI1t0qVmDVAJHdW
Oan8Jcwy0M4Ua3ut6pmnEp65bxE/Xg6ScCjCbNfZzCtnh/obuRzyctGLvYdAtluiyIuaUzveyAe2
D632UO9yDyIB5D7nJBvZQIwXfJ1Vy2Ee29UymAeQ0d76Tt/fyMvkh73LQK38uWucPfeTOTr0EPDE
2IZMp9UrP2HG61X6jMGx2EBLDixTgAuSg61AqCdIVPJ2dSjEku/NOtktYyf5bOLOzQHJiPEAL2xv
I2HlDJ9VA2QfHKZ+WpePtg/gE8S5puclTdqoVsDfdDUQR4z4Q02fQTnDfGFVcIvyZLkepKND/Lw+
qypkVdsLK5y2M1PQovJdV1X16p2U9Bz94jiQTXshCEQNGXzJ4nvi0CtWEqAQUdiaagJcmbdL5Nbp
S9oQevKq2WrH86q56jXV9OTSn/TlqLfidJgQFB6ywKp1tiNZfkQuS+4OF5K67GBTnKZBU+7XoLfb
j2Qwevlz3ueqPkSOyLh4VgAu5jNvmhEmryEigFM0A0oleX5JhPUy3x6eg5xuB85eq26r/txH0+B+
zLrcD/ftWJC/z6xqFWd0/xmpFISTVFZ24kZJWjmswtgEt0OhBESLY0ong2ep2vyrLS9ik6RvAznu
y9ZzpkO7OhM5Xxdqs8uTuqoqPp3hlsKNx6B9sA/xcqHK2NpAwdZbVEfZdJBDvdb3juFlvYZxG/uP
Xjiu+V1IiuF68lDPiruM5LCKoLDRdz6qIm3ll8u0tT2UVRjoazdFQX1bU/0iv9ZdMFsn4xtjvRjR
qfyyFXvux3ki8fcrpXaKPwq+OPUP7Rz6a4D1pQ8heix/LBfKnefF+D8ce/W8g/TbKHqgYCGvPou0
5LYR+0zwmYQpqBsUrCZqZhmTWpybKxBEL3rxcj8oo12RVmuTgLWsW4m8QHXFy7xRPvE4E2NZvqyB
LDux32RQBlbcOvUwvy+znqq3aJHV9Jw2pGWcCly/XrvrJdmKVBFNAAcGv8M2W5djQsg12dpSqbNT
yLz/VmzDpbDE9wun8RAIVhWSqhn7rOcfpFrE8IC0IwrbxHeX2Yb5QEFtpmQVwlnuSNJbEEIohqsR
NHIYKpqOajHZ97r3nD3rh/PRQ/SgXv2uYB1El+UoSo+0cDw4pE6GDYCcgQdoaK1O+09VgF8si1VN
7cA7JSXt9s3PAx9+cl3ht5e2ERaOU5DzXYtOePnSTem8U4Wejpbu9HOJRN75NIh10ffT7D9YM7Xa
V+TnL01LE1Uq3i+rzXzY5LDaOx+yKGoStlYz+7vZKaGkvJSOiWPZucpmughGD6FU1OeGFm/Wju+9
2sKoitMaqSvLkM/C7EIkbmt65iavWm+/hNJ3rjotvfGZxPRsPQlw7W3ctVsGogyZGPr30YXEeQtm
+gDdHSIKJ1NJONpy0cnES9I+DJIikjoho1lvWYzCENUNksi++Zhxk/3QTaH8OuSNl98akMh5OGVG
W9vdWE+AtDuGPTE6u9wdy/xlKNaCdLeSazqFBZG09j0M1gL0erAMy7R3XU4DIMlOe1nQPLktQ9sU
w/BgD9jprcAjQecLas8hQZq+zd/UCEmaOHhHHlDCFgzG7TEIw3oguf0i72q8ku09ySWYzEV0lVk+
zHdGvP+RQpS0+R6uubBedTnm/icyK+sGxb1pUC3C0lY2euGamOIzePyk3piY63HdAeEjTzvIHPD2
YbQzYaUfQgjuS24RKtxJ3aBPtIfu0FmI7mh9K2gm7fa6XZT8YKwCRmafynWu3oO5YAuN86KAUWGu
AUfRSVXbKYdOiwo6Q8noNL590plmk7mynbD2u0e33gDfEhutR31r4/Kx7vkro83mOTxjPRhVjOs1
DZNNsZ3mWnDwxrgRIuTIWdWq3k1S3auxvkcd6zs/8LHmaAZQbBbIY4kuD8r8tmIelrCDTpOa8j71
UdkP8UZMe/sQDSVcdYIJb87vMCuQjK9ddAvdPqwsJKXxAv5UdzF0TlAevW7z/DuLy8WCvEdKJj44
EZDdtSdGbX0hRbEci7fM3zzSmB2f60w8rZOLQC3I6m659bF05+MrZShICz8YB1IAU0ANHQWHbKHx
S2DQGV93U1il0+O2pU05gdnPsqOHZRUkr5xRMvXFeI1JSFfv0Uxj2nLo7aLT+4aio3Q7dWjC3Q4O
i22OyPjem/VOu5YwYhd5hFfzpUpu3Qc2Yy1MbOkh96/CrUeEtSPPJ2q+d1CH464ZlsXqY5w1Q/Cp
CIp2ew5c18ucxNPVbPovhUpraDkvLEWzYWahjeZuBmeo78gMwYuKekdfeki6tvk45qH03tYiSLub
WnTR8s4qocczFLzK1C5A9Z/fND3SyW9FyOkWxMbzs/nBhtLjUvCRGQ9pnE1Y/cRuGOqs4alCJ7e+
r0zO0mKeTpd24PNuefwdF8cKp1gVgUfAqdBsKxf3aPVjhcg2KyJ/a55TFBTMOGGK/v5TbQsajuLN
c1An3Ww4budXGoXdptpZYYRZoPLTylc7H9NC1d9oYKtSf2vR/tikbk1lRgvWshZK/nDaAa3yLio7
T+Y3gpYY82FcNflDlEzhOEAn2UKlFt8ESKyJdp0eiu+y6FrKkPEjuAsiUACqR+RRk9VeTaa0/TXx
xjbkViubapxHDI04Vt7qzuS1h4Qa7U130zsbsk7UJ6geP0vFktvflYOk5Pc453WExmFEXgRuDT1f
44Rf7KV6Dcu8zp9oqwrkRzFrNjAG9nI2sxu7Ofh9/1jSZIibBb0L3HsSoikwGAFk3+iMhSgcuKW5
HYXxPyIGGOwHM1ulm91AYlGEuLdQMMtbl5a5cbrmzmsceUZ/FACLS2vZHgGu0ik6OFEtvhI56BVf
wyEnSX3x7DX8XA0AHFZiXF7RNwEP6eztEQgPAWPO9jfGS+44WsQ2HtLls+d10ts1NhqMcJdO6nLJ
D769dtc6HDe1xu4YKXO9tEi2ql2hgbO8ZMPK6Tsgm1MzfSwpI7JIGOdXI6LKNQ38SLxIX1unMZ89
rN0+AgN1jwtSBaReb7X9YttL0T9WJVIXO4FwYIdmM4IJS6ginmasMtGUZ9WO3hLCOwjuL+cm8fpl
ueuzy2RAfdBQNXAgQttvzewN+lYNmQLlzY2zvHKfUOjdnAya73VuLgYPNaGoujiCiqXAQDvqtIpX
wfVxz+9izfAO3D79z4vLlNDjkVCNLm8sByJ53llomwq0PQPoqYLwo8isT9qqi4p3koA7bqp5txIJ
G/ts3IqcCEsulMP6U1We3IC7HK8HOSj1esBVVKAZ4iMQ6qPZvMLb98HCFuzC23g9a3aHe+x20mNW
MPP5boSiXKuQixkwCzr3uKK9dfWxrPGvlGR3reNSwVr6oKvzbrTTdLiIQ8zI3+p3QVm+CGrBsisH
91Vp3fcUidHBOGVNkxGVSLlc6eSfIi6zrT1sBeYBBGQWZASUegsp220JKFsOCkNPnHKia0rCvItv
d61D5DcMTmE+n4g8uax/07Q4ob9DMNH66R5D2oYcTWzeZr2DjJZVdVx9NJhfLSINuiYRAqD9g6Vy
eGVuPZivGOQG4MnTBuI6PaMwpwDU5KoZ3zsyKoaaGw3VWS+WOwjsPqXQMFTQC0WQW4lV1tvix1Y9
etslXHyZT1vg+YLWOHth5ow5bgcfrX4vSn0O5yEL9nj1JecATugwmw+waYrJzxmWdH4pUqpPX1K3
r90XK0U3CMfC69mciXVZ7TzJfNXBy8/Kt5bEc+aRKyBvFkR3VAM2QTnucSIX8LZtutacLquTgjiD
+Q/NPQauvrvxBtrX+wtlVSiUZ6rF/VRi/1hxmUSe/bUakc4efEL9io8klXmovaWq0eU8c2zJ/KT7
qVUfswbC+UcjPc9dn62gXiJYBTcvYMbzrMwAfi2FmJsZUXgE9O2ngfxGrOODdJpd0BonSOMxh1yt
SRVdgH++L3Y/V+WZhSa0OO87VMBNrBswtjK2W9tb5uMQ+rWABYNSz75rlHnLFS/UtLUfi2aVajtW
OgLceeIVTTdrX0aUoWKE7Nx2W27x1EbTVZahrXEYRvvNV48CsMW5mlwrsL5oHKCWvAEAbuVNNA+C
DqHC8YBu6TvhnuIqAuGPqUda0ivRrqjnY8cbxPA5qlGbQgw2kYV29wK5EluKxnAMIC8UtyeKFyc1
Wme8Q3YbxJaINsmAvGEdwISt9LGYSDhgsVpDx/mSdlUTbteRxgZC7w9jTxKS7ApdKWiwlOFhKnAQ
YQHtK99fyK6nx26OV+7jvNFLEywA0grzVFV/q2sAewSq5P1HVVLUYhFvA2xafddtdlezXGW2QBxi
q6Lpn6WnxkHFCl9oC15VbkPPPwghhY4NQ6uLzBXuWOJ/DhFE/Rad5lbkaKZ9vJntNbSASr3E23CZ
HLqS+qcznkqNv1Hopcn9XY4BaJjQAutyfRucSKtPRRM5ERULK1diAMWPQ1/d07EQBje4NgPJ+YTO
EHFY1YNUQXK7cloQNOJm1CBRK6FOkMDeoscEEfTEoV6M/aCCIyZW2ijPeN3D9BjRZJJpirHxWR5L
q1xFhJjIz3W9T+e0HvWNxyzn0UEOXcPLvFSayxtgs8mi6xqokPHdH1AHnMqxbi2V5FOrF/2NzIKh
XV7yIXCGcc8hJFYX4aPT4rGYZl5T706T01Smu04ZfDl36cbQhsO6C9M0mYEcVhsBOxSFSbwchXyX
2HputuVuQu/mzD9c0JFG3RK5jYRi3+uuEGKNEYcx6h/8i3YmRQOWjg5RF6vlTrt1NpnJxAMTuSTg
GlMfQL78UHWijuZbGdRBv1xj7PSmICHm0czRDjqYtfF6voQ9FAkfvE0+LlKk/E7z2lVtfUVNOyV+
hwZgWhRHMwyTdJJm8PqtiRW3vqbjFhd2KEQ5CVnfH9BCrr37mm1WGM5tIpjEqAPf59gQL0WResrK
sHtaWKslfDr6WDjCi4MX2B5zrnTyIPMwQQqLWtL9POM8+FHO8Eeonk+4GK3BQ5VezVZZvAUo2QOd
AOC07ueIYTIjInBD2FDFGy0hQA5E+NbttV12eWZ2tjdDL5YidCux18S+ivaAKDUcOj8pwTnzNthD
60Ihttgm23RkW94m2ONjhY6VmSBG0C7WASE1C+T6AmidX6Xoluf8yuFekT6I1Q62FotmCZH4PkR9
OL5PpGaz4Dz/Ix/kP78t/5W9q4f/STQY//7f/Psbhz3d7Ln+5Z9/vy2+DWpUP/R/X37s/3zbb3/o
7y+q4b9fv+U3P8ED//OJd1/0l9/8Y99qWOPH6X1Yn97Hqdb/eHR+xct3/v9+8T/e//EoL2v3/re/
fFNcH5dHywrV/uWfXzp//9tfbJvIiP/8+fH/+cW7Lw0/d8Zz9uX/+f73L6P+21+i4K8XlZjtIW1x
Q8u9BMfO75ev+OFfHUu6UUgBL+SaJcnFaRGu5H/7i/T+6ll2xHzvgV673uVL6HkuX/L/GvgW/zMM
nMC1/Ygmi//9e/3mrfm/b9V/EH79oArEQ/w00RO/RlLweL9WPCIY6P2IM+tkB2fLOQT+fPRGBmDX
/pMkl98LNLo8wSUL6KeIJhvjgF1mAaar6FhevLzjzVz/WTHJ72XdXB788lf99OAMCUVAUEx94rxP
vHlOtN/ufnoD//lC/fzC/NHvffn/Pz206QobINeeGdSt9gjX3V0zQAXJpUL+T9JI/ui3v/z/n54i
+4fCh+ytkzMV5S6HprwkoTT/5h/wS9YJNra8YDmfT6hJ9aOcGu8NUZ64pl12Of17r9EveSaCUueS
GvT51Lv2eldtzrAe18r3tr2LF+rfCG+6vMe/hEatIzkfq655kpxOwwNwPrB+5lrdn/0Vf/Q2/JL7
0aG4DCxfrqdZwyPECh/eSwGQ92eZwr/7+F70a1sTMS7GH2u889pjN8YYsK4fc8df/qQ45/dCtQIe
/pJ189OnqAxEtc4Lx8KA2S27gjj37DhAHvfZsKxEZDuQg5Dgcgj+rFnkdy8NnvGXSzpqtiqcqhS3
5mDs8t6prX4FRLw8r6y9YDj/60/XH71uv1zco49KBM2LvyephKbsrthCtklw6T8JXvqjF+6XKxyw
2MIbu/qotjo8BJEIwictWiyyawgceRQBquO4IUPq6d/7gy5/6E/vFKRaZ4LLExqUWcuVysm7ZsiZ
8mL/r5/gd2/mvDG/XPIhKm1LT9Lbs4Cq8jUtconk24owLe4G4GTYVXf06uV/zvnfHPM/3yJ/N/Xs
8tH75fpn5wP+GlcwB9qk+yR0wqNEbwtJCfzyNk3+Uu5IXFvI3VgDcYOTOpR1IjIMkH/SyvhHf/Ev
N4c6WxvDbuPt59DxEjmoH7lZz71lgPyX7PZfv6x/9EH85QbBFv6/ODuT5TahbYF+EVX0zVQCIdmW
+8ROJlScOPRw6Juvf0u33sCXG6QqTV0uEHD2afdeyxxsMpi9aWqs97CuLQ8gf3ahE115hKXmKMMR
ZzZabXgpNIFPmcnUXdPorME00r82eltMu/OPsdLel04j3WTzjuXI6V1R66dN8m+K6+ACmZyszA4w
I8AH5oVOaeWVLQ1HdTZwSq1WhteS1wH2RakTzqLBQIbu+YdZu8HpbX6JJQ7GFc4Pk1NVeJhR5MRh
Zrgd2dMPrrzBondQWYMVZSMkH9+PZT6y0TRLL2BR5HB7/gnWPsfpyb48QWPLJDWNBiFjBToZOCz2
2GyGQAYhsKopIB2jfYTt6sLt1l7Yom9wqFHOOnUKfHBKc75jOSl6j9zjsvfPP8/KqGAvOgPyvgJ7
EJJF0UantnvI8YXszaekQ48kpeHSaL12m0XEV2VPRcSY2z6n3/NrWk/RQ8WO9yM1mtEFwPraLRbx
PqSjrQyy4fgc9MeeTrFMeutQVWc/pwYnMtd9kKV9J7JDStwtYft1pk8HDjzwApMwdMmLsvK9l+Id
OGCTzBsyfbJFyYySk1H/AZJLeFd9bevUqr+0XspP2XeRTdPvMz7DmJKew1haZGSZUYh4/h5rj7CI
8S7WCswZie3rTZ/GHjwjNqsbeYrnzfkbrHxo6/T3Lw9Bhr9x2rHmE1S1RvJK1CUyRAXRtTcpa/JL
oMO12ywi3VInrVGk0fQDsjSPbFVX97CateMEgOhCf7vSmViL6KbGbDAStvF9zpHyzuUEeRBPcEqk
9JaqZke+gUrhWE9TSHbEddOzpTPGAjVBNbdhsd/CZ/JJYlVatxjxpl0YGNeeaRHpE3u0MuUptm/k
vbB2ctdJw12mqn3vkjkbK/ep0VvyHWBmZbxAt2cp/r+rYQoqF5GfjWEAa3FgQ456buW+DPW5+d2o
MxWKEhmFJscyahbS9WRReycnqlDfoZhoxtP59rjS4JdqmSkgT9ROpcDPLZJUI0qotoNpCff81dem
a0tZjNG3nCypleNrp7RhbyZru/VsUDmTDxOmC98EdI58z2lNYdyP7FQUR5V0geSdVD+2u87/ipXp
ztIlk8FIUKYxsXxK8Ac/BEzp1XZWPEtgPv0xD7oLs/u1d7noPCotLBKOURzfyNiH23ZUkQKRjeup
ua55LiUjaP8mQx1rm3SpIVAPukWJ9fdKaPq0L+KOFH/2y0X4W+Rzc4lsv9KRmIuOhFPZjE9Rm75p
BzmAWhIvxIaaieqznwj4C19o7S6LvmTW57TqTCa5UZilHlQO8uNIQyEvpbKv69nNxVwBPJFcJNU4
+03Htje5gL2bCcPanW9ia59+0XGYikyuO92en6hxzhmhgggMj5V33dUXfQSrgdKGIzv78ECKDVVY
b+Cd6+tejHHqmL6MSIqJomzMwhluuTQ/UcJBLTLb5fqlSefKq1n6jaKkawUZVbMvcRZ0kGSt2jHL
1a97NUtzkSZ6Q7QpV6d2S9/qOdj6SU6vgmyz3DQWIW0X6mwjeJx9JW1cmGx7SJ1HTmvfKWx6GW3J
l1JzZ51UU7l1YZBbGYOMU4x8+R6JLNXyEDR8bJH8kOFKkTEykuGuk+OGXK7aOm124VYrYbeUfxaB
gT2CJGF/kIzPKqLKgfPbVBRwSizzQmivff5FaGs9UpgkDQZfI8CfOd9KPEUv0wvz5tOO0//sJfN9
FlHdktCsDzM7yIpeVR4B+FNK07tBANfU9OC9KZFMOqg/zsfh2qdZRLnS5hll1Anp64ZBDkNNqkY4
q/tUdLkbQOfYiDG78GBrr20R8gyaAaZjrfXxKwfUlxhqQ+oNyQXu+UdZuf5Sb5MbskUmJPsojplU
t6d6wVuM245//uorI+7SalNKSHn6oJq9rnKe8LK9FUP7LR6luwm89vlbrD3A6Rt9CRO2N6Ve6RIY
Al04NC8BmNjwTnRF9nn++ivzMn0R+akS91VI9ooXsr9vyWW7pRoHEke1LccSfHK8A5Qnb7IAJvX5
O6490SLwjURKSUQJeq9CYQqvqIMeRenfhauvfZLTXb+8L00k8IESu6emR/oBthYofeM8QG+8AXuX
XPlRFsGekjwpSY35/4+gq5W6MXoScq57QYtg1wybor1I6T1ncOQNxRYq6WBXv6BFcKcyNqKs4erV
3IQbQ0yPIXtTJDF2JEBDjL3uGRZxHekGDA9VZh9EVz9LRBheoJO8cdXFl0aZlDIcG4YPuMPGhllC
RYMXDmZ0wYi10vsthTFjy65RNqX8dBUOhVO/jBQfkDw173qhvzWWfElIsnajRWjnVBkAwZI7j/19
n1ye+yStHo0x+YjI/DPj/MIe69riZGmMaea6JZkfqC9i7Z0WjHd26uwlAL1mKu3DWvaiXn+CqexW
QC/Of6G1R1vEuBwY5ONGUuuN3cRsJfHtBFdoM8a/9FR5sZxxd/4+K32Jtoj2Cl9rwpIAXrHpkPFH
afmmIyv3wlOsXX0R5mxaBJUUB2TrJiBeMwAzFHQpln/db1+E+djpFEGSlURJHOf8VPFQfLedR8Ap
7vkbrH2ERaSr1ejknQh730gn8exQ87wTlMmcmrICBtGB505N1JVPswh4JcZGXI5554dBk91QvqW4
TZpMF2Ykp3bzj/nPUgLT1Sd23QQzunW0n4003o4NLOPCli68qrXrn+ZdX0aNsZkSCOSQZuJIuqfD
/aEF4VMq8qfzX2JlUFpqXRxKBS2Sv1qfs0L4CAMDal9Gzz0pkg6wsQvNde0hFkN5cTKLOnbX+XVs
HKuatPdc7R+ou387/xRr1z/9/ctLIrtiEA2LAVJEY6qfghcKt95UI78g6F7rp9RFMCNlCCVmB5Ov
k7/nayNnq2lAYeislJmHoSz2KQfVtiStlkeAwKGrd/UlgcjaF1qEeh8Ct0y5sk+5b3BPPnrh5oND
quBkWzthZ92FpcjafRZB31UZ+ZVB2fkctj+keQqbUuVZhQocsnL+nv9QazdZBH5gx5XVg4TxB/jp
G6WeH3KgcBtLFY9ZFF83CP9HYfKlNTiFqceCMkPfVpJPiiXiGzoc6/H8E6w0NeU0W/1ycbVVW+o+
YnqTfriHjPegzf2t6Mbn6y6/CPdZpw4ErQIFU7Uo4daU5AKWP7PKvvLnn3rkLz9fpzJgoHy+821p
eEyLYDckJy+ufmGGsvJ9ldPfv1y+HIIgbLWwZdSTnqhJBV1qjyxpS6w2slZc6E5Whg9lEe5QuYQ1
S6rERLG/hZ4DBb78BtDADavqvlOrC9OTtU+9iHqJ1DxGDt5V2jGXC2ZP1ZpdkEfe+U99usw/Ro5T
ktnXd6ULMGUjZwReOff7elBvdePCV1j74YtQFpSlkY7NKllT2oNoyn3utExGuwvd4doPXwRxnLVj
1IHm89TyRRacwDqf172RxUidIcITc8p3VUobPWgFjsm6sHG78pvlRdh2VZ+OQEFbf2oS5ZXcItVP
OsqTzv/wlQa5TKiDDa4nkHdamCgPaaT75Czd2qrwLVl+Uqm9vO4ui9hFL0BtFCVYHv3x06woW0k2
f1XNDACHCiuSaa9rmMsEO1o9ZHuZOYFBhf6Ww7Jqq0OevdA7K2sv69Rqv/QRdgO1Rzd6yaPSwB8P
0TsWGxbD4c+63UwPvVcg/3Gzp/pbQEXXhcFtJSLkU7P4cs8ojKj0iKbWhwp5bOX4pxGe0tGl4OP8
p1m7/iKWB47hIDkEjUeO/T7muMMNpOQ5juzpwrdfu8EipOsOHaqUcQM7Mx5tUXyQ9XC0Tee6YWGZ
b0cS6gRAwGkg9GmPo5p+wBs/on27cPm16FsENsQ6S9NGpfWdQdPvzdJoyB4czQvR9+9Bx17m2kUN
0H9m4EDO566lpLr7sKB+OIX0TYm15qoPAIruv1sQUDB9oBCw9S1KLEGHpyQHQbKo58wVVI5emu39
+zvbyzQ7gPR6wEFZC2ZV/JKG/g0u1rscZBem+2uXX4zPvabJtQmv2YOQwPHLaUim0AJETgfc7ZpQ
sJ3Trb+EWh31FscMIysKNbqrZ+tnEg/HoLC/nb/8v5uS7Zz+/uXySW7JugVQwJ8q7VgnVAHFuh37
5y++9noWYdyFNTnXXc9iy5hcXa4PNjQFyqovJK6t/fZlEBtSMYVa3viqaqhbFV8C9OhrnMmWYTuL
UXmKlIQ9p7bx9am/BToJZrt8qPr8QgivBdkihOGUJmSxS7WfDsFzZJs3sJpeS37+Fuzb7J1//ys3
WabFlcZQOL3OTSpgeNvAEXvbDn+YZf5HKtLd+Xv8Z371v/Mue5kS1wlUNBSR1r6plD61kM7GUJCS
67nxRxuUu6oPHLcIowOnQOl2IAfcjWXxoktt5WMmurRIWWlqy2S5AdKDDKONzxWpD01rPEu69do4
2vfzT7l2+dMb/hImLWVekcB46weS5oegJ0HjHeT80s7dv8dwaG//fXkQ0ZSgZnrtQ+f3LHXUtjBT
nkKqezaqHR8b45JyfCVk7EW4x5DRmnpMG9+BfJbq0z1Ciatmyba9CPYBrFhGjkntA/Q1uk1tmckR
39YIEktlb/C677AIeSMtxiItDV7U1D5KdLJZpL9htnk9f/m117MIeoCwDULYoKZH6Zt9TjHslsxO
zT1/9bVGtIj5UI3ASmhq7YN5fBuS5FlVdE+XxIU2uvLj/ycZbqxEWstR41Murw8e5m6n3YacVadX
/X4qR/+7lRqzibeMI1YvDJTkvndS524wk3w/AOV6u+YVWcvsawyBWj/3PZ6CxPjeBLIL7Pkplaar
5q3WMtnawvuWS+aQ+tpJaJ6p+qGa23enKi8scf8dx6SO/PcbIrsqD2cqpv04BvTAFtNUt54z4TR0
Z8hS843FCZ99aBwpUS98lFMP9L/dr+UsGpVSccavA8LzJSGZnp4O2S6s8p0J4wZ5aa1diO6V2yyH
kmgKOgWNR+pXIoypv5A4UVKnG6DQO3OgAP2qz78cSxQ5jDsK9FPfzLr4hWWN/mBH4fhrTBTpwsr1
30FoLQcKGbBvqOKfhYSmpaY7ZWNr/210MQNoH9jbvrCoX3tfp79/GTBqNQ27HqMFRzFtmu46A2zS
kLCmjClwVCn1hUF1/p2t7KZay8EjPJWwIqFMfTn/G9jvzKS9dtb+ikRzx1ocUsUG2qbet/WlO54W
+f9ocstBBCysElhFkfpzIcGqizBM5BBL5O1ctZtRyT01q3ajfW2jWAwslhak9pxZjkuSltUeqPM1
djAhq8mDpp3JFxr4WrtYjixcG6CuJblj2Ym7ERTdturK4hGg3qWzh3930Ja96B3IV63ieKoT37KM
doc2ALY5WLYLQ+Pa1RcdQR/L8HQ6JfJNeLK7EwcJ8XL493wjW7n4/4wtYA3kDOi8mwfZAW+dd4Kv
nb/0acX3j9a0TLKmb5ThhaKsoCjEjRCyjugYJYSHyvhtUKI7cSkk157h1Gl/CcmZSjtyKqjTtmFT
3cQOOz+ZxSbJ+cdYaT/WIuCB8lI1o0mOO4Kn8OxCNBuY9oaXSdHn+TusBfoy1ZoaJOSJJFD5RVF/
qjEAsSK453j8qR41lFfmw9iD7mJb5hOmxoVWtdKPWaeX+eWlhaYVSj21lT5Kj2zXl8EIfJ2+rNFC
JIVgfi/0Yit9yjL5GoYZRb+A4al80G5rTT8GfXA3aINnaBrHf+KOwlHMUqBVz7/MtcawCPcR1l/X
aKVDqyukYVectiLIvbdn97rrL2I9Yu4F26NwyJo078Le2E1G9eP8pVde1TLDuWdVOoNnIhaF9R0v
wFbq3+3mJ5BgFyzBMwzILZyHC8165T0t851nUhGbHiQBE+5Qdtto6v4GdeFcVz1gLTOZHabY8CwM
xwXRf2ImgOXYSaXyFyE6GpHz70s5fdN/9DDmIjRxwuHtYgnqn0Do/S3s1lz7ZZmjCfuvCOobZOFZ
7cPOLakhgmUKgRDWauVZHFm0v2AJ1rrfMi+tL8wS197pqQv5ElMjTFNSZoD2n9i24SHtT9JGKrCF
dF3jXuY4F3HcmrYSWW7nzJJxY+OeHncUZHJ+d/6VrsxzTe2/n6Bu027uA9F5XUlaP0aqR0h392Cy
Pw15gC56aXN7pfdZ5jgzUzI0oeXcR1BuNyryMU2g2zedtM9168I20tpNFqGKw1pvAgg0Xo9efSPl
yj3+xMM0K2+O0vw+/8LW7rEYnNEmkbLSFaSvqDNo9fmxCft3yzQ+gyL7OH+LlVa1THsGyWrLskYO
S69GGJYkMOrVqMu7665+Gr2/tNnQxh+iS1rrlRxdbEoQNfeZpbXfz199ZfBcJj3roPc1xaxar5VP
MA4TwgwMaGUbwdO6LiaWic9xDaoFVW7rBZwHf4OsQ5qjiXPGP/8EK7OYZZLzDNmlasFRegkYIdSU
FLrKxlGN7X0h9H0R2m+RdWlbde1Ln/7+5VtwMKbNGqBpL3aUfGeAc9va0sUU8ZXYNhaxrcE9nLO0
bYAaQfRWjHtda9FaNtVfxHdukUx/zr+xtfuceusvT9ENlRGAo2q8QMmeYzN8zK3oNhPVg95ML6et
kgvd/9p9FuFtpJ0paRVfBsjQQ92rO2SLz9kA/90qAneK5et6dWMR4hgeMXZkGsl37PK4kCujLZ38
pUTUlQhZpjfj19SDuAdAZAn1I870J5IA/gL/vzD9WmlSy/zmKI9yTGJ65xkOKDIJMcVWmYPSO/+p
V3o//fRpvnzqDOYOu1GsSsqg6yJvqgFhuVGXY+2ZTMC+O70W6qUa2pXp0TLPOei1QFcSHiUbai8u
jVtKg4+R0rwz6gP7Dv7avQ0bOPl2/tnWbnf6YF+eTUSBhWGN27VxfTNV7Z2jybfF9GkYP22qxbdp
hChEvi4PHbLnf98tTehobBghni3GetMmPQNWXfUbu1Ufmzy4kKu/1tgWXYDDqTi4QOxPPU7dXR7Z
KpwmfGy4MIfrolJfRP8ENttE/Vl7CktiPJvi96wnd3kYPYAZ/lAgD1/o91fCX1+E/xzlOig3UXmO
k6FfksRNnsrJJjTCB6vN/hZVf2Edu9bIF/FfWCCqLDsQHkpvpHO6EW6SGf15bfbY5Eb5QiytROoy
JTrQ9axWEqzpcVvBDw9RFXbwaC+8LWXt8otxvsNiFYAvZgMhh3Ocys/hpO3SsIT3p5Z3A1Bs3uH4
ZujjgYOfewc5246alHqjVMauNaC1nw+rlc+mLbqMQONWHenMXlS1fwHznlhb4iWslKMgj9qsrjv/
tJYp0zruqRLUhrPTJQPLo/S7zIrX84+wMiXQFj1DCpc6SDVo+8hE8q1eDcXGQTG5D5q8u+3Zg/gu
t6nqp3kQXTdJWyZJK1kJHZF83x2wSzCqjaK05a2p4CC70DGstY5FxyAau2PtIpydHdleidIgk6+c
YGqLDoGk36qdVC7dq6oPKtR1rEvpRGu/etEFQKGIgwjLxw7WaLyxw6beogO7lDu+0llqi7gnUSlq
56lEfJwnLtK+u6IWj7JpXYrIlWa0zIg2SAJE7FXobiHsTzUbjD+1aXc3HUC657Lp37Uh+dGJ+v7E
ZfcBnXf7qmjT55TcLw9boQwBucSBByt9i0LoSXNM1CdOeikdfKXbUxcdRiGUKsm60uIYoEjesyrD
KTcrM64WpbrRyY94OR9Na/dZdAixlArdHjAS5EJq9rXeTcWn2um6tg/zeYiOLdOVS4VL/3m3/9gx
UE8/4sug3oxQqLuiybx8QyHFLt079IGbzh+xeu3c1n0dN/6d/pB447Z6EDf2nv7PC1/FVt1gQb+u
IsxSFx2IkaGohNyVean+OprzhkLGi43qPzu3/3rEU7B8eUStkqJp4HOhSDaFM23NSGJi5KZNZyDb
HlpdJ1aiSsnVbQTG09I3kK9h6wNpdUaAuPVc0bZgpZrgugXgbXjJTRU0yr7JYrP6qWlDKny2HiC5
b6YaC/mALSXWYGGWSRcccztBgYmUEP9OCr94ENk3fbLs8rVUihr8pwoshvwymRISLcnlSqBhKOS4
2ikZMufQnap+gMmlI+OGgA2dfDNadnKDywpVcxGJb4YFASjL5vpHXc76X+rYp2ZjzZVk3VK6mQeb
hAX4vHGKUSlvSB+NbsRgysepcNpui4xnZCmaO7nU+IUR6PHPwVaEdFMUiR5iJi7r+CY1Y9MfCj3z
UXrUD2ozcbQHjH8zzXaUAgRA0uWNpTXlOzZvu3CbjEO4M9C4bOAdH7LImd+LvgiR1Ruqo22zGImQ
GwRavjUTpF12J28zU/c01cEEiPLJt1FP7KaJ7ySMP6Ke7qK2SLaKNR61odoZJakjQT/4YIHvU9Hu
+tqJtq11KEMcI+FxrNoHap7+dJA1VaRYG0rtPzTpQ7Tt0ZZGZWeg17gNAR5vW7IUE7vFziyTS5tv
EDbvkRN321Hqm3ulbfWtrQXlfaSGgV/YiQb6uHPIsWb3YZZpOPIxRiLDvJHNvbqdHH5kI9xprhx8
ZcBoB8alTUdhJQpj/bc2qYemGF8QZZmbejBuMLHeBZO+tRLtHqD6Tp7soxr0P9DzfUui/lMzjYzK
P+Fa5NZvOmfoNp0UvalT+Ard+tGY+RxVhZuQ0xwPivtHORu/lEJ60x39o5mdY2ZhXJ2G246qfHyM
3wbNpIQtn7ayHMmeVUXvkPB9p1bdVG1RLqbWFt/Tb2lImg0QJk+PK3jmLzmaoNrchYIctt4YNkyX
kMA331NHedFitFGitjZTKZ61maIcZzwaKt4da0cBvDcmxl2hWuGuR2iEwf7oyNlzOCc/p2S8w7nu
GQI5dlq5Up6y137QTGcnKcp9FgFjbZzmviGVKmpqN4zkQykn+87mfLGz94My+mRe3IZRsakS5bYK
2wcplULcIaUH+PwARW0Lq/QHTXEzZ8FDGE5vgdy4QLS2s/LDmZzHtB938Si2QSjcEn9aFJUEBWm+
jnMvuK5A66QUD+CS9+1MK8E/EUTxY9dIu84U9+EUb8Dne5BGvIHSfgXOvVt32UMY1/su+7TM36qW
fg/VxC9iDH4pk7rUuFGDZmsi3lHjiAUohK38AAb9RbXVgyxAbEBc31BG7qt6nbhhYdypmrxLgZhs
oFjGW7sesrtmMKJNp9ofk4LdqcfEa8vZptLNX5T7IaYNf439dD+f6ANjf1PRBiAt7mpKuje5XAyn
0HoFyPNoJeojOu+PURYKtPJ0AF1cM9tWHeTAjdA2Vdb+MezqDySDhwjkya6ivhJ9tPDbVHqoHdPc
CtGgzKpwH+NNdntWvO5o9jEqQfJlO0nXf8xpULxAkHLEBtzwHHhdpxavXcJxC7TnyHpsVVt/ScbR
sTfWUHQvhRJPLhxHmkBaZ9s2Tu5xyP4xprreFkbVmlv+tytf+nySHnWlow4sriCa+omEjohHbKpm
E9mp5cdoOd5wOLDWUjHdU+0dgQ7emIDw7e/OAOwQM7ZNSWSc6BZdQCCCFr9X273qfV98z52Qmh1F
pwtyUUxJxH4ksFFTweVCZZo9GN8V/nc2+R8Dyn00b/qPoNkozewXnhPj3bbYHyuBhd/reisd1bFE
HII1SHf7agyLHeq9Gv8v+q19ZcxKilnOaH8pST/gTU+k21ahX4lwRIcUQNXpUxJQysxIFpbvJfpK
X1EwkUT9XNwFA4LaKc+LQ6RyB1dF7FgctKzqkBMEVHEczGTqnTuQ3ZJ+tKlV33RmJe7b2NGoU+8k
+S3JlNG8beta6fws7ATk/EzK0J0KSfxqxgiLa6AW3wWdyIGhQ3oLEo41NwOvqvAFA+jnhBtCcatG
OMew799TXNy3rQU+zGubCjtd3KMlcLPGRkNqdqQc6hjed0HbFai2s9bZtdDHviPUS37MQVRKO1Mp
tOBprKPIpcPipzRNeWgtJX7BsyT/DsNoKkDURKN21+dO9TfMG032YNh0P+rawQcu+ixEIGTqaCxH
9Y+m9idHSaCV+1CRp/uYL/4zJR/nvdTJHmgUciA3dU6SYl+2QLMrNgRnrTE91F+WP9oJDnOZqcPj
XGSO36DHfMzxrDwj7Chepryq9nrnYP7QdBPHUluabPIFYy3v+W72YY5CBdB1br/FfcgWjYMkPLH0
Zv6Gd8BKbmzVtA5VUsUubJKftaI3hZeOWmw+l04d/zjBm1SIf7bxG+NSt2sQqKqHtqHq/aGjCGt0
ETgx5E16qW3Q7xQVMalnDxC2G09SpPAJm8TwntucO+uNbL2WrZLfcARg7OKiGHzRRvGO4kR17xjW
dE//2/8ykWk2FOwPiZu2rb3XQ37TNOn67YlfvAU0Kj0ZExbSCVlrtbF4yfRI4L1xRwT9t3pUisQt
k8noOQsiG+pujvrc2Fqznv4dZCV/NJJmomy0j26LYbDeLS0EtB5FyrbIdW07GErBXSoGRJZ8kd1h
zEV6kH2aEYcz0ZZKTUurfKMaDFnfohlk07MbT/4IvPCD/V47jv6WxQFKCJQpCE0PZWcaHwXFebEL
SE2xtrYcKv0BaayK7KloZEQ/qH+1dj8agkST2Sg6aTP3o3g02thA/qGVoXxrK1IdbuTKSl6w3hfj
Hy2H6r6jdrRjUok5LdxYIhqCv8js0RWArp+zKiQZ3+r6zpvQN6Ds4g5sqHqOVJq/ER+TdsSblPXn
Njc5XEdZ6+zMNEInUgZ9xewvbQdZ29Y4usRW1w1VZVZVaM9xkqg/My18McZA2rZhJQWsLavgBaoQ
Bj5DC8x7ij0652djkBM0AsEPw+oQBll6mM3I4DVCDCqoVQxDxZWZx2a3WqHVwu3oSp+LOgziuyFJ
ja0zzmO9y6cRVTagUln6ZfJA01GGMK/6aOmQCKH6k4IGPHoqj/3vIcUg7FMsMFW+QBXQH7DRzvSk
2mDnpbnF9+bEt3HWpdZTqcP+LDcCHj345x41HP2PPe3UOFEyb0CS4dxU3WBILsg6TX7OwNP0rjxi
rbyljiyzvaGd5HeKqJELhqk2sKmf5cmvcDwtBgcY+o6v5xX6wJgkwnkjg7h/k1PmJ+4YBdBp82yc
DbdB6vwzl5kpbxwQ6M69QxLvhJdWGPMxQTMSPYa4JtlJzgcp2tk0wZH3PYYj8kEbvXA0aHW6LwKK
ntyphPcPPrxL9iJXkuqN7zLp9z0LDTj9cSR324Aw77dyNZBZGsoNszRcM1O9nQHZpRxt9maw0yiD
bLZam5fara62NkJ5vSg7N4E9pt87c2V9IAegyxG4BEoPpQrOiV7gitoN9M/GTR2nafurUhtZyJtw
0BQHTIlhZr/jujJO+P0mn4oXE4vDdBysuLG3lVpKOlgz5MaHOAVz/ZrOkMu3p2KM4gMLY1UfZGeO
eD1l7qchyttX2Y5F9OwIGYWSPBQzSK2gG41Wdxup6ZWbsKoT7U8qlCy6TdBXTr4w817ao3sZUOzq
mq7+sE1Vd/4oQxrcK+gGbsj4mX87GUrgZECYHcp6QAoTmN/hBgZZP+8pstDeM/bpHJStoW4+FdaY
zcgCRdXt4wDT8KMqy7PzPQmnRgHIr3SWui0tZJWoKmSnSTdObjb9jQIvrqTvFiYrNQ65dOceCVQy
YckTk2y7UUWTYo4M73s3I6cRd0k5zeoLBse6Aflt67OHuJ2y4q3MXfvbOG2cwGXkxONpFKcKR5RV
QrmR0yoTe5EkYvoe4YYR27BoUuS+6VQLy0duZMkHVT4xavrOtJloZrZmRTMADZiTv4M+714tfETm
NgpauDmhVQfaVtUqc7wlv9QiebvNZsmb4lx/DalE1mhruoOvrUg1ixVliHMl5DV33ymKMBijtDzP
SEjS0pmD4aHFEvE6wRzGfcXupDXiK57FwCbLYAYxAPIkyE5hNHS9ZjAfGIFKb7qwS9PnRO4aBWKo
wCnhdVLVyt3OcNSg/SVLrZqMm3bQq/R2GJswyjYjwFFnf5I+yLtxytLw3qDXzJ4d5CbmcdApd3xq
Mlr3QdgNy7AyyGvJrQY1mO40gIWPFF+EzWspBIaZzcSJquYHMoPv7yjWc/N27ktbvmflXQe7AnV2
dVOFnZ7ZrMiydkg2w6jZtPE4jLMHRTMQL48kydXHcjDbuNr0YPvINnImfJC1oxwU1LHtg9FUUvFL
jUc7uzMzTJUp1WiItv+Ioa7Lu47jfOSo8hTO3wO8ce1TliL2u0dIlGgHaAJmduxqFbKql3ZyZlL6
LWnB5wzVYmTpUvfdRw/ylX2IxFb05CZK2unUWHJNDTeqMvSy1wiFY4q+nQr1pZAc+wYXjVYdOL3s
1aMsEDTl2xr/MyNvU8mDW+VWOG+AAgyfrD5z+kUweq3YILHGFT7EsZr9RpZeDk+6sAELhnacKS8G
++TyXwInUg+GpLPUa2v6h4/QJsM0wWJbpvFHT9qsxPCmVek4bJsK//hBwZ41f1CuFbWHQESt+lDM
Q6P4QCjGRwvHyqFhu7u/Y1vBjH5qfWkGb8gwtPZNHicySoENSx0vfdDCmS0FMQsqLJAmKnN98g8W
Uv6A73Me/0jQ4TSSJZRibslDcgpcgVtrCDvzFjuoOn2gkBPhTavZFa0mySgW2YR8q3SHyCK0P9kM
CJRXldaDbp0pUP+IFcOWXuUG3cpNlWdJfXRiI51dq4/k4ilzZptlAklb4A42jTlS1HVMZqIVATBL
v9ktB3keDdyPTtm4oxJI8qENGjnPOCWTbUjNtjG1PYtmAFvMBTV2hvR9aAxmsccEX+muGUVS6hay
LYIPPIUDy1ltlPOKFWkVqc6G6vcRZudotmZKMlEilFtDifX+AYUhmX6Yom3ndUSmLXa2kkbtq6SV
Ns3Okpn1B7EZJdTjGNrMvlFqNfOtyMpSGjcnAxjUeUH2IP+AoKo+ctrHbzml+KXhsYLhKV6ZNqhs
rOiJ1Tg3AftbLUfnxaknCGu2g0yk4JqpebUcqP/H2Xk1N66kafqvTPQ9euGB3JjuC9CL8rZKN4iq
kgoeSHgkfv0+1OmZrsM+LG7oRkFSEkAAaT7zGrmAot9nL1izallxWfZho0SAkUo1P0smmvXcpI2y
JHhIdgZrgXl0pb94vlS5tYw6zzEJJt0h78dAx7GHCsHQFPhJT8yGrw4Vm2Ftetg8LthrWyxBq6hL
Vw4th0vMZLCUCyyjLIYLPx+x9cOCvqC5NwKR6paWbxj9VsOT1dnTB/ScJ90SssfqJg+N4R42T9oV
i7H1xHBp4zPF+lq00lUv2UgcNC7Ah6a0Cy2FVPKG/Zttp+zoRtzUWFpbVzG+0PgHogydgiJx2jgH
hWGxoLbBUMosWos0Zo2vzDTqXvFGb7t07RRlkpZBKIyEXBb33tKpgjxOVYnCc+tm+KJ19ljryMC7
WmsExUxZmApA1hveSzgXln/BHl/o18iJtN26qJw+45ngHuA+eJbumd97rZ/GIsBEXS/fBMbqKebd
KSlxGDgFbmz4TMMAcr41oEZwqMZ/2TrUu5zKxhst66I+33mzHidvaFkewPBx5ztOGeQt0YAMaist
53VszI6xRqYzSe9GzRf4d+BIh/+a1Q6qeyaLnvtrze0tY2mIyRE742A7+DMJWdVvzFRULr67WWtP
X0qphbJZM3fzec/GVXUEhb7T/HTDUuC/h7cnaPm4xHD1qsIFR3/Gs0h4z5mTiZ2NawtSXMXofcWc
UQ7fsqZMvGU6Vc78GE/NfIhQvZAKZdgPGXpUTT9Rt2AEv7gjpK1nf2SqfvElwNB8qVFo7RAlEPkw
3oHYzKrneYBBE3RQD4qFCK3cvFYUUfWKWA8W4NpPpyS6jwrqmPtu8lxy5UKPa8qkbkEWY5tFZD65
Y6SkHWDxHNoOZp95PgoCE5mFm8a0pH+dyrSlzD4PkkewxDV10vaydNJ6oQZ52BwKt3EyfBwa8neg
q9SL33J8zYf1lBaZu3OFm/hL6eNoPixro6uLKEgIjqoHSmuifmynVKtv3Nmc5Tqpo9BdsBqk4Y+y
yOJ4NdcqnPygxMM7f0aPPcT1SDPJaeDGhN6iMRW9UnIairl3s2VOFKtHTATipeYOunNRywllWqog
eHBik9SN7Z1pcYB4r6SwEoT+eFzhRetjg+ot0GLx2jUCBFP8PeGMGFOp0rbDG9uB3r/osGnW1h0W
UuPWzmHNrC27CcnndOzHn705MZmUIfS8cjdMXUMh1aQii+xpbCTXSdvUsA51ZL+vGs8IzRvd0I2k
2OgVyxvSNXMKewErqtiOrBUD1TF3U2jq7hcHf615E7m66q/1zJ60L5WBMX2ymDwqoj9HbMcUgiRD
bscbbxyc+Ms0DvV8meFL3y1xzAMQwkNK+qRdREk22hdNceCSUBCSAskcb2ILrUIjWdYILdivk1kV
+CJXDaBtlt/aw+Sc5Tp+HLBI7Z/Dwpn896qLx4zDEhfo3zVLojq/EPicsVk2I6LA1xhCg8gWKbaN
V1BjWirHsqlk8cWfKyu+CQEGiCevrKYwgcyOQqFa4jjNSonXn98XmyqP0dlRMppHLDh1U9xBGJmr
La0nz/vqxyIqkpWGY1u4H2fNxVcbSb2xGFYahGD3shthMvhrlhU1NwvdyYtml+LEgic5UnAPyndg
pAdYcPfek5YO7biOQgbX3ej3ZfbVtHtXLPCjyLObGm1Q/4k6Z8QQwlrVJ+oMyaWmOxf72+ZBtpZV
/nTKFsGHyYhyHfvLsGhx2BuHsHybwcK5l+VMhfNnk899u/R1tD+e7WzCW1iZY2E84Tqd6RezxAJt
KysgnYxoaddyT3IJxdLK9T56NuewbFdlqGclxWfcz27tIbUrL6CKYnn7sCiVXI+WNzbruELXp0ad
3y/LHe0Sl6jAGejxeAEe8Fmyw5fWVT+GQWDlgCFdOxmPWhtV/Ta2Rw+UA3m8O6/R+YvCrbJLL2UX
w17EeCoQ5y4pjDt2hh+INQ1UmZhVT4KyL6UADWeoqNwV7ViEFL2V6C7CxPLwJ5+dvlvFIeXqOwf7
ceL4GotuC+9Ux/RoNJV2lpbmqgVu2jrXOVYD2KspEcXttG7jtM3steMl+fSiFSoWWhAb+Hf26wPp
lq23ml0je43jg5nMoh0iK7tKWYeiG1UY7agohlsu7RVMnt2Cek6b4aSyFg328glifX0GQY1KbyWp
yscy1Q4V/6r3b3Ih0tHbzdKQFAhmK/WadhkNguZcoCXS79PV6Nm9/8gqgK4rR7T77FlqtFpuCQMa
zGObNPTfjc4Vw4OTJZbzFBtOqT9KhR/1va93SPZvqhjH0e8+mqPTRAe5YCtDvJFZZi11x+38/SiH
KWI+Z757adgzdqtkZEpd5SxU4wpLwrwmWdQxt1xkpezbvUp8lV5hxBV7d3jRj9OL6mWcUmdqbYpm
feE3LEgdPJ+DlufwOOfgTRcHDIhzGcf2rL/5xgECt42BH3uUDEPVUHHONTpRvtnLbW0ljr02UUEa
v4t2tNM1XkShva/DbEjyhbRaZxx21NEjkWxxcOln2uJamSi5aGQbTYsmx46dsHOm2XWRFrbdXynI
zWV0UwJcyy6h4fb+c91gxxDYU6GqVd13WPZVeV6WqzJTOg67sX6fskzkgWhoSi0TROtfC60jS51G
ckZSYNd8D7U5erAo30HEVgX1e5HcaxFiv+QNpjkuprw0rMCkB1jSjnOGnc2upAKL9CzbjAzxOug7
4NAXxG9Wvlemn7UXrL8Wy6Ibmt0yNIR81Cc9nIPJlBq5XI7bHt1d4rrbxmTNuRZkrOKWclA+YLXt
6Q4Qg7TyCzpetuk2ib7A9eCASXd1y1WwtqWuZn0Bt9vVnjKPhVaxDn/tIGE5fNxj/LpwnFyOC+lJ
Y76ylRrrxawyM1nS4hnDAENWaS7wIcrQo1d+JaJggPh86Qi95jSNrfXPWMXX2tc8tfibobW6LxPo
pluF5qYdzHoX3sF1FJe0mXvk7dpM3lDpcd+oETrtnWZzno2MNDdaOBO7x11EaaxaOzRXxiVF5bLG
iZndM4Ddi0dxgAM1lemggmsgKS84iUGQn+MI/yqcOJufqKIcch9l2Gsxz96lk+iutkc/bBALD12y
fZ5ZoX8pwcR0QSnLBHdEkzpfetfl1BUWMbbL3cIBntVexiWWgkFMHK/LwFdj6y8xNh+poqUeIq+c
3bOe8cSkoxFRN7jsMFJ4MjGQtTZxHOE+MXScfEG4UY+XbeHM3rYi3Tls0j2zqGmTSr5lfuWQPk1Y
u2xxKM5gbNS1pq4ogcl843WR495qE3EJZsfeeKgzkqfS33PSVCyA/BXwO0PLYP3OHPdhTpX6Miuc
PAkDpRsG+UhMvezx3EVsNct0dudhFukC5271YPtVXS1mz5qzBWaVEWa5sUOUqykSZnYnt74myJ6s
pWXY5TcK+1O8im2NyJ+g3dDWTuYS0hGLld/KtpgIaiOddB40uE9PLSiaWOR7g5ZofN0nvjPueltq
1o4TdswMorcfMunt+hZRYZtWUzdEtw1V2HaDu1dNF6mscXrNNO2AmsvjoV5mdWrhFK0VYqmKBMmC
xKa4FmgyYRoBeauTdRuSz5AKKH3+Yoe9QzaaobR2FeIwhJ2BqouvLi7i2Sp0mKRWjI/voi9wCFoa
XoSPZONpGq3buO3nhU5cKlZD1xdXbTebXoBnWk/MXnf2VcRmEi8KgoE3OzfcZklLNaIB7zoZ9gXN
oEq+cxsCICtIGham6TXpRTUbcr6IE7MeYOdY7a2sqCU+RT1ij7e0/SjzoofsPQ8i0hFZx/Zy2lB4
S93AmTzvJa9JGmiBJ/beRjyBEl1Wzf1VXbfoNPSW7lYU/80MvfrCCK2GbA0sqD6R/u48IBhT4JEK
tI9sfWYK0TRNjBth0QxbTGGsOzdFiTs441C/wn270OkRtNbjaMG/XuhRNmkbp9L0735etV8b0SYx
Lk3SKRem0CD+KLsb62AKa/9r1alwZ8SgksM2TO8o3GjPGavsVvlRcZFBO93EA3bEeecSojhjLh/L
qKg3gv13obkadqB0YZ7F5JvvHVKcVLe97DIxBu82rgx3EQ5+e5lbRfMNOQ7ySgVhBrOv5nrqcfTN
mhYEv6H/0GdH2+V+jLieE+k7xcr/nCMEzbSkiQB7KaEVmolmZNUKrVXnJtVaBzi/x99NX8fKGjZ9
2EV3GI3HawwXy9vCL/NdZ9HhYDVO9p7eZru0ckzucRGtikoYyzHLpyuqqN4hh0yu9HDEIRud6HHX
KQ2EtqWSdVQBMF2Xlq1fuX6r9nIMH/0hSr+ocHBe6rigH0xwE0TxWN2mmOOuIqSPgs5saEiKsXid
zT5LgqEIs/WAQFswa8oM8A3RFo2VVDtok86llTkYKY29RZ2sTMN1m4e1AAYxlLdKptGiRt9wXGpo
xgGOwKDlNtXs4sqYiy6w6wJoh0lvX8NxftvOfbjEelksUAqZwgVgIvbKcVRqR9bTvFPPxIfbIPuj
g0aHPvUbgG+9vaQyDxiry/wIz+46TxdUIjV0gct046Z9fVlaqO6lRe+u0dn0Nmqwky3aniX7nCyu
LVXSl6hMhIW6ppi+ySSkn4RlTffq+e60xuU+vcyHhCZhQR1yRC9lraysWVDU6l7MIjeXHr8I4nyq
75yo7HeN32Zz0MiueuUBTCsnNyQQJ+uQNDuWkV+Hem+tGyPzH8laqk07toJiPE5OupUVRhABWtjw
9Fn4Dh3KsaZbuaz7OV45OKq/9Z4x7Rq3xfPVlApTS7esngxSB2oeGRksTtnlg4d1E2uoajCkbEM2
HQ+JYddqKb7V+X5o44TqCk30y1mzMXwJ9Xo/k2RMdKrcHxNooVUX6vaFwBw1wEC3XToz7YYx78MC
t7leBwRsx9869tZLWYls6Uw9ihKRgacJ9ZutdIW+Kwhw3t3B9F7GrDV+uNg0X5h20bK5hjijZeim
L1of4zdE7VNqpJqTLbNEmPeVo8Zn13etm0jU7kpntL26dhFv9CyliV+5gAGYLCO+I6aDrbVhZ/gC
j/Zy7AZ5Qb1vuDRziY511dTya9fayXqIDXXllqkvtiObH+oEQ7ouAZXN28ns3HJvZ11xO+UkF2tr
EvlzPDIrAjAi/nPsZfbdPCXpjrbJ8FghvgL8q6C/GOJ3vKTXbfeEm4X/hqKkpMLloouK15G3kiOe
w3Un4tuxrOswDiAVmu9aH5VbY06MZTN1xZeUljKsZpIesjsgQHIyn7wOm6cwL/o1FcHoVvPC+mFq
GxqOoR01j1SZjQ1AkHZTedjPBxlocmwB63ilGxT+PPoCz30lexoFrS/v4rofVraViReoiqyyU5lA
px3yEGvBFif4PDXmGyOZ8Wx3ElTeSUAYZI9dVrtf6jZu5SY6hOx6LsutH/nZISWJdlgtT18lvkf3
vTY1/brWMiu9oBQogE+0WWi/WdT7HPA1RmkGeRXbO9WJ4dmAoSQ26E1N4kJ1aejtUjqM7DwylwRe
FiZ2hshdvGzxYDf22AP1ADda8BQj3lT0csYuWnp22NxWXia3FKQKpLXKaWV0pbbOM3o17BgexR82
R4A7DkvzgiVbLFTidDh5Y3N+N/WtfmsOmYi2NaXfW+zOCsBWiNH7DQ6PrHblhjwle8Jq3NVXYPTi
4no0mjG8g/qZUTdTknjS71/IPTHZoaSmd9+wp58xsXCmnOlJ2UgZpHG03VrspAfQIWxVo95XtViV
k+3GX1uHucT+aVRGUm/skIB1XpI9OW6I0yvWfgwRlAaoj/8eKXsKw28eobSrKTdFmHje2tCTZuUC
wUBPqEpAPaCEFsSa276ACTF2vlHDkompxMgS+s04WvSwPLA+2y4D8J+wjZwjYZ3irptH8O66TJBb
VIDhedxmu847345vMaLHdNtiAUsXmmlG9s608pZB20Vev6CbFIsF9ffqnN7+KQzxERA8mmbcm7TG
W1cEZPkSg9rpygvZHC2jsrdgLVx/9/tncAIUfqyZ29Stam3LctdzFIOBAqiUFkujoEO0zZKqGc9Q
V08g24/Vc+lv1KIYTWft+pG57EajXNWJTD53EcYRtFs2ztB6sXDWg1fQLDKe/ToqAG6oM4y5Ezfp
Q9HyFwhyVyNUI6MQbjxqVEHcqF0o0mvVk9f//imcuj1HMO4O/gMwANdZ+3a9ggZBGgKz6JMHP0Jn
h9OQdA7FqnVEj4YFZQgDI/aHMwjtU1/98Pkv98bMpOUojXtjzoUbeJ1A8XeuzmDpT5BrPqTcfjm4
2xjFCAOOYRN7wnxry6QYF7qrTHCa+MrKQBKHFOy2nSPPmOudup6j+e87U92PXgFHyJhAhPbK3vde
b93//kF/fPO/QLMbRzPbS5XlDiqy130a1t6q1WtRLSJvdrI3tygpWpFKRF2QCdmaN1qczOlXo531
cIkRhhXtYzuV0aNt102ytONq1M55Rf31iuMfi5vYccTu4aMuME/aXVKYj3ktb6ey2kxwwX9/7X89
i3zviBiRJ2A+zY5TtOFwxVVeVf207ZJy+7nDH82h3FdhUQ+q2TSW90MffGRyfbO7M6IxObOInbqA
o4lkeoPuDAmabv0IQL/OjX1EtSLAV/qTl3A0lwpwX92EzsymIawicDNvyFBv4ka8fe4WHe23HRVW
+pw8AdLo/aDMPai0jR9+TuHLPzaJFGOU92kdNZsyS55xNL6vG/ngDtGNrM+5eJwapkfTBwMuzOnM
rNnoOOc4Wb6xjPpy8ovLsfE/OUyPaFI4FXShO2r1hk32xY3cS4UtV57VXz71DI5FUUJQt1kkU1Qo
uVeBqCOg+I4fLXq7PbMinximx0oonZXWWlqJepOJ6Wma5js0vu56TTz9/gL+eoH0j5VQdOozqnT0
euP7OdJtcVoz06aqOLPknxBB8Y9FUCjwpfMAWmuT1fJp9orbxq+haLTfrVobV3rlPiUe9I4SxFOQ
Zl4P9aUzgrw+x5M+dX1Hs3xICXcLHzTqDKcCOgAovxHYzedu3tEM77WSwudU1ZvImWPUCkC9VvLd
F0N2htx74tsfk/tl18WpR0oBfgppCjR+l03uumemxomDH3P7G6XR5Mg5uF915Eals8vKz9mukU3/
OY6wVaWLaCrrjZJtJzcg4kH/k1+inva5W3+0saus7/2mCOXGoS4WLbPJk1BxBC2/M8/25Mg9Wpxg
oOn2CEN8U431drZAp5ja5azmLbXEvQ6W1KuRVyS+zkTfBVWif63dc04rfx0p+e7RquV50+Trgy43
1IKeUiiU1DRkoLtQSKdMveSRu/z9bTxMg/8MYPxj9ZYux9G1tUo07ue5fB/mSV0Ys5l9y9RUnqM1
njrHUTxP/RmgzXS4kXFaBcAYlzIz76fc+BQ7GDjzn8dablZjoXm93FDZllvV6u16pCJwZhc/MUuO
BVwGa7CUzEe5SUNnftGrMNraIKLOeXSdOvzhpv0SE1vsHgha8qRFGdbt2uvpfQbOoW1xZhyf2GOd
w4l/OQHQxqwq5QAn0qNm2eJu0DT+U1WW35zI/qTErHM03SHDmbXbNQwju3tIovYOWNELoKDN70fp
qZt0NNmjUI1Wnkf1xivFa1mNRhDDwD1zg04d/Gie1wWFOq0/sKeQrH7VXMPc9dlZmcyP1fQvZtix
xEmdTDir+nAxaOck2hPJgVGDmq4AB9+71GqbvRaHSIL1oeer29YLPbmrhenKBZU/x9/1QFaMbGGL
cFQbjOetcUnZOm2+Tb4L87vEQYJ9NIOPuSvGMGouoslA61Gb09i5pVSGl5GwTHd4hfWfJQ/gwp1u
6zqt5y+TGiDNepxAuK1cx2rLr5MHxOe2s10t/a5Hbta/5aUHLUhmYJWuAVebBmza1FP7zurKcTVK
eA9L2RjCuRdTYSp058K6WUMQUv0WY4M52o5iQNOh8KSr7yhRprA9PEuE9/00xcZer0OQxoHdW375
ua3hWPalmECsZL1VIU3bTkE1lkvHV9XnwrFjmReACSCi6U9vKCK+DlN5I4zoIvSSz8WT9tFyMGDK
QhmN7+70IZM1v/AqsZl9sfz9RDqxFB/ruDgDrnlGkcqNKcQUhJqAAj2lbwT/Z9biUyc4WggaPbKg
KxgUdc2UEjkrgTVqrwjSPH7uAo5WgnQAAFriIrpJdcRtIJfm6w5Y9raChfG5Bf9YuSV2E70vTbfd
eBin0Of1AUDmjX3/+ws4sbPbRzt7U0TDMMiBoIve5QLP3XRPRDyv6qkxdwpGyWWP3Nzvz3XiYRxr
tlD87LxqFtwsmi+Bk9XPTVnDEg/7Mxdz6gRHOztlXtBPvqw2TVfDAhHKqXYmvr5fkdFCuOBzV3G0
vRtlYsyaxZh10f2cgDwm8h1s7PTm0dOpz0yME5vAsR5LV9RjqMUdj8XOf47SvgANXZ9ZMk7swMeC
LLKnk14rryKRrtzHUhb9lwyy1Vthq/GrQjvl5+9v1ImhdSzDMjj1bA09fkV5DSQe1A6E+gBUinlZ
A56DOAEpXgUT8+Xb70946qYdTfZRlrmB+i+7vl+99lU/oj+enFN7PnXwo5kuvTFM54jsxFJdsxA9
PXMJbuVzEYV1tOmPulKtk1AQQ5svv4j9MttDu9CfP3djjiZ5m5ZRFlYVq3jZexdxaemv5MDn6tcn
7syxMguy2/VctER0WZjnux4VBByqunOmnidG67GwCp2QXiSHDc4v/As7l9fEQq9Wop77rjhnj3Pq
Co6ndGNM/UTuvNFUab1D9p7f56IvujMT7tThD5f2S8jrmFaZxikyII7rDdouE6WxAMQwOmdE1j/K
u38R05mH9fCXEyjdDEM398sNHohddpuUSGMs0CY35XJsK+0RBY5rzfcQ/RvaVhlrTXQHV7GiRkEt
1hznnO7/ifX32EGvTaEb2ugKbthWrr1h3oeuuYn7cxXSE/fxo9H3y2VGk456QVOVGwGuAlRDnGxz
Ccv+95Pk1Jc/Xj1QMfGHzCoAB9F7A/bZPFapPWxjcGnnZKRPXIF5+PyXK4CGTIidEnyP9K/9hVak
VGJprst8/fuLOHWCo4twdWsm9WFtB6qUFpcZLXFKTQienPNhOnWCo2Vw1vvGbgez3FiWkRCtjdAz
KJTZg/jc9moerYRuOxdNaXICqHBf2i7bxnP/Atjnx+du0NFSmHcFffl+RoqgKdsFUvE/Z9pXZ777
iZtz3IeM6tkAjOkVm0G317mZXZhmeyaQPbEMHjchC02DLut35WYecdRNunFTxuYdGg9XGkyRT92b
/2hExnkTgYxnfjm+tbIN9CXwrjontnRqfh2tgiO02bLk2W5Ac8+XkW5MSwh56aPtx+aZ0X/qFEeD
0xZTZbmlXhAqIwdUC38bGuZDreZP3qCjsdnIMopCgYaIsOPx0u+EvmQ3Mm9/f/tPffujoSnGTA20
rgmPrTg0d8KxnXkXd6mtlmOuVd7PT53m2LOywFOghl1QbMy8v88rgKwd8oZGuPr94U/MgWPTSity
+yyaNR6zpSOEoMzyICOFEEd4Zjc9tdvpR7t1NdSdrzcR0QxQLV8TWwNOZm0XKx1tnrqa1pVjXykr
/KmjNWEm58rTJx7PsX8lcCpIiniUrtrZMrYWfDcg0Zp8KGOn/Nz41Q+n/mV7yJPS6HWzzTdJH8q1
0Sb5RhaWs0FSwl/+/vGcuorDY/vlFHLWCh0+Sr4Z5vxHBTzO1HDRVeF8pkNw6vhHG1CvuhLkAl+c
0N+PFy6S1q+J5zQ3cy6q4cw6e+okR/McOC2cPVhcm7nxvjsIVFRx/CBTdSaeOjWEj6a5PejoLndF
vtFgV6TAI6340eu7cw5hJ/Ii/WieJ2YLXRDB881g4cJh97K+UHH3JQV3tMoh7AchqiZnRpTLY/3P
yNA7NrGEQNpPc8OlGI1xlSZ6gkoqkiSOYYK+zxA3+/2o+us75h3bWAJ895TTEvgbIxifZdLjKRug
0VC3n8PgHBtY+sMYSoJoriN21dLILPumleA05tiQn3rqnjjcwl9mhnITyvYjHPDIiCaIL3AAr01T
Ov2ZS/jI5f7qWRzNbteGA+kiaLSB3uoUNxLWvbOMkV41QMMZzrAGAA0hnCa9nm3SJvSdqyL14+rF
gDqxkXkkF4Vna/deNPm0lRSOm90KYJKWf5GVidzEiHhfveiddPphQdvZDzLtLhDPGtbQ50Z0SkQM
wFwvEhuOq9EqYORhPCtkCDCahUwaa/PSKrS4vbIqqxELy0QU9lNxl+cdDXoVT1NURJim5R3aN2Vf
YpOUO/cfw+///Jj+b/Re3f5xE9t//jfvf1RSNUkUd0dv//lYgQUu/vvwP//7N3/+j39u3qvrb8V7
e/xHf/ofjvuv8y6/dd/+9GZVdkmn7vr3Rt2/t33efRyfb3j4y//fX/7X+8dRHpV8/8fffkA37g5H
iwiC/vavX+3e/vE3Hv4vM/Bw/H/98nAB//jbrnyryvc2+fYf//P+re34d9v4u24aHn6pkMV845AZ
ju+H3wjn7/QLTR1JEFs3LduiVlZWTRf/42/O312kjxBlErZn2Ch78E9t1R9+pRn634Xu2LrgWOCh
TerN/3Pxf3o8/35c/1X2xS26al3L1/nITP89Fzwf6oTJVDMcHMgMzzj2UyuHzpCQx9izozrc6KrL
N7qf+lfVpGHk9fGqiGEUt9q8T82svEXtQ7voxvn+413RzNY2b+Zyqdmhv0xr4fEqU7exww8NfPce
guq1wCI1BE7/rU5NZxmZSt1D5h0WTLvmC72C7ylHfdMhmYjWxzRai/Avitr6rRf9T8vonBckjL+3
pX6HhchwR5NMW2t9M+0HPSHJ9QaxRuNyujOjTF/oqYQYHMXPuddlK+WCVV+ZoT7t6W0WS+i2SH9a
hfHQZcN9No/qNbPHYhmhaLifkRN60OPu3lEzIL3OH8K1lPlLaY3VMoHjvHb0obnzIUDffXzGvP8p
rFjfCxVfx7YePyirih8iI9cCNLqKeFkemNpaallU++z46uOVZjfJH6/+/dkfryIHOT+4rosJsO4a
fpd6LdMfqW2KL848IX15+BhS0+VcpsK9iOhnJCgcXGmQWDbR4RXWMv969fEZzQkjEEkvLjGYFui0
P7RWX0DKNIYgAvC//3jbFnqzTjq7WhmiXKguGp7hI2YB/Nzo9eOVNrra119eZdOz131NzLG9iQ4/
YBC0N1DmwO95pbf6+Cz3qzPQrI+y65+Gq2cjlyoM3RZskcI9WsLNyNBMjCaIbubrvBXt6zwI9KPS
ZrxOQyObn3N94r2Yq1sNEVLokba8sjWEjOputNBcmOqHVqAOPrtoqlg1OVDjuZAtUVy81TUryGwR
XZmVSMagTagThCXInbXGYLxODsO/1Mp6LXU5oWrtJpedj36EjWjYMptN66XzugScfZpeTKm0XgCc
7xPx9ZcF5l9z+M9z9iMF//ddwJyY/osHItLyTcNAsOjoLmSeDbIA2uUuBfx5gdRPez/N6YoNdAos
ZJ/XFTax+48fCAySA3zMgRAFARCPpbqYkUFbpn2iviAFgnRjk5ob2OyIKjqQvXO3aL5WSG5aEdIx
bpEgbiq84TLszexW1N1VU4E3+OIbNwWWfzDMYeXVZQNNyucn8l3O/uMHX7zamFb4Jg7TRZ/7BfyZ
4mZC/QKCQ5FtjdpnDE9oOoYBvoeuvSW28JYIgV2mnR2+T3W8MwZ3frXCdl4MDe3QyrC9dR7K227O
0sWIhk2M9084rD/ei1iz1yE8aXTLyiqmn2k4e2iDMl76MO6CpFJrR+uchzadUIbxgQ5+vJVVHW1m
rZ2WUgqX9qVdXzSZxJ0hnB6R/4yu0LTJFgA15Ve3aMvF3IVIpoZzuvtjjfDDKg9gQyTfELwLuiQr
fpQIbUKcSy9Q9IOvB8x+PuARxqvCm6o1mkJwd8tiuvr4THiZOy5D+FCQtdVtbvnRQ2w7YWAPTUoX
iCUFHYTuytP0u1ShSreoHeNPv22QTnBKtDlQcvNvUTRUF5aGy3WbEp/5iWNmV6YwjBVEmnI3a4O1
sbpW3NPIGgMJcPP5jwtJ5+k1hieynQujv0TUv9hWmW2vZvhna5mNe/Stmj2SnO2NfZjxHz8+Pq/y
dv/vj6DjX9ay1ppV7tNqovvbriILZVRhsDEEXRnasCpUsvFn72cj8/AxMZRaG509X2ReKq4Ha7rq
DXTDlzYGzYi9qi+dl3rrgpfrj6FranA9beXvkklxyJz1+KrA8+aPwa5jaqhDRLz3BcIglZd7b5h4
qv9H2HlsuY1sWfSLsBZcIIApvU+vVGqCpZSBdwGPr+8NsLr1ngZdExYIZqqYJBBxzbn7xOnwo00L
xhDHASpwWRenBqDVSnON9gl1TwtUyqrWXphN35YXdPA8JwtX+0dpavLiVTTdrbjoudrNAYWaN9UP
nTsyF1ozpjQo8QK7yYXin+kbrDHEy5BkwWNki72KB2dzvxgyYTGb4cTTxujqYBsNtPoZ9u/Fgwb3
ywteQf+K7jkMV1M1bQJ4ddCJgUCga4l/Qt06qPIwlOA1eysUL0BeqnXNXMlhuZizyBs3YVSeu6Sv
93XYAgKe3PalA9qIkGR0AEc1wfDG7Nyuc8Z8Z0vPf7fM8QgbIvsR6vY+6NSV+WPtp2cdljuxU9Co
LK2Z3vSkGLcgcINdkdlfy35UT6rNtBOTQ9+WZ3oSmYe4AkNICKsdsOJM90ko4i+jVj0FpcalW2XT
WW+BwJB1tWvBaOoTwzI7Q6riFo1hcfPzLrjq3q/SaA73N2up3j36Hf/vAajSR5tXIDc1dQlqCF9v
JhPmm9b31NPyFpiOLld0TZsjUlINdHNY70Rd1k/LC1ZbN8d+/mGoPiz45OF7UY7jrXLz8UYJqNlk
0YBzTusNN+ZfM2ejy+ZK3oOUQg8aANJTerW7RKzAANiXFJvs90Z9qbjzvji949xa8assIDSkrn5Z
HvT/O7J6hvNj/N68TN1i/v5NPE9tESMKuWEKIT9z56zFyGyi7ppvJmRuYhF/o/rSuj/TR23T2Z05
D+Hpy2sYGBnrKAr9fUdMdFkeTKZBZ5k5gITY30aQ1DsnL9+NKBWYQBXJLqW+a8biPHr2N/IY1hdG
hF6MibEEgIVFFjevE3zw9WCZkNtM2wbxwNEwn1teDcryd1JG/QNC4+pFIU8xO8d889uqejGB8Ymg
X2tQNh6X1avVmUXWdTZUp+wIcZbVPhglA0FuyjvVnVbt6ex+zRzmvJlbShHvDUm190czY16qFue+
SK6hHrIFG3V7tZkzWZbO5UGDQ7lqKl/bVnYbHZPWe/6zFuljWp3rUf7H8vTMGGN+a0kzbynch72Q
Bmg8j9nb2KzvH+P9E1w+zBFw9EXyXU0EtKgYuLSq43Ln16qLz/cFp/GSdK1kZ70rQNE4+DJ8L3Tr
RccSeTktfaNcYfupMeUbaJeiLrNVMOnDA9a/9dZQufUmU/0XfnzW1SthWKZxejXKsNvWfWFB83e6
cF1Z76ntQxTlc770jVm9S/m0rI44SXurHk7LugZIg59wP351Gi9bZ51dXTx0GOxwjg0RJZJbPw3T
o6kl4bU260/D0ti9I6d4hSma73qlWUjf1XAZZWhuXchqT7EMWC41zX+svUi7MRQHMLBrtJvbTPhi
5vpDNmTcYK4IoH0TxA6G6MlKkgHuL0fAFfv70XIuGNp/Xh1aiTdxgt3qnx9ejqDjueso7xhptMI1
6sfwazOk9iGKi3TXB8X4TbVM2mWt3DWyt5Nr5jnArkvGIFmTlsXAyobgoTMUdMuDbkKCX1aYaV5m
wkxeC0eFu0DExqFodff854iCjXGIsWPZy2potiYcWejc9982TMDi970S/Hl1yKUdXOuQ9cpUUbHx
hWWvHdOJDlUW/eKDrZ8jmKNPhfYzD6spXUMDcvb12AXrSSkQn3bvbopE2zdQ0Ze17897hDZ56Suj
2rTgfQ9R2TgPfSAhPqCi+lDDcA+SqsDdeM61Alv41pa59mBJ58H3fIdmp8YQ8hTUD2WBvgSOJdHB
/HR5GOK233ZyrK8CCP5kpV9j17TOMGGZk2VmeA9k0l0vf15iRPhalMF4dFgDl1O41az6JXBj+j+5
BqrUtnqNaiiBYLyt8Wmy4+gmoRXeKBbnN/qi+GPU+8xJohvzFeULG87ZKcvxK2GYtrPnHVZPrJfG
sTSyEPgmOrf5iQKKC3x5vvgyMabhposhWSzLwPKQeSzK5lBe7iuDL86uI/onQF17MxizH3zS1oqd
JzxAK/u+fMAgQJKd1GDfCvw2b+LTtAvzXA6Ww9rENzSUmX7Wu/H78u0hw2meVR32cMPqkn29ba56
rH4sf2dvpuYDzJlgV6Oj2d/foWZF6XX5P8EwuYYVXhAhU8CrMtKHA1A+ecnsE5QgYha3xiXZCmGa
TFH3lU0aYtvgHVkKrPVyGecYuUEYVh/Mc26r3M+PegV8HyrB+CUN4oeKJPAAktjYLCmp3wv4CrVc
FyQ7t1wXX+Mgzn5kRf2dseroVJmWsWsyc7VsLnHRGC+KZ/W81URhaLwU0kRJqYe0yGEB1ZO0X8a4
fvbD2r9OMhcYH5U261Gkk+HZz1ZrMsYU+ZrYVUMk+o3TaC/c+ZCYYlxIsoqxyQJqXc1Q6vF+JVbO
dYa57r0xwil2XGNAWnwjPs22U25MZ82qi12eeDDg5we3HfX3+1PgUe+uE4BL8oljBtwl/F0wJP3G
KjFL6BJlftD4BvdgW7/rtF5X42D9AFjUASYZiydDZxwjb6Y1PTzgLFPDYGeUZ+M2geOyVvmodo02
4fUAtudQlniWNpXs4MESoldz2J6SX7mufc1o7t6cIoXMKptLN28hznyZE1IVNyzfCOMHQcWh6aEn
UCbEfkAPjV1BSaPYSMfGzIyROvtQaeUnQZ64MJiO//acjBVwMOmnxPmp1qf1VKKGHKKcBJOEL7ja
ln/FowmMh2WLa5frjwgv2TPMLjhldrBjZl+dAUqFs8VA+AJNNnwhcrzBX+CjiknaVkHmMXNs+aS4
TWdrtB2EQZSQBuN6qAOouZnVajuly4HUSn/PtFxtCo3h5uUKEbVlHopo+taWCTxkU3mHZpTDVzCR
uzbypleLq3EdNGBN3YGKt2sJebVZmu9HfdTq23tNZAg6fw3Ej0SMFOFKSeaL1Rspqh5rvDL7bUwu
gX+qO/ZjG0bJtu0L4CBqbB88TT3dX/W7uD25YQ0cA4yZfvFyj8iqJWa2Kyvb2VE7nqH6jOfQ6ro9
b/Rxefbn/J+n7sigdjrpwbYxJgeTtOUx8Sf/HLiWfqYD24yC0lFNlJP5AT+yvChKzz8PY+Wfl6dj
V2U7wFBqVY/WeHOBNpDZYk/KQ+1MbIphoDWr2DAbho/m53GTHv10zK9NUb1UjSbOIFTVUzM/BEnx
4gSjc9bGzHlMioOelcy0F07NJUtZKIzm0pRff1nO26GEKl2Jb5UrtNOYauOrzMyr0sWzaqb6+Oc6
tuYrukkGojg6HXg5JQ9j1HWQRGxYPe6UPbkKKpwheybMe399LzRNefAYjmNUb+XPIUmrR38u8nmT
GB4DA6rKoB2dtoMuOYfvJQr823Kkz3utE9sTtAFebavQxz+jDp2vhTHuBrCGG4Ro/TnLC7hzBKke
jjGr2i/OOqQM8gD/kizprmZw6cEurT4LexweVa/jLsVdORIVjqssgDMgGUfbMCbB879fyrq+BPbB
z+tqYrssvXbdSVlcNaBoqwarxrdytKsVQZh/iuYqXpqIo83OdbOrnLWuNry59B9c4c9yP04VYvNo
HHCXgocQl30HYhilOyJdkI5edq28UV4xiXjSVFw+Ue4/DSgt36JevFRLVTAerHQH/6/f1Y0brZfq
2VJMW47+vPDnHNDeZygL5TGMPHnFiuI0ASQ6ybRrKcDM/z8B8O5qurKHIVw9BzGSk//4ltwAKliV
nJbvLPW78REkWHCxYqx46HA6Tl89LGuGH1ANgtxGxA+aAspjKPfdIKsHNkDMZYQwD2ocjcM0x6Na
Y+vPRZUYz2OvpQz2C+O0nDPtKrzpXnxZXhRR5p2TUfwwbanW0orr4zgWxmufK24Zw9QxK+CpO+OE
Gj0PAAbx1NRl/EAd/CFMDIPYFDxMRovoNAjxu7NM64TRgv+0PCj/F3X04TGcz7gQyK9RNNyg1zu4
EoHgXplZpe82ooMXeb880tJ/UzAo092ycqC4j9euAVNm+RDStgT14ovq/jQp3e6pgAX5zyc01VhL
zAXYLKNObE/Bd6QI1c3wAusNSuC3snZeFYjACUhr5ldfanjEUWvqX6GMr+6/2YWNtzVFY725VTbD
ViZ8QubfX56ynbd7EdrtGfVscAjs7hyOgXaFJtI8W8rML84wfimronl2XK/fjTHTTv9x8RvhFwXc
ERj6AFh63g8qYYprlKsHDf7tJYvUw/1aXi7r5UHTyq2rtK+GYXWH5XcMs5rOgLd+6wD+9+aIv0S8
yiscZJzEjo8lnNF9FHvVl4oVoaDVgYvGsvel0jmHfEAY+kDcGHTtA7IvOK/lnKIQtG77ydyS35cr
EarwmF50I66fVG6rp2hygDhfluPlbJl1+dN4wkanpuqOc7KVRheG+EiB+bwco3FPRT37zwem9iUa
0lcqcbDY8uISK316sxkHm0qCtE6X/sGaItL1yloXlUnpXy+C3VTlwfa+uuRe76yLOYPAWad+Wo6q
UIPM1wT7evDrm11ggmSOKvsReRF28a2C6qv4Aud1NUcjuY2mEZOyebUBV6LgFGTjWZd1u/dkQ5V9
3unnzb8U2bhpGQdeU9hkW+4wUDghaX5XHbmE1r+XU5BdgpAB8uV3fNVt4WWXJ2iom7+W2GWxhe4V
XTCL2+BSorYlI3fbYc4CYR4qSPzviRqSi1O4N99pnsh2uH27dOggYXgE+p3VH31SlFXYaxG5P7vw
/OkGdPfX9281r+H8g7ilaSnDy/0foMRGTBt4r9SM7WvZWL9sO/EPAR8SblyTeKI2slxKA/XXgxbA
zua/TDbBa55P2LXgiuoPGvSoXyGoscSJSVDmhxZO9PYepmg5IyrLNbpEQontY1+UMAEJzknb3wvI
JNz5CbBp/C8SB3OxzP6r2k75xTRI2+g4WH+LOwNPlG4E5f44pbH3mTx3WvGtHtvmhhlJfunwr9mB
r8tXzqjvMxvTcBor8MAJ9a8BIfEcHOIYti4xYaYgVVHjUoqFNHfGQ+Fx2SYyzY56UF7Nrugel1PU
ApGfiOqjBmt/0vrUfew63cB7dPQ+rUz+XP5Vo4B8CThvp4miPcmQwItyOdhipzN2uW5vB1NvqXo0
dCf6Csc87hnYMY27EVUo1nYiy22aEUIreQBBY701Blh3WerAoHMxPSZ++b2rXOPJiCzGsfv0p+Y6
4THWAzkH1XQdc/ugt238m02FA2c4UJV2t/xyc8o16J1aTra2lJfCwv7Qcqc6LvmtVczYNjoTSTkk
L7AEWaCtUO0cHXo+6Pfx1VfNq1sa4ScSEEo7sGq4zbKRdTyI1rYMyvekTLpdWk7Gbuin4r2IoWRr
0B2LQNaHJXez8658HMGEa4y2XvI+e6VTZ77BIQUi5I0P3rzwgnaXOzCPoHPIf09UKO2Xpmm6bTGO
v3Cb/7a84V4r5U6rKqCShfw2+pE4z230JTO2qGvv/RhIF01HkgpKE5rtRts+07cK2NBWUJQK+VxT
oqpkd+8OpPp3LRrk3nVy1tAC3+YpKzCSiN3sMaPRsM6XK2nAvevZDXPmw4ziWmrqK25Q9q0aa4+E
CSiUOz+VFVi3agrVank1lT5OVj6uRKaWXszYZ+nTDFiL85I2FZSn/XCY1rXdfzgtuwQZZqCTsHhy
WyCcvJfSjX0Ym7+yaghfCkLlJ11E+wKKUCeUTVWZgocawvwMKvhH1BcXK0+0G11m/rUUt5uT288E
iNwr57fprzxdHSsj7d9ljM3OgBT+uWl6hQhKd9fAPmHGqqZ5dhM3XNHEjT6hUcXIWnV5MpMEWF5s
MXSmB+23NB53GQXsi6GPYkbhu8VG0zX84dzmQZ8LLmXv6tRSB0xVusDceQ3Eq27uWCSGY1xQVGyX
IMsuFNsVMZqXVNMJfHu/ItkXL2OS7I3Crw5OrYHzdfT8FUI/VmWtZT66EwhEILpQIUT+DTpVDOkj
NY7UC6bHwPTWMW0JSvnW9KqUWW4Nq4puzAhXR6De3GUQu3cEM78ElkAXx4ywI8yLcxTr0Qv0sXKl
FXb1kbseU2paZ6xlUCe3ezeoVPgwMhgXwAR+8/LxOWAtvCVJnxxaJY9SG+UtmBHdiczH9bL93MNg
KkG1+heJzmIm+19rIn0amniG7ghUDPLvmagsgFacO5045lJ8eKUbHKcuil7AtYDpBps1o3lXS4ER
fCVsXUwyDuSZJ4MhwluKlcS29K0YcjdEux1//nRFC/HbjIvfsBo/lyirGxP3ND8rcT4IB5H90Nzh
Ezy5zbwtm5JFn/RSOrkGHCCPXv6lyerNEra//kJPsNhbNhoNz/xbBu0ytpSMtKCP9yW9NJ0XN2Bc
OUah++HVYbZy09EnuTH++a6oN9Cww88j2kvrMuhG+QTna0JJkV9isFf7ugnMvV/2Jumx1d46VTmr
Hs7gk1YZL1HURO96PtdLASiXVqkx51L3sOXHNDr3tUUkmlnJQ+CCJCzml3G8sBBKaMbJCtT4lcS4
HVjkVarFT1M40sCAfXwTQw38ye8+ogjuLgO+47dGWNQVkuitbdV6TFKdGIVQ9aLGsxJO/6qn7zjj
GQ8u2RjFgaT6ML2q3UhKJidRmdq2TaxyyyRI/TCk6jkQPQ6WcM0v8aBjmTAf4bXzz1FB/L/Gz+Z5
KdAt1fw6DtiQSiD5lWHecDG03nqp6sPICiPc9qcyHXIsGvna1rNRllgaBZukU/Y28X6PS4LnKeUT
A7n1emn7hYUa0FP4Fws/Abh9mB0szQgC4umie9896ur6vDPmGFjsdG160FvN2Qah8u9Hmm/4D0Mu
nK1llu9l1GWnbn6GeTCA+7ZP1ng+7GA3Dtflf0jhHRPLych3QT/sliIbuCIWkAgUs17cMqnlt1iZ
cGLnFVFkZXpKQy0/+TrhXJLIjYWz7wV2dXFzk+DT4809ao2Wbionza8+VyT0GVwmWXU87y1WVb4O
Ye6fB1O6n0bLXkCaERzhF0ZbV7Pk9r5dxHZmXS2NmJLLN/oxxj9MF8xwX02/aa2K49C0EjMvD9FG
5gH4N8f06f4WE8Eg4L3aVCVVt1siDa2nCZD7XzAbzV4H25zNMaBUj5TvDzBIxgfKR9s/JTAR1pTX
EvecqN1yFmr593KokzNubCE9EfuQWqm9cqdp72kJvZdJ8Pcb8Qon2/1Sj/nzsBRqChOBQTh7UpnL
BzngQkNBpNf+ZT0Tf01js1R4TLgaDmsZiisJWvi/xYdt5wda0KThSYyoidYC35Z7nUlPISS5mTZs
gxGZc+2Cc4WjvF5Cbs8K8OcJGb2ioV3uJl1O1Heolt8/SRU6yToVOA1YWUHF3LHb/Lw8xwcEh9Mk
zx+DIDJ20ioBIyaC0i4yHwa9g+gFtqi7njIJ97Yt3zs9bZ6XB+F8gh+InkTdYgUV98aZEZOBKCux
j4N5weJ2eqVaFay8ItB+ieqqNbl1mS0QKBCF0UmlQb1eYntLNgCGY899SzpJCSfERUR0W6c2nZ8y
tH7ITK/foHF9y4U5neyxtW8aaqNbGdnqgOnIb88Hc8gNfnWlQzaeY/qR2G21Dopm+B7n3ay38X9h
yvGYO1ouD3gN0rL1PfFiCxj8oYGFHabZ7MN2GZ6bMLH2wMXCzfIjkwGS3wT5j60Tzc94zBgmaNy1
08UGY1Sm9YaK+uB4Fi6yfvdeNPqvgiv3qz/fS6XEYXH+NWYFzYuTxOVKtoO9NxIZbXOnHK420Otr
mX0ZSWIfl+q5qzvNbmJs1e4cDCRLFb64KqmvTdVdY1uQouUnnUroLc+ifBWkyfi1N+yP5U5hmxRr
Z3SOrBg1S1FXP8F0fSvtdjj/32kzxtRpnegasMdVFRj2l1AIZ6d747AVfX4EyDdc4eiSR1Zi7gDM
IYAtCv8/ytCWqPcahjfoyv5XTdZ//rP10P8by/FlCeUT4a7qXPWHIMBZLcabelDJeIvtJNmwhIIK
1sb4BmGCPWvoJjqLHfzmnRNhaRhM0aZ3WpZUkQwIIj4LHxt5Q8TuycWxDPzo6Bqb+x0Z+tzQSyod
Y2+RpZr3EtItvpoGN4wV6Ru7QlhrV174MtVoQPziDTfS1yVPcSuzfEjz+JXYD4PhObuCgGqRaWgF
iars10YcG7N3oN21OI9O2JQk8hMg6vCWw20Hhq5FpyzGCHVpf1VtHW9wABAHT8pVDlV6SNriOUta
jbxBtz57sh4PuMYp1joNbDb+1mOrlVg+MKRwV+NAPrrS3vU+DW83TXV1WqqD879n41v5WQTdEdmQ
vb1vzni42DvHmZAK0bRGYbnPQltuwOPGuEYL7xNnlwJigxW+NEX40IaAG9xEHZcIfYnVA8pSbs2q
Rv1IHbWoe10a2subyVG4YWg8VbsqT27tJLzToryJMdc6FwQkqXIosKUpThPsbCuptSHhLi619lQa
cIzdLcC+Fn3m//6YRiC2EmbRnTQnth4hcl+EYa/jvgt/FbjDDQk4NTRIGSjXNlkvu41X5O61mku6
jlSPPeSHC+DQlUlp4XFJs5hdlgedHALh1JB+js3JVhn2iMDcj17QugDhCoIGu86O6EjkBq/RHyVt
jldFDRZFzLhdWoRLN76dfUWprpxlOyHBC0bWEGx01+PSnohjhSaE5ZcSSsD9uxprP7p1LAVoZMZD
bDjVrqiG7NjH/kEhSck2PRfUvhwF1hdxgXWCxruWBqR2nbbMJ9LN/T0F6rDYOizvI6UnS9N8yHY5
UPTbnGktahGHaVfZjNySupVZG6NO5Zf778ax/31y+n5fz+UrV8niVLXVR1J6zbXGU8wQwT40SV6O
+fzmclxt1losmi+5XX9qRXsM8gyPP5Py6v308gO9RVVExs/3H+8RLpa1d3Hi7LaEx8uDnhd4yPnV
2q1BRLiqEQeuAQya62AP1bDZpp362caNs03bYmVyLT/rwceS5qAOtV9Yn4wVd4W16RrSoaUcieJj
9l1kyrOLipl6PHdg4OcYp1ghHRgms2Rqyd+pwuvQywXGLp2TRFjn+p7Ru+OSXBVhDe975kDX1sPE
UMJ3FYtvBjT8V1Or2PAdb1YbRjCPG2YiZp+sGjTXrk96tb2XCLScS6GOjC12hwcawl28HlMMBc10
XBvhJLZLQzH8MsBDe4sZp4rSODtHrh7yfWXY+cSNeqwYhkElOczTeqrZQHIvP4LwJywqqh3k8yvc
+cYLgMuz4wSi3lW6Ak5v5MOOmV4ixNwaDuPcrRKopI/MNWEROfetFuFVuqvteYiUGt4F4n1xTsPi
JcCpoeqC5ry0gIFzlRs97uxfnllYV2YE8qF7kGjEjv4cAYUgoM+ymr60eg7lbG7syIjGnGMH46H0
p+C6POB76V/un4Gddhl5PnqZ1V1V7Zf2ObCT6pIkJiUQWQQH2HO/W2Mef5z/TvTlfMkuSrqRBWrp
Ky8PtlWCkZnPLWoJ2Ua3tFQZxjpoBLDc4PbyhvIDX9nxCDITueXQVkcX8P6LAyrsqEjtyIXFISGR
/bDj8GAopX7PB5ZB7MKQhHWO01TfW4XrcoUhUdWnUm7arqIKTzgV7ov4LUW1SVGZYqyRlQUMkumQ
eYn+BdOuvRsFzk9sPL6PVHfOQ0hN90FDgbvKdSfbaHi0vSxHeRV8LTIcTzRmnm3byLa5BYJAC/u1
MF9LjLLwQMDZPB2cPRKi7uAWTnMy8LfYS6efryy7ukgRejsXt5pTZ7n1g1N4SDk63zijDBebkp58
gePdG+3O9trZhNVyqjMa3HWZbDsbh5Ra8cb/ZaDHcOdhp/9IRCWqTMH+YumebUvp/j3djyVBHlWt
ZlJqmb/5QEdn5LQFikE+ueZmY3CRa7FbbDO2mI3da5RyoiF7tHL6sklGOwzDkXSHOJVWdOVRAm6q
5CLllOD3t4Lwxp/fDu14Kyq7P+Jjqu1NWRdPTRDRqhmFfpZ41KyXq6KpFCpvtKabFpr9Nh/N+Fq2
3WZZIFsMvqSaINDL4Arv9nER1ytfqI2b9fVZVIo+D5IBlEMp+30ggqNUxiynn9UhIsOcPixofErz
RxEkfw6KWqpdXVDuC6EHnrwGY1jZGeJLjFJ+J3NsySuknl+cLJFg4XP3ODJ1+KWiAbPSRopkMIWA
YjaGOCW+2+wI5bK30Xd/0vgVCCsrJhdl2uyDQHbXomIjs+cARETkVqnV7O+rReyF20b5zX65qSrL
+s5CXxwghfwyhtje4WxOAS+UGkXNPjnbpnIufx6K1I7WIaZYmNr81wuMaz3g4JRuLFMiE4AQTPmI
0NTEe40p9Y7SvKvjOInpzHtluV+SWRnthyO2xFlyouJjHARegHiLyp/xFFYw90P9Jc3qj1KTVFmx
D/tqtdR4oeJ8trkRQiSwvUvhFhm9ys45YwzWo2BK1jq9ylU/TPWhNvBSmOa1o65t57Q8vXcDatvE
vndyHmq//bVE92nyxuhU87MNUzprTfNBDZ4Uby7/LQ/+fJTbBYXlcXZXMZAbqXFIjgbTJc+FKpJn
GqvrslTx43Kqxe9wXQkMW7d+aXxPA3f40jk4lKRG+jt11hSs7d99G32bZBseVIjAhy96uC7RMzUm
hEL1eNRC2gyoxzBZoW21MR3XpMVTwpGvw60itQL7zt8XaamBRr1wN8uf6xJsbf+lkrQAvf77Brak
6VEp42+jkWBZ/51aVoNoGqR28txmiG8LKp4ukqQugkKlT0Sh8SF32ihETOx0CYMzMjh4S0pfV+q1
t4N0ePKs4Ves4yTBAATLu1Ppr1FlvZIwsl4i46iHmoY2bgJYeuWPS6klqgzqbkn0jYIQZYRZOLm8
KENf3OZfCqdWbWrsSh1Sb/rKVCWy16rAFchx2x6eF2Mica+C3YgL91Zl+o+iC+QxoCO0QWCJuAUH
Z7FyUONvMTHIN4rS+KNyfPmYYprjoA9YzjjDJB+NsXo3/dw7/TnFMOQ70gYsjnNsYbJ4dMrb/d4g
YyMfPtWkRDlmMJs/++ByhHceOixZJNt4bDbhMoIypMWDwqJKzgooaX7eJYGVCD+y0lMXbLv+eaA/
XOymgfS+dYJqm80X/iIVnfqev8bS+5fYMSln6s0qyusyWFsqAmku8AWolPNkRm3yNUz9X6NS2vdx
iJDBqX2UD9Nv6gf7YD4YOaP1RXODJDeuvFnBKuhaZLVR3tL5C0oKBkbMZiLgQPj6kI5ZcimCPrmk
mmGdcswZ/pwSU/4UYabx1BWZQn0i25syjfCWO/hztaxRn/7NnvB/RxJwKT0RP1d25D5QO6RXjw/h
2o4t/+BKYh3T+H7v2rVTEh2cTPdWi95EehWy4SXYC5gg26r4bI8sr8PU9TdKgVQB5+EWp4E7+S83
hzsTof7cHPP8mdQJKIXNzKoJiP6vURYdK9NGukG/wxk8OmSG2g2OH3xMCQAEZWH93ZYBatSmfEt0
XGUWlaleqHTjZEOBX4FWn3v80unGcFRO80Rqjlvl8gKlL1ysRDxu9CV87OrsM0si9bV8ZTqTFAL7
x72O48xcS9WuuWe1GyaejI9eOYdlMqLyA/8pwiQLhUUdPTMBU24L26P23plHjJetUyiwlVmOlnPo
cimEzOeg7mU4ddvNxqnoARRuJTaqShTXfPPei8T/psnqcmwHP/mBZWiyaVXQXwfWiKuf4mS0iPGf
/3pZ75qMeZesxfClRMntuzVC5Ci4MXmFiUo59a8pJnir2fb9syqw7GqiR/xuxo9Wiv0wefZ31DiY
1zqW95zp7Kh1OogDqCY6FbROKF63mzxDL788XR5Kw9vX8Qj6Zw4/EsdwL2JqEAwi8hwQ8MSEx8cy
izuGqCNvY8t/br4EhdC2qO3y1Y+/4d0bnrUoNB8tapJx1P+KbOMXdpLZO4J+pFVuiMw7icU+UCJY
9WatH2oNj9F4HtCbDFi6bFblU96Y6RYh2s+0teWDa7u/u7nFreo02HF5raKIOYG+mPVMpuGf8t7q
jjSZOTLxnSC/oYlSEL87nvYV+6foE9PnjqUw8h4HB9aM46Y4Dw3eNfAY7EDUxmTbXOh23UI7zeeX
Z8v5ojziXJliOl2iWQoSZumMengN5sHHosoaAtVwhQtxfJBdj8nH/D51YGUrUhS5RXgyHfBnR+yF
ptu0SxInN8cnbX7qBtCDuirfqzZIVl3FWPFWbyFptS1V2+WtxV7dbxutNddxI7PbKMLhmJ4KYcR3
cUJeko6Pif6qPJpGESiAbd/7ziqYV8LlIZ0XRjGgd/j/7+kFp/hft7SBYMd0Lc+1Dcs2/sYIN5Nb
GEanDTvsO7VD5rsJMhnvJWdJOtuh89vV6j0ZmvPTz6NPY8r1tz7Qsl0JxfJEiWiZFzD+h7Dz2pEb
WbboFxGgN6/lfVU7datfCEkt0duk//q7mKU7GukAI+CAh2RrZKrIzIgd22jebuj08Co1lamofkwT
uZk8fvlDPdNZ/NKHqYZnoZwuG4q50tvYvoA4pSs3DskOtwRUEr3Xb5Ixpke1fkOeL26NevTdTDt5
yKgY8uakGhgmoBZWouopbdvjTw5LC+IRzNum81GaUMvv56ln/MUZQBbwv31eM2/UUDXkvqrFX+EP
ZbbTCmzCy1rfqjbxeiYDiARe31cMje8n8x21J/Gor6qBLfLnz+tIvA41+Wd3enTTAurZMwllkpw4
0tKJUzZAkJq0/970Vfat09IXshzFC2LwT3Wv2d2jNg7PddpBhLHrAKxRmNv/fho053fnA5B1G+qE
C4zE/1kegujfy5/ac0aScD17rxh2hjiXd2OlNiWhaJXqQIOIk2XtWSEddG5eIsQHqC1T8r3gVVwI
+ksuukZcd9nfgjR9tVLFeKW7HHYEgcbrKEjFhdYJWqKY/LUFtfgpn5BzpiBDX6cQpgOmtj8QypC8
aB0rXld3QicmkXd5UFUyYc2q+RRgKLtwBq//lpW3MPHtj97g63DhPAJkFP5et2rv2jU7lzL5Whq6
d5V3Ag+3yawHpu5K51YF06Wf3/RApaiJ8Ku54g1s7AidVZeohViD/D4GDerFNZ4PjFFM2gQa5dFL
34q+GKE/dj/PShdVlNZMNw2BBBEujTgYSZReUyuclr539eMouBrJYF5NPd837DVxO71gmN48oPyo
Htyg+DTag3awC6Y7RR10UAUdpnqNraVb9NPO2UabdC5qARFa6mdFVpfXLs/8E2HnJ/kSJe44LQzT
jE4jdvnMzxELtbp5dTJWapATlfSaaqaQe03iXaZu/CSvMiQmvtOLVZKL9tNUiGPYOuHXgTziZVx6
0yXq2mRjTtbJSjq6Uj1NTkqoEb0gr62mevbGeTlWTK26KMUIIKe70BC957GqIJ6M4FJsqNXn0BNf
W1MLH2xViW5BwxqrQ2BaBVEUgIBp4caqmu5UMo8+ijwLCKMyA3K/YmKrQwdsLq3qXUR6djJ0fO2K
9kMZfP/ZUftnv8195CNFvqOrEq9+km/wfxJfTIDEledZ05F8tPLRMofvpuLXX0zoikS6Mz01puBb
NGVnlRSq0xDk/SnVqmHv6wFyvL4/ZXEatIu0ZPS1kL+mnQ1GDfG5ititxqh4cWqzP0QJD7FvdugD
5f7732+n8bsFCn67KMepvBxVdbAVQMb7+8s5zoad/MQ8VF3GjIgRqYU/6wYEpV3LOQKhxLyQevDz
MmB8EGrpsjca51jg73SX4P5zWVXGLrB1dZFner0i5sk5h/NBnoEWOGeB5vrcWQt5e7K6H60LMGNP
afIYmjAT4U09yDJWHsxBN+jXYYPLS+JRlb94of7vdmWzKJHMq2LkDHtVJkX9y3akcUrabx8kCHRH
JwO0bc+BGOnHhyn6FgD0Q/UjEjwmzpRpPg1xy3wWL9DxLgaTei1ZEOEW+mGO4bizS5oi+oJZ15y7
3QnGpLpSAqN8lGdAktWj0rPZy7OcKK+7hMypW2sBp8xaZlOHHtiIv4d6NqxUtsQHIx0PjQYrNbX6
DIlIEqOVK49G3vmPqekotwIYfApLPNvGwNtGbDlrvIyit6iHXZMmbvyXxtad+9bf9i1H1TxHM2wd
WpyNIP33Z6dRxijWNOgOd2AqDw2KKz6/F61Uj7BCx1tpWe2LV5RPIM7ZFb2WN7smUOhk4VInuHvd
WD0sSZspkzwjqbhZ1OqAfL59G1WzfpZzPjd4g+dQbbOYLNsAAhO8mGTaqE36pk5Tsc/mMTKxZyng
cH/ufH8l7lvaaKz3SNT1rTHzbFnPbao18SRRYASJR2YSISuwZe/jrgX3FQW8aYWxo6jM6Rvg7iIH
v1za5Pet3LJo7r9vB/xRml5Cb95MsHl9/diPlvdQ6OGysUT0bCdW9Fw51bc2nCMmZJ+HiNPYUH+2
W4Vg4LUs80ozIZw27vUT9BB3MSVJtXc8kW9iqKAre4bGyN7T1z6ei8tcc5qDU1HFgj9mz8rg1o8x
kZ/h3LaHgSb+Upa4c+f1+9erW2zeABbYgsB/+QO20DpN7ZHJJ9tIE9WJBPXh5NjOcD/Ls7g+jBYi
7n9ulTrq/zpmgJMEQX0GbBFL+T1MZvAjdQ37avsfEoewWgMXcD0ihniurzzyDPa12X2xZwK7nwf2
uQOthdHezAd5d8JaAEWXiuqsccBmP3zPTu7qc7mNWvYDNsDWXgRlcxgZCqtLeQqirKWE4mkrQ9VP
6TQYXwrfWfbp5H0gtwc6SdPxOXSI2XR5lQ6VlysXL1WUZaso9nsUmOtGj70PCDUfDr6OGOeg2k5d
zT4OPKhMfNLHLFPsYzIfajNB/WGXDJDKsKAoSdJx56rA75JILJttt/aG+z21uYWlKr6gwUDeDUD/
FvmJWDZRWTyFBCWvtdwLrlHRmNusimoI1Y55QMvk/aVEk5k0f3zT0BBVsClcYKjE/ujB48wLEMAS
0qjpLeDvzAQlUZUdR8VYP9Ps8SjJPpT1NbOM2FnJSwXa9Eqh71gXjVHeSvEsfR6qrB32pT4xOTIH
y9nULT1UN0z8G5gS+QowmFv5m5EC6aW0o7tQtUmMH3GNHsUs/f7qFXjaD9EoPqURuQp9MIwfEEMZ
AoaCINEgOOh7WenKUak8xL39lk9miz9A266q1qlWcP/Hi4fWECPUOSizUNWzkuU8tsWYnFWbZPRh
sNjF9YapzDSSm4veYFy0BuqQNK87qAnforz3fmhJfxt1I/tS6MT5IKGOPiHEIE0coPfBtMxsg6Ch
Oxt14O2cpIn+4jvu/O+bCIDoWJ5nMBZzGAL8vtBCuVB0suOTbVFqZLPOGHwRa8U+bp0vWCJTSc4H
eT8Wa2X45LreIyoM47UdgmA/uJ2JOp6+suA1X1QeAqV5fYTltMRHRHn1iJzYBUQqb0iLvt+fSvcS
eUkCq7jWLhUl9YVEePWSVcU8kg7qjfyBvCd/auWDfk7HxxpG595Ry2dB4tjKNHO+CMLYkYIOc2Na
HKxe9x8hDHzkmht+NdCwMJXptYc2nuUgY77OfOpVRFG3X0V6P+U7v3T0Z9T53jb3JncjmxZLO/aw
eVfQlNyt5H6ajqUs3VzxN/IS2sa4V0cC98K83Uu0jHEFSB4iu0sl9PICwaNZijYY//JSwYT8c/10
TXWmDBueTWXF9Ob3b82MYF40U037nxE13MBwO419u4jmcsgA3z1r80GeyXuD6YVLM12ImbZC4t7n
LjO6iySxiM74zLQtPqZevOtFYBOJntHK1N2wxW7HeqrQxB+9AYJEb1YYT0zSTAXQAodPdx0gl0Yy
yRmaX1JcMFgBmAn+/wz27TGsu2ibZ+UaFWP7uWPAvmaUEx3HBMYwRi7HwrKmc59Dg5jhkF718f6Y
zwBeSDN3s4dcpYAuyW7HXU0Ur8BXzJNbf4QmjPFAlRKF2oTZS1c4FgMlguhauDwMYYJLDvnnrDuZ
WE1pA5XB0MiGdrMXteusr/NJnxCkOzHn3IKEXElu7h7RRpS3uJy+QSZRTohiYqbyPnSg1FI3EjPy
1Ldi7KPPMZQzBhotSFfWr8mqNZ8ojUic1xmYoCRaMHZ2IbfNxZrHAFkoTr7t614s7aE0jhAWXrqZ
v2GNBFJZmt3sJTPIKv3FWET6K4mw+2hyhhfix6s5BZ2Wwxjcv6gQnN+N/RAt49MFnKJrOuU6Nfkf
u3FbNgrfNvKkLLfdVV1r1IggY8LEicPsA39HR2e+VoPKoI77eWz9vJ8nQbxmOtYh8eLtd/XA2Mul
OLMz/YTT6SsWGhjKyJ+2ZlRvzVQcLMOe3hjgQkKl/O2xuFgUKYpFOkVG5cQNL2pCv7+JQl1lGR32
4KsnSOzVe9XCLhsq39im3pCvIis+a7OsQbaESAjOxm9XA8nYh7uYNx+R2CJx1lCI5MWjPAOoKh6j
gfDiHE7QYzCfRXNaceo5w0pSGCa6/EWsj9Ze0hqiNvd2ZoJiZxAG1sUIk6i/PMid2mFwRPcsD1k9
rKBiqg8MTbpnILFuIUSUH3Od2fJ/t1h8Qb8tBHx1Gt+daxHaZKtAYuofAEinuB2unHa8zbp48DfM
1LtTYJOEkZTj1g/T/i039WjZj3BNi7SujrmnbO7mOdh/LOYn/MkM0LkWJAh/WOWhFaX/PfVnth5g
95VF7tug9HCZLN/7UiJdGOGvf++j4RExQoH+x2tWo4KECgX6NYjHrz97Gus1rE3/ubU6zAJcq9i1
pkst2XUz4WtaWpYH5a7KvKuWVPXWC+Dbd8XgXTGwRcuV9Va/gIXkbsdsCFdZWObnIvUvIPfVsz1p
6XFKDFLv5y0lDoNrEVnrEXe38zh/5plFPrnN63KQl6EYzDWR68paXg54sB2mitF2kLNc419DB6iE
kAb6vjopZvQ9L2zrqZvtb6qp2KVhz8jDNtQ1eZt4tjWhFl/KjLwhHZb5olHIarbZQ++i0bpNLQrM
xkFSj0rLteDkmGX9pMTel1xNhy//nORV9FWJR3WjstYv7yTAOiI7XWCkluhExDuzRmXK+hsDn+oF
BzJ9h3+WuxmiZnrDBWelZQFB480IwgGpaz0xhj+Yke+96H6zkytVr7MteJb3KELLO/lWYB9LlMJr
My7ES9cz0TR0tfkO6IywyAi+dU0ZLwurHh5gv6ew/4toLzL8Nf77wZWZoL/KQp5bFh3HVlXLRhMF
nvtH2dHUtTAUVSUjFGL3TmoNx9SBGqiGzkZeilS3drajlJ+9Sm/3oq3MZaPn7bUuivTQtrq3QZ/w
YdRkhcvikNJWR3cKwUMtDnOuN6zTQTyIMcNzacTkARggP9tK6S2DGSyavG5dkYz95kx2sG3t8By6
hnWePM1bhb7QH4LB8VbxfFZE4mH2pl+oKjV1PHyn8rPf75wZfcrtZ2BIpibe8NaalCFN25wCdoRn
bTDFajD6YW9TaL2G6XBR7TjEUc9gfjP6X/SZXd8z5dvEttNswyJCrq+F+a4ZWjbBrmRny9UtlfzS
ygiQF5muv+AWPmzkJTTE6kiqQbrqsceIMHZ8EE3GUMmoT/Lgtkq7KUpMgOVlG6nKX75J/Y+0a2Ae
He0aOA6QPERnkNjfaxE4WwxyERge7uPkqOhKVPNqcW4bfWmEurh6cpjruNc2G7oF+oLoo7TWQds6
H13oQg2vUCtkPHR7KT2ztErZWUO8K2pjLemuP+WaBpJFW71VqTgbYfAclL5z0dO4OGlebSNvgi91
H3xa2EBhZTD5N5QPy2AWXZcuLOg7mKDYUw/dy09OWVknp9pQE0QFVbRvfJ/lPbQPGIaU4vMdFCMm
B5uHyitXkj0r6QCsyN6CqVLLuMjKxQrynque72ydptrXYJViY/sWQq4ito9tMQkoD/CdLN9pwKGx
M6MF/nQfmBoTIsrGr29srZqpLIXLAMxp9AE7iFmF4QrzCEkVGsb8WTLCIpZvsqMNE3xKpPngvt8/
en7PCYlHvLHGKHobCnwSkkYRuzKJ7BeaJvBTDQJpOrCGWd3ibodUzKMaGgNvwQBIafaG4pMKhF9C
yhD7J3F1Xsk8aSPXNmxijmrukgBrEX8ea8iDO59pg4Ea7G6s1hXoAmtIktLlaMbh1simDkbr4ilG
rsCiZ6h1rogs/skTSLH4W93HC6aeKhv5h9jJUf7OTq85xUqPthW3b7pSfwdb1MC1qchUAzoyKr/8
Xnqkg3q+T/BVz3gvkwyxHDShy8+2MbHFUjEYuE8tlORsLCFMMAKDjSS5WlGF3Dad3RnkAbE7Jcls
xSAvrWioFlmd+tvEQF0sBo3CfzZUkBwleS+tmnbfNM570+NHoA2aefXpf6H+42ExX6lNYF3l2aRb
+C1YXQgcOP8yH4vIu82LjqnLkhX9p4PfVHXNNmKeXLspY1JeuFsLsLQdibDHdBD3GWwBkYMOqQI1
C4HL2i4p4dnxspsqAgAPZ47FnOWhMaUpNLviOWY+lRj5yZhNw6SR2AQJ5hQooGRIQoAgQh3jJjCa
m4KzyyXr6KCxBUt/zmrJrZ8Znvi7kMNWKtNffJSlzeS/NwjPUnGgtB3AAZV4vT9zFhnnqES/Gf0x
7JD05f6xDUf31a031uzrowK17ZIxXRhOnfRQZ8PwXJgHqE7iRGgXK3yiTYuCWnw1VG7yhO6pWBWi
SJ+Cofl5ViTOonDz/FxbeotLUevRomIpkWvofHsRwziL8JZsKj08MEeLFtZsz1r3boYKO1ZWVSEQ
lUNVgyKTPOmVqexUzw8eOg0jDqkzHGLncwUz6SkzbHMfCBFsypf/3kjZK/+oAD0olgYbk4mM2LK1
P925UQKE2GSF1TEL59AFvW+OSqbp2VHtnXwhOXCeHwULiA08KvGyQVx3IMtCe7Fpqvr6GyVV8yNI
va2nExdwf3t949YEwn7sNTdd3Od76BJbM1gNp3oex7Q4WL24B9lBBmHwyTIb64iVgrNOS704Ya8W
nCjqwk3oe+KitnT23lrodXH3ycMjUrW3+FNBbywUCFvUrQVUE3RLiT6ukRXgpOEX4cHmOXmNKM4M
K7Y/66IYt0ETf0KVNuCxmTjXRrQPdpGoULl785GAjktV4ro1umq1kuPbqtgMYUcYgikEjDW92qVp
468T7NWO1FHumdWxX3UCblxpGt5Ot6fgqA8kDUogQ1P8c2zDZ7u/e2A2e8nkdqq+Roref7VmDfYv
M6rU7n7cCwP4zIBqwVnqeOWZ7+fJ7k6KNPqENhGp6arFIuI9mgG9WRozz7DDTe6X7lHyaOXCUkf2
gzBBjAtKfVT7qEzDqlRv8iyezwq/fKsCZdZPi70EPiUfy3MwodIhkiJK0ZZlD+F5YD0O16Zu/TBr
lnIKbYctZh5ZS/UFsHy8vhOcoPmPK6mWz8jT3XoRtotgls5iClV+gPMPJvOW+ZSoDHWG0R9WaZNa
eP0p1ro1ooZ63g6XUr9WYuveelN7LJXWb6C0JNAgZa+vqfkO5zdI22ESaQtz0Mql2/sFPuh8IZBw
h1Nl8PccVRuhjO5vpPNWFmOQmKbhu+tHkDSrWQIdZz8cb6yxIou0DFudFA5rp9mbfmCzcRDJqVu3
fY4Mf0St7YPF+aUN4CeZ2UPd2HdlcoWScV14IWhhnoKJ693u1xccBVa9hvrfYb6DCtqukEcPCqKO
nDdN3tLAZ5ee29grKeUDQ++xpPSo1OsKCLTUmViOvrnvWHUPYab/PCMBR4HvbazkElMOhB4MMSQx
KR3qS+YIXmbuJ8tmAjFrZ3BH+eyPxaknvuhW9/Cq3Sl+u38O8nII++00BnvAGTA3qwlXjN7YxMas
fKq6/tnpalZCaOChAvD5QI2J9poHGgsQEAYMYuE0lY815tS++xTFE/N92oaFXsXFk8D/SsB/GTxf
3Dq19xZTVHr7e23lK+MHLKfhLOskI4yVkyW6Zf6RzBZ+Zgc61LhVtJJOV5UW8VcMk0/uoH9KBPJi
xWle2qd01lANge2Cl/baWkqqrKx7c9N+uLgOfTqQmLovkcx+6gYWqLlYrueDfFzjItS3XtW1C1cL
6Ss9krmW/EYohGbOTZJRnEWxOOIlDSvPZ24zVDnUVVuLTrKTkAfdt/cZ5KVFwrJGiw/tI62JdLCm
zDi1nskQheG8XACx+G0P98UMH8aCTdxueHZV60niab0Obbcq9AeraPLZT7raOTzumxgC7pFU6eak
Ro65xrlLeewdNVrmYqiflTiylkqPZ7Kr+/WyEQVtiW1MW4l2dPNlgznnOrXalRQ8+lm6pgA0sQu3
wo0PBwPqIAS3xQicHGr1eJICO6u0LqEiylWtd9Q+EzwerLlEtoGewpbJAnlOwmjA3zgMT2hY9JuW
tnB9516087uT0hW4azDryDPrXZ4ohf+eq53xgFkT/765ErRB86cqHg69Y+M8l6SxAoESvzQ5Bo6A
Y065qrQLs4vR9A9d8jIVAMd4qi80ZNBxxYnLT+TJPz/q0wWpMM/Mj9vnqje1dSh6AWk0Dl4LrYKx
magrT4vTg4+SeOtC04eWa2BE3SFwLr0Xg9TAuwVTNjT2EVu22rw1igtqwL4vRZfsi8SqmUO8ks+K
qItsXcXuyZ/NtULgz8AR6EQSrb8w+0cu1FTXLojDbd92iPh67VIKTH6/xm7uXqTXVhn31i3FR6OH
1a8CjCFkYfFA8xQai6ZjbdPRkICPWo93+6Z2xFjAsAzrqU0R69e+0O7w05Chn7Ir4W+tybOWMIKz
1S+HHdM73h9BK9W3FUDFUrqIymUWqEdcpbLarQeciZBHzgY68mCWubtzGZ//617siPSsEtRlb5Uu
/8SriEU2owmo7HxQ8tPKSh8qzK+fSNMYigf9iD/LWVGUeEsOhPfzLFJvUxzYB3NmnzOQxr4BM6SU
TwzrqeQpMCnAzQD+vSRON41X3S/ha+crlLzaRsON81p1n6TF1C/rKSPkMcFeaoYhxQvwkvk4sSE/
1uYq0Qro+ZOFD1YzDN0q7IOIa78++ErXXeSvTTBz3NS2Di0I3bjE/W03fCghHT1ho9Ydf90PPbgD
/9yvGO2veDuXRlwPT3aMtamvVAw5ZuK3OV96eD3MQ1njxVfRKzb9g+/O33OjFe/xd/lH6ZmRU5Zb
w7bApIy7aakpy6ZTjFMaeSqUkbo6mOju/7tmlNOBX7U1vFiHgtGQ6RAYdjKE/b1jr4uB2XGhARrm
Ldq/GYH2ME7apOBTi3ufhGnEOwIlE3YubSnylm9t9/yrIsFN2FiCwBkbo0lw6keUybi7P/hmlC4V
Kw5WwtfB4rVCX8Sijh5coQFuj2gAVGgG0lQl8chDUdF875mflK9lM7zTMKpXqweAGcrW3ESRGj96
VTigJAmavbyUh7EhYLTIupuTpQ1wladh+fD/eqZxbiy3hdsf3QZDUFmUTFrFcAt2OnY2bfrYM9Df
Ok6lb8F40pe6EZ/8YcgXCpOCaxVN5cYGS9uSK2u+6mmNfS+xgXcrRqk9rwwMEvNC2//Sp0OEZo7e
pO02F559s91g/UsK1xf5O3BptoOC5WkbgTZU0KA8JpX9BUZCfjf3QgX0ZS6S/DCw3tSvSJjML17d
w46ZlOEQVs4A00z5y8PwZ0oHUJxrmvwPow0Tpg5T+d+fBj8wa7OJamWbZpG/HLXySyv69ilIfW/f
gPqs+6DU36fhaQoKc6M1cYooa7Q3OvZf27ILtM9DqC4dttVPGOswRbbgZdl9q32OR/OHQ1wU1sF+
fUSz2iLmrhaervqXIRkGbwVhDaObDJR1HPyLMqrNTrEN/6hnoXLsLXSaq9FMt7nRJgtJzSzQjt1G
V7nX9rLAj7oS2XFBrE6v1LeoV51LOro2TRrktKH0ou0dDjCQaq1t4svWejmYO1yQkFEG33M31V7d
UliHLHfshZIKFl/eWs0q1G3Vkc0lNTm42OBrhRQiiLBvqapKu+VSnYVudBV2QW2sSrrQQyKUs9yO
WyNEtpso1gVNRrzoVHxEsHlXdr1FgFY9WMknzc8fJH4VwltctxYSH5GL4mrB9t8LqwUBG9zoYcyy
9zuDXj6L2tQS6QtnvtCQ07gYjaJW5NKy1WpZRi1fYRq+tqW2wi69eUlT2zzXZ1I/prg/wzlbN7MP
kDQD6iu8ne4Nyf0fM8FkXNRBDqbVMo3K8uSdwUK2rWYzOFr99mHAia53xWMdK+IwCeSTSDgX2Mc5
NzkVBcu092qFY1wX9vZfptW2/kezSzaFB2CsOaDHpq396aSAo71TspHmB9vHFwhPyojpGkJPoxE3
vU0Zs91dHotBc44SFfBmaIAaKYMvaJzyFF3GKNm+bQohyuaRW413e9KwHJkSNOpKFNZayzznJB+v
ITH4JSF09gEH05XeVAMJ1BrvPmn0S/lsyMtmvgznjUxVaBPUyjVWYT1Gj/IMI8vokSkQ7ghaeEPZ
muLWMpsAaENyU6dw7bsp/vPSTrVuO3PZIpY/9W5gIpIo+HOQ45zKAYOMdBIfvoEUPnXKdpdVmbZ1
eizUA1b6VWPqRMUU1GuNO+DRnYNTjGL8G3xv/aEbBPM1PaynPHjFqquqkvXxL14b5berFWoNZRR2
aRKCsDd2qL/IMxdO/GVqnXjlRpr1TJGq0+wpiOSwuX9Om3DcTkVEztd8WcVNfhx72jG1aO1nDBr0
KzGeZ/mfOvHA6p5ojc78ZU7awZMs3qpNe+ixlHur2hHvB1oF2S/I0qKuyI3r0crR7DabtHONF0TE
w3Ei4X6JwbX6mdlQQSBIZF3RH2m3WukxswhL7XMaBfUK3ba+ufvI+m7VvfZasiiInfxQYPIt8FsS
T0aRj6v/3pD/lympW8x4cDsC9TBNKG+/L8GIpPEpLMfiUIbGLQ5HzIktTX8N6hbCZ2XE12JyoiUy
2XQRokDbibnXkQejsJiYpwFIWNDF6xoFjzRWkIde9opl22yNlrey7k1MrTRbIeOiGw92Zj6CvUyX
WkTre+8YOlm9b2lEsBDGSOXGuttvw0lRVnWEHfCvSzmHEJMolv/9SWjqXHv8XpvAWeLlxhGPUbn9
Z23i+OB8fRtW29DsR/qZgZQLI0ftmNnvw3xFdhqGurkGWCAhg6pR1YXf6yPvAiSgdhwnFB9Tv9FR
/lUSMGVy2u8sexrO1lx/inqm+lE0LAY3nDB1CJvHosgnaEGcTfM9KbDJmzEjk6R2Lj3Jatig5TeE
v/W1Sr2RTZHO2qi+WSJ8k5w/MqrO/tQhI4jwRJNIohlT68QiVZe/qhPPK9BLsogs1UIhUGSeCuCR
Wm5F2Y6rPGhpzCbLuLR4ARsLDOMeKtW73LsLa6gZYNNtLCbPO7v4ZC6mpgaQGbxxUzoV7iHzYczP
eaJ/iasKaESUJ7oo9XjvLYaohcc2zwywQJM2V8FGFQBClpZqy3ttA5577+UxSydBw8f034hRuxYx
LUVNNAKhFCYkIex7Xeg5Cy9zFklfooYEgdMuXoL8MXSfYjGOzwGv26qCpnXx49o5TBncw9iEnKez
BKwkZ02y19hYs78Mpv6HJEOEEeIKvMQ0miV1Vjf/8VaNDIqZhGgH6t3wmpR2u0mx54V84jTLRFGN
5FwYyktDxt4lJcbp7toZluS8xHWr3saEh1+JCtQjWXtrjQKJnNKE3/z6G+Y13VJtNHc3ZtF46yaP
kWPtvWt1M96M+SAaU9vdgYVYx+VSNKeYKv81QKq+KT0sNKysPScs9cSbNMhba2xParv+iIuCJrYs
DxFI9QP2OyrgQaDs4Er127jSloNdeBe/5DEvRuPJtLL6ccBI++IMRju7cJefkzGJVsgD+n034xRl
VbXbQR2Rq2bpq9mU+aaa/B+5VlvwegCB1QG7bc2txJJpCJO4Ucl20m5iHMfyPKXtNQzFvpxs9cUd
LYxqkoChyvwCzPeJ1rFqxfzGCjY/p80HzkMXYTTek+vwUYqaPpdBlr6N2RTcRV+23srQvGsUQUMG
ho2+unW5IJVG+cyykG3Yb/u9q3SUWikBbE3N0t16rnuOymna3xdnKyRByWtaoD3SYuNFETbZRlW/
NZJuUundB37Cw9+WafPP8sPDk83zoDMaNrwr78+hRFvVRoZK0DgoZEWtewoRfA9eHFHGm072/5r9
I501gXJgaaaAr4aX4q5r5O+jhpwOJHtjGS2jk0nED0VoLczx0XIeHQlUoTPcTUS4rztoaM9aop1x
e/3hiAq+I1u+tsAdvDpahifWtS78N8/ET0nbpXlY4EzU4klY5NUhqZNPuUCzL7Ep10iyRctqvgYc
Rd8V6gTbYZEnHSIAHiqE43ZznqrsFiSt/23gJMZ7SZ5A0G3L0P+sJQ0pMBai0LJFvY1tNshR0uNh
7yWt2MT0F8uxR4YfIwBcjbE9bH0rJX5eJ/6yHtgmMD3QjpInqOBsCyzmPvNhYumkElNQRZ61CDQ6
zC6sLo1qz6lirnIVblpt8XO/ykIsMfVNphTqtQniFnvynmlvPOVXofGkzJSXwcANDwMuoJFZQ6gL
1Nt9R0Ml809GP2eYSqom3IF5zgmjOltTCSvLsNGdp8IkzSc41JpZbwetmwMUsoIMJdcsP0++o+4C
Am82BROeizwLktRbFY7OyM7w9GUAu3xvK4l7a1iBbTI9X2PLOUWztWCFRroYtZciKZJ3Qsl5XAWA
qWmVbMxY5M8dtuEEJ1wcNbzgouHk24p6SIIWy59kqm+Eq2GTrwjxqhvio5nMbhtohdj1AekvNs0F
J16tlE89ZRtlzpZZt/MKJ4ax1r9+CQVvFy7KNuQNn79AZYIg3U8lzCvBV3sfPeJUKec9hJN8qYVX
Pzuh9QoiHT8RS+4stGhUL72Plhz2U71oRzNfuwW6NQsDht2QauR9zAPRLEI/72BzuLwHjPmJykys
tzGLR/OUma0NEb0XV52ojAknmNV9ZmIFVbdOXf8e7KGh3Tq5Gt7pM+wkPU9mh1a0SuTW+MF3FCa3
2umQOELC3WswkCC248CcKYi/otlxpWIYLnVG8tBFimBLndJ9NZvpFBFWQ1GTo3OfS/HOt/Rljx/U
vTLPCvLkoOLuJENPjfq1iPHslK3WhF7C0xTr0VLT4FFR60urkXVXYyeEbR5Ym6MR4ged4LnCs+E4
VIVCaek670M+Lbxu/3+Enddy5Ea2Rb8IEfBIvJa39LZfEGwjeI+E+/q7kKU7GvVESA9TAxSpJlmF
Spw8Z++1+yKRT2odKPoIunwzuyukvj8NFv92YyxWstv9mttbBDYB8qbjM5guRxiigTnk90lWngE3
2bsJSe8N8c68TB4SC6abU0bw/4KpPoDGqy8RQT9bjxAs1XgM3QSQS+2SSWEFmrlCkezjtOEeNeGs
aWWTroAfFTmuSR/l8hYIAnN6c8EmtuV4udmm9FDrnwDlGIdRwiTlE/9TNUv6yMQ1QHV5Va9T9Cuw
XOJuRthYqhmKwN7c1UsEid/V8uIO47fMgZAa1WLaUeL7UHTdP2IEy8eW2JNtMk7hpp6Q3eW66M6R
XlJlhL61xtFv7iEe8bYZc08aPAlmVVH+uglk3Ni9LmeVyY0TzoW1j2OIJEtQWyTTFxvY9BtUtftB
CxEoRIZ5e1sN+FOrZDLcq15W4UvL9YBREM6HkZugQOhrq+a2esjG8b2tLfuSwlGCIZwUV72vgEEw
ITsMM1fo3GvhQb0M/dR+RxBs31eYi/NRdEfVR0W+ggGt4TWOHPFDAPY6SFrh/3LXcv4n0RELEhoI
ZMK655iWUKP2/9qsdVZdtXNTzSc68D8nGQ3nEmvLWrXGrYbeTZZaH4EgJF5150uLwbgUDJVGjfGN
hwWBsLO4iE6qxzuWM/FvmXFNfSP9anLGmCFhOMYSpJTa97f7oO2SLee2Cakfywj0r4dOFm8Wzt3I
8JjS+YsWRcHNVXIEgo1y61pTvjWEFoALTIjMI3zshSyzcz951efEjmiHbWjYFv24M6fZhx8etWeR
9M7bgs/Vx7j+DBqjJGMJKjvLMjOHQc57t41ROSKQM8AJRyzdWMxNx6zXWAq6G/ywz3tEgHkzHEGw
ynsR9KfS0ORGL3vz6a+jZVQOh6s+MVL4M53jltuhztmq3P62Je1nYTAqpXkN4wrBKHoJdaok6HJp
w0yx+VQ5Nf7vxPS3OpCJPWgKhh9YWL6RmpKu2uoumbm61OYnFHG3BaYY7to6y5/pGql/LxX2FyQX
/6h+YlDayakX9ptSUyHQPvWhj+7dz+KNK8r5wNLg7/osKI8kCzgXdY+jWJ73c1hE20I2gtjbOblT
X0iNrCo2ytWMxF+u1JOlP1kHxcWLSabbh1rLmC50gjuoRYS8LQAEB5XvCiHRYTRAJidDgvtjIWTr
vAX04jkF43UHiJKYthZ7WcNMZW3rBVpb/CmPZZuCrwQvGI6Y2RCzK4WAqlr6RSsw1mYCtlSzt8qh
pb5A/kESkOOoBveutiKuPkXFHJFZa1XZXhGweHqeCBNoe6h6PZqmg10NRALklMd5o/U//GzV5y6d
Idnf14HOtiamJqad8WQlNiSTBR+fh1qzFrrUtuQW2HeBM727g16A2INgqR5aZwzZpbG5C+O+vMm6
kYKYu840uKKSJ73QejxPTvs0U0SfS8/9UUeyJX8hNbc2vdJ1ljAszXqSk22lEkz7CwLwZqXq9sD2
q1MHOZQW+OSvCPYe9jLSx4epwRuHFLLd1922lBUy7mkaT7rvkEaLJYxUV/cnfMZyFSJKedYReW3s
UCveTbi3+9YpNfY1c7dHJ53eaRvKcB3z71DuNVkTtkQz5OJUpv2G4HUFRfE7fIL0aqP9P93u4JYd
z1vG3vmqmiLzqO67QFXk8VZeRMAZlpootq21l03ZN8ePHqMOJ24yVg42Nzxonma9eV3tnUTq2i9O
rl3UG1ojYibRJdrf/qXbsKtiab7xeFWRpwq/xtTlpjfN4lDDx42TPDjfJGdEP7bH269pmOVA+bjc
bttOr1fNkIOBWm51I86AjWUH1S2fLOw97r0+iK/FOlFXxFH5TgNWcFHB4JRwd95yygJ8wCjjX6cy
is4B/M6N2iAV9OO0dqi3JTMSVEmyotgS1Wc5wcIJ0+AXvbppqbx53iRQz+vz+jRL291qwWThIsqQ
guLQI0Z12qoKaGobYuM6ERzjk9JaB3gfN9y6onVIrbTJQk3/OXepue+VlqePI+5x43xWLyIa6de4
BW3T0mtfOwu0XU11TOAX65Q4n9Vgzt/UD1JYRmwmOxf32yNaxJdh9sp71fEs0vhFq+fPfNSZpS+5
PKpEKypcJoqeEwoBN/L/BWxGdB+0lnmJbXN7U1xQthZPMjqZotU/oVaKfVJU/s7D/bZtHI1NRI1b
nZdA3qtC86bqGHnTj2rZmWgc7ig5qlNG2MreQLyAy8Bg0SWhlHmRBBh6+02Yf0k6p0G7R6qVn0Q/
lXcSIRWlYm+Qgegl69aTj0FUE3CxcB2mzvCvg1HvBj15QZ0TX1V5aBa6tc8JclErnvolvMJKUEj6
B1o0ySOhtgMEgFDfIUzrz5kHAc3upL7rkUEeiNDkssr6AevzUG7Jxx0urSntS8Fddos8JySLlaTC
MDVfylb638vJfSlT5PkF47TTTNjJsRT6KVwMraYlQ1JZ/fSYGX1Eg2eO1yoq1BjncTsOrBmtMX7d
evpNxoXz/4Lgmww4SJbOcX2XzwLQyJS8mlR539GD3JwrZOEibtTAcflGE+7b5aYp1P2zZ5O3FUop
GfrZvqLvsolURG7lwqcedVGT76nTbnLSP1TYkRs37OYq4pXT4ZdvV9p3k5HtWjSNdd91gPs8LGZN
uHx6EKMXVXO+SXgLNmn09d2LusHdwFa830s7dmHi4TpHm007jMikmM1xnAE1+1AFiuIml+Aqzxge
tiJOm5dalM6BmUK9koH11kJ2saMxv6+AmyJZM0+qPvEug9+LCzXFePIH/TSBtVj5ItthTjGuAAHc
Pbirco0gkTHlq2+n84dFqD3u2eFdYztJ3gJiFG8Ym+3EHzT4qb1htOZt6qG/mXLdqCzPZqPLdVPj
NE6d0qTRP1arCcUC86eUDGPfx78EAnBjLx9Ofe64j0Rtceps0a9YUv/Nam1Yf+9qLONgYfNyYVE3
hethyP17nywx22EErEaedhbJHb9JSNiwR6exn6on9cC68Icm53pdgD3A8aD/1IgLwMFaEHRXmvmV
va71OOd0KMLoFJ7ZbKR31QIrJwku286BTmx323cEUnVfc02jKM0k93nAkoqPhc2MfCetqw8d4HVI
GYsep+wAtI5DqR1sD4O5XAYaMk24sSgDaGMVayOviwdcPcWDOjLB4a9JxwAaTFpNWfeEoA6h9amO
kklan2TQ7Oyx6S9K1DUak3YYm/hDbUUjv7OvdSuOZjE0N+hE3lUx6jg6cIpkOJM0uiOM40Mt/mlN
35yPgrtenjIGKBrF5Gak3wIBGRZqXGi4D8LLEPSYYXFnE2Kw4UrVSc5ZdLpFkV/GwBYrMgfJwl2M
K43VEUzm1TcjkXpKHy+GVo+MY+mKFLkRQP9CwcqYMHsuBlmjwWtIl7QK/bGFeHAKXEBCMSivjeGI
9L0uR3AhUhDLrgXbOR7vfZpwH1hectqHY3k/CdEeexP1A3O17zFl/zXsKh2PP0eFOej7oTzEVs99
SNGDIv1Fny3x4M2B9jw17Y4yG6IviXJ31kzmeWylAUCPuHoPCt0AX49vVp0mentgD3XFu+99b1nh
kxpm7j+PD3znb9MDeDB4MC13cZZYjuEzo/r7pdygvtJkVefH2/Z5cGw2/EUc36Pca3fFf44AtUS3
55jYb0gCaF4jIsb8MAle9Sgq7mNErcyFnPxxCnOXvzIfV84ggvMMUHVrz2OzMt2U/Zt6sufOe5ys
cM8mf3zQ+vpBH3A2Fy5sl5Ucse3pNulEwgaupdNfnt+M4WFc7E69esjS+Uj2w3dliFLPp9NkXd3I
/yb4yc9eaUAz6fX6AoW1PDeuJXaJUeRPhpk9lWn8Zjt+QG/Wy8HscDSEabGmaZ1cu9yAqNcdmCLl
L+oBfxUuzcaD1LQ8Zwa6u6H3sCWVpFtrsxUShMyDOjIj461GTnrtdXhB+uDwee7N144z9Kv0coVD
BjBmqcqYvZaKmEBd2+keGyKoX7qBxBq3fS+R8O4Mo7Xv5uUhyGL7zhU6f7GXvkhpftxuUx5GpJ3e
eOEq1lOaDc2cBf8yPv6dlggpiE3QoidfxmwY5pbL5792wrLWopy86v7o9LZ7d0OmU3qAXI4ebGmS
N2obU7q/DZZiK64wPCcfzuK7QDeC91WzUbkOPoMllbSH1BjkNSUfVvZwTM439XTQCWxizji27H/q
H7Cqq5uINDS16pI4i40yRLCItug0QZxxet9Hc7aYRB3SF7YDBuc0mZ+UcmX0cmB7DMUIS0ddWzQx
vgov342ZhXkgd0uac6G7LMzlKV5O4d4/ee0gHtyxdp//+fPFEvHbB4xxCgWT69KJdxjR/W48jjKj
ZHdmi1PfOi4AIwrjWMXAuv0zO7j2JAvELU1lLSR5Et51u+yf66baRaF+PKCqWZKXoCX58RulSgfq
M3m2aYM7uf4U4EB/yYLR3OnaKE+mHSX3FZFPgSiHrwxeRp0OP4lHACo/1xa8MkuDnpS8ZL0TX1Wx
0S5tRjBz38GKhxe9mLtdbyf97oaNZky39RYbritoeqNprdMxWLt+y8WG1gnkL4rNppzabcCCvVOn
JFcU62b2X1QZctvQN9qmdIv5WivaJgaGatcVQFPVht6TzgL1GE2S1xazBlpeAwlU5mNXMomkRYtz
O4qW52YL0UBI3dWPYbBzRy/ckSY6fpC5+EcM3xm/7ALGo4OBkXxRD6TFHF3DSKeHLH2XhGnwRWHa
eLu5W0B3y080UaAqRSzuxnqDBBY8ci92KBOSLxuJiEjamSBTjoa4dj9lanqHWYXILwYQ7mB0SNCI
Q8ZkRysyeyDg1PFufVwrff5Tus/cH8AeEFtZdI82PF9cMy2qV8vrN0Sj0D+PIILv2RIRBUI9vKtQ
rK4d1H4Urmy9VYYKIilwU+mrpXX5K7ZZONLSxZSt9lqRv9b86K4vu+R9DDrapJlOib60oiFmvFpj
Dacqw/dWhdUd+HHxCbt+WBeO1z5qxtzQxsXtX8/JldV6a6jQ+hl5ykU9lGJCEF6a39S1gU5DXqee
F7RZlEPSC+7BJHlbUjv+TX3n/L3cwi9nAFz2SQkB2Y8I73e9FbdmggpGoiZ9EenbIR0fW/TXP5YD
KzBvB07S5O+2rL4E4V1FZPToRc35KEPk5cCososDOspcDD01JfMxibpxbTn6RdgmKP1lwDRVqEOk
6/+67Zap77c3/0rI4j75OALTuFrD0Gme1VuhVUQBArJ7bjx2oIs9dNVV09tgJuP35v8PUq1/QwSL
7DUBmqheuXDp4iMD2mXe0F7UU+pBFfY1z9sVUePCT8J/me+ydP/PWsSL6dmgKzx6mxz/fTWHxQYB
MfWyMxLMPzNhwta4NBjIlbz8tjCH2VLGS6cqaefM8W60GuNi175JJsir6gcSQlrsmpj1rIHQ8hh5
rbg2sQbqUQSPFDXBYzFLA40sJgH1nHpANhcvYWOnRpvm62y4BB8VkYPLrRxZ2xpo+iNXXVfdqzmc
NyUv83JWgeZkGcBvZ4hkAZKZRF8EZs4dBEir6Kz4Am9AYfZUUzTIq89bRzGtHP0xn3QPT6jnPPa+
IUluxxZGlsMaJ1hyJqu2vpvHCg1B6KcEUHZ8jSA705xOf8lC3IgMySROKDoXQUUaYqQG54pxiTO6
68nGW4nKKI71Ip4Gw4lV00OhLfwTuuzsmM21fpuVC736ah2jIG8NwgIFPBJr9ChFB1nP45fqXG2d
RjrigYajTskIUjPcNOpo+aqVe99FGTUfy9O3b1i+1bZblBOJVRMvb1I85PKr8dpmXWRF+egkgbb3
uuFow7h6qPtmrV7hPsiLVUla8kNU53dJn8ufy8FMjO5e092CXVXJ+9z38155yDRZ3gtCl4MgFlfP
Kr09owy5dYs/zBPRuliyJ6dfxza+k7hl51jB52sqCKCOTUK1wBuMNOzsMIY3envVRKC1yOjLIbpt
jMQ62/r8aw4czKFl+sc4Rkdv0H4U2MTWWRiuodd8w4FYkGcoxco1/G2YWHin8q85ThM+qhvNBE9T
Nuab2YKQqg34owTNO+GlybUfIfXUrhiQGedutIQwrKqautvoJ//ER1fjhsZGzYp3cW2Bnhr5Fyuf
HS0Oyqa0zZWXkBVuNyl/PcnUfSAJ5SVWo+xcudZ6/QRzCindmKcbLxSrble5dFvLOnsdGOvHDJnx
f17SuEfr2yZnnYtsGQozCvSIscfabNT7zuvvqhDCcx47jBr5eenwmuhI9FPZFBfZNlwHdGkSYdKr
hGlmswIFmTFdMj9kMNy24RN9WIBKBKkTe3rCu/IUQNjbDXN7aWt8d2NYmkfHORqi8S9eY+HJLROb
241/ikQ/nmRajCewPC+uC50iohMLwh4p+xIPFErCiJJi3PQCpG3OTZog8GPVth81fQLW1hl5Ybyu
UsZXtf1zthkAzvo323iIXPrzZryimVhccq8ltW0a8GJ6P9G7c6UnEo4j4UVEdM10mOdnwCpEry/M
8N6wj2WIvAv6QLYGzCVRvDmnqaipTFzzahTaz8YwHlz+namX4h7uyTXL3bOXkC5PDMqlhm5PtUGw
6aBBxcZid+pkd/a1GBhYQ4w8i/8euBeulwZxCgHOKzESHCBGVDkan1tUHgjwxbMzmNvZzx/b4g8d
QkcAtSTuzU/sIO6WzU1fR8WLTxDBGjlYe7B9nYDLbpkdyOiC5OJdbXDVVhed8oJYIziu0Q5GJb2d
JTLzrSURiFnKj7iZ/IdU6NmuEjOK2lnvn5NiOA0xPXR0vd1WGVOZ4CQQUykZvb57nQy/e4yCsnrs
hu7NL4a7zKBa/ktGNUNmOLczOh4dABCQxZzNiEtQ5UbTyvyu6PNi0835gl9cLZvh0fqWw1gxgX8W
dD89OKdGuwkyPmedve7teRXwlo28XPlU88mXzAEl78GzSYUbkfw5TvKp9BDewN8K3LdEYjsCXZmH
GS0om63PQxx/q/APGhahIN2l9ap9VP2yrcvgJrRC73X30IpDCBG4l90q13fjeOxpL2ThxyzdPbEG
aDrBJ2fxxyDFug7pHurjymTHnG1F2m5BNMiE1Kr4BDMib04Gyi9LBGtD10AcvgGtwvaqv2Ng/l6w
8NyL9EkQYH6WgPnXtR0MlOXaky+K8BxIpj6B/pAIJyQWxs3ORiF2noSQmJ30UWDeoZVyLkbqqcHO
f4X4MPBj2tG9MUv6Xd+soauhcq2GBA4nIu4VfvJprUVgf0Y77d+bsFvPHjAmgHnrSADuCU2/P6X9
p3C8kV5O8ALsJd8yGXifDH0dtiUWnax/7bGFXzOp1ataeGc+ffoxjnScz8sgfJpLbhK6ZWxwwR8w
GCw7LiJzZpaRqWqz4+hqZwzq5AkSdCYIJNuFUVNe3cm+hyocPNZFtpLpj3LvTyCt/c748uyJlDk7
GVcZ0/udzB7IZz5CALSPGVCu1H/vglJfCbv7gYmGpKs+82+8mTrq953gPpz26wH64Nk22+ogKjbp
YT3C0U+jix54H2okweytXDkiX4AIiXtyQaAdZgwQd7Vd2lsofcVTXlYOO41WZ/xEIrwrQwJDLDtd
l85g3bVOg3Ko9Kw7K8kmvIKZfXtOfTWUGu54q3XS62AlLwBbLppPYeS7RX3nqXYtWBeK7XbpjcXt
8N7qAYOW2tgr7eLtP8UXJw+GUfuCIFDuDGUF+7kJt37rRwdRI6pVOQZ2NTWMfkxYCZ7YuFXlkfWR
IFHWScehitKvVYnnSykxulabdn4u8HIg9NrwlhEbsmx+J2mEa/Zb8w7JLrtrRJiHgD4aec2LN9Md
w+dIz5y9g8eOvW1368chNGEbuJyWaYvsYbToaS2uSHuognOD2aQ1C3d7ayj8y9ZXacv/UqYudbsP
iYWoBZ8+Ar6Z35oHJlWwq3OVnTuHDZvyNwqB0zNl2rUmGDj6U2OpavdmkoeW5f6t6fTPakJcyEU6
74ZJG6+DP2wym2Ww1zuIwh6wC8clnZqF9CpvbIQo+YQssZHJ4r6qYBSr7apV/jSiJ1W8RMOAhgJ7
Ggo+3T/Xxpyu4nwoiGyYgufcTNJ9VREwOrY+ne9UnlBSsCcDcjgR+K69dCMfInSTX5FT0WB2JvFi
kZS687QEU1ku8bOGIlpXLdMNtZ/gUp4wv/k/BtgTyyBjfh51I96ULXe4Id9YTl2/a5j5V0PupddI
QogDnxnVNXaMuG+B3JUb5STN6iRZp73g9emLx3T0dMRD0t0MS/k5BJagkQjJddzfNMnIXf0rIgni
DwoojT72xGUE22T1lzZIwERL/GPFXWXne8HMsD6qoWs13VWGuITGXrSPQR3L8xSzEVZcONlcK684
ENxJIQU6uQwxYNd8XJUnQoBFv/fkK3LKFo+fBA5kZWF3RalY3I9TfFZtGYFY5Sl3+mM3u/mPqW7z
1ZyP9lOWldubRPGfL7/fgKhcfejWaF6ZtrWkSULr+vtmR2eTUVta752MIRCAOdnud6Hb3Yy0SRES
cVj4d1YzhZcuZqZb1oQepVH4GsdB/szqQeH4n+fRKb3qVhLDUsyBWc6e/ezXxaIFIpx0XqBvDLTG
g50zkg/a7Nmu0q+WgzVCV7G7DWNSBqAXZtGH3vaHVZXN+VPfM552pin5HGx8naEV1DAvuqM6a830
z+cxLliPDjckqBXFW48+4DiAaI2IFire4FPlezMYITj71oNWTNZDXdbRwY9goajn0uULtcZt30As
XekdUpF+jlH1631MrlU5baaU7IAwYRgfKQesUlRDz9T8mnjExvs+FMbVpofzE//FbweznG/PGBx4
VuutJhFrm0Hyp+JCKyFEdQ1p87Rg/vktNtz/2dDaJtkIumksXiz+9xtJxxoiSvU8sE+amIYjUhb7
nIE8VUtNLMZynde44volrXPW3HQjGBzcThFVaKeQCnyFqZZisWWiB2mTk7wJ29ecTYTWXm9rgJzW
KGs+PFtyWyXwx9iJCKaU3dVPVloysMj1R9Nq8mdZRkctHdMXoy5PGhflgesDOxPI+U2Au+cVUjFU
1iIYfvgD9QHEzedSEiQSmWKmpZQE59IO4t1cyfHecSJ0n0VrPFvL0agV1bpxSSCqB/etWiwWjOFP
LVqTTzDaDr7QaT3aEqiMJ/yjX1jMjmz9IpeHQA/ep8WR2ywIjnSaQxTYPzNW0fuBpB70WhYTfSVZ
U9wFXxo7RDbJRc15tECcsjnsCa/P8E4sA0h1RBzGybR6lr8StMeniSrWBFKLJj+w1lLFiqmiV9W7
qvJNA4TLDvqa1MV7bS9tYnVzUw9hvPzBkfdoFKSd/VYuZ+ouZwYzuZ9ZFO0GLTr5VYpNy9aSJ4LK
w13A9bdJzYCoRKeTANqyfD72WrYfrXB49nySukZQ0mQsiuyD3YRJG/Y8j3kBSV3nE5F3zjUvOh0r
bPni+pX9GY5avK3iwWIPwoTHi8dxzXb5Tw3TrBNeIx07XP31nEwp924+YAI+NfKXJ+bj/mTs7Ham
EyVdZ9eYXXyj5Y2Dcx1GYpeV8bF1e/zrsMUHY0iZSKEE1gY3vZKmULZZtqvHKn0ltO+X8tcUjbeN
XVxj//yZcn43KmF1xeuKTck0UXOZvw+EuJnnppVFxSlJ22jV2zkdLcJlbfPEaIZZA3qoq9TN9Kuq
QEq4ghVLeF4Og404hMApjANxm2s/rmH0VGKjhpA5AxzGExW+8cTPIQ+XG0WMFWP6rchycqMWXpJt
aNnRVbRuE0XDcaL06gxZfgx5iJpY9uXOM53x2/I8m3CLxDU0VYSA/YLRj2kYccFVptEfStH4nzMt
IIbMLYb21AyzOM99ShbtogpVD33d7ZiE9v+SYAyy/PdWG4gvF6C7T+eS1pT+W6vNCvXeZIDYnozJ
MY5pb01Pk0xvesGmT3DXOMX55mOAB/SWgKo+1Gm+Cdy8/gyr+DNM289xKsPvywEc5XzbZEDc1ceo
6NisaTnBb/loLXpxFMrqI1QO9kghC9A8yNvz2KXinujXBP7xrG17Eh4Ye9Jc0AmMenICqzrUhj4f
OjmOq7iApJUZxTZcUsljE55AMQ4wBflZe4h01XslB0ptT7jIJ0T5HjloCUIGYvMQkc9I8xSPvf9W
ar9UIugsnIcyRdQb1Hb4nERtv1KLVuu8t1mINjjgY0XSAVl4g2sBvK3jj5TJb6VV1cVxe1KFp0je
yTH5ZubpeLSsWjCPzLu1LGtvr/yVylfpj1+OQZp2GcwOhTxB3cCG0Aah2bQofqX2lJb5KooN/YPA
gu6gY/T3p9fEQHLEt9FbSIi4ZQsvnzRGik9WpY0bqQOoluQ8YsRb5gmzaLXt7NIq07XwK6S4+EAP
IVdc70+lWYdvXiUeUS3lP8bhRU+yX0kws8F1XDLftSJaK/f6xKdphY187VcyvmcSw1BbPbSom8+J
S9cX/+LVxh/KgEWPCO8rkQRqkHwetMn51Grfeu99UR6CqKswoczFfnTFsHbROqEZ+Q+gTa+/+23g
HJVXSkNBUwS5tsN+kt7FsAz/62iY+2w9sa1ZKYGtAhUADNP/ZVVxfwemkuZNIea7NJ75f/d3k5p0
BFPgBmV3SZRMUXUfxdCRhjXOesT7v/i41HnR5j03ZH08xqEYLq7s3ro8kuc05jOvbtBhbHfnDqLp
7ZQtqLydGmKP4YmNdqyTYO36Pu5aQCGj7EHz2on+5YCrSunivQdDoe3Jp6/34TDEB0MLHfugCaJn
RmQvKHjguirrNHv9/sF+6LeD1WxdJwx+xYXO9DgvPvKSKXgSsbvMRss5Jg3KZ2kZP3rT1h+1Pl/s
lIn2lZk1SqUh+JXyH0ZV4IMaYTBdaM9KfISNhwaV6Gxy2zSSVLo+2s1RDt2TYcI/r+um+XefIPUw
NCquePr+xN+xef+tVkroT5ddo4WXyebXy5IByZ8nsks66YzWU/o8C3fgO6/vmyZoiENhYicbe82j
VTjdqbb1X+pMcWlCsknXTqWjzaFqYnp8pHNSPDaY5U9JHJC3wEcnz7hxkBlH1gcmnMAuvyoNEr3k
LiIn66KBfvkiBckCauLJFxjn6RZjrnYhkmmtG5W1rWqiTDs/2ynB9OyTBSC0Cr2AJr1TaJF8Uect
fl1jClfO0kf/y+G5eJu3cdydXBMLFdARvjkYY/q83WAcIqsu7ug8HCnwmX0Nodh1SYUnn0bg4zyS
eWrV0SPeQrbY1viI6NRk0VxCb2m5sBzQtObVpEFnSfvVK9svFVGTzOZ+KIJsZQoTZqxDG3RLHzg7
B9RIWQxTdBhoohoeyIdIDtmxdEmgjGU8fWhOBzEmtR/Nvtopda+F/ysdO9yMAzJKgqyhDVRrsjlX
5mBVT54+2Sef+J4tg4fo+9Gw4vYTnDQzsSnxxEE1CSqHPDHMCfBkvCjZIsDqyZ4Y73ooMKesZfp4
w3CxZ9iHtYtyp6j9VcstlfBY3tdGyOMYZGJDpnBKC4gJh0dk6D4hzevJxUiy6hz+gz+DYcwi2Vuj
L+DIiPBYM0x8mDzaMfrAnH6effNBjOdBC9yf4xDNK/UNqXi6LcR9GiwGzxI2euw/ZbxTt+RbVSP6
EQ3kGXDuoTL0cDN7yMuCvN959IL+cFyLuUaZfvmwzLAmeVjt3eKwpKFt00Ta4Gid7rkaMYFKm4+a
WhRJYXpoHMzho641jxJ9+76KxXw0wlm7s4qm3sg+fnALN11Tja1gIkx3wUR0oEKFFZMxr9nd6led
fuwu1GN5/9eRIAvCN5u7tkCn1nt6+5QOgTz2srF3NnffwW22cirEnvua9c508ac7p9N93Rj9q3Dx
tVjZi9PYN7LLEme8NxC4bw1YIFVe7EB7ZyeC7/Fr9TSd9LwgIncRmRSOv+wQEohCkbNj81le1UPP
LGeLUdJc/fWcOrIbWZ8BCh0NWsDXREzTvisy93wD/P7z+uP8BmCnnLQsh16QTjYRzgr/N35t2NSk
ouemPFkYb7vnRDP6Z70VztlZeNdy7leebJxtgkcR7ftijlXnwNew0VjuXQ/gsFw4tFszGcR92qa7
xmjFmbIeMUkf0psOiu9RGZUvxUiRuECX6R2txkoff3ima6/6Bk0l6N8tzHLqRr3qacMg7VE9FsoT
wmnzb3pCjoLrFPp51C0TJ3X6pLmB9ur27UYpfAIQku1mECWjHL1G0bn4vJupm9Z9quFRHanfGawc
VHkZIc/d2Rk8BHWaVZl2X7//8yvLQv4/tabHS4vO0SYvgtyy32pNfDkjHcMMUpNnxaexJJm3nu7C
eHgMpyT+4bgnpmzJTwiC8drtivnBTXDT5RXJnaYvA8o0DawLHSw0wzObHo7KWJ9uR9F/nlNfHbns
/+v7kE39mB2cip5fTpfRdOp1s4RAyWGg6HGK8jpouuD+HSDtIeEtDwPtLXOm8WppKYOG5bQv/fng
GgFZtsuptNgasz3/2TWJv+5yE/nUkLabKDGbm4OCljenvVfvDTaxSjJWaQtzvk6Km6BMqcpoeKbr
jIb/arDQbyiVmNKLKQlZ3aK/Ssmf3Kkv+NQnq4Jb6DEzYe0lzA0PVjLmL8IeQu7vZQe4iNPCtj8J
5yjHx6Jun4xaNJeAwe1FHSFdbKE9OqCstXjQnqNyPJltIa8aay4s/7uhC1iGXSnXalJtaK25nqt8
3iR5nx5v+0ZCZQHx5W7/XEfYNs1m8jYhDrFnrvHusWSykujsThlADc+0YNP13IbJ7d9TAG02S+X6
Jgk2BAStorYzTG+AYaPZKu+CAQ6T54Pd6YvI3LZ5G2xlTQKq2qoqCW3kZ38+FyPNWCHTa3ceFpLb
cvLXItJF1r4LuvKknkoa8tSKUejHaG4ZDYd5R2L7//F1HsuNK1sW/aKMgDdTOtGKpMSSSpogVA7e
e3x9LyT1rurd6O5BIQCQciwAmXnO3mu3xWuiKSbOHr/Y9/2Uv5YNhI+0RSQN+GjQKNwHsG5Eppsv
Lkog6cdOQisnh1eIdSsKB3FCjwaUhesFZWF04P6/CcFEZR3N11DTJ2fFCcHOVCU36UzDabvWO8g9
ycXRpmY6BOjFzZyccKmVNSCbn9U8eWk6xdyzdGBWQUTmhZSXfu1YMM0gSCQrjen6Wr46tZTtyZ/b
CSb03qLsYu3IJXyxelIxp+EjsAvaNLHT7BNY90+2V/2J6wQFf4MbZ6hppVh9/T2H4bjCW2w/porQ
dpro8fyO9fc6qcmvnx8legVZTif+bmPX8fDgBgjD6tyhGdK42aNwlfgV7WE5mzgxmcD0pPy3JPtA
PyV6PK0MPSrf6JLtaVErmyxNDRDBSHiAu9d3HY88VGgOLgYrWnhhzUqp6StuwwiXUV++DVbtbwXS
yE1Q1+peEYWySoCM2xTzXisUYA9lj1iIxnP/3ajD++y6bZVp1ZehchgbvEI8N+kcB5TKkh7N512A
PPZpetQCnZlOl058FqoHbBb2rJ5kL7FbYDcjCOZTUZV7eKhqoT6HfW2tFB4KW+mG1vLpGfousnMp
M72bU8ao8PfItLJdSOX+q+7F2FhjWgHJJN353hCrq7qqh7UFPmQHEwMc72xslS8M4JbX1OKNMwaY
RV8G8dlRyM2oJ6V4C0fK/HZbOPu2qPpXtYiwTGhE9lZQlT3UOlcjphPYWdq30aysjdPH7aJRKIaq
amv9WhdmZ/7qSLPjMbiUs32nQp0WEF4Gu4l5QDESS9J55bHqA7hYQz8nUif6O876NbYX6xeykWMc
1ZtWM7aQOqqDPdM075bUpIPZpoBZuq9Wa9WaDiDksfEwoQbaIKYUaGBLW5z0361v69ahL4eUZGta
eUwdXHt8GCDmoENlsumNwwMyIcIFzWmvJRmsUGWC7K8UK70EmYuFGpId6MJL0oJhnEjnWWtqorzV
PKrk8tksayjqfsxyKmtcm+mOhihwTgoldaQ4ByUXWMFjikJAc6MDci9nVuA5oLAqJ7e21rFBMDyN
5DliNQBxaASgRfCiLOR8GJ+gc9BNHC8psMezX1cOvJH8dF8j4jQ+eAod9ablfz9lKCK1MD2PebRI
6cEaCSFoEsqrVx3J7U7+jASQFF8AUktTilODGr+X1gbv97m40XzvLW6xXDyLShcvJbN0ReurZ58W
/TM1z3UL4uHVJbTqVLYutVRKLM9Wj7BxTnT0inw4+LbG/WXb5DvOyY95VgcHUPwQA1k6vSZqqR4T
yOrYY5GfE0nuQFwp9BVrLoOeBb5d2+tYzxL8hewJxpHa/opQ68gdiEebxvVWSawlF302DYZYBZWo
Si7Z7JFopIG/9Tp89zPJX7fiB1wA2ivTbgr8k5FuRQYpyHaNAV6S5a3i0g1Oow8yNcHauSZSM94g
mWi3g0XS8FwiqrnpNnQcp22Z8Taemw0VOY2lu5acJEhnhIh1sIRhkeryH4BWjp/ioDrTEa+DWGKX
VsnlJL9Peq2CVAVxoim/8+qaFDb3mC0uiY8D0cQw+jyl49N8sb3lKcrrMvPCJ1HOcJAa7aqrIOfq
x1dNI/ZYrq5LdD+LpDHguZCY8jrf7IhvumXX6RWyZZEDLGiqN7mnJvbnnjzXa/T4IuWdMa27dgQe
nwBvA36Y/25QPH9sf0gXZeJXOysqnXNoahhQU6146xqKR6lOpIFGUNZjG+LUX2apTchRMrOrtIQ5
rGOfSf65FKn+6XMskDKfdGCd97ayEeYWJq6MRL6uVy993ICdHsxskWFDXElRYqd52sXEsVaNHoxI
/xdWKPPZV9R+HYE2YYpLh8qARPZwb+2WEaj0sGWRf3doNl0dPmBswQg+dwTUaPzpJzTbiRKaVgJO
1IpORX2WQu4y7dBJWra6u+vMfY3Q3qJCqjPnDskIZh89IIvevTSMl/nWD333p1MwJ8M30K4SGnUQ
wagIjpXx1s2JrNMU0XXs64dx0lnW+eZ476rFSd481T5XqG3vIq+YVo7HSEQaU3kezALPutSRD1P6
Hnj2izb7Wf4qpKHM4cHkMrRdoKHrxyEfkUdRDF4LvOevIqsvZZsy6ugpwd7o6ttENx5Vn+mCAZMk
ryz36Pb9ugtHg1veJ8OQYKIeR5RZduVWneboE5pj5iGzpx/eaMT3vFQZkipDU+U5Rx8ehsDN8rNb
Tj89D2+ffM5SMIZn1jBj3uStfulTlwyk/+N7VKG6bEdzfCypyyxI60p/+p1xrOz8SaDj+5bV0ccY
p9rHvONT70GM0+k7iQiq85VN5/dSUrlYC78Ydr04kIBNYXRkJ9fq613kEJtoSiyLR/FY9d4bytPL
IHPdGmyERhb8aUbnhybKfq9VtG7ckvwZxQ/ExoEBt5SHSeq4/Jm80BsQqON5wq2nFSFj3vAwJal7
kjNLkDliwcMHt6Khf8iJIRLudOc7dYtb2S9eYwudSgsdYGtEZrhQTM98BLn9nUpxeVGJ7L21iboa
okJ/1bzPFBo31ssDOnF/ZwXTpkNFfTDCdjzIva9NRq92BSjrz/+/9JKL1i+Fg82i1nLIUCb/2tZY
2+r/6jGbk164BgPo3pGSkXguA5aUd159r/vu5r74jZp72UVa+353HcXFtPQL2yYVe7SuX3sGVt7A
C1+RkLPyLZnKrfCGJMA3/zhdlezljdiSx0fpKRXrmWqUWx2SYr+nHS/3As6hcycRVsnpGrWsCZeB
mSM4n3Ll3Ry8RTPXpxPQiUu/JLq36RIexQak5BhqrrAgiy+nfHrwlJbADFMnZBcxltxA6TOOhOXa
S5a2/iohhIfi6Wz1spJbamUwx2feIdp8hSclIVMSeKg4WBvDhNYz0CsVcfthIAPjKM2Sk4MLkaVN
fC2m3tniPQ62tRk125yIw3sug7ytiy75Y2Lk4wKuc4C7aQFLEzXD0Njekj/+pRK5f8RlQcB60bQb
xe+6Td7E5A2bjTjYcfGiDHm/Rqqjv6TxDJPMyqde0IG37NhdkKGCIUWFoiooah3bqgpWTRK4H///
lQLx6L8LIKhbWZkrZIUBAOSf7vyr/qozofR7mPwnInk2PGyiFYsWLOl9Vey7eSMPvzbynMNCaDmm
eHX9EUgmIuQi36uZb6OJ062/Txqtn+/hJQC2k7t/vV8ey02Zm+fW7MeN/D5f5ydbzwAqQKpYfr0y
VfV/fuL9m2WtFTG608PQinJPZ724b5owKPd+o6MVkycxUJd7eVIeQqtBo4heB8J8tg/HKcOC/J89
SKhoR8sGTOM/5+RbkEDw07/e/a8v/tehfJ889/VtfNoHDzW03F5Y5V6U4+dmgEC3yDQjXONHJO/M
NJFwdJUdL+QuqUFWvEhEme3vu3+9oRGR8aB40UOLS4TPan6TiUJ3WtNT5xNUX+lJ71JLOzKjrpZe
4PzmcgDC3Rnmysbwl9o7o0rOZljNrP7unND1WTTIHkeHmVdhjg9pYa+AdJoOK9AsPKeaqSzqqEW7
5YdHJe5+ox3ehplrbAIo2+gb1oblHerGSTdjLnhEM/dGUttjTasZf+Px5kGaXSp2vdIbU2cZnbHE
MOgG0sFQpvyhzAj4syFcx2NuLpwpfBsTbRXnNKpBzSbF9OIMM/EIOOiySNXnPGle3UCkqKs1a62B
Cdb94DiIkocaaeSModGxVkfs3D8QEIcblPrrxOh+ZE32XiGgXkTJ1Y8ZTPvJ3SPlv9Zud22w9FCD
WmjKnAc5+O+FH4Tr2cDrKl288LqODpXHsyZTr551MEC/rsbKQ0yxc18tk3pt4JWnOu92novp3Fni
TniJm/w3z3DKYkfb5r4IG+1GTMmCgeBWOVqDORgeWddHjC7qsQAfsRh07RCpSxGK3wZCEp1K6qpL
g29ZctXmho+5RT54bNPn2MirfdwYz3Uwslj0lR5N2G+rHJ/yxIHs4F8MVOm2EkRLmwKy59OypOyG
Th8ru6ItXI8CMR+rIGWBYtMyCixA/XW/6xNcsf0srS/9RW10Twbps4t8gjGw5Dn11oblMfOVpVtF
T7mH/jCyh03qVe8NGsKVkqLVb8k5qFQIo5O3hQoQLKwGx4Kh1nQFhH3sXPMxrtwL96XClWmrmHVZ
PdL/WNV9Nyyg9JFsEj1qH3aGNKHML+2AScwfdLxZyQ/Di/A/Ag1JcSkynd+nDlyiNkBZjPR4ofTl
z4lKrdXFT14UPqPMWNMZvEIlG5h33TyXXO5CPRvVhxa72zg+KHTBFl5jvSBN+Miyctcavb1MXCMj
uEd9sedUw6CrN6levFDy+NFN07QwdDrLvvmcWrewh1jDnHVZoRDQuzYkbQGZXVjry0BHdUxBZVhG
cbgLOyj4dvg77W8mlzXzkzer1rR1OfrPlTk8RZn64ZfaGwzYiyAPM+uVN+Q42LEazSFMCkSF140v
YM7KhVJPDNFhvqwzDV065m90AG95hseapNDViA8r0a196o7ZqizCR5p/1PubNziu3aJV+mPEr4iJ
agHX4Hcmql/G4LZU48Z6Wo5u0W8z6lV24Q8TttSsIA3Jy/eOP23FIMaHnhS2fWU4xX4shhxc9D/H
bhdex7xrN/LZJDfy2SifT3Lv6wX5vJSHeg5LkXEVEs38SJTPRcqQPBLlc1CelBv5LFStxsFpMb/z
r13MqUsvVfRtaLnjSJ8l7zLSfdkEbm9xKSc2/n2SuqmIpHzlPOTIPfmefx/+85b7q/Oh3Evv36EB
WeE0XrqSv/7XH5KlQAQWX3/ifVz4OpnWARgW+TqISP4K+bnI46+PqcF4vkgJ611TBucz0Oef7qAK
vI8Vcu/rnDy0+RVYAv7zHvny/au/3t5m5g+DbIh1UbdafUCwnO975L+fu3IQZvVLmF0Id7/XDG1r
VpRX5ZAWTCHMNrLWiVwLM/h4QvBIC+b5QNCNacMzkW8nj/0mfsW3j5US8MrCqOmP6ejnriotj4WS
km2ieca4kqk8cZ4DI5VmfWxEpEyru9Ypp5NkEbS+3UArDXnSjT6Pv6optuTQhhtmAgMqtXpCGjt2
zGiF8eyVvfrkjk/GHMQgz2RBqvM0SWJWqJyzynfFyatHM3QXGOcQDc5ysmC2w4Xw6Ba4Fyg0jGl8
HG2COaid7RSmyTVoX4dYhQAKGxXVadX5PjqvPkn2upFnO1lWChvSwFnrlTupvU07hN2kTTxb5ghE
1fGxT845A82BlvDwLTGb7Js/LAN8FXQ2F/m33FfNR0/VSA90Eu9AjOysju4+N/Kcq+ZkfMwfVwmG
UWVOq97bp5KM4Fu1QWGGOg4KSAhd27JgcZPOZfzEVLy92+rFQhQhhXtIzYcyoAQ8RHpyMsbojyE0
TDH0AK4MD/iRlLBe8ynFH4yONtWiH8KOakgpw0jwidueiwnBN/k4Cz2L3Vva1spjYbjP8kgRafjc
U82SR/cNiS19J9yrYvfuzYmjDxaA1jEiWs0czVviOjgZawr3iM/BT/spmXiemPvQHKo04rcsgM2l
PEQnoR6DlgxnA7oktu0Uw5/eXE0/2hhdk+L/wjUCRNV4kt/Ncqo3WjvmSf6oKbB+VUFA6MgYXMGl
8J9bUM1iQGOTi7Bd+2biQ0jo3v2hNj/mnSmxzQ+s4e852rCPiR2SJ4Y3ICyLCL44kSehdS4hcD5S
KUMU1rnju2FMny/U8wvG3O/Lxb6xbNw9mWchnIXQIqWRUjIZ5N1h1JXmkkeXHhTHS1gE6UWb1BcZ
vNCRGLkbFRGtIPQs2mnozrIbYTvDRM0fFISGOfAiz3VaYe9Dy3uRR+0s1FL9/AZR41FVQ3FlumGz
UGr2ZDhlT2FZbynWUocABLjvhvL4mYrEKTtzxm0fMIMY2vAdrebwGjKsrzr4l2ccjGji7CDf2Yzw
+yhrj2USR6SqKLhVNGOCPzN568TK3Od0vlSN0rQRe5o3150addUEqrWYbP7XPCZt8DfLVOFpkgT8
JkQl+g5VO3mIgDWAUqvvTbvrToEHwqtU6SoEbaMkeJ3UV6Nu60XtueKhbxLnkmdpuUBpUH1M8AAW
bm7419bGaltOqreULxRqeEjbwv1mG1m2rXBS4RSFcRaZ5k0TrX8YI11ZCJKlboYCWK5I+8e8r81b
1tjqbaQQySt16mY72EQQl53hrDIlfWxiq70VrtYse2HHO2tKu5sbtR55Zri5xgFVdKpl/kozMT8k
yZxZOG881w13js4APZ+niwLYOLOusD+t04Ar5K7eAvcQgaZQgqs1VdbJokezHGxuvXvNfXAQv8/B
IO0EZYj8BuIhrWHYuHEWbwaezSe5QfbxVtml+1ADtLmfkufrKIPr6XfI/FBdNJhudBvGdFEtxrl9
01ndu0IdcovxGQSlIxr1FPavUrGNDnlX10773LlBsOwJQD91Qzc91aZ7E7TO3xJrdFeoHfw9pI7x
tUVLxePTfqM90TxwPdLK8AF6uy7e2qEpnjVH4AvLs24Htc/Y3/lTPv267b2kb/hmt+qBOJLONDzU
alaevvZ0pf37nJn0pC00dCQeaBNT6YGyfEibblxJ1Bpd+lNjxdNZCZvNvbUee7PqsGrThaElYvUv
ccWXzCI3zGSlpxSJK7ckFW5mud2BbmbRnBx92jQz7a3zIdb1oaUzo4R85mhtdgu9uFtXjWecMEOP
OwZiZTs5unhEsWSuRtYaCCmnncatcXMqXBB1HIuNPCyJKt05tPmWWatydcWw1O8lVtcbx/vnakbO
W+sk1rWorfKx7JzPzzvAerpMFW88pToUQy+ombvy/xBZlG4MUyytKTCPGK3gTYakatCE8J4NAQOR
Kl1x0N2sWk+DQ4dNcdCNhwM0bFpQ00xwtHwNslAbdkRJJM/aGKYbWIjh96zqy0VfEEJhdaP/0rDG
QRARfkcuVB5o0M2ojKJ8EmL6GKbkSTarXE879dlUfp86jdyQhqVNXDOLj2oHVaab/TSsun+opGZ3
JpbJw9DM/8hTcjMR3bO9gw+iGtkBv6h3JSdW5ElyDecDfWz6oxlaV/mSixz/GrjO+KBk5I3Glvaz
cOD65nOwdB9jWkjL514POPgdGSB3bS9xjxEU9VfVrVYU28ubETeU1OIcznueP+mpZZQ/HKctdv7Y
PlqWof9xgUyQ4TX8FKy0FiM1IdaB+Y9G9HPcCFjOsP9NrwCzKzEft9EcYkZywz6MExcu6bhLmpml
uTfTGBBqVOzK9OWz2NYH5eoOrwHo29IoYG0UmRlgQS2P6TNjmau6Wz8TOZ1Q6GtFTcat3RcEqrgV
CWdF+ToM/VwBY40baL/wnscXJy+LS+Vc/lKFTpqwKNCZSvs79mLv5k8hCSxpi2ptRkb5rf6jxeRJ
Agv580hqBQU7I9/Lzmk1EcuJlzuGM7in0F+fjTlRcNCn8ByptFiGZG2bZrwONLu7jc6krWpYpg8B
eb63MB6crTMhc5Gv9lVtrLXQZ+6E4HAp8Fp8NBXt57lcbvliNp0Nyi0adJ0AQqsmum+Mz37WYLYQ
zsaacUdd0jYrmqPZzpgP3Sj9oGc9nOO4VR4Dy32LtGBv6EF18meVntTmzadstaqwSyHQ+CQ5CXdc
6lQIjl9QjqCmvIMm44PULZBYFytIjctkWfqFPqJx0frsjVyeaf91vgTruxLo05d37YaXUZGd+67C
D3e+oU1vdtmRiQV2ndW81eyijpC5MVG8H2P+h5K+/Z1p+VpCA/SB+woZlLmSh5Rcd5qBpF4eyU3K
KLEYonFcj301g0Oo+lLP0B6GhuKFvK7HnspPalnmkfE6f507+aNSJTfIWM6mKJHhJGkLCXcK9eOo
piN3c1BtfJviRmSHyASJ3jG1QqUzV2Q3yG0dyunA2dYzaqgiRWUr9Fl9MTQIqUT6WukhWqjcUp5w
BfX7PFe6tTtkyYuoxE52S81p8o/qoPf3Hiw+gaNNKsHCrk3ibyA/zymyQL4HlXovPfSRSZyGGXje
m+ZzX3t+X0+kU/znfZQ4KD9G23+9IbfIGiFmCrqcoR5qmxhETUmrVWQ39imYN3KPKDa6quI9T4ht
CKmKL0tFd1mdgzJf8L/Mx1jkHYrA8aOirHSKYzu9RS5hzWU3AB+cDwc9SVHhtuXOjHrjLDc8bz4U
Q1f+OqVSuDuD7NPnN9mkJCx9kkcfvJRie6fWKWZmUT8h9mqeZtdqJPxd4Ap3Wft6tbfJD92OotIe
LbKw1pZX2M8l3Kxl6PXWG531W+n6yh+XsFhXOZO2GV+7yK0uuVBPcvnyz5HMW7Lrwd74BoUETUPT
P+CYXXq2DW8pUscN/53BM8Th8Dq/KldFcqVUDNrnO+Q5+Y6sZn0uSLC2cerv5JqhUPyjxhr4ItcM
mm4VKOka+mHziiNGX7WchD1t5atJNUSbEhIvraakfsBrobgUP6fm3bfG/uhXisoETxUvdVFZD4Vh
FGt5mCZZtbJmG7JSNM7JxKUAbzjYQgXI3mixE7IR9e0x98CFKC4ZWRjZ3Hejcuh4hA5LIQZrJSaB
DfF4/uSmKWVmMVoPTHDU57afe7K1F/5y63BrjKRSmB5TASDvBfT7UX/iThPrGOQBriVb2410nrcR
FaNHzuXrlqbsWoSRSyZtJk52XJ4rv512o9pp3YNLN2OFP5IW9vxqk/whZTDnTxjp1znZ+EjzyiV0
Jc83UxKW1Ptad3jMJrfacG+yCGlIT+fxv5m6YjzUhf+50XW/KBdZpA+o2s1ziLrz4LuBg3SnP37a
O+fDLG6Okz6uutJXl9BJrSWWY9IoDcj8p/suGR3KAuB8FTbHqpkz4fSQwVFumOzkp3pKeiQt0LXC
zl+OgYE2ce7iUNpS1+YUB2vZxtEbxVpaFZOYaqqMa5eppCmSFuCnunEdNXJk1Q+Q6quGeOiDJJvK
FNmmtttNpwVPgjn2WXY/FSN6SmtrPE+UDR+N2HvpFXGVr0s+4MC73fndEYj3sm/NmyVOtSGUF0NM
0yMLU5iH/UQsqNGZaxY5r21u5Ft9noNgKjX7lap16j6Rs02tyc5JUq+V+YYs5hsyHzBfISql8TKf
81yLGFCcgW3i/YKvb58qKykWYT9gtpPZFEqpv9z13qHwwUEZQG5QaI1ks7FQjNYJRuTSc5WrinPp
mXiYnUS6h1C09hjr3/xJ+yZQNGC8eIdLzwWoxOlG/i7yN1C5RNKkaNAZq/rBzpvfmuuJtW6Bmpex
iGkxfh4G1XusFNlVyYzx6tcH+fVyU5Y9mkuzLkF8puTDYSVXMXgMSPMIg1jIxqHs5cOQR5pX599z
02/OPbcUgxRdeMSeyaACGbP7qzBL7OFMAuliQgKdT9lTrN5qmCALapst9X64YkWuiIeqrykPgthB
nojelxCC+gl0UboGqJweTQzSpzYnmsXnkflRZtkSdHz0y/EzZdFCTd76aahtspwVuTmSaRxqMZKI
OTLIqsaL0/Z/MdDRZPk8AfxunTklddmyOfOkiX/91w4FgeR+pk+dDQaxDhEbF5JW6lA25uoPqyux
VEsS5aKkA3eZlX+s+YaVmxYr8cGyGiQt8/0qzzW6Mz4WFSwbNRdn1TaAas5rCqtXQRBT9jh4Zn29
n+ribHfv7N+1lwl03nl924Fo0YxD4Ezxd4ORaSYENQHOQxb8BjxuJ990MDceiFLqWACE2UF2uFN6
Sm1vImZGy0tpTJhb+AgdgQYh7DqRjCb9BjdEwJu2SD4yINN4BFeObYQ/DLgWpDn6b7o2+uv7FUyD
fluYHnqoWdivwA/eyUOiAvLHWmNlMIdQTKlTre2msu5q0K9zjoq3To+vhpMfJNjtTj1oK+T/dqTR
eooOPpihhcyERWiNdks6ihSiDDaYg36GmuK3uxh4865wzejJtVzr0RYDwZFJ/CRPTZnCABrgV4tM
QgRioJWHtgmbp6EYfzjC7O9Hcd7kUHzQAkjMsAHHfa8VU7FArZ8u4rjq9lJv5LGwPgRD8TTOVPnP
IudQMr1XI7AXpYOJYNZ9yo0Uf1IbuOSOA/k57LZ3DJg6qETOZG6+KmvRIi9kxRH7/tvM0ToDEBle
OpwRPBa2I8HnCzn8B235G1dtdpBHXZJGZ+SqG/HUOc30gf2TRKgxwE5bRdETEQjYLOcXALg3C73o
jEtkkIZgRE21TmY0qvTPfvlh3UlngcqqfKPbRXlozWrbw1l4y8A9BbO6axQKcAsXXHqIduCxRkHP
h0IjwaJbYoBuue99neuLRgXOYpHnagdPNhz6DW5NH9twEx+wm+QPdeOLS1qr9rI102lfKCD9DFss
87YY3zU78tYR1ssd+SPhNUiMrdFTDq9wolysfBInLcc6k80G+zTXnnNlzACEGMlKVuAsOU9TUkJh
OjMj0McAcqt46vcwDm3mxml+YmmB1qBAD0ysd7xJ3RAqYkcyZmaG3W9sQYzEACRNvV5NkFwOYal+
br4OS7vt9owcYuwXOnJJwxjLDzWOfsodp/P/2ind5BZTLVIbjHqetrjTAUmZ5q4jiOde8dFbNzi6
VAA2fRcrO0sz09393jfDzH+kQNfjKkR7oNtW8djMvJqcOjltJCJq0+osLQFIZgVCz/4l0axhKXn/
Re+760po7X0QyObDgMDfjZWcbJP6kapXj4P0NzT+dkwn792xxLSYqGyRmmdffIH/JdbMbKf5eXdu
hROuwjoJWZDH+DuFToraXEKVe8I3hjeWpBjh573MIpF6riEtSZcPt9C8UfRiTiJaKh6/W22hLfOp
L+HDAxcG4V35/ZPbjdYay4T+LQyKYhF3mornX4lPlcfyUXHTp1YtmZx2ru8BPSoAos16xqAOTRoc
03OrVGeKlZQToZLTz85Dpl+RI66+tpTvjNv5gtTUcxoW+u6uALvfnimWpKBFTimRfLpQjcMAGcud
IgcbC3MmpXG7IzGAPtri+ThtRLNOBEurwc8+Xy58+2bqRre7a9nmOJp8QwWtOMNMAKUlPHsXw9+l
WWj98kuThcyE1xR5KLWx2Z4y24+nsncRO7Nokv5jh5CjjbR7ISFcpiGjETxCTMv2rNpNPNgemsGC
2WX22zfTL6j2xpnMBAACPZQ6cHjjpam5VaeS7DxTtMNajoKRGgYnmTCjmiblkRnt3ZrE2jGv+dA9
Kqz+0PhnBQrl3hX6O7MobVkrQfLYj463+d/28kT7+9X8IzBasbh7k4eyD/cBPVmWKeoxx36Sr4YJ
OWSa2I9yUUgP85sCTfychBV3awiqPVTpXU5top2b0Al3FMJr8A+Jesn9lugy7cm3w/ibU8BKknuZ
WZGTRYv7NHXNSVryejvk40vH6W7JkwUAeQ4g7LYKf5azlhhPX33AogBYMe14+ERktE+uVT9MQTXt
DM1PLtQB2mVdMitpJhEjm/coI4llN1eSDNGYz0MyuJ8FvK0c7qR+rmIhuHWaAkbXbOAvjLI73X0D
kAE9xFHhH37i8CBlro6mFlul0FX4hwCKjdACKlzVysaBHGwDQOSkgu5h9Pp92ijZSf70qhrHVazj
xs3mGlfSFvgkG4teEL+V3ARJ88DTD+y3aMSxKR1r29l1tuZqLr9bp8Rw8QpHz5BEY0ycoHCoddRb
08c7moBR2Cng+x9EWFnPpUIEfdeDUHLGtNq2CDfJhY+8I7Pe7qUz+wWpFlffS7+5+WSdY8FXO3aY
omE0rGfaEKuu0G9O6Fu/JtyULASzH6ZqjMs0CZJlRqVoQb6byeeol4Dd2UMpCvGsm92HkT7nJHR4
SefB1uVrHzscNo60Uah1bZ7uUb1cTQ4MjLRZJbMP1eCijjxXfeth08BYx9WkjgR9fEZYBtYam9WT
ntHpGMo6WAtN2N/J6tlboqig/ug/nbD0v6mTYW+cMha71gqzS2trxbJtSWuz+4VfjMZG11Xw1MbU
LwI1ab7LvV6rNnEzZo9yqmPGIfZQKkXLcYrTY2OBW7L5lui3kpiqXzGccrwOByWenpTWFpvQSNqX
UrHO0M3EziQ0bGOYYFNGJ6BbYyCnt+bDoIx2SYXgAl56s6T6Vr217UU6xashJXh7Ig5JnlbN//V0
314cikbXTMlvXVKFT7B8G+pTuEsVDQWBRVHJSo3jMIng6nZRROkMK05ptuKlUg2xTplSPsjDImPW
1bVldzD9DK2qG1xaz2Zi4qXWrwQFRow47MNAyEu+JeXPzimbfVb3+iayHeX29V4NCTeDdf7hJgRb
KdRqD8PMG8pMr95QV9JW8Hgz+o00fdw0KFGIYvBx0Quv0aUhzm7w5UgeajBGMG3Mg/SrSPtKee+M
TJhwqqx7lBPHwND0faYGJHzWeHJ4+pXVekixyFD4BDHWuyOrxt52i4MwBEXaGbfi9k538EfGzBId
zl4OxBXGGy4/9BZE5jJ3FdZ7bJZPuXDcb3Dcioek6u1tovkF/TTanwOKylU6DVh+R7W9UNpYyEns
fSbLGLJro5Ji+zzXNU3TpoZO0EUwzFApZFwk6UXUgGLMVW8BokgKEsNz0aMKwjGKQQYN4luSacWq
ZYG3d4Pc+m5f3MhM9lnLEkhJtf7JdFlUWYIlhstCV8XIfYVLRc9MIwLBnSb7WM8d3C6KNbQyLfkx
efRHfrZyIz9qE1qfOyrB431NAUvpvdQ1wfRB26MuFvu/Rq3ZfRLhnFmYWGK29L66G8VliKlKirRn
Pgzn7nCoOX/kkT8Yy+p/CDuvJbeRLYt+ESJgEu6V3pevUukFIalbCe/9189CUtPq2zPR9wVNkKxW
FQmkOWfvtUcx3prMAl1pOO72ftdXVlWdzKz5iqNu3kwZmqiqLFzkyoH7GKzd0RaP9ji790Pr2G+l
60Tn309l+LkSO9uTfJn8UTOuLzicfMal3aQO0REjaRJOFIYbP7NhTRvLnUBOAl0ia+lrL1sdzcnM
c9d0n17ChD6m83BVm8TGCyRwJq2/mjah5iz3fr36+33qLYB3hvtb1AvS8Qu0z7C7PIu6jNd3406t
XTCHJE85Qgh1VpRzvrvDaWmgYbOxP8aibemmo8qdp7j+GdVkXJW0vOOyYGvu1vpHizlkPRuj8zKN
qb0J87J59PJYkYKLawob4eAhC/41jY2tnmyLpcSyKd3p2thOfxpdWBWWQ4AcbUADhY6JtW2xiWTa
VO4oizNu2NlLHaDCXwyXqT3mL2YCoLCxWVwOrN5boCPrOnTNrXK8Ume21vd18DAHT6JKJFHqVEdM
F7+pXxXErSz/JxeEzf00MLT2hbC8tf/XU+oH1Dt+/7wMc4ZX3zV2fo7Mng5/tud6eSMLFlCRes7E
QLkH3Ycnzgbvxpr7rVpMpxUt/O3Q1uZBI7aWLRrKrXHY2NCAvmkJn2bgu8mLDAiBb3F1HoratV7S
EjIpA6Hzo+zrcyMk6cS4FLYj2MAzZIB973jD3jFL/XGeiLtXQnySrMjM8rUvoaQPEmGt2jnostsj
01O3UsIa5ayXAazatidQYxgbqNXDSf1mVROnG9kkwakwjfYjItZYPe+jAaFDGfeHVHPhA6eophev
QHxCoNW/SEuvn/pWPAWtsD4Q7CVH2CnL5iePV8JBLXAvc3TEj6XMRgf1FcvlNOrFvqAms7UX1HVb
0LZOQv+kztQBMBam1FIrdvctjOVY/cpLjfLDtacNuEcLU83MBA1X94pX808FCLCS0KIP7f2pD+F0
tq3puypl/r9FTfWKHbo3o3bXfOhLs5lb3FoOQM5Z+LUCeuFy9tdYwOZm43RGeVNP6W2QrMlAQfk3
xN4+krAufRd9R8WlDZyvGb5EcX7Mxp/CGrR3qxr7kyiSea1OKy0rd53wzJ06ZcFWrpFu2Ae03M1K
g46okelyzzkJ8aSubCPGkpx3VA6T8rWXMTGjs4np16yNq1vvi5ZAbBdW86leeEJaWpmHZPDbdTCF
wUW6wzvrjPopWdKbm0Q6h9COGYei5VxYJWAEDyxiPk1n/LP1HXegKD6KeZAFw9+eF6Z2tewoROCF
RKPoG3GAEfn+W6FBVyH9XwEHIaklWg0l7FDviCoProJL56QisGdXJiSKRpkFpsPXDOPiNPrpNzyu
7TDzJJb4mbpjty4AML0hMe3I2Ql/PVLPtXFzRB9aIo6sqAuNKAFm/r6TIyioyyYlitz2jFfH8wls
xcT7w8SqrIANnWs9uEB2PlEJzmstcTHcmjkJlQKbNCovlH2LlcopcYZGg12fDX2w35vJX4mdb+Ii
R0SSpYgjnegePGp5WBGlaW/8fg5hVbBMZKyYcF/pJWa1CV5XVMwn9Zw6AFKtb0GEF0bUO+gmBDoa
DqbehEXeLWhjvErW+BjKfFp7MhxP1iR+TFAcX9qkTU90Pa2thB38bWiOMV/pKtJCbc/UaTN+YH1Z
ZTO9WHXetUO2kxpM6ZKNwy1LmuDmmkjz+kLOZNVy+vuFaHE88kX8CJt5wiQ65fcsRLUKLTuUyCYr
shSrq1ruAzyS13rsynNpWIBsl2xaS3aXoTGO6sxvmQbTuKtYxnEhyio4isinnaquQ3zMlINB+2pk
MazHiFyo1e8tpnrkdTl1LxOEvjoNEZq3WhacasQVkNgaoNKYxO7VZSIjN5HW5xAzMST7SRV9p/1B
o8LN3ynppQciSpo91KsSQK5Mx6c27A81QkTmHoNqn+UTZpS1Y3BLyfW4H5osSZccDKyYahwkn5jI
uah/HhYn2P/3qKjAr2jRaBxoppYZ7klf37dV/kahYqlzE0vvaY/S99Dy8CC2gAysDP2xGSWNX+m4
x2nhyaXj8BGaHVKL5czNkZZEM1WT5Wx0zT/9rp92UVSJi5e4OmxzOpyT635t3Lp8tmqJTYu2BXp+
6i33PXqVucHOUJEKfqm5p9owV2plS5wDudzp+JKgFd9Z0EEPrpF4H43fwA9fKmbL88by/KBfjdQG
Y7t86vAwmk2JQWyj6vmhQ0X4V+ejcqqj+hBhGH+vR8359TmrTxePsbXN9bpdy2L8KT3TfBhiOz56
Jmt7NSFbfF330yom9xrjirk3qMIBmw7SvZpi1Gk6glKzYbCtyxi7kxh6Clk1C5d8CdVDM3vBuek+
Nj1yporey7e+s/6wmbqe7cayTsQl5lv1A7ax7OKjtww8eFrX6W7wq+qYUDN8K8PxoQY4/s31MSVN
pR/fStquYOhnTKE2Le4IL/ktB5g3ZI71x/JAE9X9wbQ8M4jomuul+GPiAagn8P1+8hl2Rrs2ZCzP
ttIeJOEVpaj7NDtd8RpPw4YGJaiCIADVaxOPoAKZzCyjElrS61A/FIVjy/qWzKye477jaz06qQiP
LRHY18poCcTr+/LJydp0M1DfeyPFeGKnnAZfi8J8msgC/NmyOylRGLnElWMecRFqCX8+x3KcHjsd
d2ye9f33pK4f/Nj03kYtJd2yqux9iurd1ufmzbb1B+ArxZPZ69lbAki4p6DzIetIkhqU5PfTPr79
u6Pp/yC9FrSdCbAYV57jWp5jQiX5WzSQE9hdyap33DWtmLYqWqP0kf4ZSZfvu7a2dxLKzhqm2wsJ
cdWjWVT2u8O2FC3RO2sy82ksnXPeW/Z7MWQmtDWP7dJyapoZzN1sJlCNJU7R+N3HgM3NsSU4KWnc
rF5zPt3JhbyQqhVR1O5nHcZyHQTB8ffqqyL3ei2+TxWYS1b7j/fu3f+eqeXpX69RQ/hEWNw+ZjEB
8c5U11tV8bRMhs/EyH5KKxvOwCJH3GWWczGhxhxDFM5HxzCrq/TrjCKFaz3ZI71xMhIdmpYVA1fi
jN/trD9hsZ3+S3iXoqb9th96Dl+B8GxTOKBEIXEoAPPfvgJAZk4HSWHapYX/J/6c8KoOXl7/ejSZ
Fs0XD8G444oDVUoZGBOyGb1/7lPA6oNGS44Yxg0VMoMRzEPg0jrtNe8j/ZJWYbCRRmDjCkwQSOFX
atn2TvVlHB15HrClII5sLklOMdMxcYmrLu7S152s3r0pRpFru++q3ZsUfgrfjswQ4lvXIpwchuJK
0opoVhgPNkWVGM/VcjDNvqLeIPSdTL0Zmmv03tp29wR3Xn9u6ypGQ4G5qqHrv/73a5oLl4v275+o
reuWq7tk+pmW7hjePy5q+A40klkU7uriIffMGacT+9HJzk93OMvUFNo+nnwUIJpsjk1Xlh+WH3yG
3mg9FFSd3jOEph6ANRuTxIoUADKnlrj6TJf7oE0bqm2OOP5+Pmy13dTVx7B29JfeI59CmlbCciwf
NoM5psfGfsFHX750jAOvFrAjSI1YkJQKKxmmeVNlWbV3YPSuHFnl1yjNcFgQXP5IZrV35Y+gKNIP
wcG3BBJbQbZHbYt2o5R1MX3xRzOvAYUYxVpr6/Ko1F595ZynhHQv9a+iQEzWMSkYx/upQ1nPIIx6
ROr57M5EARQuQeG1OIaVXZwHn4n3NxTnNxknYx8Hiq31Hwk9R8Rh+jWtPRLSqQY0qmXYChdWw7Ck
JsxoTEkATQ/3yj7Z0vhoFs13ioHGbRN7k8M7XDvWIvWGXRFdLEzZdlM/gQslgXwsyS3OTfAK4ObL
yAzYKAc/+oV2sRDpg25sjlnj/lDXrHr9r7M4FR6m6MDaN8gqHyZHDoSZRNPXoB5M6KxT9NAMzJt2
7fd8xfB0pIeFaWjyhGLQ4L5pcPT9sDQ+HTsJdqLWiVKlR/45ArjtO/lliYikAz9MZ0ci3bjv/YKK
9XtjVrdpcqxD4hk4x9joW5Fdfdp9muwY6+L7zjYyxDpCz/tcx85Ra4vpFGSzu4mXC23M0vNI1scb
SXPPSDxw+FtZ8tkM76qyWPjS3AXjgPpr1tXTmcijow9gZet4SP0r4ZbkOcGkM3o23DrwqlsMfPOV
vPM96/L+v+CrvH/4YrG8C4izlHMNLkDyNP9BryKAq21YG/snasnetkQeQGGk+LPGUQCsoHFfDdYE
O+ikyRloj3MtdMNgzeONX0DG3/zlvU7bXJlM7S9hibAY80x4c11IknIoqpNlwXBbhNkQ9cbHGKmL
GiSdHg7NJOtgK3UCnuRSTuoUvLwkf3ol5NCbRxZGMIOTlJdpTBVeZTxKEtD6MpMrr66OZuemIIY7
BNp/HQyjFpte98a1cKv0oagzgHll0lCAN1JIJRTOSRMEPy4afmx5DhZchv68n/Y1rtGHSTP+VNGR
k8GOeDY6c2ssck6KKtqqiGt/M5Wpj2OOIoAXgC3RPevtP38yrzKxD2ydxBI3yvdZNSUb37FSixLV
pvDZ/ZQh1V23N35VLc1qGI+ZAR/wdzs+pP+yyW0r3NnOIP5LsiDWmX8Mtb6wQXcvbHZTt4SuJre/
TV5Da6RD4hGRdBcojB1xwhqZMK4nXLw7rb/REgOX6zQh2vDreh/hBXgJ2a/WSu3izHLTY7fdg8Ao
7+3Hyo9+nSqVw4Rg5VfbX5eE1ozCne4+oJSx/yA0vkl3jJ7AhpkrFRjgwEPvwivd9OJbngp3lQaO
+dBomncpB+IYIrJonrNxyW5JZXKsk0F/bUL5qkd6+B1sCkD4rhgf5uAVfku8VfAyMr/rfe5H12BB
+2ror5AxCP1SZ1ToojKI7tRuX2MEv+N6TDvdKQUDEu+MC072u4kA4vU8MBzCfARUtoxzGSbaU5a0
P6U0qwd69fTm3e6lZixaJ8aSzrSc9lM0XfrM+Xo/I9H7xQqn927WMfeCGtqLGZeEyCB+0j0Re2Wa
iGOjONRAV9bqVVOvCU/L03hVDtq0xvTnPLTSco9VOab7sJbBodET+IqW019ylwqx2iV0PhJvNg2s
CRf5Tdlah77Opnt4cDlQASrtESlHSJSvA6BWFaI8POPgY6aHKHJmAG8LcMMwiufBkOMbJvujGsbw
C8mtaXnVydXM47+vAv5PcoANMc80XdNwuXNslrn/ubKtw9HSAyDV+/vWrcB2ifvTbB4wemsnBWwv
Mq+5wtUgry8Z2muB1vTXo4JvGz/ZX6//fqTeKUf7WaX99COIVS30Pimw1OsSEdqVOam/dF5o32k4
KRIICHHdxqaJd2lkdDZkEn0vhVautaAfb0bcw1Mt3EU3AC+jt/XnXhfIQkwM2RCqissYdx4MV204
JJmVbZSQRElKDOl5+3vJ0rboSLRLhmKWxmsNLDJMtE5g2jC+jbmZbvOKdUQKAvuoU+w64J+qH6G6
ckVQo6KpVX1Rd2aSxCiM5yo9iCrXt5XitITLZaZeLrIMtJ4pH7TYcFnaFA4IqLBAxVQaT6kM8vMA
I27b2BG9P5hENSJ/xTnRRHSEXJt/+fdv2f4/Sz2XdbNaOessni3F9vjb+JNl3Nvg1OZ94UHpSuos
uo8BMuqeG+HWpxxcM+Tn0b22euvtqjaujsZozs+Oj0bCYX3h4xQ+2qqt7yxtfXeQhExgM98ICA3S
9OQzKiMEL2AnlvYIzLn+tR7TN7cs4ps6y+Qp7vvhqap19yG03J9mWLvPxCK/4oOwT7nsyTDzKMQP
AWeeO6MP+I9HWt/oR4RIrESwqqxV06KpYGpR0cIJn2R3uDzarGhXlHm1JcNk8WLC9yDgx1kV5wrV
70Ng983p3z9hkDz/GOJtlxvStJnahUfg4D+Rw3Wll2XYxO7eD115I3YlzAk/9d7VZpFClr2hZYdX
f8m9jqx9oQPB7VQD0zQ7Y8UcWgK2RavZLhoq2ZjR+MaQqx0aTAQEgSGOlPX0pRaoDHIo5BiNy3Uz
gDATIVr6CXPNBle8Pa2WeASKJmakU+8VUq4AyySU/kCeoAtaJIxldTD1sjtrESEYsqmtdRCl8XbM
S4ClfmTwudEOGhk2MDSUBsCvqdj2BEJv0iURAN43brL/PDSeQ+lNlDQlnCHY+BIIqakcrcrv+LeH
WYe7ljt/PdYUDKQsEoyQ+vaei+tOYu0u0pOmS24eht0vY+nKrTsIWEV+gcq5iOINCcbuU8N2cKVG
CZEHf2qhYT/H/dicIjhI26QgAa6cW0ccpiYuDv0YzLswycS2Who36pQwG9KVDBJjGfWqQ7XoMbt0
YkLpOn8bLxrNwEap0PsZ9VJ2Dek+WBS7gZM+KzBbuuh7Sz9H40G+FY0R+JGZX5PAbJJnV6T+ZxAx
8NV0NmkPdlejyigLd1lwxRLsP0b5lNAPp5wGuZjU5bjd/+PFbFnk/v6pQYL+iWbnKR3r95Iu800U
IVrEQa83MonNQ5H07vnvj+wcjdiCJL7/Delc4oaMsIPy68C5UmK02iys7R0MbgCSBrnZ48MAkZbs
TeyWR9E24Mjq+N0f7aAG6FC9qMU30O9vAOSKZ6q44kJzWF/Xuc/k3OKU3RVdSi8xBH46o1zZFySU
XAunafYSUOj9UaGnxxDhVj9aFEtpOVwHM2j21vJoXJ5rrOEymQEJvcvlmHs9ZUQ0jedmnLhkVLat
r8MLtcrnopp4NBS/iJeNLn164ACcV2r9QZTZcIgkLiBpv079rD9ngU4FchyQnMdWcmN1Vm8wnrkw
SWZ/fwkTf/gKOMjcWjVhqAuFRx1i1/ladm27cvwIrD+hOk0xv6veE9qPeed79kNWmt0TEeQHtd0q
/uMM+1v3VCfuwcacRqanfKPqhLAnAAOu5qWm14e19tXT/PyQ5T09lHhJFlXnU2WSapRlkHqDHQGV
4qceaLsQ79sq9eLirCSiTFugSaFWHpPAaHG1LF9aLaBodMsX3yyHGhfdLq+bHAsCp4SHxHuuQziH
tBd7G6FNiOb7EoY/O9MmXmwZTmq7mthMLf83Pew3fj02WwIb569BjK7CqJp3st3FUT0PQqJn0NCG
3R2HhfqcmrSJr3WiNN95xED5Oa5Cbo19xOLxmg/Z2rXnjn1m0dvXAnTfokyLp8Cn2Thi8FFS77QQ
4ynuxjVpBda6oZP2Ys4YuJcF7x3kzBU0nqY26jaTlsqT2tstEZNROfSHQVBtX5mgxedSky/6mAQb
VMDYgss6fMH9+joGVA92Wg8bSJP1SLe/qZYa6yqYivyhaEcCkivUTkrArQ6joSU7v812jeNMl6ZP
qpW6GtQqsBXRfKNK+WAvsn1FrK1YneOPM8UKTnZJsN/Q3HVXqm3RaR1SSSJx+8GXxDtX6DcmSNyx
3gmKQLXcpUZD/2fpf/BpXSKn7NiLL+XWwv6q+G1tqjEZwDfrgk82AfzBIR/4Uc2Vdpo4EB4K/+h5
jDh6ZLn0b3pnKb/Mb8gktVVsBdMl815kUXMXLuGNum4kG4JO7U0DV/+BbrD6ldTvoA6Jkf4XgD/l
vH/Opj6LUd1YlqXo7HR7yVj424KlRM+DzSgJD9KpzF0ZsJYaa//N6B3z7a8zJcPUaR6cmCy3QJTa
7eCm4lj5Ynqdisc+ykjcRCRxVe+sMrDoLUpVxJnLiK715h9uMTnX3C4eQpGh1DH4ZBJAJXRIxS0C
IfaaQg5VEy9lf2vVqU2zBfqPSTWqNyFV/2f1KCFl7/7IywxgZ6l+ICYV7CBE/ST6oYR+Stmn5+Um
1zT3FrtlefB9+tRumX8lq7O9KeNT5ZRfGyNvb4ptuZzZi/kpx++60dxp3tYMbu/jyEbGxIA4Dv45
FTZRd3mKvEGViBiX9AvaqKcu7MvDMIDkNzInRhESYKhWy7d2wgdaV0Z4UCb8fPagvsSDhjpD9iZp
O7gQe0qY6yh+85YkuSChbamGKJuUjfVgR+bZpIa5WqzOjPchOkp1aMbZfNddGDZEj9Y6c5xIM7Fz
qyy8ekvmhzokhL6ucg9FgRKVpaPKD3a2wtaGK4RbuSIm+EdSpdm+mdjuWV3THq3OpE5H/QbcB+C5
ZKrCt7QXYl/i4GXZiYtqyUJgsrbs4N4vFUIiBUvx9VrQ3w99JBB1VhFeoV5Q7Emn+hUd8T7xm/il
6QV/PxuNmxrrlRC6Gxda4oTHs2sJfY8GlGClf7w/AqW7mzApS7eZd1YHUz4churTlMEW4MH8hgsl
v5Q6QcF8ZNVnnWigLsJsBzogAeMOJNsxM0hZBX3j+6XVql+h8fLhJUz1YzD30PTyxFiHRdQ/Zh27
Gwy/wWFh+sM4LI5TS9Utn9Lspg2+jyVy2N+HuX9f39IA+2cNAyYeBWNh2oZp+4QdLrWtv92SM+tQ
DKoJ5AAmjUWLQH2yyjE89My16uCNHt3e3+dCDJvIbb8RuPFdLbu0xEtv2UjwRui4Dwato8/EE8nB
ls73HP/Gc44O8GJbSLBFI8i/VJH1VKLOc9EnG4Ku7LMgvBcVdfWiSs2V5TEw8K0B1IBoR8eELDGK
0WpdaEXBo1oqZniDYcsy9+hVsC2yfYRQDuWNLZwd9njUeVJ/03LaGFZZ3JUkeTR1G3M5VSO5dNib
4rBDL5qZRxyCXKlYz96oO6cr6mnw979To0AnaTTmU224O8My6292K5u1iP30yYYadbDxPzs54GA1
EaoRX5jC42ayAPktkyPzdrceNCHo6aJpGsHMzEs94a8z9dssZ46+tA+WhdFfr6mJJ4+Y/pOYkW+0
zZXUjOChmLArzl5IGLXX4DChbkvsqghukKbkdWYHTaWoDhHfqn3sHaA7+2P5KUrT+QJRHMI22khK
Ju8O2N9Th/Bpo2okKp6rgjKa2nX/jZ/8MoyU6bAnBTtnUffmeZ9epDb+LOzAe3IIGmRRmKx/ywcz
ndl+NnoSuJWoUUfE6cgQLYMRulfbjkk7clpoewu71WXK/6XEguYvNk5KuMe0cOVUPSUz2SHcFbZd
YGyhsvuru+5KGthj+m4bYSq4qsW7a8XI12CNSxMSWQFc9ZXZFweRZn3YtD7OoQVROalqmr0ewnON
NOQqGy6aJ273zIbREZ9YDY3HSQvybWeNaAyyLHp30/DQsZHY3X9QRgAkPTX6zZp2xCV8QJNJFbb8
fr/nmYJawgfbfj/27vRmuDiYW03bjcgtNilranQnrtOfazM3aJngn+RO8BFgeftipTdE6q6K1TiC
cuG/uZf/bByMydlEBRVwKUBof/KDPVsjbeUumS+m83H/h23AB2Ay6BnIrGS+aqTz4uRlfCLnx1rV
RbdpamM4AbMadm6Y/9TyvEyQMHrAWtVEaKLkX01TOj4mJWEGAdTZ0AvGgxn10XaSWr0PMWpt3T4A
eMeduLGXS2IKuvhJi6tNjKqIojumojsAW8wn1ivyFntIrVYEH73DhauOFCeTyxjJvfoFPdfowWuT
W6MvUZSzJYKjDr+Fuh3SeAi5RJz9OjC9veaSQCwzLOpj7+kTPomk3s1+GL3mPoOuhpz16S52H0At
10X2RKJgdbIRMu2GEqn1HBTOLiw1h9TbMfsoOmRxaNh99Ermp2IKaGErKefRLbEdiYDNiLVwDaXK
YJE7ihsRLOIGg+nXoTSHo5Wthy5uzhBG2nuMj8ry8ez+3Jc5SuK+rs5+Feo7ajHGLc9ywFytC/ss
9OWfqtybFhSWDJdyu19p+YdmwfmxgxxgzpL/qA56Ov8xoag9M3XCOA1oHDsCyiHPN1D9+v61Aia7
YSNEM2A5dbE3HjApTuvWLqGfdiLfqyVL9fX+EXkja4FKzy5JOkQXp7CxFNuF9Vq5ORuvufAOpdYF
7bHoZP1Wf6hdG72aF78b5Bb2UfkhJNMa3hoDFe5ajf81yzF1OxiNTW5eNDpbdVoCn0FHNIOUvmOm
xpIA87jtSoauznojzAxrM3WpIBnC17qOm60jHHYiy/Z+nA1gXG7dnVOv8MjVGK2tahSXrgflle9y
aYN0bXm+/2HTZD0oNv6y4CbrLb+fkaO6QSA9vxeEYZLpIE6NYphb+NDXao2lDt6y2mozQz/19+Wh
G63V0ix+CdJx+kMgzl45Vouzid5h8wnxL8V9FtaXIrZ3CLeCvetiTU0JYYZPmJDD0yyOKFpIW7UG
DF2U1wh2/iTPaD7YXJLQqbkwCj8Elz51w3vfBj8rb4igmJMaseuR3avPuYBfRs3OfZWTTM5lSGpm
Q84GKPL2QANV/5L6OTLifvrq1O2fd/hNUnCJ15ICuMJLMZO+gPp9SGUoHpzY789ul5TbNGFt2NOm
OweSyMilJ6qV+odeVPW7LR4AFjSQMqhtBFr+btTVm4iGZk2iyPQlyRuS3RDSMXBDGWPCXPsh59u+
ywhtmclC152i2kNrdN8ixEtmHuivgKHtW+30kD4If0LIdikWY1USTT+SZMkSNsVe9SDcEpXSrBGg
PvArUiXKHzEKOOeolF/7xWGpDpUxk9tZABD9ZIAGL0FPWDFXzCoqX1AaqaFKB1CEW6frtqqPZrl0
QVZ1Yl+baUTKtAzj2nLoaJBfxuypNZvsGhYsjVS+BTFT2VVym6/QWMhVmlr2WhqGth0Wm7SfCNqh
jvExJFwHlumoHLLwmrs4gNXBb5PvosubU2vGiLr9djyoEqE6eEQkjXgaUrrpa6W+tHO3fIjTnDw2
lhJ2UzZPJkFPm/tl19PiWnXwHKaFSS40sz8Whi42Il1WOhFeI1xDzd63WOn4Q56/QsyJbm1kvCho
BHBDcOOemE4+00G4hJ3UTlFeMjdyV2JhWuuB5+ySCRF6bLkXyvf+o7SRjRaShp56JAeyoP2SATZo
cmOTluxrsIjbL3qoFRdL6/+kJLBNxi57N0RDDnaWOJck6winTyt/pz5vJ+6rlRviWlFzKkVXdBtd
hTuzD590QFPb34/02jIO96kKNHtG6JjzqkxlSuKnDohZvpBhWJPzOdEOC/MfngFEo3O6b0BSiQuZ
xmEfxVl0crmFb3HWz5sgIv6zyatoHTJDG4CFHlXZX3QT5Qpsor98H8iSNpE/DY+GkNELSmt/504U
9AbDeAzb0ScEpyq36vYLMmuvzazQXM3q91D0xI1aM7fgbFofY+MQ/9MFJMEiJkBjLbRTKLPiNAHr
YY7vrCcZ/uHLunp1uk+1iVQnUf3VnvU/CjbNhNtSzhz8zrmgBEFCUZnX+2pvNn5y/0OqXTygdwY+
+5j7yEszJFgbFFHuUmq/1aprSPJfZTTjj2p+GCZ6mAOt5hVeD3t9byEZRlOeFwqmV4noSaU5ZNRH
d65hERew3LNdP7qH+0g1iNXvWHC1gHCGY2tmHormoiPEfjMUHuL7Ma0umlM7z7aoPtQnNnUWc1To
lZfegjKXtcX9eZ/GAb/z+MU0OsRCy+dXadV6MJ38rShC+wGazHdELswchNk9dhLYWIOCydMNuQ0a
3bjWeocoZTiOI/4mF8rIcw1IYwWRYfyxpGxpDAivTuRkq8mOhgfiu4q1nU3eV9KZlrbKdoCa+qpD
9nm0iuS9domvCVB2HgZHvAWs4nYEl1WbeqndR1jaD7isMOsgOeL31qKDyiyv2Z5orflcTuaGzKv0
qtTSOSI0VrTkPKvTyKdTGrRTzRqNtksk449Qj4y98C13P6bSeu/K+jT2cMP0kd24aqWyb/IQao71
xlb+rBq4OJlewbEbE6jlDfB0ll0NOT4uHQLZMs60Zru8wrmYtKvMug9/9IYzIwys8+XaVpe/NInZ
nsrBPikXFMm649la3qJeLWXaPTKKspCu32BoNo+kEPpv5fjR0Hf4cGiR3ybyJlckHmekTNh/dpmb
0rfDoK1AAq4nP4MwR1AjfUhaWf5il+X0hTnon+8Skx5c45lG4ohTgEQZaIDzX4+KQf/13O9HMgyZ
nfPu1/uKICmvVsiXYln53i3pKvQkBN9mg31PmVXVh230sOVQH+lMGlcMYt1JcxqMDm2TI3lBb7XP
tfKJYh327qz40D0uRuST5nGcfvBsd1XSPRwqH3JwHZgtBXrolD+GZK9A7oZFxBylrHEaemN7dapG
dULUaRaVb3Hle2cvKWvGlexV3RFVQNZyEDhk4pWlILQB55bqIEi7y9dJWS63fCVxjJkLmJ+U3VjP
0qexxzGqHqnnwuW5eXlOPYo9uZNkG61QpLExom1JL8PLTuq0NSvwA8gsnFFCKlpKtuFyoNkKCzsN
GxhJY3NG8nwKxhFmiY5izJv6mttxBhFC7spLlzI63cfoCY8XRrz+RaFEsTR8rXWKqmHY9S+66Jw9
ylpnrV6cUChS4kWPW9EaWqnMN2f+Qgm6p2k8ucj4TPPWosc9911PDkPhi3VaGsa+EzN08FpvHrO0
oqOTT4ILeRIn2IXaXgRj+tC7NGdtz2xedR/RSIoAxdPN6MlyB/NM28Pa9EvnVku/iNSPPukoDsZo
v7RdMu3goPAnJrZ4MTPdPzup/q4LUlW1cDqVi4hdHcywJ92hIzR+tmukz/qS2cajOEoswCTmz3oB
zk01GnCGc0rKyHwvc48ZOxLOt6oY18OyIQd0kK66SofT3gRsU+IGUEvVDhs12qtDZ6O+SgNKSVO7
u+9by3Lwfm3g4F6hunWjrx6T3Yk0uPzxPlFkY7aZRbRR64qwbxkx3LnedMpdhjbS28IHR2XuMUcp
QYgZTfz7tvcxZQO3TAL9iU4lqPzEmFdSgjuf46L+Eg60uiUJuW8J0ra06uTGMsbsPCCJw0MrVoRG
IgFjY3SY48jbaoUu13dkr2U7/bHWmse0Te2XeDnUc/Csa8RA18a32IStSymjWkW+lAeF2lXPpaLO
FtZ5/mBBG1knommX4cXBi7wYymcsyWv+mWQTp6l9Npby0tLjGkq3f0/lSD8relZ9BNsoyj3G62Fn
JwheRjp8J8RqG3vEjfs/hJ3HcuNYt6XfpeeIgDeDntB7UZaSJoi08N7j6fs7h7p/3srbXR1RwQBI
ZkkigWP2XutbID6MzQBAb6difX3NM+Fc4tu5y/JagleKWHkBVs3ShlEbUnzREMXmKg+szJmehDiV
VoNOSzSr2oJLqFo34Hm+zyZIrVaJ07M+uc1D6RItYtSWsUoCi7XYrKBbU3GpcmdGT0xdr85QVh9U
PTRiyqkFISuOloNY8nXhtNVCr34pbaJYVfJ9V/RdXuR6YZgdRKCctZYeHJrGU9cEF/Kl1W3wjdy0
x9gd9N9dhPeqs1GzVom5UvTJ/+mBaW9TvfvgI/QBCtnFdVC5AMUwkIa2S62dQOHR14WO0uy/9zhQ
NvST2INl+NaUiO3m5FThKQFs9qpk5ZoaUbTv6A1stJ7dXlb3ymONdRT3rBEfFWg5J2VKw01qhMXa
xdi5ZeNz6oVmERWESS5UAwbfGLUD11m6iDWm7EJoKojoYqFi9N0NlXnjUzdIBkc92bj3T+RUUGUR
uTOVaZ01hCxvNU4Y6KuAUJrQZv9VUSbDK2GcmmzcsdFfFYG3J3hD//XPgzAkTWxIopWiiN2klrVn
L6f2EgRxdEit6NPmRxyl18onUfBS5vkecU+/1Q1Wg34EQLDU+fswqDXvs53uWFqkPzJSpxehwqAW
BiGZKG2HYb3rzjR/OxgAHIXiOXkknyNkYF6p+MNJd/XAx0Ar+bABRMvuumWdK8XnTwTI1GHIeiKK
CH6A1p+Rvma0pph9NMSQqhfTgjXc+ZpZN5TL/TrQAdG7FcmMFkz9T5wZD66XknJcVTQhodAs2Hg+
U3LwVy6mwb2XIhbvY5J3pHFsSAr3QuWUEoIFKZaBfeq09FjXRr8kY8u46bQoGBLodMW98eQZWXSS
JQe+cW/dhZb7ggswg9gQlfsctf4SFNNMIXP4bzsjdMsF2MWSvDMMFlXZNT9MEYYrMCJWZ360ne29
haXzq7M0XE/5OK1sYRXUcpQXyEm2bpre3400+ftod+ObN7fJmvumO5sC/aQ4qBYmz1slGSqVqMBJ
LW+j1p3mfW2TmIsr7QUe7PRMIzMWWVzZE5tfmwABpBRw9INP3boZxusQ6MkHdtlk50yhvpFbZp7G
/JF+VGaZ7Ap2IEDz/Ghv/7wTx3A8nAxnPighOMl6gHpiAImhUqikH55SXoYy6c4N4ofVoKq/+0gb
HoHY0TsPqE8z2Ihcs4SirDia5RHYqu29diEaJzQMBe6Y3szvfGyjI56b4snpbWUvC6dYSsEK4Mo6
OAn4distKVwGhbcxvXy+bz3dVi+R45BOIJep2lS5+/sUH2qusbsbw6muwVepOtYbi0aP2WIzrD17
0UAxmop34UFL0JLylwSwyZzmsYa1ISXSfvzZuLV2Mv2alIrKfZJqr1CnbUQMbbksoiHck1vWAZfl
qNDtdtda8xqSHUCocFdy97+gzEFsZCYO1dO8TkKhmxERdUYat4eggZle6ZO5B84ebJoBSVGmDt4i
RjN/HdrQPWYRyJ7EL9PvRCP4qaJ9R2jTM2UiW/CakTysoci+XlAdLkizOoZNR/iAMQXnRK1L7MUt
vkRRQYhzenppSAYh3Slca917MDY7pH/F78Iu/zoAn7CLPUUwLTJvIdG/Zo1WIXNttK8o1/xFxrRy
7mt7a+fBUtPz+dzKLr540HyjPNYxCFXTzUktw50n9xyzEw4bvbewqQuMAXGywXPgYui0sGyOfgV2
qRcyscl2Rsrm5K3Kb8qIzeYoT9krawdtgIErn4u72kRMiPWaxKP2WJmQC+6x3eqkOssg/pSXxz25
2+3N/NiwXGcDfM/QK2coGQsn4kvPrP4pNl3qUjN6BPngC+1SU+JbY9NPLHU8rgzC/TAwtF/LlJ6L
5nC/VY2kNeAQwmUStRXS3r+qLJY/1gvf1Lq9E9NZRfoLdUnUPurIHI6R3UL4EcRM6mjfx9JzTsp6
VHzvWc214CXhOoZ40lL3m8LwBZxosZ1F9US+SgM7ekgT5YSfqH8Iwuax9TVtXzVzvitgn13HpIxW
pIAX71Mev4VBoVyiCht6lqfveqN6z3OF7QaqGwwo9pGflpYgZilLvM2muw3Y1R8q6rB3DJesCFX0
u1d2AlmLHLl+Scb8cDOc8tgwU77dw0MrLcEgXRZHORi6+UTmZZJ+8oHAZ9NCeGVt9iCvlFLLrLWh
p9P9HpY+XRDqp6q39NMgfOIsleedHyb4D2WfrlSMi65gn/dFqy3Sx03UZ91G3r89LuxFrFvO0lUI
3BvbllpKPeaCmFd+trq/yfTAXd2/rXtcmwd7coGeOmPCzYbbPJyjAuTAfUFVwhW4k6rqsozXBEZD
6qu7feyEO6lOcnM9X4+dr+xZpoRv4vl+Jh+1UJwb6ee48fqWAU1X7q8hyK6XLAqjrcVgwQeLw8lK
xjOYNbQrzcBWMDKvtjGYv/2OBJdQj39OadvQVVacl7oh0Pn+W2uOsZwd2pCSdAPFhUpiKgz+ZVLQ
blbARrCsKHSq8dIKYY72Jhqi8hVWX4fwumyWRJHelDjwnhRUwAp4uO9QRv8+qIojaLEFajDnF+yA
hVnFNKlJFV3FrH9+KmP+vRgK41234oL22tQ+g/VFEOmZ3TH3lR1puRkq3sbGRKOkJCfq9pnAp6+j
QDwXiVf/fh/xIjsmy9eYldfGB4Z2Lcm7xog8hK92TpvECBv1owDRFoKU/JmRgYeSJIrIYz9aPliK
xWAGpzhT+o2Fsmc3eqSlklSdPjpR3e5YXVi7kL7UdfDphNqDZ37LY5M9Z9z9YhX+WdUT4qASnARr
Zf9hqPN3GagHBGbcz1OX3/P14opspaisllQnx6fGoCXsV2P8IyJ1uW1K9IJK+S5O0CeX51Zggiuf
tmhjlfZOF+HXDdpnMIRslUANI/TQ9G+6QhEkbEBmhMkj7nvroypAWSBdqJ/A8ZeblF1NGbxUWvfa
CcrdbBsKmOE8fJBuTunrlA7Pxp8e+q6Ilo4kKbDvv3NgvsAk4Q/FtxGlYSu9m4GrAg0dK73waBkw
PfvJYek8mu2iR6F88Ru3eryTwvoge5aoTLoC3rkkfUOeSQ4ny8BzWinHrsA5uqTA+tqTGnjSCB55
KkDDXoMMtK6p05cIwt8+zfEHI4mSpaRA4Axd6W6jfBgG3Ez6N+3R8IuX1IxorHrYeZxSC7/nmvaq
dmn94gCE2fc5Ob+UdC7V0Jds3pne6yjXj65o08pTo2+Qe1omqcjQuUE1wcMRR3Gjs63JC289JSjV
2gbD758XEuqS9ErT93Huh4vSDPausQv3HpeIrnZaBtQ5jlq/L31CQKyBbYDTucpJNs8NcRrNT1Qq
yiNkw+wFr+6wxs0ebeRp6nbN0bFQ9s92fkasVwAp9OcjyQIEmnaUQQyyvdd2zn7KSsHAGvUphsec
rXo3jPfW1O3ZuNlHrVVxH2fYxCXJQz4QvWof5RFff7FQ8kxdK76PV2zuDaJS+ua/DlVuG2L7Bv5Q
n3S2TIfKxYy2DiNfeZnCht8u9YufGg4Jvet/Do5jvjld8DQ54fwB46NZVnGbPWmVCpyl1+IT7oIe
uUjVr0dRrUAjT5J9CTi4F6cCFrGYqg6mvhAhU8kmKjFVHuSVE+aTAp6L/ptCIq6UGUQZEyTKUU6F
BiFyUhyj4HqIvQyXrGPaZzuK/X0zIMpPos74NLA1RHx2raHAgc/2smEvH2zHn5e9nntbeepZWfBQ
9ynmB0A/QV48kY+mPjUeJgixlqjFWekpK/ltKqqfbeoMHyoMSGj7eLmMMay31TDQ57JZceRNo57z
SKNTneoF+gS2tTnxZO9KQPdaGSJjp6WetQa5+mkoYf87nrYADLnNOy17ikATfOgj3SzyMrS93s/K
2i3uUD9T1K8ST/hDxr2Ub8gHVSmGZVYG0batjd1XD3NG5oK009jXTSBG0NE7Jz2eJSKA/CfL9qql
1bWYuqLqc4Lw/wuE9IJOAh43agRrre4eGMiMe9HYMuxiVeoGsXcjJades/CHz2CK/UlgMcviMedL
OU0xVQEpAPjPKRsof5d2+rSsvdY+hcJ5Wemj8lrgbnBHYSUM4xfJ+BNnAD7iF3ya+/vclpPf0FOp
3BcRxixJRazJ6aHQb2uLklrYihzf9slNp+wIle6X5JlaCTGQPch2lRSjNYFxwToaqJkDaPLx8rLR
SI0p2sj3yge+jP1Qx+XFqikqQtGnMos6/oqZbG9SbETYxlkiAgeaxq7JSyNuMUmqSy1GcTWzp0tY
DddSm51mOeQE3bp4DJlPf5hhRPtOys/qjgJXG3TOakzuv7X82ZMzt2IjFrPBqYfzfUwNUkO7epoG
6c7xGnZc/JhARzQG7orM77yMngMUjhnzm/fZm+GDvAqkugfOQ3eqRoJuEA2JBKhIVKnIelB0xMg6
ZfpLglIHAGR27VsVUK5jY+OqWRnqgZF/0OCjiMl0hUhi1zuIUY2S9S1fW0yOYT2QLYQ6VGpCo5Do
PZ3wItKMhSNCupByRttSH79O6Ubq+xKRtAZvYB2zJqNy7YkaHX9Mypx8BYCsL7sGLZznNlvIRPFa
d6FISZhnpKoRym3tnXKw80WmHGZdua/DaOGFBzbQUF4Ks78q8TCu/xwhwh+uAXkT6wkYjOeXJBiJ
amOehBfUSeoxTgscomk1A9GzXFSboicNTXlhm11xZWfeXyjJ9WjCqtBmU6AWmwqW5DZ3/GSdZKT8
VGqXfQbAZD3BXiYEvUZc3ztPc0ZWfO2C223m5rmHcHl0WXUuzX4C2m6RQpThtSe0kOK9q7yng/HD
KlgMW9n1D6c5HbyZSyVe5BH24iH3gmOua+1+EkeKyYwSJAg75al8Qb5l6tsWv0oWHgdx9OdVUda8
/w/u7+vmNxK3POoEQfPoGyMA+jhk30pRb2lFfBUxQEN/wX6121mwbhYtNYcd9UhvIa395mRv1GgO
nuCHDM9fhc2RlrPnXMEMdZf/NoXylFI+6XXS/oqCinUMKCGzByo0NuCFQpkg71fmhnyYZzkgwzy0
0LPPyyasNvKuj4Yi2OPTjNd9Xww7I+njlSsW/WmvPnuUq8DCtNQ+hqD5LeGtZne10n7+qXnmsGDt
/1V7bafihq8bBKmop/U0T25Wi6tAwA9Aw5tT4Jx9DS1KgpFnPWRut5VwChIShkVEvfYs4RRUAthW
kOSF/Wbe2p3a7GpRsuuNPn3V3e6tne3sRzi7P4bBnkBSNnDbRKk76+tNRz9sWes9W035pJrna63R
hnMi3uJRj+a2z6JzPPVHz4+yX0E2HrnDs1+N3x4TvrQ7GQyN66p2QvOOTa7q6g2bbH4FcBG/VQSH
CfTGWI5vTl9nCEWCJ/nFuVmg4o72H+ni6iub7uAhLnFt6B4TRDtRmQwjK1tbXuK8ay0iJlEnTrnV
WKhlRyUOy2cFxxcJJPTY8yQFThmgwsrPSRTkRJr0gF7FT1ZjStQufTDFi8Y3Y2L1nMRPVFmhWRGI
bYuasZ+KDHO9iM+Bm5MeOWh7DcMIWc3aywi5mWy5gh2UmIPLKowO7sAiQ44zEfk/hK7R6ZMjO2T6
jDt40Pe20JuhR622Mbjj1bPfefot1CP7jF+hXUjnbwZQcVWTgOqZCTFfgg1QWONvueoUS8ysdcZX
NDT9dqJDQzyQjvhazLyh0sXHuUFgTLtFW1nRmG8nF0hGaIISEJUeeWYzf3X6rJ8dv8cm70yQgy0q
jYmbfBfa9t9ueu58tGUAooxrHfvuxawyKFlkRK0sj2Wj26rRxRjoN4ejlf2woUrVevMdy1R7f8OY
VRGbdxrP//MNZFPQ0B7N/V9vUrRNkqbt//v/8l9vkL9HY2TBuXXDI9vt+DRQKV5UcKk/RlMHLKuF
Qu6tzs9mh9pTPB/bWrrODKLcsGObty7R7u93YrozDYDiLU3hdjnCZFtPjkZk6Zxu5RUZRXPzNfEV
NFwGZG9sHcU+cSxs6v6w52YVY6yLWOKUOERIe5OtHc0oYtntu+mJwqz82hWr7xcEN+JZElcB5sjv
ikVsq12N2UOSIgCrRX9j1OtLmDsGDgawz4bRE/AS+PfFneNq0zYvs6/TLPWwjbfttynyBQFCjdCo
uMFSt8f+A/f1LerC8ZdpFMvKp1S6yGjqJBWLqWgaP41OMY6NQKJOFpNkpRUufs7IZzeMLjS3Mu/W
q9a5rCyIqp1zU9PYe/VardkgM6RMws34kER0ThNSLJcjJMJDBbl4WXVu/mR51rDJRyc5hQgVj6Ev
jE6+a127JDnVeYGGSfYWaj57Z/7Uwn7ne+1JLgnuez7H5n52cH6o8Cyt0mzfjG4kczomVYBdcHNp
ZzZZsqVkVAb5Ut4cQFQgwagTvUgXC2ZlmfDEtXLd584IwZ7/UeJ1bPcjLHNI7TO0/Gn4Jo/Y6gdf
R+y4Wf1DKa3ZvSszMt4Qie8sN7ozHsNWN5ufeo8EF1N+/oadDHhj+akOBV5aFNf9WQXjrxRrsJKQ
oWhGVo1yAirsXuVD47kruX5wjaF4yLT5EIx5u2hGqnNyfgGKqLAncr+DAAJ4Jl+12SwoRPfa7Xyu
vMS4XyszZVSlVcxbRNzfpHCZsEHC8edm6YM5gtlI4q78BvppJfHVoEyjBUEG6ktgJOYGfPUyc4MC
75hg05kjf0mK12fpsZ3dZBXwPCkWbvG87uUpxEXynjoDetlYPrdRkv1QPRvjDAsOyCcB+2+Q0Aff
cur7QGjbZXSYO+Pr1HIq5FU9JdNIVb4pcZI8qha/MEgX+lcFS+cOrzUWgtBGEFucWZ6WN6ye/gFg
KohCMXIXDT3SxIruPyD09B8u7buz3HX51fxRQA2kz/WIrVAjYHPK0UqxdipVgFWoWEEm5LO1L9lk
7aNZrTfqSLX2/kv5iE2SkcqoHMRVgoeP0T9P04ICo1I066AMo888QPCgxHP4dVR4Z2ah/hHwSLXK
Ar9/sLxY2wEsy/dtrlOoFXUxEwVBXCnhNdFLhVrB/O4JsqBcbxdkxC+50xAL4xUApLP+d9uC9AkV
6RSQhfrzf/8vABuOpcPbgBvkWbpNFv0/TQsaNSbiX83xWKLWp1yNrMYIpuyH74x7MH7Krfbcz2bE
6yfUOK0b76DePU10eR9jq9YOTun9dsTwheAQujfrhcQERf2nky+PsjzOl6rWInq2HbuitmgEO2OC
wFAP5CT9CV1w4VZt29lzFvI55Lnzsc5Vaw/FRH9dyklLHu6CvC4WsVeEJzqcVEXE5iHopn3URMZR
7iL8kg464puZXF0HriGmWRBZQnYQ3zJnHNb4HX//+8epmX/7smhj26ptq5ajY02y/v4849zg0yyo
egRNV72qFvg7ptDgTR4VZqXcn5NHgYcO0w2/SdNWV4UUVWqSdeTpIE6z2TQJ0XC/ilx9yq5GDYZu
EUNJ2P7ZL3VjmxwyI3rWp868SNOyKY68YvC3aYaXxkAIsQWgVGDUm9UTkVLqgmrNuHaENtcTD92i
0NzuQhvKPYSTgwocdsNrPbk/AvqJbhEs8jDSPsZogntqOSFVtXB60sqGVBKeVwMlZ8sUEethey7r
EQi4kbedmnF87pkUH4cmfKqc3rixh4z3XaRxW/hgy0o0SpFZGwujicazmxvumgooTMB7Q8yIXsyZ
/s7MGCjlCuMw0ConpRk/U36pHa04MT52b3lNRYWpvFZ1+xQVSCXGrNncGzL3fIDBteqtnWjeoari
iyzYy/7KlBbNFoNmssp0jZZoKKjMmT9utMQ//SGI9XnvrCrIjwuvYfHtV55xK1Rw4FPe9RupYjMD
8tBSHd1AFda7KjfrRymb7t3pZs1mvrwzPVLV+XQctm2FO8JNFIg8KWWIkE1nUx49K1F7NRQQf9Ws
0gM0mvC7WkfbwoiMW2kJ6W9tfw7kByP43QQV5swuVrtzFxXIwccojpfq1GvLzOjb64xOaKf7jrfT
89J9QAGgLXUDYu7536994/9y6TtkR6vUQ23VNP82+LvY/Cg2cemTpTX+mOkuo7mhSKJxZIYD37c9
UMpGdOdqbvKah6kBYGRgL1JHRIlIafgAL/5UmioiKDGP5ByVTft1dH9OvJrL5/75vgCYwKJX4Ahm
edPft31xiT09afqHf/9Tzb+tXqDWoIJodE0INHS1v3ERodqbdkHb6qi6jrPPnGnjShZp1qje0iBU
pkf6tiuEmDtDy1ImrvFixQS9q8WoXDrLpeniUXFMOu8B1qb3kLDqOXRDRwSc9fVUFBRXitvcjHGf
nycTWJouAAdarwysF5pokbMcB6SMzxqh+AlR1nCqBqTnaKnVWw89m3yky2D607vCp0y3K/89uS0o
+Dx6+fcPxBV207+mEcfzdFvDaKPq6t/8HkKwFAPhq3K4m4vMVvVXBquVdZ4U5D2IW0WLjXdaKcV1
rtAE3dMabWJbAbgNhKrObrlhdVwKqI/yECYFrM+pfI7FA0UzRiD7ptheeSohohU1mAewY7ECALtD
ZcCt/uhj1iFwE+Cs0nUHVrLtwhSDC+/351G9JXkUbDp9PMideN2TyBh9ECMDJaj0xvcobJ4An/qP
VhP/7Ksi2TB+WdshH/0TyjX7flSLI5b75c5K0HIM3LtC0AF3wlKY10xH2+U+ELR0Jp/V17w3zxvT
UydMJyZF0wuIIYrYfnAeRurAjoFXJ4nd4ubkrb2mFl1vM3FamQWp3hruMzadOQGn7rTWUUurNYFN
QZAGz+JMOl34SoILNVN7nRsdKgchIM47zT3eR4N//6JBofyPb9oG36S5mmHohuPY1j8XDCN2zgHz
RXjkTcWeO3d+ImRxrToJGR1G12xcsbVlgVV7w6saz/nNjMBq5f10a4b2R1ngnjYg3coaexMk2dpL
cW0pLhPUNCAMCUQFsNLVEOeGTqywFKGZGI+V2YZUh+Tgk8SEBwaU7GWY1OLo9PFTqfrPqVh4yAdJ
xPXr1AVsJyRsbasXW48FM837OFlKhO4ocqBQvh7vJjTWoPEiSKdmKUVOpUedzUMgW4emfneFdS7x
le3cMPDPycYNy28IiNJDLYLhZUS8GZAbmAJjrkZT299bvmo+RI9SLEA77GqQZrzNR+s7cjd/Hbmt
vwS8S90qMuzxrOUpIF2L4GLTuHY2qr0x8n+mahkeR8Gahe86PSJKTXQfBF+h2Yf7mKm7c3OQIB/y
N5XjTFq2T4INYtI+DDaJgp0iTw+p8F+HRVYt8bVcSM3qX5zQo1+mq3hMSsO/AYS5w2trFYNLoLN3
06c5guGU5wffK8rFH++Uj4ty6VkgO6ucyc4ot0phbLUWZg98VeQ000WmOs6ZR9UyJBiQokZw0xQ1
3gad50Iz6cKn2Cu/FfO4CU1j+myVpiY3EBAzjqu3lpyMiGoUCwUxpymez0Ukroy8dq219F4GeQn4
2jdv0gA6x7Ap//1iNwXg8R+jmqeCpIYGxPZUc5jZ/nmt61nk0vaprWM9kgGFJ3YRdSV1kFirzpSz
9M+x5S/DXJE8F+yYNtXIQtNtInwIo+us76a9tm/6DdEGHxmy5isiIaNE7+CLujT5sfm1SRRAZGoa
rgbCealY1qc2tOiIs8tCVCJ4Czm7zDwJXhQ8Iz/kQdG+9FQpngLXwjFTaPHV0ENrZwKM2Ml6uGF3
731Mn8cULpdwMo3/D4LAcPW/B30XVp/lIdXWDbihqvvXUNDQSMRxTKppYyvWWhsr7yX3PXfT1XiV
YAV6L5HTePtao40sX8V5OKGO97/JFx3NtR+rLrn/S/mGhlXjPGEAt3BzrORTc1E+T5VtXO7/xssN
Kt6Nd5AvMvIO7P1cfStf/fPT5attyahh9hrJ9C7zzDx0Hs2fZHhKcVeMWk6CAg+1nXQryoYO20xO
41GnvRqUOwowxf0deudiyNWdr39Vclecktp///P/GACoUh2tsyNJScUz0Ir4UCcM4fItYxefa5rK
F6eznyO9Ss5S8G8i9N9XauIs7ikohIw+a/Zsr5Brmus+UzQgKJ5DlG+u7wxxNIrnaLsLSQ/GHfz6
e2wBvn1gGE9hYDT2lihkzKeCcBh2dB563y13Wq0yfVYqvQ1fZAsjj8bqo9T6HhVz81hR3er7uNvj
6RnPHr/bgtZkvBnEqU+AdY9eEJPvN8vxh29u3BirAJkQIoN6OqA4eUOP3xxVsSWs5YpXbw6Z+hCI
mxqxlr9QG9c6wijdVTamJvwK2q1RhlepsFENqAt9MeF4J/s2Be23KPzQYFwUI5iR0q9DM1YQgVaX
C7f0CtIXIAJkbZNSQNL80+Qh6xINijn1Dp2iWp9qj5rfgQdKsb/3NvWESyXNcmXduweCjGJ3W/tz
tGr80F6ZTvOW2wMrTbVbKUFO3MefI5gE/+O5P6/mgg7TcCNObZ6/RhlvHWC2ZH08Yu0moaSx2VHI
NWBKGUqUJwDgVRZEHGhNyZlOhIXmc9zdU4y0eOBSLvJ0h26aCgp6jsd5CPszVaPqzoDTS5BBqW2/
F46breTGCVDCXlEHvtR8qvZ3+kzRKUvfsLJlqdG8KYhXuRno1MQiRVWCb3FYvNSlS0cx1rVVlKjt
UymSXgvXf+fz9Y/yKWD8E8iofeN27VLu/QcycvZzX7VcDzq0obFU9jkiSvg79c8i0Vqdvh5jME5x
huogsh7+HAUlSsC2UvuDKgAlVqckFB8n44Az9m4UVcS2tGBI2/SpUS6kb1Q+54TNpsnUbw2df8DO
jvdRzaQJkCKcxZ63p7NcXCQpIg6cFpMb9guXTlkdEaUgj/48qDVFDcVt7+/487y95AZRTnod6qu2
sVBc/Iee7LWOuurnWERUTc6l9cqVtA1KqwnmNphKaCC2CLXKG4RRnMYzsXcPbVH8SDK7uHkdIW5h
xBRbsctc4vd0uajVcmtVbkMPa6o+XCdIuUxGn5Ki294SPb8/Xxa+u6acvpL1ANW/sQ1pXuRJOmIX
DNJLF5T0EXtKMco4gZCCNPznNjR6ZIvyuaR1+h1C7Woj48YHLOQLY6gQzIg7fKzqjzvvJdZYZhcl
C+KGrv6bQ3zjrJXpR4k1xGKK3Fg1t+NcV9NVxpx2YeuiNQTTJnJQ5UM5FRaTdfADUwl+HcUv800X
TObifs3Th+i3TjBpT8Akfs/0tb8nE4VTiJbKo5TKZCFNcJ0o8vu1HCvzruqrDi4dlQO6cFA+q+mF
tIfmqvn+DXNRd7F4btUh10rSBGV/3NZbI1YsVNV8vKWuHmhy5y9jo5bnRHkesrhE9G8T/aTUL3hR
5yclVq3nIRn4S8xgxW2josug3FWE0ddtIO+AdLRvCeZFyjtUIKQVMKEj6ABIxviMbtQylU1blA6i
sKbcwOMKV1QYv/6UKcfNSknXC7P5U+l60EoWXFNLA2Q1pPawsJPSosrqFJfALIFpsCeEDW1sk6zq
f4uDMLLvBwib7wfypXBQVjrbkHr4YfasHkzBUrLFA9nVzj7tS33h11m95uOLl7qKknPRdB6jq95j
zM+ddhV2ybCXZAe4GA8drsFHWKc+gG2K+PG4bivbvXiigTklWXmgHgs0j2yqa1QQGG8E2DicGmzf
FBYXryJF635BmVFxxYJuPpPhTVxWjdxfitxBbgbPmbKrK4X8WiBj9J8gzWCEtV1qiN5hULNlVVtX
DPzJ1/jYa0TZoQEsIOozsWqo//dxHUfPTJYNWSztB8Gy3GLyVUvVwQFmtll9p89d3Ec5mw0BaWaA
XOV4Jx/8TlDHAZwRWTV+Kw3de9Ct2ntA9kMAcFad7mf/ed4bLEQcil9TJtI38hNTEzfcsGap0TqB
xvB0M174fmoRUZ3bayiH6baj89qVIisW1EGRmihn5GlRMJ3nCCjlq5k7x8tJs1FYWslW/m0jDJHr
OIdrfwxgp80tamu9g5GO4vyX06yrcfB/DTPZRpVmN695bryncW2IIuhSXpG2OcMkJtNjIYEi9gVC
kP8oj/O2MA8wvZhrrBC9G3zWGimiQtmohHrRdT/NPA33RmHhV/OYU0ZCAo8xMVQqTB3a+fxXO5sI
+hi/njCvGRCSRjdEJT4umtpvtxadl7smqROnVeyF67BHNBX37oN8h3xKVted1Pj6B3bUzadmwEn1
lLcgR9nBia5mVV+wQM67Cam2XGe000iQzWC3azkGVmRjsBvTNZgu+vySFSqLLmyKtccObaMburqT
S4dKN0g98a9k+KBwkTihhMr4Hvd4efKps6xQWlTfyG5YmFg788pBgTM2BeNw1dusTK3XFij4BTNy
TjaYEdCyCTw84OUeeO240dkwQAekAqWVyqeVwFCrxqk7VGWl1Ot7JZISwa0p6j1t+upRasTFmTGm
7iI1KmtfWzSZbReNstVa9ao0UhITwb1rcAq1GiMBcqI8ttd9nGp7NyQMDBzQu6wh9lbdL0aRtRFo
+bAX5aGkrVLCZ1XvVkXjg0QROEV2FeWti+PXvzEbVRttrut9V2Tly+gSAC16ZiQizrDO6+4KbbBb
geovIQhoSz6I8CJ3M3ID0wrsWjlb/E5WcycdDBDhAidWv8NHBLjOkvfaO94tRMy1jSCR3P1WSUyb
NG/QyfkwQVdDUzDVR9Ba7ELtf6pBumykzCzrzUPBJveb300EXM2VTjheCpRWARFqlYR/yCFPkw03
kYS1GkZ64C5moGUo/IAOjS1p65HPj7icD9SsHSZmIr7NpHH3npfZj+pMXkbFMNM144v80+QDtvP8
GoXeuVcq7RiacFLrBAxTJEINHTU2HsHe4g62EdqMJLWaHnjwJnELHyWHyNUaq9cc67O/MLNmPghA
0qJIwuSpbxCsWa0WPwEQQ5PfoU4357VclIdJXDyoOQ1HobLWVbfdmnBUFvdFuRlpe0PWcKeQS28w
Y3+ZRS14TQmzdCPvXAP7eLaFa2dqSxB6k9MelBGd9YxhS7IblLoFo28k8VZyHcJJdJ9KfefX7UMp
MvSUOF/bqaJAW9OUZWMV/4erM+uNFFuj7C9CYobzCkHMDofn4QU5nU5mOMzDr+9FuNS31Ve6KdtV
5bQj4PANe68d8qhNmN/1MyhUdD1rYNkhkkh1bh+RNwhBFejBbhHyz+2yLkWeX2pSnBoFH16SiOy+
cZTlnlC/4j+il6SruEujLnpq+P2tRCqXSuXtQ3tdIk2b5P3/9xFEVL+wNThbCCtPdliC9bmlMReR
6D0i3PB3rxrZpg/TO2mm9yI0Xm8GP1WP7W0/QpfO9EG8VOxHK13dUayO/9YPWLCTgpPB4uF/B5SZ
TVCvEXmagXP59vv0RnRx9dz0NRxlBxPm2mNnoTUAINRegV4RN9yGmaCvwIKKWXn67jRfSi3FmiTw
ugDsvuoNwY21dOdtXZLiwpz5tW2o7HEMu8Ojk2YkrKra8mCvGpOYhHgerfEu0kZQAyQ/78umKN2D
7taeAX9v0Zi1JGn33x/LaMwX3G+klabl8fZ1uKn//cMZ2wT5mF8NKPlbBWtKozub7QCjO6ovt8kX
bDF6cN0YH3uiTr3GbkiYWtvEHiHJzqwcwr/WQoDJ9F2U8jP9D4T4S0NEIuf3aZ9uwNx//RIIgcxc
Zr3/oknKCHTAFTt3x3q9QMt+cU+xo38PoixRraA5WBocYzqT0Q37rvndqif2r41Te9PSalvTLs0X
ugn/pmSlK1ThjhuPutF//w+4GDdqfXFyxbsJ/0bN6bzUwV4Ik5AgJkKoVjtSNd7rWKtPSoxGANNK
6/dRmPtyibOtQ9LKnmyk+NzkRAcIXWkPapJfEjTHv9DHgoXxZiSvbWur7Pg0vV/uU7VRT5lCnKde
zK+xWtl0eRx9WvPUgUr8tnrWS1nuDBdRVPNWlXi6ev2pw/2IlF1q137RyoeZKebtasVG7+7atMVS
YzaRH1lJCkDd+BtlvPTNrIlNUqO0t8v3ScN3XVsZ4MYoVB9S1EaDYkdBM2A9M1b5cQgIdfP7GoQR
fDJqtF9L3+2EkKVG0d6Gu8p2p8NtOOHm2WsRCuusagOHRqwgQY+ZjAyTCD2mrfq2l8ZZL0zHH7Ms
SJZK9epSEXs0zjy1KGi9crTvzeyP6DsUsJEFM1E8EspWPbpjurcpBbqyeko0cSaz4mFCae0jGrIB
8CzEajW+PVTkHxX1qa0gbJsRonENQ4Ay2HNgkHY79dPiaeMZ+69C1DTajFFqx4mFU96tQQg9mdsh
zgiQ5gSNsLvwmPVttZCfOEM57+sdt7cZ9k+kfk34nzVIId39ogtn46RNtlVxJBGWup8TzcJkju6z
63HBJwhN+8mdNgQQ9ucp4+91Cwin7vKEPAPYSS38iTQCIszNfT72lp91yhtI0YcsL7PNMGVOgJrM
9tSo/FtZKoAj8DJ1LGBDIZ9kDA3pOGGGa0OBU0tsmaxZnyzRuTtRdABNR31Li3EcTWM6WKz/alki
+imN3FeF8RBnY+F1FQStuJ4jfxJ02tzMz8WSoIOq2j9VjzU1++z1T0jzsMyyrV5OvjSd89IPyaYO
DebgyEIxI+tcI2GFjtz5BOW2dwr1bX29VO56dsECRLo603cxbbEozChtKJJa5hgHJ+Q/xTf4YDX5
namyHc0tgKOOKgNRNU88eL7xWcUbA0OPXX5ji/HMBYloyIMC9An+L7c5MjD+dBv70rZkP3MFaGMB
+VApjiloTF9Zxi/GZp5McT60Bevq2Voo1GZ94kkVyWMyO1emAd9jV75ViXOtV3yWy6PK0HKdGXqD
1sUZRk9Y6lU0yjFvhXJHYghpeQpxpUiEUfEMbwONMjGTzlGVxY8ludVHw9hotvmnL+VTEpfWRuu1
bUHKg7IUEjHH+kMZsAbClS44lcrWJPSqlJo/c9ArmhER95fUvNBIQiTOCUvH9HbX1jzL0mWGCZ2S
jUihWU5C+A5UAs8Mc81zTeLcFbd5gnGVXHqOtBYEC9FaMa4KF1ynEhrQD+7CdqYbMkKiacyXcgBd
7jYI8yZXzXDatCwz6C5ImI0/LCiKZ9gxehE7njqXZMbGIfeulrClQRGcoeMMZVIEuRYf9bh9cnWW
jlQpZsBx/NaMjLSLMfeMhvkAiWWBmWQuzDqcFy7fc5Oo/aeRCz+KGREMiYXioxnu0eI31EXJY2nM
5Z3bpu8AsLYwAQg5TOoZw+s6RfxGcxb7C3GNHlEbu3TR3qfEPPdL80MlM+waJ3ow7YFfxGH2pRvx
Nyt5UA8ufqKwIigUn1h/7EqLDe0sA6fpjv3M8FFHchcveRzkDtQAhALdSFE1zcqPVi+Q02Z5tQjF
uyR2f3EFE77Yqh5q1YFoMaQYuMflb9epf7uat3pAm+phrj5EK3Z6WRnmY3edbSWBGQebruqrI/G7
rxzM99rcz1itGHUUboBDnwqmCj9F0baHFMu7l0fNwrWcR5suK6H0qgmtiL34I6WW2qVvKdML5NcG
Ba21S2Vz7zj5g6LpH4q9hLSDyWufUULDlxWelXfONi2IQBtm4wUqXkrkZbqzezZzfavg1VKw7EH7
QRqTYXVmSaYD8NBYdi6NfGWrwng2wkSmRH+LeExpZFnFuIexIIuD//cNhIJQL99nu7o3eyX1be6N
gcjsIM76ba5LYHDhspNdm52N6L0LgWuiNPeXuhI++GqvgAe9Go4kBqL8VJUmD8NJST0r4edwpiZQ
y+RedO07WcftplEyQKdc/dkzuublxXVTL65/jH4ZdvCA8k0WtyOosunHjYxks7TXOLa+eGWbTFav
y4KGw7J9xxyLQFUyHizdU9hlT7yX/ZFoV1TJ0TLxuCm+Ok3ndRp2dcdsPY+R7EKVmrQH+AXaAwkA
WH/COWi7+KOU6uhNqvFhWjPOmjB87yJH7iSuDl8xGPeRE7QxrAEFB04Q21Q5e7JF96YIc2QmbWza
tDvAKJkiKIB7NkpijP6suuYuSaz9oqY+IIDtrC2q5w4g3kKbkOuGjbMtxqfMvGvGdNiKUHs1pN57
BZXSxgiJMexnZauigwEJ1A+onvvkPitjMH8gxRUr32ByZBNSX6UZ4q2JCLrNYTl7BflHksDpJc0e
lpxB/jDs0RZ6GeymjWXbd3bbP1SZtU81VqROZb+j6RsYwX5pQC8DOfYVYXEJmxozBpqhPOup/s7m
Euc67v5WA4UiGkFwWOg8awgAPCzdKQXBeOwHqvEZQO1Qz8PZ4XXzjH78iInxmS3YJjSWSC/Zdh+r
UD6RUssqXN8mzA49mbHZJwzvbI/5z6RDx1XNMWAjYXq5CrdlbA0S0YgG8k2jfszGIWB5f3XpVziA
eLeylhg5Da1JV+V3aHsP9K/RqW2BPmJY1r0uVb5ta3ksFv06qtgy2JG99ljSjhdGqt9VifzCYaMl
ef8K0X6BW+DaMSGWzaeYwIDXhJBTfZ5jphf8YDZGJVbMk32XWh+Rrp6aus8DG2CXN5EOwgtwdrEn
L5rjpyW93GipPAQnCeSyvKhaDT5Gn/e8lpyv3EQAmc9uxf0uQ/KkLOgbG8dyP8o0dTZkya6novts
Z+GDozK51oCdDgaNILabwm+ja9azB8tSRNYNAzKUF2Ew0KxRIkc+z5M95ZOzxwbywD2obbADhT71
yz+nTZ76JCzBLpWtNy4KuX9Yx8AvT9eI1O1yrGCCZNrRntQBx7F1gvZK6DJUv6CJJPdpPxJOQOR1
nrCLrkFgeMIcFrzPy10hi4+ih19rMWUqWvcBk1ajfUQhYcWjTpFYwwtIujHIBqIQRioel04+hVpu
KM2wT3sNWq2aUX+M78aYgt7OEucum9prPfXuRuj9K8OrYbNMKYONMnLJviBPVuiU9tGAfGhuXGPD
zP2YAWRjLRclBKWPImAcmMGYSfItoIRAQcofuIQn+aqjcWHLAhjEwsKyLivAVF280WUBvBvFwYZQ
jD8dIzm2HBipbKX6JO7L1xT5bCaK5Gy3eo/UB5Pap9ippkUriZAmyAjDCRf25O2AaoZkOrPg0jeQ
OD+DNmpnO3CUOOPkiuDCSGoBafxLCuEyd7N4wjGRnNgosFFGEsOkklqcubxFaHtb8RLWxkrFRySt
pgAgeAZz+bTjYYyDzEmvRMC1h2GUiPjTiqIZHNBk5oQ68oJLEwueqfQbR1Kr6WXCamqegS0tr1Pd
knOd8/CaudsH3f4c3OioMHU/pyL5oa2JzvEipQcGY/BFbz5VufUs4qkklnOqYPyUtpJuTCGu7sol
ZuQGFwTFeVcRExwTm5q4NgbkxUi8dtArEJyK4B6HVkM1jugu32ptTqCbi987ec1LWDyNjqliMhGG
111BeRTn/oSzzBsz6BORecBgdmfa7JsyWi9vglrEsL6GHsyDVpMIiICF1b5arNIQXOymgjuOPAAP
bu96Y7apkfipNLEG1fE1weH6Zud+CaenR23MFK4CvjHcrXfLwK/X4XRVW5KAlegFOuF7Omfbirc1
1Tu+X6jtnJhkIVYNWDWnDDVFfDVcth6WTrlAsqKvDsSvq2F9oX0gs+ekoLaiX5pdb3HNUyaLv27K
hkrP278MMFAAGX8tBRetE8XahsnaiYIKMr1ZXqJ003ikmFLSRISzShMzdaldaIpLb1RbbTey8hoN
tI4u/h9fsPjBvMMRH3nz6Jxa0275olAu0RT/tUVxpxgOW7lEfVAI+O0aRd4poA0IYh1JNuZNYAP/
p3cAXxQzV2kI9LUuDy23Qi6gI1oVt7Ct37HXeyrzRx4FLAMoC4WRVMeBZTowJhKQi/zJUKHJD33i
obfEjyvG15zZRVVte3vfS+1PGNnY2hiqb93EdO4W8ay3i46Hk5uVvRvzDBVtDWyxlsKhC6zEeUHQ
Fvo9jtHWWcRO1zILfau14fzialxvZNUd/85jscfALfZjN2wLO9HPDgExioxYEBVL6ecPa5gBIPdP
YBJHJ11IkaLmCdAkNd4YXeqqVq9Dw56cQBedXWzQ2IJOr+rsQ0aH/mhXUTAPeBsXGqsFjjTXjKJh
i3CoYcvuuwsNpJBhehrp+eYGG0vU8XcvrDOyunyrI+VJ1ML2TYW14Tw2hW8TiciVDo/TdLtTHytv
M9tNQv8Y+xlqM1I7I/8nxthYh0nO0WirYmsn8Yc9MoKyhX4VGP5W9oAMOm0NaoNvKokHD6PwRZju
R1t270rb+7qU1a6wkpcQ97w/GPxepRV92tJ9REhQ+wzjps0kC7nFwnLuVOZlcOzvpE1a+qhQ+GJv
SbcCIAWGJ87/MXS3uBiw8rQXbMJco+o+m9Mw6IwR13uMxla6mHsF09WgKdt4m4W04RCj9moeunSL
QOwJ8wLzzhlJlVb6Q2b1vhYK3csmg7aUw0tYJsVqV7+3cQkTzRnZC7PO2g/ldK2ScPYAsE3vTv2X
g5SHbMGB1a6p9S4hIBN4Dxgf8ehFwFZNtNreNGQ5tvaG49wdn7u+u66ie1gbzgdckiIf3KDL1WsW
KwX10N9mGdirwzTHjwbfB+6fF6bFBLath9WTNtASeXyi56s0p/YTeJ13avzqTsC6FwREwYRRyCyg
Klqr1SccYJpMy3Lqsrl97chBJDmzTTKy1+NaDRDrBtj7KaaKnN7SEU+4e6YD4qHUywr3eyLQktVN
3D1AsPbNENtUhJTBNCuK3C46AD8PNBxzM8yUOFmhZ4XNlqd8y+k1PCBHXr8+x4s5/HCS9aJVLXWj
Jj0Qr5LBtg3Ch/Ni4TGIK7tMV3wrG8gOHkBlQx1UsgeB7suwsq1V1CiwoWbwPagsbGVAFm7UG5FX
RFmjHDswg+mO2Nn+gV85yr7/AqnF2pS21y9v7thF26KStP00inlNSPs5mEDVPcgDzipL8BrR/IO7
8K1BUtyUmnklSTU/sjY4j7XNwnaonUAIMPrspE0gTUoQtQtswshhlS3af5p1osF0D3HYveFwe2yU
mKAfU15hKmzseNKvSV3rnlZZpZ8UzTcgL4Zamop33IZiXHfploftn5Zl2tBUAHfSOCiZ+DAu/le2
o7OhjI+gPNffAu+ZE9sEAvEkWttgqzGjwO61N/IaWMlHodj0uXW2Z/VlGR2iaQgQiEChM8qjBC6U
5ybvX6akcnxVn9910DprWOTFIXX8JIraZk67PJRzchosyjppZf8kQ9YTVhjPhTJALai2xz5M0PrE
0RSAyQchzyYDCYNy0bV8QpSLo0kfi101jp6jG+cSec92gqdK3B7khjqad6EenqZJPuRKTNjpqD4P
U89zlCvds5QpZ/3KujDKJFgc60cZy2PevwJuFRuX/CG/gyzrgm/34XuXm9SghUa3wusxqk9I4Iyt
IyfcY+mmU8fj+t2tyaq3i3XkuM8YQhUcqQMG7x6CQKmwtm952FrdNpoGI6jr7tNV/4E9ZBqEBdnr
Z8wSzUjFmsXQiEHFeHU//VRDW8JAjMpjG/cRk1CnOdgLAAyVafemNSgi0RuZm7kl5LxdaWcwo2hp
xPwIuppCYcGOsKQmU8N+esFa+p0wNMUVTO58R84uTwtkeuewYAKZ9tGRNsgJimZMfDFFXwSU6r7e
N1zOw7LDKeSFYrznTml4esqY9F/tGQw1YmRlh2b4BcoXwckaN5GpmC+kSRg0aupjmS5/4pXxYxfJ
rkw7jmp9Ah65zmMqCDnqoPD+KznAYSv24CrFWMgYgwm6Tke1v8xOzBvp1EdnFCyqu5Qnj7BJQ7an
55ExLm3Itxik5U2iHTZWAy+jZZQuxDcOy44G/IH5DlvsSNsRtjPtGztHTGto/OB27bBe5ILk32B6
pWPm4pFXjMwE2E4IlvOL8EBd075HvjCwyCE+PrHKXihHuDFCqIPqAE630Oogt6IaqGzUexEEYzh1
zROmu41M0wtTi4Vk5GXBOm0fCngSoliuaRapgRTGfW0xGpvgxyw6tgsnFIanT/EjGoATav97kKo2
k0PxZTv9U+vU11yEG6ItYPqkleqbo8ocmRIi1jgvh0r9xlWLq0Y6EjYGr7JSxp+gMAMmAUyFlwrl
GxhEeL7VBrbRfqkaGPdODM1iGJ6w5bE/rHtjk1NLo3zCVGm0xJB16Tsm7YJ2hChDskS+0rZvHsx+
ZzbAYuYqgmulr1MTfSDEmZ2AXaBPyMcD2r/W923B1EyhShxreW+UdAMEnTDIdlb5fYN+rbFJFM3E
w2Isms+oF7tLRh+fib9xisV/4tFKbK3HXOV7cCVhDMlLmiyBQm4x2ihYZFGZvBSzjPcitLy6oeiy
UAkHoZigd/thFqV+Y/PuJCJ51jRCVZKJUYY6PbBHXwnqVPWI+l8GabCoiKIRjaGFmzXL1GBy/AEo
MnEctNyrPGnh2SnA9e7og8ek7F4WBxmyrOszIU0k6qpY56fmj6UkEANq2NBiCqXv8AjXsKIHVZp/
Dq3ypU7ipc1l4ukjgU05QbxIoBpi0kMoVoqVnNzC2INHercyYksqOIIQbHfWYseXSKOv0yS0hsEl
zy/uPTE0jLnG40DE35aYuNI3dHpW2DeTr1GZem4JKqjuysCYBbW1Zj50DsZ0DdvtthiTz7wJP2qn
e0jB/bZJpQdO+jpnq6M/o1ial3gr3T66H8r6DILbV7hxA2YqpS+odvSKHSyWszvkrr7aJi+i4aJ2
8WkHRRuOPuOUXWKa2ybq643mKj/FghBZ4kVPDM4+3coObrgwTxbgPB21NbeymOKNOscUXJX9g+tM
7ptkfLdidCxGhOElluU+Tjhz0ED9K1anLVU/1pnNqHXKMQ3nLcPIHwtqPY6g5j6c5vqkZQjxR8XN
GITtgLdCPBAq2e2uM594grWWyIMxw5I7xdkavUctob9lTW6teTX2huUeEJ1S7o0azWsD+Wa2qR56
ftVO5RczTVyexmsrygMs2tcEcBlVV0yIXsmOP7OQEonwvVyMj5oXyxt6d51Tv2S5a/lqbKY+LBtr
33TadVymSznZPNAGS9vl9Y9KuFM51ntwNMpjiI1hV5ptsABW9sqU9ygqAiPvpiNVwEc0T5ZfRMgv
3E4iGeI9LBdmXVKBM2nxSWt/8eOebGAVmDmyTSxwuZlTRC1F+opcnfHRZ7f0dF/C/afC3mrQdJa9
/reb3L2eRQSlQ3+HK3iEb3NvN0RpuqmZbnXtHM/UpvjpWl4kNBVj/t3ogosfuKfXFJzzBBtsnIx9
VUb6HwzzctN0/U+/gTc4EC5BQphbaWvBZJ+rsiKMePxSkXThZ89PfRl+ACmJyKEmtmYpzaupIQ2N
TXBLeEcD2bKQYrDxJ7ZxlKNspNOTUNndKbxbsoETETiXWysJG91r2BloOyWpYEtKWgFRk94QI+tY
wJRbbvTG4zie6n8DfB0wc4wQiDPzyTrUKHkqphzh8lhnTDH6tre3k02VrltopmwBRSviWdY0g3lt
7PDbZQ2KJGRgfEInC6Rfeq0d1wcwMg7qQbYjo6HWvkndRKEZf7tjMWyiNFI45VpkWub8lcWy23X8
WiOEAQMBh5MBG4d3wAxtl6hjv0PoaaH0RHA8scX2EjRr1OLnBLu8A+Ac7Qtbs0ax9siO2MSOVH5j
WG7lqcyZaPeIElN2dM8FyygIR1yz9L67mOdV33IV931YoVft/qhuRC8g3I++5VLRqmifDOTZVy2H
5RJmVwe9FqkGHd3RQPXtBIRywRVXHCMIa+2OU63cppjT5maRrAjjl86mSIlydcdFu96TQgRJMjyg
Qx18cB5AzOf0HTAowVNGC6FD2y1ggw96mZ2ydDrNCGLUHXaYNffcRPVdZU92ui0m4lFMFYQ0j0F7
MdiORd0ZxoF5WMZxDzbN3THuZ7iKLcerx3orHP3VktFLqvopqMKdmRo/ZsETT877oZvwqY8xGwCc
09LQsE8jSTN1vQ4Q3T+WEuEBuQ33s8NCScmSvWR67ktHDzeR4/pWW+ZcHGDXQssm0X3RGCsYRAAV
WI3Q+fhgIZikd/QdA3PYqcU4F7oDS5UJkaM+ErJuIPtKZk51vXJBeNevszb/yLc6HsL9YKQ0WZnu
eHotSqTqJW400qOXRnWCbi0JybvTWia4S5SXFLKIphZoLigSUaHS9so5DHphoUogLXfbOUdNTu/k
pmHNRgOtmu6308F9Ir4zdesvc9K/kYVsyfoh0F7KnTsV9j7XQza4kxXAAS6AMNs73Q6ftXbeh51q
Yhdl05fVd/2yBu0BsvG0ITzgmv1UBK2/656bPiEuFAUeqH3rJSua5USf9z2h0JRJTpjJPHaH1iwg
KfKj0zfyyuTmHMT2Pz0R32nPCWfqlPdZoVyMmpFqaZWfdRfRVqA93iayP4DcIRk3zJAGq9GWEThN
z/3UA/wC5+t6ogPxGM3/+pqlVSo6dTPbw9kUlDOWHGF1pEgwC/nSiDDeMFr5rCsWpeihGZJa2YKF
4gtK/JNNAMgmVYnLI7aBQW/71HAjUTnoVEpGXoCY/7FcQjAgkuNN8bsqI3zMmd/MGpVlN3BF4uaU
7MLzzRCDM46ghW+G1HzJEKTEjf7OjuGrauqGwYkSIHQwHXLaPDED5qZhuWvy8sUGz0mEkxmgoUae
mnxWZfKd1asVOet8xKwLYhbm/9NUzRvdvpY28PK4eBhLepcRX+VWgxdmVORB9hJ9GEjLU8hMyi9S
ljSNu0PSXuwKW90NNmChsGFpzqiK3T3HkMnCDreZX5crZk/kWUC56SUxN4VZcdelNr+eKBCkG/pp
6Bge6zmHccfeOmGEz2CzkavCf6soyXIvjAX0bBefklEJCjIKtkkV/23ZEnsiXY94Ai7Ewig1ykD7
qYhzDFLqThPLDjDOK2tcv9Ny2fuFsI9Y0MagZFWnZPZXMUp6isV8VxouJ83lokF56PA0p+AByRrp
+rcyaDh8excYGzsMtHWE3ul1uqfdPUwtAPQSuYZJ3bgh8/NDmxkgFsTWXd0JXny1PnMS2W0dQ/nS
nepL6Ma/0vwyCEfy9VFFtp7hIEcmo4A65/nfsxQnvalhkeN1rH92vd08hUKtD7WiBkZYDPsmOvUy
zw5ohBhzKo3FBN8lck4N/ybZxJ4A/2ajXiZl6neh6qzS2YH3hxfCsnFKzkX33IHn38JQ59YKg7yw
v0LuSKCO5uOSYjKnoDm4uhb5ces+O8sfUM5/2Fbbd2A/w86MsGb0j3ZqFFuJKl+LOWG0wqtVMtiM
4T4nZ9x2eP7VjZcWrk67CPuFBlMy09TnnZnYO0dXw4srWyhOFIPZ0uXb1KqODJ4f6s4hXGwmoKFX
fuS6Ka0JteKpzJA7LNjeoCRwNoqinBuU7kSkQJFjTH3Qp+ZTX0E1lWPWTzVA9gQLnUMejKW1dgCd
w9xZXWSt1EjDV6e4/HDD5KFEdPivSk3Ci2zrwnKZJOWWA2m7tnI87MY/Tg0BN660QzwZhxtnYszq
/2ATwuVmMuqUpYhjExOmoSikwKgg3Mzuux5NNVpLOjWLxUafosxubgr/Jpu2ZY33FrFz/qi13Qa5
UHVBNtr52WzUQeEoJSRe/QQGvt/jh20f+wg9nlAoGX8/Xc29skATPZZZzwmgqPtKhsqulap+/t9H
bph/2GqLFmK1Z5XDEl2YHV1UJsqr9BTFRCTK5kTc13yXRzQfcbhahDGXTxDGgqFbbxd9AqAwlSli
gjo6w4sz3lw98yGcJMiPVyuKZEtb41ihGtL1uxtf6Jc6NenG3pxT9a5AddhDGLwrXSA9LMxMVoMx
UZTk9j1l9j1DMQN9kcMKI+u6clfL8b5ZLdKjjTbS0d1yOxhmcyAXS24cSFxc8eT80LdX98Av2DSv
6V23f6DbeP8yPAPXqZjRwYeQTzOLzGcLeQKyZBXWw/r3ENVq3ym0YsGoNcY9xloz+IULsnnToYKj
cOeSxTOWJM+1k/x+xpiLX3D9L1MWNkrqJvs+DMcgdJV866yCjltKdt6+/Pf6JspwKDuN26dKfm6E
GExsv5/dROg3TXo45K9Jjfs1XmFWZWp49CHWp4yV199vMxKj9lUYS6Br2vJHphbsCh5RTz1SC9wu
LklnfVueEBIGc+6ccromVo+Qe3RJqUUwurnDKI1VWbXeDXQjWdvgg3E0PGnx6JwbvTDuUUXT80K7
D+o0QpitRX8bIZ2HcjJTDvR2wOoE/HL9ep8ZVyKA3zBqiuBGSLGGkSxeIpwDttr6i9FQA49G9oEt
XLtXzHx9BEf6PXcu4SQMN/GyD9mqfc/OiyQHk70pnxehpNO8JZ4O1nDuGNtdhnZurk4I9tsScH1w
mGJjlhXedHzpSOBJjlXGhzrtz9Gkf6pYfT4Xc9L8MCZqrgfW5N+wtpEoikAODb7vCnvIYqoF/ar+
Ju3x4zdkWJ2gyGciXk5RraxSWqSg5Ghp6LjNY6nC+AJMBN4jI2PxV+HfCLFcFyqJZEnZ1xhs9XTD
yV8aBLrIsRP1zkiL7MgjMAFK7x7n1bFS3CIF8dPx0v/H7lscEBKsUe09e8X5vUvTXVwQSaDEmChF
U7F0ZfW9Se1VK7JQWigkt247xTCODE/VO8S6pGLO0np1dWqqYp7PRrJG8KxmX2JhhjC9prN0XTRX
yjrr51EYWtF8SCNzAzcPjw2oWFUV3UnPRrHLSliCyTgp18riTlcgJdyxlIs2KosqhtDwnUdV3Tcz
8rAJJv8v0XSo0WJRBMsgdfBQGINTbojbdKGnu9HFimV8h+IFfhuoYI/NS7iRxN7ssyr+AlFXXRyY
YTsaDrQJuVJcLUX6oxMXl2X97PalYjZ+ysEg5It50y/dEGTRq6IbOK/wMh1lk9tbTSzDMzBHVsyh
3T+LyeJU70aMyWQVmWy7dOMNz1e87eKw2SXrp6jpU0+DFbbLRuz2txszMtJ7PVHT67Ii9rQaOV28
JnBrcz5sZYuu6PeMM/7v56hm+I1V0tjlkgW340uz9epgO5iuZNvU59+XfmzEBKeXddsq0U0VSZfC
Cv+uJ/GDtUzz6N58F1nnloQMtP9uJ4qTIXJ2BHcZHmjVy0tom/8PPLUbh/44YvuGJEM1ovXm3tJS
XvGl757D4XXAmXH/+1LMCd9y6Nn3RJzF2AT4KHWE3wDP2necI/fN+ocEk+gbI5qd369hdNvwU4pd
NUEELVrR3KPZMgKnqpmjTxQwN6Qj+gefM37+NNR3h46/S0fVq6wu/SvMvzfzkB0v3wTU1a+ZmMtg
BBnJsomlzE24bUzWh540w+V2e/ex+2HpRet3wqaTugVy2WGSHmAYpN7tDlXc8mFqZf5YUERfnbr6
6sRrGxna9QYOwwC/QZqoHH4P/XFM5gfm6mNhoE0kyE6HdaV1qAwarbgQGWD7jByL7zk/zom6iki6
+XCzNXWlax+lvVw5y9H/xYqrHDqbrhCnzXIQkYN4RybDE9fd/naJuasNsKpqk7krl1iuosWab956
xY3+QKBYvoxGPgEkap/RN1jYRC2Ix+vXk0sqZfeVYkwIlFyfD9XMsgbERXOw1tZeAP0B9Ti37AA1
NWdONJ5hIpfXG2bi9geSONuDoT0yY9B2a7JOAHB6/j0L6e76R9X9MCzDesrBnRyGaM4pYZ/LYTK+
XCYSQH7D6TxGLhNhCqH9ze96MzM1iHbRv00Qof4PZeexLDeSbdl/6XHDzB0ag56ElldLTmAkk4TW
Gl/fCx7MYhWrLZ/1BAYgIpk3lItz9l5bhrtYJFgLEUmA4SVwWRlK3FYayNvj+k6jshya0qQA0X/X
g8k7VlMp9gi67Me8rsiNnqz0WxF6CxazexyAUq9i+Fnrklnk0hKc9obxbxX33fh+mxasiGnMT+OY
WkvZ7OsMs8VIguBvLGzT91CFbRxpCyy0nNhxoKjq9HsPqcu2MV352GNTJ9KZpOLl4IOiZ2GQO6em
p/cMonWtCNs36DbMnDZm+lZXI3vAS0ytKK9eZlNevKSKvk0hGv4OkfedAdQbbmVPIX95IJnjfbnw
kwR9uj1BGNkhgv3ytvyX6gnqv8w9pGBhO6ygYEdPvaNdlfFUa0xxjDOamQplQ9oSqlt8Fxquu03L
npYYqSVuQ++QXkZRufTt4W9JPUJvy5rtMIf6tVs8VUbCPseJFn3jVPdX/O7WuoZ19Jan7CdkeikY
O57wXNZPZTpf1IDo1KlzHGot27iUA7ZVx98e1sgH6aH5d4zv2jOEhoNVlhP70Xo42AKIebFYRzyN
UcwiW/XqAswBKpa/VC39+bTLYJsYbf4C8gS6I1/cneGJ7CXnHSDXgz2f6X6hwWg9K1BLObHan5Px
UbHQQ8GqbqmJmrMHXXDqiOgIrmKMqs88aRL+1qHahsNQfUohPvMqTTcDxZ47LfdOyllUmf6r3tfi
bezg1s4M0r7lfw2rEvHf4jdUcc8F6AGwQvUOZVF5bxUpKax5Ub57pvMV9q75s3rLTav/aRn5i06v
+z1jX78RhjdcC/beZ0tkxlYu8Mqby++2eJtC+yHQ4JXW1EoXOfr84scuoEHop98yAGE3sOOUlttI
D+vvjqvvoFrRZ4cthtXN3M1tORMvyTDSE320Cm1NXOmxFPT3IR/A4ei2BiIB8Mul8Wotl5VWadS3
qX2hdAhOHhUMfCImwc5mMn9kqaWTugajPPNixzzYpby46COvJFFkTVLfLtSdPKGgeHsdusPmILHj
5t4MemDXhR9v1KU6CEuTJ7yCwyEuAuB+Gov1LCG3YGCJ58YTOsDOi3azWn0YYmBFGsNPpdf5QYqa
SzOuTK91WaYXCn+ffmx/Gf9l+3amJDkYeSjQAbDp/P0ArsSkoc9ddoSfYiRGNbKMzsNoEl3ckso1
Nu79bdQ10gqleTHHd0FDJJnNtuq9asP3pDX9HzXeKaDMzgkagkVtmdQv6Rfe0ayz9K3z5F7xhdR9
x3OP6YyPhi6P9Vz3MV29gPKbWmWqtaUNbnOmpztHxdeJ0XJt6n70QGIe8F4iDPYFmRvrqVsUeLPV
BXv44WcbaOGL59DJhv0riOgy+0evtX92hs0q3sZWgIIpH86KtVT3mnVyZ5/e3YJecksTr8LUDZhy
qWlROewFhmtj8WN7mZlv/n8ZNSDG+GUyJwvLlVK3/5NR05X02Q3br07QGt+nKbCHzWCY5iYnoSVN
4U5QhLApxOoY7Jdu3TLI3vzulfgaOY96TMawSEZBx9g37274iqBCaPRHFBCrMsA7QN7ABsCeYkWd
f1YivtOJQf5hW/Gh6ULvyyAGLGlBTH2Z5ZkXut4p8cYv6irsvtwWPRaxWI5Xh7cPUhY7Z6DE889v
jDT/JFW5jmMKZ3lXXJ0us0I1fv/6FOVB83/+l/zfdSxFzfCXUxtqF4t01lj2d1nIXw6ucmRS7hPy
lMM5XjAaYfJys08WEOaGYnCerWjW1sFM+U62MKryupf3BlvllRpbB0qbhBy2Hf6Q4C0bZHXoOutb
EbGD3YSLFV7d8yL3m1NqP6Xa4t9cwDm/KvQlxXCBWqCQVeqguFWskFcNqp8n0n4/zNGRd0ZP2bkN
WxR7i/8Mw9qLoWkTVqtwvKYtfXordI1tl7v+Toals2/1zN2zlsFelohHZfgVUcHwq2Uf5O2F24AG
70ZrMEZBXw6fs4SyIpSedqubsnzynF2u9kUsPOkWt1ekom+eViIcz9h96fSkf0M+p7LLD9TILPOA
BA9eBm+l72vfAM/W7LOmS26LYVVF+UQHNEViEZpzfVEHdD7xzm9d7Nkkadv7CSVBg4GzTi75vw4h
UwlvbbS9uSvnSvtqjMTahfoA8NN2IOmOAQkFxgCAeYLciChgianRBUoxYfVPVSG8h7z/RvkfEX8J
K7H2UUS0rUuHVsvukqrxdmFpkxVkQVzi23NEW2i8a2nTnERD04CgS+O91vx+g+IsYP8XRo8NFDRE
z3F8seb49baepe9AEaeRwVtf9DVKQvZ4v02JyovYeCSBNc0zdZF5r7IJ1BPG5fmYf7yVHPrgGgnq
SwsgSj0Yjt0ZulR8UVcW9Kz/gXNluH9wrlzHdTxhuFI3kctb4g8ILGXThMAN0R49zezXtlNiPCkm
T0LQAP3VoMUA9pnulQN29GbvkaIndmR7fp0PRjtjTkXN/xKEcbZS0zsxGww76fzYgdtii5+axwXw
sBSr0wenlMHGD6rmw6zq1yw3jZ8ifu38+T4q/KP63Yhla67O7GHeQvhhTEt0BAXSKT/95LFClPvP
o4XzJ+oLiiP2OOkI2u3ArMw/WFbsL0PTiv3xWMrh6vXSeiscOZ7qyujXVVlYbzYWuV1QwyV2lkcx
tEUbSxAHox4Vo0tRl8r7lUUDLAULwro16V+U69w2Qrq7qffZj5j5exTwyESkt/5toXcrBGvpqC1J
HlQJ0sr+9bsIFpE4upD3ZJbGZ0Fnc7lgVY2RjxOjtHiPgRkhmKYzZbjZfRXOiCz48n61iAwIZRNu
KUuGiDsyeTH6yaWAodtsR+L5IIYj8pvw0SyQWlfdtCyhlhVIgmdhr6J+5hptRr80sMPEyV4SL7Iv
gBa+N0aXvZRLvhtuIFKB06Y9zpVPW8Q37tRB2LN5O7Nc9/DPn5bxX+Qxdl/UDz2DuY1Xpf/xhaWU
rKc5vZqTMWgFzmy2675mfhFZFK47IyPiKSxhPUbCo/ailScR0swW+T6vSBJgtJ53CgtSLtwjdUi7
5kdGybbUOr89ym5w9oOgoOMhELuxoLVYO+dZ6v4VzfKY1msBFIx9GRrhClbTtKrblHwBCjFRZgyb
PGPf/z+86D9/pfA1XeEJkxgCfqJw6f5zpi9du4GAOHvnUbC7A8NsPcNINU5GRldBrdLVPaeVpFoc
qVYnt3W0Wky3ZAwcEmH+WmCXlvUiK5fSk4O+/4x4Q17S2hCX0Xp1S1e/3Slb56PzMdIplzDj5CWY
8aK0Q6ptp5HgKXeYAWdEgv7z4DZP1fJ+TiVurBkD2b5nuXMAni+pu//ze+EtP8f/JPPpIPk8gmls
m9+s+weZL5ksC/+x458JBXmccrhAwi3bo6JtSWfGGS3bVz/TzGsB93+l7o/swlGBTe0xK3IH9fAy
8cBhOorUmg8wVEt8zrB5Rltf1ZpZfjj1OB+cACkwAjy0jpE13seTE+0kK9x7+GExInPuBZmMUDag
uHYcICyGDvU4z55dP/PYxAkWRmX5Lt3UPs8QCDD3JPoT4CwstUlWtGdFeAhnfUujUjst7v4rg+Uq
HN2fapLD/kkVKCYrmSzTeJ+jrX7oIzu+YwhCYZqED+qWOpjgh7aONSyxOzxNHdRTUogRdNOLi7ol
SrEyBq+7gnwfVjJxxi9J4krqQ21yTxlb3LPbBwxDp7VlZ/UdP+8lKbL8XTTWtGtxcggKpLftx20P
suzaYj0jQ2MUR8JK0yNXXxLDhJ8VOT/6JjMR9nk6UaiJcFclS4qtVdXaVYuq0z9/OXTX+a9vhyWF
tAxpoTKS8k8Id4+gLKkJRrsEPtAlxVCIM/+nZRWLiA+9Vk485Tb36nensroL7TNvBaLdVIApMzUs
HNhFg99VEFi/nA3UONbLsjCx+/rZJKfvdv/3M36fEUiKsj2A38/yqTAoLxSJuLQsqABCdsNj/a8z
c0bOq+4FVgl8KJ5P41J7ndvBOKHBydCXtsUnLbVyjzREXl3HLvHCcmZR8vDG8tNOH/Mq8j/1tD23
Sw5SnDancvayL/NksuuIBeshwkzH0D97pB4sEa6AqmoDvfWtPhQkpAk1C7C19/2NNXTJe9ZShPLt
nkGGqgQvnElzQwBNsQ/D3LjOzlywbXL1a6En5AII7ew3/pMGL7ljWWWKS2KU1bn22T6V+bhtEPh+
dlOyHawCDgRKsjWokWZvsgPdqk3ynJjNHuybhsXe05hJrCnc1nXy3OkRG64pQx6bTO/aUI5oNN35
UY+qjyDzyk8CgLpt0A8aMcAF7vtbG23OAINmcpciLIGyAq0uDbCsxgFx9kLTaIY3J7wczpM+m/5j
MVHgZI/3brtUip2xysONywRzw9793sAXUWE8FTqYkMG3H3gDavTkxa+zopF8ZIQo3LgrMfEvgcAu
1Az6ZVxGRL2W/eb3hBON1teE8eWckpm89TKBgwLxKnpYMnFANU93lk0mY93xkvFsUbqNIgkYNHcw
6+nrWGM2n6JFcAao16IFrsUH06OMPWtptfUXaMzMq0dDPVrIj+38xDJSw+udGO9LQY2lObO/VyLn
SKKxpqNqx6c8kXgVRV8/IlyR26As3bVc2qEN+vBt1UaAezL5CexE7Bw9JthqWQbMfT8/Qswj/rAj
UUxCIF+icN1SllehoTgYKuxGrMW/po18VfE4NgEXa6PtCMBxtPIzEma/UykcWp9Mz3+cMeuuDDkK
oO7Gg+qdIo+CuKbnuK4NkoFNW8O+HOWI7MLwmrhTvZldAJVI+NgPgJWdDjOaIsPwnxKUzq9OmdZ7
/lX6pCFv5hg8ynz+zEOgxt0S7J0TybaaNK04zFQHTzHL0n4ammu0uC4drDjLkAgP9M2KYVTdALU5
nsADiiJVBvfGPMOORbU5zItzEOVXCSLztbMytNmEK3g1QFTd3ag/v7BbqnPLX14RSbbTJw9x0zIf
qwMuhl9n9rArElu73F7VbNnDVR2ISp33hlP+sDMPmeAitZpm+t0robXF9XaKLobeAlNA6EAbC3U6
6sfUeWC/w3o0aRsEnbHxahT6VU9CarXL1mo52PGjVlGzVdX7MMOZTI51jBnGJBsKe88/D9z/vQhn
l87CTuj47izT+pO32xaaRmevSE9N/hxpUbH/t99LsxircSfe6JRaOwNumvEiifojLqpwT6iWdibJ
0j9n6ezfztQ9g9Tt3Q19Uoduv4pMv7hLSSMASMdQ3YnijqBr4HXLfXVmjvGl5uvLQFpAeZkJkmnG
yjtBpjTvBvTBVpa8FHVhrjInHU+hEfUvpP6529KRzrbL+v6ljILpBL0Vz+HyaNtWD9pondQHVunz
eBoBOqlf6RJ4QC8sD2fkoETMbMYUeIfqoFN0RipKTmvTNZI868Bc1WpANIrxNZ+QsjRus/f4hQ/s
Kua7Gyy48lkp9P5UHCqrWPhR1GHsJaHDYZzc//MnRq7Df22cPNdg/0gBSreE7VjLXPxvVZYGlXM/
5pF/vKG2k6LEuUoL9rHts/ZELnS4MxsnJkEc3H+QZcmDYTt/ZQsaH3VyuhMzK0V1maUCWn2bLLEV
ArPJ3/vfwYnLbbBoYEsxfsvMEkX40iYtpTPsM9xbiK0JN9Wp9W+Grg0v9pzjVoUS28vocaTNyZhg
5wjaYdgtUZ5MPNkztIIGMsUKyF9PhDkSjrYP60e7eVIX0tDp6ieRfmqMAd2yEbanFirQtvcLfZOw
RD/Qio82UaB3RBJlMbHiNfWkcCwOt/icou9tiDJlcUCWmuAToFXM6B0eZZoUUEQQXJQiq+BOovBP
/+Z/xShuCQcnXzcxdHsbe77JBEqgot549jlM0Xw6LpE4hczoZZkWSLioMb+6wvzQ51g/DEvPWhbO
vmzz6alHmiCNGUmOHFBtY3leulLxhh5I+hEO8xslC/vJ18IPNgP1RR18J21uZ5ruN9sbHh0Gt0nr
MR7IkXOGrVOZ/DByzaeqRk9O7ddnuiwrD6nPPqhLkACm/9PPJZNZhYa4K7MMODq9Yzsq660tI8SF
rlFce2eojo2eXudltPIJ/uk2UB4RdFcR0Ou5p55ZR1V/0fWPGyQyagn+rDrBrNCXiUTMmnn3Ztj5
p65MHtXV74Nt9BBLpVEV94SfnONOeqvUkPTvW9N8sbR5Zihwr5I+5tNszcaTToaB4jg2+r5orfZ+
aNsWo3OXHLCBePelASIyp7p97xqnyabhdcsvhfqL0XEynrzETx8NhKXPZtxSMmFd4WXWAsjDj6C7
Pa2iyQMDmaCN2jSlHDcaDP2VnedINtSEFUj05GwvWXnlhRT3Gt8OalNO/4yBsNk3Qz0fMUAFGhmE
qnyXa9QMct9mWWte4srMH7KSzbo1fu8szf+1znORXu5FU7Z3el59QcGiv+bmfLuqltFfPZaarxIT
l+a99CQs/0XZ+KzTbP0IPMPcZA7F/cbJ5F0k2Tkt7SbW0O7BIRtypdXdrU08kZmxixd3leoa+3Uk
b5djZCxpGNYT3dorCjznlY+lOaSVSPcSRCXyImsdlXdhwv/Zt7ofDqGer/EAPojSnbbKJ9Nbe/1g
3OUoTDG1psYX13b4jbTYd9Im2KtYItvcUegsVsY0DYffZNrWqOs9MwZUGdXJGLGR3JaLcQhtTkXg
qINKxMncrGEcWRU061AmvNPCNuCUAWQE+JFf7ZZmuirHVcUpHUekdgvcHZOnvxEWviwjYRWWlYsF
Eo/jvZNPr1MXPwT5VH+T5Hfkxej/aPLmpZKp++6n/cNUaMO1dMg+bHu7oB2FZdtt5LhVY52wp+bh
VoiowdUsVX5ptZ9FQxH62wL1SYORPcJYXYs2H9kjcOYt96A6Ozg6URkJGBT7YHSq6+8nE0af7Gmo
/H7+7ydYdvHNVunbI2jszFmguV5132ZwnYgseyuSuvqsW3SOcx46ByagHv2s450Mz9rrU519N2NN
X3muq2GNtPpTi45+24YVpGUakatxmMo1OTLTnT+kPoq3dlqrFmka5Qd9xvOEnKg+FGBg2KP4P9h4
rzuqLN9po7qrzKeMDWOx36vBJxrLv6aCKCkASqQltz908Y2SYvKXH+KETQ3oRdPCxKhG/9Gsmvgz
a95VHJuBxwMvTJEe0PufrL5Eda26VoIabCYAXar3HxQIWWZ+Oh5KU//u1L1x/D1BVbHc+CKbVvGo
iXs9KeJjXTXNAR+yfPAiXlfb5cxNBmwUpS6M6/TR9gzEDEUWIGa2uukiF3JRVllX5qOV0nyg7NgG
mN7GsTbA+aEti0fTeihEUd7pKOvdCAyfWq1bTqVdWcbBjsV65ADwUf8Atl/kmlPW6MdMt99TPdne
PlB3IrU99knFTDVCO9uObYSuoR3NsUYsqtDyFAZE9yrGHv0xVIiDqV8SKjlvKSqLtDPi59z0ngKA
OJtI5uJRneXZLB6X/FqNCOUTkEwUrHUZEG3c01W7XWdkgVGhKOvbv/5zLKzhw6+LaX3b8YZeVwPL
QFiuunx9711oCsob8lXgrzwZjvwrSIkSIhR6Ymvu1z88AsVW8ZTWd7fpagggHRPNVhyxI3kbYgKm
j2SoKPG35uMUZHazmxf+cD5jZjY08cz2fNyNLr1vGivhVZNEa3t68cWt0ugRC8m1t83iCb7B+JTO
5Ith/3hFJ2w2uwHXBWMkrskl5OaPekI7kUhtO/WZYBne45z6+7Ec6m+1MMOLGTT5xTfJuwLu4L0E
rPvgnuOu0vsIQ1HK2twx0uQ0Ltq3CtvSXOIz1cysfBnS7D1iz/8NmuI73bzmq2kcDKn9TPi2AuGp
5cEO224PWvB1rpPorqomcljLJDtqiEzvpIj6jWzN6KMtbTLZ8uElmLXp3ovCn+o2rCxtN8NE3hnL
syRlvk7r8K7MGfoYxDNKG4kWe19aUf8ReiYVwULvTmFTho801H5aiNdddhsDDIX8viuj+t4YgcfG
7BIf3KgeD1WZ+Ac3zIPz7RNJDcA1jWtuvZgIAsOplyxqmRu7tEQJkAnM2aPANd3aLblAyMqgZI/v
tvBPra7fq+ZEXaEanF0wG6oQYGpOkWw9O8T3kgUbhxzO16xzRjTo0EDKEDyQaaP9va36p1xflWRy
7oJBbufA+wmS0XlArlkc0JjmcBG97t5NyYrE7+hsPKd3ToGBfC6TaDLrSS/eRt7lkUBcrUeMuTfG
Wq6ojPcPpOkMB4JM/APRRM69PY4eJiPTX+Puy1gDZcStFOKjknW7iDe6Xc1e6EBsKbYY0YF2L4n4
VK9QXcZezTyzBFhjV6ujGYOxhGyazmgSapMIhSAztWtnzjApS2jahfFdTJP7WMZ6dM3tYEAFRRQl
bb8Hu5rFmUilGjN+31Wn2+9H+IwDvoNXOYqinaq0tGlIKO5S1DH8Ujw4cZBdlDJnEhQCRjeSB6XK
UfeaQ5/6xZO6USSFfXAiTB0E+HhXDV7DJl7UQIxHCCLJdNrmbYv1N++wi5L9skiN6lPcujTplvpC
nVTlU9SL25XWd7vbH2njSlDreVsImByIsTaqAI45MT4Bh8bZVJgAtdvuXgRteoJa5e0sV3cvU8HL
c8GkbUZA918ZhVdRv5i2o1G7L2tyXoCYQw6phUsm05Bf8oav9uyyHsho2EIRsK/qDELFr7NY0iiq
c6pVJWi9tNSmO/5r/bVNs8+gN7RzMBqHYOz8dUwQ5PPYzP4aprH3rO4FeNZ/FdsExEEYGovQIOgw
8wZDUT9yoMRP7fojjlLOMK5t7JhM3UDfGYZmf9EwmuxmsyyOsSOyV7Ic79FPzV9ta2zWpochL+zH
iql+qYhEWS02TRfhtQl87Q1q7XqEFPRSM2s9dTnZnsttG1LShbafvurbqNnpjWR2TQJMHp2RPkzV
lJzdHKxVMbjDpxHGuFmZ8/94hmnwwnIXUmSffVm8Q9UUyW8o2S1seNK5qkPrW9ZaPWBbFmZwqpdm
ijS8tgt56rpyeDQKt12BgLj0N0gyfMht5M8Na/bEv2JUOTN9Nk8t5KFrG9ZIUDR+epEV2nv1LVPf
N14G0aYYuobYjg8RjsEjju3yfoqQ2/l4wj5IG7lHpPx1HM3xGXJ2x79TyhcoE9NWznN+bRgET11a
j/vBf4OBoDTpfVs+hJV078k6uVZZeE0nLXmRxCnOlMNI6aN8pWcOyZ4DvlcD2l/lpdrVpAcBloYe
se6h0L2tRQ2NOCRhjSEm62S+aRdTbXjLsAE89HzUK22wIal2WbsF3GM85E3TbqPlLFjuqTN1D6Dg
cB9Q656yhciz1LVAf9WP6HGTo7qnFjZhRaakofuLg5fqoQaE7cHrq+AUa42xgxMtXruo/kgkmlG8
Lg+DZWIStFr9fKMAa8M6TtgNRWjXNo1hxafRdJ9My5jfWFfnuxbq58moB3lvjSglGJ2c7zl4FMx1
GT7jo1JKttlMNUQ4GBdVKlf8HmKtf6VztFaSxkQUBFnJ2T/46E3XbUjMrQ1ED6916/cXeY8rEJlU
gJ7CXw5ODPhuFbdoHUPiqndOEp1iJA1P7Hvdxzrz7m6qvnhmxBHkAznV2GztoZOfXiKesPjbT8GQ
2VdzYEAv+0B+AnSPIad09RW/A9iChGquVhva21UdaymLByOVL4NIgvdm6MzThD1iTX3V3g8egj03
paXKpvOn9LVdUxfWz5mTdLmzPJS4gY2wdh4uccScGdosECp/kA+VRuuJZM7wW5ZjkdeeDXTYj7bf
uU8d2VqJDUGzqNMUB99sbeJciz7mbsY06rjBxTMHlCPAP1Z1CNd87vLixZNIWVC0G2eYx9NFJ+N0
K7SHqYyiiwuf9LEOhtd5DJ7ZdMldW1fFtWHNeVVnvw915+ZkS5hXM8qIjliaFZErsjdLd+4dLdB+
NCYxODAyvqLFaqBkgawEkK4XWYSzICuuIWy2jTAl2uCiPEmTPYTQxnF1E3KXfngoRyoK8D21LzDt
1kUJRbv3QL73yZA/xWYIkpaF3n6G43qnlWyact/90KBEHarcHa5gC+2zHqLkmpwUh+XfvV7cnc56
RmCy9/kG3mki3M3wES+TnVJTXw5QcBg1/WoA6NEt+D8fxr8tz747UnRZQkbClG4ZFY/8bhhYsbGy
QRw8mfZjy87IjKzqs1l2RtBnnAPOHus5wi6G+XUP96N5k75lHuGfUIJaGi/VEPzbfRmnP8Anvwg7
o643K6i9jmErjcsrXNYf5MeV9Ap8c9/pDn7c+ZcByo0EHC2veqe8BQJMJu95lpVHydoDpLxAFEwZ
hZw9GgdemwKmaI3+R+tlOL8deQ408y3qPeNBy6dfh7H8DpG+u6/1wrzdDgarWjnQDNZ210KRX+jy
4M5NjGt+sZ0JSSN/A7JYMU5PVIjC59jyjduDWpt3myDwBlTGBUWrgAhNyp6AvJylUlc6sbz69qGN
3eyBKSi5jtmA/IQrh7iNYxnObwryr3JNtLGhzu/g2UJUVy+ftbpti+y7JDxpr5k6CkcswwiJECPs
Kzk/jKEBbU3LoC/5ACJbK6623dKssqOeNwNUFvtF/azi/Mol00+dqYMRhMVZTpgtnoOlNjHlJbAb
M/UIsKuNfVLhDLntzVkx6VuLQuRaE43/pba1vZLHRV51B8+z3/sp6zSV/QYqr16ze5t3SgbCcv3e
Tl3tMGqyOFijzI591g33SmuHudV/DIW3ZxfxKx0U9TCWA8foSDP8O0QUckd7vq1550n7KwzxJsel
wWDqzgfZsmFWl605w+wKJwjDoUZzio5j2nQz/OlF+8Aulf9rINF6ZN63MTduJ/3fJ8tDQHFXGlij
L//v54XwMz5lW28E8kAqQfZfc2094gvoFl9tDbIraS5aijij6eiKFnaWf8guvRtCflTmGCX3fauN
GyuOC4LEzP4jTQ/p8quTXuLS2EPLAsE2NLviPc76kswmuz22S5N9SLLPUvMsamYCm0ntlPvBfFNN
r2iIrIsJBwwnNT2wmGXdKuho5pVE5vRJ0J9t+ZwtF78Eal5K4meA5Dngy/lUdJsxHCIshTo0RatZ
ukQcOr0MTn6LL79aos8QmLrnPOS70kYOy61gnJ57Ooo3WRRxhTCDITk37kOmYjr7HnGxHjyw8AL6
z47v7GtNQJQ9Bu+mG8wnLer3tl0P7MBz/60KxvqsYPxjObARxgS8cpLe+PQw3dOwCL+Nvdlu3C7P
L15XEZVDNs2qEQm+x2Vx1hpyB/1guEwVWG8zDF5oQ2bfa8f9aWBwQc6BDFMKPz3PEwiftscD21kF
mQFTCHeHsOTjKLzsiWphwcqOYAYW73+chdi8b/didUbJc1PKuTnwYzur75+JzY8eE+AkdYlY9NBO
+Re7Ig2S/8U+XKo9qILvIztxmNvsQ96lBuQxCNLxEgA/EKa3YtnpXedWFu8Y0Fck3gUvefdc2OV4
tSxKafOYWidftLs5cJ8GtK0b6KPXeGJfCY3tPzpEbWieSCrWTmSvN/eJGexFGy7USq6Mop02We7F
ED7q4lh4+A2mJuAD+X0d0xpfg1rq9nJ+bvuoelCfUSgxDd+2ts2oQ4ToT4FtDT+WkwbdiDoZAgc+
sQ5oUwe5dUb8wZy1nKnDPHuUA8rgou4ndCroJTRXNZclEAxgHRnuRrXEsilKsWGgWOhRt9P5b7of
fpOsGJGa71kcBetI4B/spwC5lsXEYJRABIe8MdZTIoL90Euxo8H1cxbCIPHd+TmU2a+TKDf4JtYP
wVxkm7Cgr6OKv3b+Y7Ba/62HqHQh7SjGm09NGDu2sapz5y80ccFGBZHfLBLq1EUv44ld6VcsQ4Fm
4UIQycWsWkZsUgb6DRYstBlhw7be7/2b/Sv916WPwetx6nwCZ9EIAl+ez/kstjfRbdYZIAS7uT5q
oHOUvxNlavOsrkKhvya5xwin0sWHXs+f/RIgypzL8UGUBhgQqvtQzLGjogs4e8tBnbVkXeGgltNw
TFWVzfX6n61DQJ/rRhc9zvg66PvECDbKrxTZVbQ2kyh4cPIRErAjs3MUw74cekxCrWPgn1X1IC1C
Ml9bvjyWE1E4k+65V1qk8x1WAWqjpH1+07P23Gcl65KgOFXLvKTBvdkUVHTXOo6e2x+oHvCKR6vy
Waj9KxJvKKHp2QEmzdD2gHPEhn1uICB0P+pYFMAM+juasc7eTEx5/n2Y4VFWq6pcDAr97K6BeZMK
uBzUmTogJY0Pvpfe1fCPCCfNe+wSdIxVKL3qHQOAeM1Ldp63tww7N71XCGxbavACuGLORgk65tUz
cOZHt5Z0bTznWDpBnzU2X/WkfsmN7rlz2/krm67FjC4NIF5ec6fB1lhHPRKJtq9MBArJN1vr4qcZ
me+lmO1p3aPN2tO7GzBKMkOaZXx2zdI9T8tVuEykrRE4pyy0H2UUVBuSdPLivtIherZFbJ8txyTU
NIZUTpHba3blx+2LI1PYeyDqa/hMPc7CSpB+LOPmV/illMkW5wpzrbpHjaHVavPYjkl/huPXn5vl
oM7UvdHRuRe51J5xdoF9uicryzypxsW4dCpmD8ykpunNQTUueAdZLZp6te5m3kxWNd1G/TUSAdyV
CWev1ugCxg72HNhLv5fs6kyt5T3HS87Z2Jx13z5Ca2mut0lGt+K9QNOJzue7KP2/5th1GNHk+20Y
axGtfTMQoQaz4X1fordAvUTGC9WHadsmc3pAhn30Zp8dDEDVLWHc2yk06xffttMDVlBvH6B8frFq
40P9Umj5fjUbIP+On4pLVy2rKU0Y62gqqX/UIj7UFMbuwwiDSizNfAtp/dmj3/Pqd2W3J4tEHsDu
Ts/Sw/Du/1/Ozmu5bTVLo6/Sde7RgxympvuCmZCobMnyDcoROWc8/SyAnraMY5JTqupWkZIP4h/3
/vb65Dr8RF37pg/Z4YyVg1UM1LnEQuYuE4nWgfNS1gJVYK/jvxD74VtihNEDj8mCs4lHl+z55Qel
72zFCxUU5yV4GcobpE2Cjha0U/uYpa60i1Ux+agzq056wVSkIJ7Ov6/Ry216dtkPiuFHCyPQ2tuf
QW3S1DhLVbvpqrwwlgigVj2l3jlsxjE4Tv3gWkitbO8DaQ+CYoexQ/mau724yslO2HpOmDwgl9zA
we9y4cuQt6jqIu+59y04CYWKBnYwFaLolb+f9uY42VKXjN5qGUU9hceBzzikhhLWHKKYb3McKJbu
WEQr12Vxlcd5tlFa6GETVEAUIOqQrGPjCgcVMfyqI9w2OVl7qkiZC313iavLsyA43bpjcffE1Pq5
FKzqPqrFj9q4qi+pJxS8psRACVhCmBH/yGLrczqaSwV+ta17t3tBOLqYVD1pLnf7ITMUqEaRvlNY
4h5X6OW4TNeafqPJjrOPWteDCVS026Z3Rk0kVVZ5XmHJpLX302lzanVvqHSiY0hiCJG9LZ78Wr9p
VPm2NixgGkKksOYwuo9ZCnVZwEozigYKHTUgDuUYtqMqLjxMX/s89q/q3C+WzBDuWnPE3B46LMwm
/Z0no8isXEVetfHowTXCIvQIT5ox8AwAoDhoWL/c5oh6bxM/zbdKAhRPVVvJWGDqxsngPx9BD3kO
bcIoCRqAJdsAUNEemWrLewVLgak00goC1z4euVPFBrKP9SnwTfnz+AGc6vGD2GrBRxidth6mG3l0
Wx2wxnwYv2kgwj4ERQiayfPuHKZu1ICluyvHwWxazk6/K+om2wS4GE0vuq1S5w5R+9LsBWd73CMQ
EjduMBDXh5EsP46n0ybEkcpiF3bQdDu8CG6jFnDZd9VCnKNOuvNUaDDA0+H76VJy7w5uuvd9yziQ
WjEOwCV/fpJS6sUCBPvLatIqupKyO9rmafUmtzQGeQmlfKGU0soYovBh+h0uRBWQQCRlrtr7d8Rd
HmKl0Ze5I1KDRkkDFDoVR51I69Yhosvb1sLoCRxPc/xUjJ9CR2XCrBr1uSu6m5iM9QeGtnrXZ32w
RbfLJnR6s+iFPkP+HDmF2Yuu4fjpYAdDSnNIX2L4LFsiLTnFNDIGBT3cXaDP5g35jQVEMOVO9gP1
bvoUDHiyJwP5ofH3yqCmO6OL5fyL2OdET8hRsCd9mJL8gZpdlUD+1ggYURWNZQKTMZ2WVsKhkFC8
6BIGOKw5rWXEAmRr6BoRUZj9ixSp1UNKOTz/b78mjUqspsDUqGClB4G/7nBscJCwR0we/Pf1lRtQ
y+qQS9pYFfbUcPZQLbwc3wGoS3X7K+rASG2s+r5Kl5b4BOyY+mAvIeQlCQ2rjoz6fXymISURjAxC
UIZeFCQAN/mUYhx0hwxqF7TQ+CdBAmmNngI8FZx+WCj6tqlD6TCNORE5i8pCAYlPzX4KEkyxgcrw
0Sho0j5srGFb1vjkFGObUVVVsyXsG6b6C2wX4DkU31jeC3hXAaFwsFpC3gh6QpFIDpl6Y+yIWWqP
vYZzzvFGCaWQXEmGrQycGdrEYJjg2ARhYeRWz94L52elBwU3DiOFLK6OLSNJy4xFgapAyiVZctxs
OrGSbUzgPESjO+Ul8fJkkeA3dayihoKoLSctmKsj21RUs9397OYSh6FyKz8AnjCWyRgFDHVMRU0f
+Y4OSZkt6a4ocalVWK0YqzIRAB76+QugLBGOgdfhMI0MuVQDur+P596vkEmJd8F1k1I6XrFqLqLS
3ByDTRTt3fSFp+39sYYNpkOx74QUjar8MSfYd4cdZ//gls5NKpbNgZHXZe8y6lroWouE3eNhErjo
FRJv5tdk4wY4VGURqNF2jEDLGrki1Ewg6RX4JmnQKbfTp1aI+r0sQjRPLGh/aiN/EPsQTWKQ/iBZ
6l8fn1eZPxF0wu6BnMt97wj4uWqN9m1NIcOP43MTEU1Ltf5NjRu2A2JLGIOQDAWdmHCoFoXfY+aJ
3Ui86wwMgaavsOI2xxS6WDOAZbq/ml6txiJ3KdUyUJcUNIE06XLaYXR9mZgu2EYtYaj8CHMxO+BO
V1y37P2PdBZGnRerM4xVWAT1Kox9f8HIbdg80+oBxwPMOHE79vJKvjlmDPUEV8uxDGPSfoZSjni8
EbqrIPsSONpD4igNRSbsfgU3rV8JcowxT6JXRw1qpSFSPGIoHL8tbDQj2+zojEi/PGq5u1E8XObp
rlPS8nr65GZ9ee2NvxvG37ku0sHjX3E3Xh4zLhKo0+M9WaG0SZuAVGkPaUpN1WxXK7J805KyXEdZ
bjySvnWXTinor5HSPalJJ/6Qracqi4THiKF+WQkkT2s5elFil/FnKpoDL30tTY2oVtNmWYY6+wbH
VG5MsXcwPsa8Sq0S9UZLqSMgZrmsYYPLixxk4/ooZ8UHxCuv/V4prrP/fAJGKO5rp90m2cOkYR08
YMWu9FCO+qeyq6Yv01/MppUX+oDxlZAk8VZV+KpArr/1xzCAR+U0UsUR0qSpbXiPLWYCkzHv1mou
1s95I4RrTfKUbVB7zbNP/f3SMyjJmv5aoQde4BRQHoYkqZ8DtbrpIs8Ee1loSAkteYmtJiFyAGQH
ITK7+8oJf4iurz3TYkk74MO+wV6dvR5K67XYxtZzltdPSdTr1yJzOQ5jG1OuEOPxoRUbaBzsodrc
x3koqKzdVJvTyoRpjSq/nb6V1OnuUpcq0S7+8ktIIjgkLvzC+xKNjo9ZFqJAEWXIwL3/UlLk9eKG
FtXakkb5vJNh8xy11PoUzmc5aMqHEPU0rH7F/JJhNleM3sReaG07DIombEwshWS7BlyVgYPBG3DV
b6mjpWvFLZplPcYhu5Ddl6DkyjoLKLNScbT4BZzp5fLzUb/i9ymavCw1pY0QYVrn6iz/JjH19GMS
U/c5NTR65wR2U/jynaxJG8JQJOQw8LiFIKneCLn+gfVCb09IlSxZKQXOX9N4iTWNvtKcGuRy7ID+
inm2EH/Vx2isuopKgtoDEbE6VGP4wp2wslo2CW6uxE9OHfa2QdpwQUkeKs5y1WPmcac7zbA0cY/B
bydMnEUuIf9RY9yXa53hQnay9tjgjw1bWofiIMFA0aFEsiMKDyYQrUWVVN2hMtCu+nLgf1DrAXAi
4qZvKCRAvVKX0wqgtA1wkui6YxI043xThsJd7lcNNewUBhWVl47TRUZRqVutJqVx3hu3cVyET9Pv
o/H3sdDDynIRNEeWP7Dyb7y9JlXqk5Klj5PTcFogSPZV46qS4vWUCfWdlBxqKh3zonEiPHbTpvq4
CUrpONeSpNRXeAc9m2nYX/36QWXw26/TH/oULowWo5NMHOpuJ9l92VB8jZK4zwZUkceou97KFlzo
gFgfskEMoi3qolBHMjOmBEJlmvQ44B+HeYC8TYtYdBpcp2G2fTS0oWEq9IBHqrhJNKJDIGPs+2OJ
zI5IEz5wsmfuMMAuSR80ygcp8UFy6nJzmAaPX1+nv1K+9fOvcp8Ax2w88ruYc/my777UThbfFBku
4bAp3BffCcJ9k4Fimv7aREm2Ftqro5paSGtpV+X1JLZ11a2BZ97Cs1y6bqVda2PRlZSlPwYFwUwd
QBIkgB0sp3jHrzCHxmSxUEq53Zk5DgQEgcBTgxO9r6VxU46KZPrW8m0qzpi+Ec6Dfv3dl0B54SGZ
3rCu8fZ5EacLDGqVK9lqolVagyBTNeKrroB1xfh7Um3RKktF4wrKqkwMK8mxktdvFdXPXvyy6+3W
68WlNn4NSpL8gVGu1EpH65TIIqZXFPTd9lwwnKAKL3m0vb5b16uGCoptZFkLYwxzo/Qt0S8xklBy
WNyZqiTCqVIpAymEAoemto9aRgVWU6ESQuLIa6CICHPalVYzgWTJo+eVzb4zXEq9ckrC475O9inB
VLq58+SDYb1mfPMepUAD7K4kD6pqebaJQtyePoEyTfSsv23NjETzKKaBNABCghHwRjIC47bK4J9G
3NiTqudXE7avq7BMARF3l1Gej4oKUjrt8yrzYmzbAqO4ViRsNcLATF/8vDNBa7Jom7IcQtrESzdu
yGLKibRLAr/cmp7C3SE3WEikpqmqZ1OO9Bi3IR0HxRgb8+Nqpjb9as/u1uGFZM4VPEXnavo6/XAs
fWE8h8TGNe1AGfjPXqJRvb3BPgZSaK1/TjNBZM2eqTYFRtoa121lcZyZnNCMbhJTy6/CJNfomSgX
YxbHwOEOol/ZmJt9neysAdYBkvZLDDKD7uOE2mKj/xkuu7Y9NvWfS5iCgKEzGm5P6lqKVpOdEHrN
Iqy1r+drF1RxXrpALa0I0MBQJMh4mjqvIhYL6mkUXYG4xY57i3oNqT2OsbiRp8PBb0fbswSrgMBt
/Gs3F5F2DZa0n9Ai8ODdfdFjIxvrdl5K9/kYhlAbjMTCrP4yfWsSXJUEs/2SBM4Tern0tRT3Q+PT
8/kAALb/mtbGSxm0eIegAbgCysf0nqjeErmxv9GDYuFFson5K1n8Ie8+U8pExUHlinY+wn2Kjmip
IG+Q05gbSh6x7nWLfm00wUPvZMa1qLTbI9ZQMtj4lKW2EyEI3fYxLC0NtUVpytp+klBVVWHtEivL
lw5ltXanUeaJp+mYfk7vsXRNnoJG8Jey7op7VQ6SJ1yScJKRleq++Y/TcFCjgQ0R1x80yqQWyHfw
76lM8UlKB5ZNnx3KuR8I6qM1D6jXaHvpYdSwkIZDRTJVXjFSfqWIPXtEfSuiqzOKx1jo5E0Bkvgq
My18g0deUwNLDh9r+VGK8+SuhPV3GCC+m/SGgzOpWdUkBWDbklaZBsnCCKwr1fNQwA0kF9rOgYyt
U9Pqu2PYrRRsWYUgidNvfDdpheKOivhQ7UIiFJ6/RHYwLn+99MBsRKewrP5jrIXWYqCO44DhREFe
LcQTWRiE+6SyNoYidnsZaerabwwcqfBDFa7qpiZ8ryvOVYtXPFslngL4yviQyK24PX4SRxlaIqN+
xio83GHpVGxjHNMWLdY+hyI2P+EWXRxETBq7hY6q8nD8blUJhHxc2sZfTT8wehz/SXcQskK9nnJi
hd9tu7zpbNxBf4zpkStKOcV7vQt302tJ0lrbpDpmu27bgiP1FPkxFVnzdrh3HeMGsW+xIQMZJdYd
VOrUJWxQq8J3JwuePTNXX4cwFBZh6Hp7nVD4YZCqZwPB6DchQ4dTo0VdYN2WQfoAyI/hXCTrzXdH
Zgox+xypSInM3AoacBsCfi0iYeMwNz/1YeBfaUHpE73nk+wnhMwdY4d9qHSttD3ijVHBYaaGi7R+
3IHnmdVs5Uh/1Xx92HkTh8+rNXXLioYwaKIhqWjUHIfktIvXANV8vJwkDXO9oXKpXDeiHdVJ7Wpa
10xf1UZvVg2egDe+pr6queU9pjXgqBYXh70oxu1aRZK57tJWPPh1cJjiL9MPOXGkdSb6FsnU+EPg
BsjkKvCIXfTFGJhlleCKnZv3mOGpAnIAPEQ5lXnJpfjJiHRl9JLGBMwgOJkl8aumiBWxchiyPUbu
K6mpd7WmFCiF/K9TAq40CODp1nAjCnl6h7XOsgctwRijxddVjx8ZuZBvTWPkHxzdKTZaMJh2bQT5
DiWFREclvk/a5NCJYKE7IM+IdwJrKRRuaU/1LHFZ71PHDR7bgglctgqvBlKc7hFZBug2iyd1XDtJ
+i3mofpuMpqffsSC91r4Jk4dYXPHdIaGtaqQjo+f3NrFRUqojBtPrx7w5GtvpZEpCnz9oR2xyb2F
ODumNmtLZNeyvahTrgno4aYrp94TgHfI1CpSqWPwRgi74roktppkffTFLxjxCFZqt01KDl4awgcJ
csLS6RE8TAu4qqX7T1/bNgAiNu303B5c67SZYP+JfDsaiE0Tt1m6JXUxLQGsndqByMLPd58Aq0Dy
RSPM8Da7vhHHj5Kh4z06aaNkNxpWU6xaT5kKparPD1PbMkjcLmo1QjAWJ2sdzMgVi93v0agPEMtS
2GJ6OO4B+3J8lJGMLAJqg0ujraPUugmdnNi233/MqAXbdpqq4LiqaVdm2X5SzWVZJOm3LMSzKO5q
dKQRldEBY89xtlUgObySPaYge8z381ooRBoD99MPNGjs8msyAhMlYMICVCMggIQRpQNTDgRvU2xa
kjtvHDkzsjy26+avrlhXe6CMXyaU6LSzm9aQsLsIaSpyuQmczF1pbmJtg5hEnqD6VD+NONrERVd6
fqKncnbOA5BN6kkVdp4E8RTgGb/XKKI2BLEmWo19zMW2eoAbYIr3qdf58Q4MJIpb1NlTyYC8ncRj
BCFtVAOuXapqsaKWSFupRfWsS0p1lbTK1fGtxCwmhcRKrqrEeJnklUdRZcqvoB28TFzXJAK471Is
t68bsmZMaHfHxN6Y3fNb0LKMU4dUbWyp9f1bZqNuTaTcv84LOT3ogY7WRQSzRXS3HUsBiEN3yA0a
8aopTX0VeAX5b12n13pi9Pzz03dQO4R5FSHMWRZmnzSv7J50yxRXTlHvyyDXnv2IAPZYGREActnX
6SYZJPEw+PB4xk1BNn4jAk7whm9hBAhS9FyECZ50peFWdR/nOYLDUYNiYtqJZB3BSWRY0kPjCA9B
abjLSseUdoo4lknWpdvOSZOV6tKGSWtRDBjCjgVh1Y4/1Nzx7aLRH4IwDPea3lHY1YOSNd0iX5uR
yJ6hFbobRWo7rDSSex8y9Y0O0GU/eNR6q55s7c28bOwQnce6UxTU6Ul1heHI51ocsLpxeY+ABHee
axG40GtwbHovbTX26q81Q+OGBX13oEouuzapIvLzoKc7tvmtEWobK0dLP4B1OLh190nGZn5pxGJ2
NZV7G695XOaXSmvFv7VaCllkS2XLLRskyPQZ46SQW6U2Qocy5CwLiJX2V2TI+k+SD8akyTJktXpt
3OVJ9OR2ziYWYC5M/bagvhFP73EWVKLIODRZuWr7Cj2GjjCE1hM9pXiJ+qAZ0kBs76ZPVP6z8HAi
aSmB/HyEtCevYBZVG8ejwgGCu3WgHoAoopiUj0ZPPtYMTWdZepohbWoP34CU9C7kB6y8RaaSVKVo
F3WbuVKGFCBOPwwvDmUycO4VUp2OTDUXFCLTD+sbbYzsTTHj6RPw7odEIr+nOs1dhcVWr6rigzLq
N8ZvlVmKD1ObHL8R6N+agbbtTDrllO5Cu0PFF9hPlH8EGCDuTXHsPJLTG/wgF/EwGDehQGghoKLl
+lhLYLL6OlaS9eRZ6ffqrvNv4ERlr1AaRgSpuJ5SFDwmDEhYMMmxkF4XavZturBGba3D+E2WPDwK
JpW67pfelkSDubWsxN+7umfdEW5GbO8BcmVbWGNuLHcrUwSeNx1l+hqizEOt5Q/PKVU7m1aKmSaN
8orKXuxqxELus4UXsqBZoNiOd6Uo3Uy5EEaTalNiCEYoBNnkoMjm5jgIaBWpKkWuWzDY8GvjTpWe
YTJuptCPhldfMc4Yx8h2F2AzkcN5fYncZC9CIvuChScMrKGNbgI/V1DPS8ZmUFoTpHuA1zCVil+w
CftYlr32mBHSWpKLb4THgc16U1NdJ1RuuHXHgSavpEeME8yNowO1tTJoSULQ6TuhSL071xJ0UhaK
+ZqlS7Ez9tVvPBOgxgr2QuyVaPYfJcOMbad1jwhG+IijIqR9TmL1Y4SK7SotfBLOTmLutDgKWPE3
7n7qq+mQbDCfWbDpVu6mzVEVk7sxAhWbt0r54EbSSpFHG3klq3fU/bbXLpyWkffbf8pS62OvWf3D
IIbtNdOguhRHxLkoCx8TttJ3tfR5irv4ZZzveh0VzRSLCY2IfG9cA7NVWT+se4TA0wFFWfyW6V5w
REX919fuv93v6d0RhFT++3/4/jXNaAtYWc6+/vspjfnf/4z/zX/+ze//xb8P/tciLdMf1dl/tf2e
3nyOv5fzf/TbkTn7z6tbfa4+//aF6h1KHO/RFPUP30nBVdNVcB/jv/z//vEf36ejPPXZ93/9xbY4
qcajwd5J/vr5p/23f/1FEPfN0mA8/s8/jjfwr7+e/e9V8jn+23/x/XNZQYQUrX+qOhUwKBeZpQAa
/PWP9vvxL/I/JVXVVU23QN0YFoyDJCVOyhmVfyqWDGeSyj1dUYwRNVSmQAb+9Zf5TxURFHIt2TCI
LkiEH/7vzn97g7/e6D+SOsZaNqngU/5OPIOdoxrAkHVphlfgnH06RCkkOqDgWYd1X69coKn9ztL6
degZOTSjWtXBZLmjMJcCdD+XHnIzvIUmEF2A65269hlTj+lXEXOZKTntqfwJEIvCgWR3+OYd/nxS
b5/Mqcsfz/oGPIGfC0lyLW5snxwUyT/dXNWpIW6ErrWO/em37vT2FKduYEZc60l76M6g13YvCnZk
xmtVsC5M8+P7+wUy+/Xwx9jUm6vH97HpcD9qbKYlUcZ02C/LbS2JhnJn4AE4+rWwRFnG1NCE77ub
+SrYqgrHCKqsthMUA6UoEzE2Pr7rXUxLmTd3IxEnTwzJqO2cOiV9tMvJ72Wv0taB3rvva03irCdQ
n9I1fZnXdpGJxj1iTIpHsdC40JpOverZYqszh6BL+q6246FdK716l1vyj/MP5/f13K9XLf7+qmU5
Bk4QK7UtWZ77TWCIXJpBYW0THVWYLUN6XvlBWdwJ8LCG6/PnHHc2f29emjVey5sX0omDYgBtqmxW
C9Rgu7XdidJXJI5Xlpl9ZmOz70v5USUp/67nR3zv9xP6SDSpK1UqO8RzIt4SAcYmArDFJazvOCj9
/YZ0cTZYuYTSPZF0iG2UOrJdAv/0fPRyGJYOxqfzD+3EixJn41WWDa4+uLQww1XDdGVmnbQQulHg
jD0R5mIezgQjtACOaPj5/ClPNDtx/P2b9+QZraVnolPZUjPgF40+p0hWTHPBhT3wqePPRjCzboog
trzaVnKx2loVCjSJMOaFl35iCJ4C7G+uXu6rQmZUqexckw+JoNwSEG6IB/ar809HGi/zT2991iv1
yMGOz1ErbBJ7a2V4ibpCE2TDSVkXfbHNiupOKbLPsC5B6wiYYIt7M81YVIab81dwqknM+i6RE1Pz
WQXasWEd8KsodnqgbATNvCPp86PQMoSuWXrhdv98MtiFvzcGv9LTxAnFylZhsawz5NQoNZVrqoqv
nbagVLHe46qdXJiB/tw0NGvWo9redNpS5Gy+nmhU8RKl1gPPe1fT0CaA55umEQk4qMPoqWwxtvIr
DabGKkTk/lq31Jmcfzd/bn2aNd7Ym1NUVhP4fUjrG6hrSLPqW55S95hL2uP54596QLO+I6MrzijP
KG3Xd/oG7iZS4I3TSOG388cfH/TfGzeF579fv+pi0z0YfWHH2TcceChCpEJz+ICoZPW+E8x6TxWU
shoKXWHXIlkOKq1IFu2aJr7GwGh//hQnnpE56x9plqWt4nMPhjXcai1Beuxozh/6xOs1Zr0Bi6Kw
d1Ac2Kmr2Vmb38W6RWtSLtBCT1y5MZshB6LpQh35hU0ma8kGC7a6ceG5n7ry+Vxoic4goQSztTS8
jdP4uW/CbaOpF6apU1c+67jwCZDj4Vtmd55qrKkPzbe1V4fr84/91NHHm3rTqzJSTx6p8gIHQGmZ
isOqhip2/tAnGrw1a/CtnuXgPViAGlnykrktUjZr2SFsQWiVv+/yrVmbL7owbISMGSOL2yczyeyg
1987ps0ae4unQ5FlZmVbjXft1cMqlwXgpO6FAflEs5lTa0ULQWeRsVRTex4JK//Xtg5uyKI27+tR
5qzJI0gbN02s0azQLw+tBOIlFxMFa85quND0T7Seicz7pvXUEogkOE+lTdqydxCGwhQ433hOPZ1Z
q9fkoGNqlAuy7ddovsOyXTkUkJ8/+ImWac4afYJGQPYSgR6bA6LtUaGq2WoovCdXiC+MlKeuf3xi
b55MR9xBCLKhsNMYGmIkqq9IRBBSKy/vu4XZbCV6MtySomJUqIVbP0hxRoq3mNQ910X04V2nMGa3
0IBOoQ4xxM7YU2490idYbFBeAzMeLOrw4/xJTrQgY3Yfmm5ElaLznuHafvL69D5Ii835Q594BRPK
8s0rAL+T6nAWmKwSdxmSVKv1B1+4sNI+dfDZwJMpplaa47gpDDe+6y5cN1wQ+1ifv/RTT2U29Jhk
UxI34+1y6d/yxDcWZn9REPPndYg+m2j7tkOdrKQjcoc1oNnpX5B6rc5f94mnos+GHFN1oQ5EQWkb
vbyFMwA2HmNMSHHnDz/OqH9YQumzmVYvM4mwHZ55hqE8OK523RqQoLPu0QPRokvZ4fxpTt3FbOzJ
TEHqYLtW9K00p3axFcmTAAmwgo0amMXN+bOceMf6ePY3zVOQM7+MqFOwnVr60Yj9C8nZ80c+Mbzp
4xnfHNlyyRZ0JW+hHG1OLGrYUJ0GOOU0cFsupVtPXf6s46Jlw2e7kkY1lXeFQdhj35TvW/Ho84XD
YKmBFTM86570o+iKiEEHi8PzD2dsin9qQ7OOS/nBEHeOkNu+cBf7u7xqV0HzoYuec6D4mNGdP8up
pzPrwDFuBti/sybsXPzjKRzNF0ImP7/r4NqsBzOv49RZM7D1EVas5DyKSzvwE5etzfpvScVMaBUc
WW+zlZZH1Hjcn79m6dShZ303yxP0hT3GVWbSLjvNR7RpUmGOQCglhZYJ8dLBSy9axspjViubHCcY
Fc0a8oTd+Ss40au1Wa8GtCW6eteWdmSoHbDSxq0/ZTUP89mpNePD+ZOc6HrarFNbBSbaOg6+9lBk
ixr3tlqXFqIrLHJQoedPceo+xgf8pnfHFCwCM6XYAE7uSivI/7E2atBuvu/ws34dlgx5lWzmtph/
r1Jbaz807vfzhz71cGb9Whz0UkyHsUyijK9zFVc5EzhB2K/M6H0hfG1MEL19OGodNFqSGoVd5dQV
1b1VLfKiWJ+//lNNeNapCQi0aQnP2BatLt67tS8vmxxix/mjn3ivk7/Zm/dKNBj4szU+eORPOtYO
0idsZy80mhOXrs46tiA3XetR4maLmrVWo3QDceVCvzp16FnHDgOjAuVFx64SbetJUBqoiHjfI5l1
2bBU9JbSrNwm47BIh1cQLMskvjt/8FPXPb6HN89bal1S2TnPG8+GVaNgESDLF+aYEw1dHU/55tCy
obiK6PNI/IZa5atMLZbo3BeiUV84wam2MuukIsZzRgZrz3YcQC1QH9r8MFKv3vdkZv0UonQUVj2N
xcrNZeGG1x0KwPcdetY//aDNk4BEue3kQEaMWBeR7NXdhaOfeiyzDiqFfWvIpsrQqFJME5hk3sWn
0movNMexRf9h6aDM510wVIMLds9WugafuJqi+S99JymQFzrD+iYOkI6W0CsL9X0vYjJye9OOisHx
wjqJ6VpUT8IR+pIjqblw7PGi/3Qz827r5FCB+pblp6s8JxXiMeKfH/DpfMJ3GtVR+UkZQjzv/HeG
apRZZ85rSdAL08/ttMhsNPZ2dPE5nehvyqwr98GYSFU5tOSKW6r9dyKUU7UQN6N/2fmGe6JpTRZl
b15FjMBEojyZLi1TkaXu9CiB3yxs3nf0WX8mJoYg12UvgELTQsVtVPGtTCpqIQUy+JH3nWTWrQGL
tk5Xlbnd+IKIqL25N3r1UQvT/EKTOjGiKvPOXaiiJlghr2EI1KXlU7RjxIq2et/lzzp3IRm5o8RZ
busYWC160VwxpwHWiOsLL+FEK5rXh1Bd13V43ud2jnRURt1oUNpGmZm7EPLowk2ceESTdPVNMyLc
GsoNMEI772IRigTGiP42GTKqT9/1lOZZ/2agPIKsORN9qC4DZk9Kd9ItjpaP549/4gbmqX8HkVYe
JlVu96V3J+TFZwPt4PuuXZ4NSZSTQBlCWmmzuVxWbUm9LxWH5fuuXB5f+5tHD/0Sh18kbfZghSvM
cW6rvLkw75xqObPxBzhNgL96wKzWKVvHBT18YxI4kCVnff6pnxh95PFtvLl21BtWixSbtYogrgg8
rdsS0niQvvPws+GnE6RCdsW4sFutjEitqiH1jFmBB1Rf+t/P38KJhiPPRp/A96BDRn1mt2o3PAhq
512Xg6m98+izoceUHSv2gjy3s1D/KmjlPcCod87C8mzg6aEgyUjKGfp1i1Jn87oBEnKhyZ94KtJs
SeF7kZC2EBzsttO/h5WzzOQ6e+exZ2t+sYHJpOq81SyP9Xjdtb7jr2VFKof7d73SuURHpOwVVkjK
lt7Ud3LoPhme8r7pdq6DA+nTJjL1abbcJbvazF6otdgilX9515WP2r+3/ckXFNBiKR2WvMINalg7
1YcLgeETY4E0duE3XTVV8sj1JJeHEsdX1MSuKDTEQ5iSm+bSZu7EOnQKsbw5BQwwXaBctbBxQwzz
m0FWxXzXShCPF4Oc+OI2cl1TXrldAEviXQ9srscZDdzyikyhbRr5ukrVvVwqD+879OyBVRhRAB5I
cltzc3fB1xurfecGcq63SSjQVIRiYM1AkZunfwqSH9HF6epE3xVno2aZuRGmuWzCcP/8SGRgrQbO
8/lncqIRzZU2Vp1EgyBRBpoq3V4xKwpwY80G6PY49PX6/DlOXf5syIzUuEMfaHAOiKR+0t6C4rsQ
QJfGY/xhcyHOhsxILUvKnliF1KWzEhCh1/gSV2m0yn3vg+B3j62U2U0mPbbwVhaicknSdeKeJmHR
m55Ru5kSmREjEuW8P1orLVdBAV///AMbG+QfbkqazWACmLaqKceUpKEtGVPDJTXge0WhrPP8CU68
9elpvrl60xJaS6auxo7z/hmd21VWWAsqj76kTfW+pIM0ezGBAgCkyYh+O30R4OY1UC3u6WZ+d/4O
ZiVY/yd+RA79++jHIkJNhjF0AKQfzIG6ThrPRGDptGsvwIlMJ/i+S+S4XuqdeYM6e2ONkAV9sJZK
2V0NWrCm5PQTeKIVTuM3gk8qCfeuaEi+ScBqRGV4NXtjJ0ftMrW8ZZKV274fYPlam/N3ME6Of3/J
xNt+vwG16zWjTYgKBdgBUDzKjVxL7ats4FSP6UkbXJg7T51nttb1c1kqpHE1ahnREmz2yHLaRol5
CAush8IAO14f6vH7bmpscG8alio5utpg0kqqCfdXPwc2kAmroWHuq6o9voMvtRVcWAv/uQtiL//7
ufByq2qlEHNbyL2rwstvG0t4PX8bf+6AeNf/fuga/G/iGhy6F8VVEmPnIYl3Vem+ayJS54bbkUk5
GmH6zDbD+tmKpHu5uTTH/blnq3MpjND2SovtBW9bzw+FXzzFgfpBqKkHty5Fvk+dYjacd2UUNko9
ThkOtm2tZ+2DVlzVlnxXRZeCIKfe7Wz0KOUwlCCTEY/qAM71+j6qL9XBnTj0XA2T+qVpdBWhXh1T
XhEASaPlFzZ+J5rNXAfTDWUFOyzM7L7RvIVi+WCQO9C97oWufOrSZ125MslmWQOXrhI3UKj3Md1L
Ce9Tlz7ruEIFmNo06bhg7u6KUlhaWXuDCfKFgOapK5/1VTP7X86uZElOXYl+EREgJIYtUAPV7anb
Q19vCA/XCCFmJIavf6fuqq3XFBG1cISjF4lKUqakzJPnLC5ZXRzTrrK/gFLkcfXKnYNmYzsG10++
CjlNqBGrwWR8Aa3Xdy2bM+fsPYQWPjcN/XpXOAiM+9c4k0mU10uSHrKTW/QdGt35eV79nX2z9ROM
8x7y4V0loHp3cXAcHVkzj9+zYRpBvAQynaBEc+Xt37G1CobnXtUhfNrjyOFDnU5avfdA1nTb9Nb+
MRy2crt11HnXXprOhWAKCGAJ++Jm9MNt8xsjNzGbms3aDVccYuDEzJOesCwqc58db1t/+5lDTcgm
bWdQc3KCiNaqz7rpDnrkB9Ctn2ZLMbB1LDsn1sYk+Yb/4p7quIVg7cVT9fMS5B/K1j3Jyt5BM2yZ
v26vV57A1dSAZhjpA38pf1fQmYQ0VDww293ZPhvb1Dec2FdEBPmEbeoXoPJU89Okp6/Izh08CATd
XomtdTac2QfrWlNfU/cWlIrQVJpUoGK7bfp6MXzjvmXivwSIyherR84PTE4qYnp+FIx8BdP5px59
JU7jnPMW1Iz5fbg5aoLCpmycxpItePkj91336lMDYUAQ4xw6NJPvrMjG3c43HLoeFBuyHGFVQDZY
etZZ6OK7n0EQZVpfQsii4cVTJLfnb2t3GR7uFaRdbYXVh9DaCSyWT6EtP3ceP902v+GDJlhMl2B6
D6FvcxmcHMTq+cuIC+PagXnctT45ub7PR0zcWO4Qz2Ngt7uIKYTEPUTSohLC6ZMPErzbP2RjC5vQ
sUJaPNNokr9kfRZNOfvO0Gl9p23Dwyc7E+AHBBZwhX4MiyzbK8ckhCb7XsJnw8VNqFg4E5rxlrZg
pwDZDrAz/eg+BWDkF+ASvj0/G3vWxIxNFR9Btgg/bKfiNKxL6kDCbOQqT4IpDCJQGz92kKa//bGt
xTBObi6Zv2Y4nC62dN9RNV98z41vm96aKvJ3tAX+xrWkDDBVXEIWg68XIqEJ2bfvXHA37cTDDacz
qRqymQ7e6M/txe8lxE3X2MmH45LvvUG3zBs+XVOIOo8U4DF0ioFEqfqNt06AUuC6c7HZmH4TP7b6
erSCBnOkavYAiaT3hajOt6d/Y+gmgAwpeIvVXYi8beG8uBDVJFxDzMLdK29tDd04q3NvUcDkI3yD
4Q2aLDUImfqWezubZ8u64chXSTUJfUvwhTjzBQWdj8S2ftyemC3T1wl7dQtwFwWeUw9nQt7g5LfC
AWQ9ACvsDHxr2q9ffWVdhlBOL1GqB1Ec2Pnt7CDm7En77Mt9g3f/Nj/AdaBOb+EFNS1frsyMQD19
vc+06a+EkBog5/6CQkJUEhdA7eBwn2njGBYBKsYrRdGsRPnjvX8VOcHv2INrbSyo2T1KuGeTeWjC
tCZdgqcZGPvozrNsYzXNrPXk1qxTDUxD5uLoDmsSQghy2W3i2jjTzbw1bwsK/JAO034mL7R1Pi1o
VYhy3z8Nuf2VWaC+umcBQK3497ZBDSfkFhqtoZQBLN4oIfOTHW+bfjvMo0Hgb9NeODnD4gQTJAnr
A5noDxHmp9X232dL/XL7E28vsGsG+cYDrB8kbviEA7FJCW11dR/cAzSIf48+I+3I18FSadaDCHXg
acBWUKKtO5e2t/cPeq//Ng/dTjUUmuvUmb/VEuz4JLLYx9uzsmX7en94FWka9D3MvpOpdEUfnY0r
u6Om41rvsTxsTDoz4rugS8sbRdVVXGV66pDNPw19MO6EyS3rRnyXjVvNYN5R6dSDpZ0EJSiTIMZ4
e2a2jF9n7NXMSDW6UHrQYNti5dHqqod8cu56oYLb7G/TnqBzETS5TrPOOeE9n3LfS7ked5xpa00N
P9UQOqEMmlIpeK1kRKtfUA27VE739b6JMXy1m+YOohqeSgEsOI2gMISM59Nt0xthwIT7QpcraLMC
u3GmDU5V7i0HlX2FjhQkS4Kdyd9aV8NZ2SygbWg7Kq0Ya9F/KfNYhMFe0+6GdRP1W3UCDbX2rFJo
ZT2tYjoWpffz9uRsmTZc1QdWZGa2UCkELy9d61+CVe4s6caOodf1eLXXWVtrZQFgkI7WcJxZfoS8
9MmXeyjRLfOGKw2CL/NkQXKU9l0V+VYHISX2Y7b3uEW27Bv+5IDYG5nsVqUh1Jm9LIhdDe7f/HB7
3jc2JTXcqR7lyAIvVKkFIXT2pQ4dyL3ijiD2Mj5bwzccitSSgqVmQgwuiIZQ0dTO2JMFyMLjjoIU
7fn279jaP8b9aQati92ESqViRRNX7x5lvYdf3jJt+JRQoNdeK7BxhmUL7QhoYEM15q5RmyDdDERe
CxRsx7T3vforaFG8BzpPe1O/MXATket5nY8zxBpTqCMhIRJQlOfnZrnvCHGN08/nWijBCpx+woll
4B7LvPh037QYHuvaFIx5E6ZlGr2TGw6PaCE63ja9sR1N9G1DqyvrgDWkdrnGHdhAqDseWsXuO7RN
5O1a6sxxJz6m3vdAH9zmTrOGl/reLMJWovztaCtmvkhnlX25PSHXAPv/OU08jf6OjiEI4QsPguop
9EzXKkyg2f5BgCihLdYkG7wIxBI7P2Jr6g0XdemsbS4xN9AHaJNsLtoUeiDOudX3xmLXcNVq9kCC
I/0h7QX7Qrv+3cin74AQ7HXKvZ0Adk3UrWxlh+7BZUyRIz93Gvo8ZcCS0NE/basEMTiZ42WCqpsN
1aLby7MxaSYGlwwTtOaEM6SQ3kpLVb733f4IAbcdd9gAv7gmjJVzXxQQdxzTDkJPddcfSvez10Ac
Aa9bJ3wGDSKkt/qEgY/Vtuu9r17X441N93/w1hnqlgMXY0pVlgy5d5w76BpV/XlYxwNnbqqKNcqC
7rHOup1vbk3k9e+vbgHeGPSBgNxnmgcaPJ8gjAUSY7kPGumamFeG2jLJRixTBvrSvvRAerse7tsB
hu9PywJ0qyeGtOCEQoZeZgmkLsYE6lV7zAjXkP3WcpgxwALxow8YFEDkwr1MoSN+1ANY//EO1h05
uCLTUGnulnoPpbqxGCY6KUQXJSgp2w4y7X9yUO02XRtl8s6nvAlN8gZvyAoB61DGbZIxg8AxmP77
nSv2RsAkRhizl2YiGhzDabYGENQDYXUVjnHniU8d706B1T/O1L6rZumaaN4KjYFWoOWQgre7PSqI
rcS2EPchJFwTz1tCLKPyergEWrvtiHnBdAgKdR/Nm+sYN3oRUFDG+0GfSvBWWI2foonyyD3o1Qh3
+i1ChMrV8eOpzdROrNy475g43Ek6TbGify0NvP7BasXjovcetVumvb+jhxu4AYrdDUwvQSJBhkRA
XXeXf5sY3Cm0cUBB9jB1pxcHbK4ZOGEgBZbctr418OvfX4U9ew7Qe20H8AUnTCAkngy8u9O0EZiW
qrmSDaxdWjV5/kJsyYHekfbP+wZuHOWNaiy038GJO0ecpJZnEEmf7zJttp2Inud5CLr5NK/ImNAm
nw8OMKU707J1pJpdJ21otaG71nnaQHNmdlFw8Z+0S6GXecrCiwRbZ/dzhoYKXYadkLSxyCa2vZgq
VmT2LFKfOtqJslpOX6thraydm9t/kNQ3DggTUQ2/yrKBXz/QvYjRSklOHmTbngciQDJUPU9dcEZn
6gtAae+YguZfFUZuMO94yNbPM45uXlRrr2nhn3UDsYCyydTZzazq6b7dcP3qKw9ZAPxRYGXyzsz1
ohlCGKL4c59lw0HssaBdVxT6PCwyPAK16CShnuqde8HGXdSEXdfF2EMiKtfnmY7IDKKU61yZux8z
T0aON1wK+WFUOxjpjfPaNs68Jhgc0ORh3mUNTBHrxHHwwaLKxOfbM7Vl33B2KPUNBDSz+lz0y+eK
uMd28p9aK8x3dtDb9omJ9A0tEBG0A+YKunkhGmDL96oFYybQITshZesDxmHnghyLTpBHOburgvqx
NTwRiXb+vpM7T+LrQfP/HkhMDtMq49qSs6/O48jeF+RDBR026kASadopc2/9AuOE66u2Hpba1WdL
trEjeAJgcdSTPXDg1vivn33lZQ7vFotPRJ3DZY5smYZgZ1LyEUpQt3fQ2zEC0gR/21e9U2nqLfoM
wvp/5CDSxp520AZbpg03ZhLwc95McLSge3Bq54CSfXJ71P9B2d9aVvL3sFuUnQjnnT67Vf2xY8OX
rhwOQ3X15rzp4oaSH7MDkaN2DFt0GLZ35W6IyUQXUsC5B9XoM1/n41V2q3PWnXC6tY8MV9ZViWRC
pzQ2qvOO5LkEMb56Uax/uT1lb4c9YmJvRddDhlBpffa8BcJibayW75rhhWpZlwnyenkDKSPJd6qb
G2tvwnH9+qpwzCHoOw1rnOP+N3bZDuh0Y6JMOrqhtwGOKbH0da4OvHEBKOvWQ9d7w31BLzA82tIQ
sulsqc+0mKzDIqrLUq7eARwAv28vxdYvMHwaPB2aKegYn1duJbP1outfLic7rrE189e/vwoYdjA2
SB3DuLIE+mvLpAqdw+1xv/3chf7O36az3lk6v4Rpu/2N9uBohRaZsEG+Ev4Kh71n4kbAMxlUe9Wh
rx8Qq7NAniOqrBrqb/LQ2+xH79g7p87WHBnHctfmIevnGltI2BCp7RLCl50r3/XgeiMwmeSpkJbM
tYN/59DlUeD2z9AAirX1SAJyzml9WPV9uQBi4nILGiJlP8LFIDF/bGwwSkKz7lsLpbPbq72xECYy
t66WAd1DHLs0J+8HDwJm3Sflu7gfsR1H2/rCdZ+92qpd3YQEaplYhsVPBC78JRsiP7Qh37lXDN5w
Nd/wZVtB2l5MWI4K6b9lds/OODyo+b6WbWLCchuKfKaDoup5tsoIGLFID788Zy97vTV4w5V7J4QE
NfRYzmiSqvUK4ug+miGtent9t6wb3iyJboi2LHW2PC9eXTfyIPWup2rHETaChYnBtSGFCSJSRNG2
gwJfZ/nPi9DHxVk/8apNayf4dftnbH3H8OUwF17p5PgZYdj/9APrKZzWdyTsHsG2ETPV7tyTtvaq
cTz7EjwwjcRn0P3sBJ98oqPOfzcH/97+FRvmTQiuhASRZwNwdaZuE2n2QbKXQkP+fOcqtrHWJvR2
zLnHxhk7CVJY0VD08exDfHbY87KNeGribm3I3fRDHahzdqUuCOQyxFVJyeH23GwN3vBhHpQeEO94
I+Se1ySl13z21/DDQKEIffsDW8O/fvhVHLo+/v2px/DBbHKaV+s04Qp52/TW2A0XdnxCZt/z8Pwg
3T895cmoOPQM6R50e8u++/fQXeWOGRrd1bm1IJOSBy15B+4y6BRRZ6/X/b+E2htHmgnDCscVGtON
PZy7QV1XIVu79gNvQ5XFzNEye5bCEcG5LfuJn7yAdGU8NFZnH7lv52BXp1k4J5XXlhCSsEqff/bm
cM6iseT0ziubiZ1hEuegnuSAs1D+UrPzxAe8gcFw9/OuZWTGNOvSYlkFssrz2lb/rNR9ZHV7bNb7
ShWEkb9XUTcu5T4ph7PoJBJd7c8GKtdTUBzuG70RIte16sqAcpj3ghFdg/mvkooDney9g2rDgZgR
HBs7L+YVbFLnWYMIk1JIbJI23ztJNqyb6Bmlu2YYO0z+5EEL1C1rFikH4nS3J2fLupGBUKjRgAsL
Y88Yf7HHKXV7a+cGtWXauN9oUqxc06w/K5InFJcPtAHflbkkJjYnxAUZ4vPYMdr6VAioz4QMhYHb
M7JxhaVGOLSnVrKi9vozc8gPqZ5rNqTI+hzzUh+DwkUBsNyZ+43oZVLoaSxoHgRSnUVI64cQtED/
ovEb4pO1M9zHFkBMhGemmafreh7O0JU85NDYQ9DabebfWGET4xloO+hFOAxnJwS508SstMTEJbfX
YcO4ifAsqpyBxGsazqWtDlOAIuKa98HOIm+kA0wMP5RyFa+yHkG95qe1znDr8OrHPszKWOTZY7Cy
5pC19D1EOu/rziEm7DPLfLsCzu6/Bwv67oumGX90orTvywuY1K9CVLx0oGR5zrHeKQQO+SN0ZyE1
AS3YHa/b2K8m8asKJzQtoYsZEIYvBc+jMG9Ppdq7pL293tSMotfyB+pCEzo2iHUCL/6/o+V/u72V
3h44NUPo3FceWuDQyyJGJxpqiL5LC4iFH7etv315pSbvqBy7tZZjjn4QZ/k61PJjUNgP4Jr6ABqi
r7c/sfUDjFDq2DgRR4LOCtBY/S5dfp5G/liSPXTTxtSb4bQH0Vy2WKAUCd0KtGH5E3S1dzJh/9Xm
///6BO3Svw930okOdW90MPOhLH8GzSgOqGa4kbP2oGO0yRDrUiswePfvM6GdRC4Col7dfESOSO2c
RBu1NWpGWgc9zSE0j7pLretTP1k/POU8gZXqQXTi1INsQzb294427648nWtDX24v29bOMO5N0Aok
SEWhLTYnn3j2ucn9OKg+aXsvO35d/rfm1rg4+RTq00KjEymv9Y+1dscjAtiTRweImYpffufvAQ63
9p9xhQpzZyn7Fvsv9NRJF4B7zV48O3vECFvmjQuUn0PpIfSw/1h29EDjlbXB0+R0O96/sQomWpLX
A+oRGOzFtvIYN/mPwi1PmbpKC9/JfWFCJoOAA7WOCAYmFVslRLnuCdRDbSynXEbLQqvj7Q21MVEm
eDJnBHqtNSiqQAvwOAzTQZVF2lp79bqNOGDSlxYhl8rtwA5ZFOP1jXxcPHq+PfIt00YYyGwt/HyA
ByrAapZBxD4KabdNb03K9ZOv3q/oOKvJOmP3SH89+3WV1JQhl7bTtrs1cMOHKwJJ99a6Li3w9pGN
AlosC7qH0t6ybngwylnN2NaIEFBXinuPPID9cyfybm17w2dB2CEh/wIGtbULPfq98vX6nUDTVX+l
EpDtxaZuv7MCG3HIrCkzMCjmhHQhsGYzOI3kv6UUPzKv+WAx1HA6/+n2Qm9MlllOFplaa8/HZ6jV
I9149ML74JLUBIBm7pxBDxGLHLbi4zj5abj2x9LdQ45s5BCoCQDloQfK5iwE/QJxD0UgUub7jxXN
HpeGHDRfPhHbTcpsetdlVYy+qWfOige65u+zASeiCD7dNYEmKjSjciSrA/Yf39aHkqlHiPPtmN7Y
bSYgFCesypoBv7DyhgNwLA/cIZfZcb765X0PAmqiP/2xUJL1WKTAR3ZjcpfnEVRrd73FKDHiU855
OE2cNpfW5rHEKwbYG+F9y5Zp5w6y4SMm1BMyIhUJZ7+9WG7tRmQZkjDIHzO7PjEwrIHY6HB7jd9+
vlJixCuQDBTL4oCpp/JJHU22M35yeLPkkXRUO6Am4/UiHiivXvqeZjsBYGv1jTBWoMdPNBrEp8vU
HXwuzrjKg7fdf+er8S5MIzXxk6OqUbZSYDCZ0LkVjS5W3uuKvVrMRmgxEZNN0RfZAHDKpZ489w+3
bQXq7kndSX9jQiYdFwovPnh2LkIH1ZeBQkqmQbY1ub3kG4M3IZOz1c5y1eAM02TlD+jVtZKyKvaS
ixsb14RHOi7wFz3Du2wGi4jV8rSUyeRlUT8uUC4p73pbUpOtFIweYvIckHAof+y+DK1bJh317Dxi
YbkHw3f+I+J948JsgiZr5uaiLsLm0q96PUl0kX5dgWlI6rITcZ4V9ODLGdtrhrTQI4iO24PFKftp
WX4G8pQQNcbBo7GfhcMBPZxrDNn1Ki6JrKKxnvGcqUJymObGTWbb7RKq9b/IdZfAIQLW14MBLyq8
VX0Fq0J+qOSc2WjnG+cE1GlzNPOMJ35QF+c+tOTDqsiaeFC3TZYcPWFzVVRxuBRNag1gZrQcNUeE
9OooetnFs9RhtMp+iUZW5nE3hhbAuc2IPHiD3rK1DqMez6940BnUsIr8Vx6s9QFaxuPJ7y0e+1ZP
kkBXdtQoXiTrquo4X9qXHuruZwaQ6XvCpThwNY8xBMB4PLfAKIJUaIlwqJFD5WbyU91PywPSHkMy
WF1zmNEddixD/lUMvI17Ql0sKMniQbTPdQX1G3ug/dGm+BQlSiYULVIRgnDzOwioGzPe50nToN1r
qJl/QvHsp62D9SkjmU7AuQUBVp+5B7ejv5FDA+FcHxbv59YZnqqBFi9tHbanOW/Iu44hdV9LfNm3
Z+sCYF35AJWo8ASk8Wey6D9ZJwAndsn44IbA0M6dhdy2BaGJ1tIynnyQtdjQL//iubhv96FcI2HR
LCqupX81+vnB0nxI8pCI+44ik1jUsWkBcl20xlvqJN0wZkEXMXFXmsg1IW1sBYOVdOowbbw2cooE
OoFROP1zTyByTWJJIeYp0EPjAVDKZLyOuOY7kP/dmZe3w5xrYtnomFnSr4Sf0s4ekkBB2Hfl815K
+e1XBJb671dEoXSWW2HvpVbB1CHnWf7kQxX7zNumvKuI6pq0kTPzLU/6rZdWluAps8bqXFvQfBZd
scZeRu/TZXRNUFvYWYTigc5SkWVRwCz0C1txp+9MBpjUzHU3tLRy1voyQVSmtnyQAdmPddHsgEY3
UMPUJLgdprX2wSVWXprSGp7tsrAvgWuRlOpawqf78KFqQByL3hPyTy+J+yByf/nHAXjsx8L9NukR
FHa23NtpYmo2nBTzpOmE4JouuokHXl3WxkkINNQBao6Xooo6+Cf423auUVvJMrMFRYZN3Yclvqdk
ZH1T7wMZ1c/k2W6i7h/rAjD4fdlivPr+3u0AzY666PGh1sJJzj4MLo/B5LUzbW97KjWR8mhmLDxk
J8LUFjz4VLGaPCELyHaizMZl0wTK1w0kr3IP1if1o9cvdvXjinJsi9/3BDFqouKdvOylztswHYsf
w1BHTW7vTMvbIYaacPhMTG3oZVc6leEwkYd+xBm6yyrxtnHXZHYN6060fNUs7WvvQJrvXnYK2j1d
ubcX1DW5XYswCKbBGb10Hdoo935605/bk701aiNJQTNluxDY9dIRawhwQ/mRtkwmPht2zru3N4sb
Ghvdt5AYqi3KENazU6WzWIj2YZiGZyV2nHZjbkxk6eKuonNyxlJFBlxXKbjXpwaKeHdNkIkkzWuv
oGydWJpN07HN2gcGNv9+YE+3zW9Mj4kmdQLIU9glzKt2Ogr9QK9k0wqSATvIm7dfo64JJp20aAPw
KrKUowswKRdcWwPq/26hzBZO2THUXYYOPn6fugp4Wv4Oaz3xhVOrEKs9TyoBF0dztKcBWoyjtYd5
25qx6zZ4lW0cFuEOuoKf2eTTSL/IvEyd7mmt9wCgGx5hokynCTzKrFYsrd3fXcejzArjgn65vdxb
e5X8PficdsJZi4Wl4BWqDoFQ9iF06N77asu64cytb6H8oGC9XP3pMK4kAHuOvA+p4JrQUlBxiIFM
2KozZ4+NEt+ale48PjcGbmJJR8oBD6kQJJqm7n5YS651PA0ApB/vmnYTS1qOUzfM2mFpAcbgI5NF
fZxqf+9evHFhck1y15UHXmFzC/e98nvDV3iVExXuGhUIRW75Ddj3qCrrX0FIIq8nqfLKuCutnUvt
1txd/eSVPwRSg46Q4OPEKWg0a6+JvaAMd8LflnXDoUMgr4TjBCydchFwIMc0ddCxlM9/7luZ63df
jR5yWD70sHqa1gEqn2hez3d1ojcChcn6KhsH+kiNtNNmyg94SqBRPYy61U96Wdy5rwx3XsATP0FZ
xMa+wqzjSjqT8HDfxJi+7JSzrMGVlnaZ+LJ29nNX7e2YjQjnG0dyVXNZtlyvaaFaxM4JOkxrCJw+
IPW3x77xARNN6rm6Hf01WEAfFcRolK2jpVLfhyLYuVNs2b8edq82TVn1eu0qvqbjtZBd1EWOL3RB
cAT/t9i55G5sfBNTWpdiJq7w59RT3juvrg5DaO+Y3tiY3vXvr4a/8JahHrrOKVIu8Uhp3PEivrZt
Bd19jUKuSea6ZlZJ+2zG6LtmjaYlBOjxPvpN12RxrZGwC3Lkv9KZtfzAu7o/coqcdjlZQXLXBqLX
VOjrGaJQASjYCDYv7n+ERGRSzOJJZ/VOKeDttUXm62/zDpqB7NFmwzmowXk61cOvTLd7V6C307WE
GjHBLaCaLVuCnJeoYuZ9FRP4SWWCbB5vftwzPagZ/j1+4GGteu3wiSz0v3Li/YZ6z1efQkr7PvtG
gMjH1mnrFfadeb6wRp1AC3shag/t8rb7EhMP4M1l0zDULM+5AxBTqyyI3OTlzxpc/jtPgrdvvcSE
A1QeJb09ucO5mMoqokz8IogWlHSnUgyxX4cN0jLefathYgJGd1r7oqUDBGNAyXBF+WkrcbB5by/G
xmY1MQFZh3qSDyTTOciLAhBxDv021e0VF7asX9folafx3m2QUsFM1cqCvNeaVG1/vm/g10++Mu01
lkCeDQMPC3nKvBrQG2+ntL61gwwHtpu58JZxHc50+l7iQjXqiBd3Nh2bzEpsBoUK0mvDWSLPVNWP
yHz7887At6bb8Fxh87L1fNjubI+9rxGUgUMneynUjdBjVtFFqALbJWo4955VtpGUjUYSuB0efbGI
1Cl49g73LX4fbwcxi+oE3LdBO4zDeXDFKcjJO9fdexZvLLBZKA9Z2y1FB9TsKqsmpmPzPguWjxWS
jTshbmMhzHJ51/sQcRyBnC3peBq1TvKa3He6mGVyy5G4/EiYBmX7RRZuUs3VTmp2a9SGt2ZIva3a
1ZhxK+TvMtsrjq60vJ2Bh3DM/y/OEbNCfuUrBAzRrgH4td7nefcCadRvuULHoA6cC2m8b0NdvlTB
GNznDWapfK1o2DtdV59Rj7NJpAJVsqhiXrm3Q7e2kXEWM2upBZNtfSZEXOqBvPj9dORi+Xw7wm34
m1kSr0bSd1nZDeelOtDOikD28+AsVYyvRoHeS3j8V6R+a12M45iLIRw6p+rOuYXKr/w98/4pb6EA
245xs4TvcudBUjux6Zc8+Fw69QHQvSSTKvHbn0tVPgYWTQQo85ZdrY6NH26W05vSUQV6LeYzel7a
MrLcUViJKFcG9mvaV2vcDNwZP7Mgk3uMZ8F/pNdvTINZZRdVhxttGbbnGq8L+hlazfwSzJKNj+gr
ydrnyXeI+DzkZVG4kU36RYqoBkGFdCLGPAwrQnwa+jHKgA2uU8qljWVyg8Z/qng2hVcJHlVchmW+
MlsNUovveKmr4CQDxw0OKGEykIU61Rg8NkNXj8fSBn37wZk6u/uDrnAAImw6igaamFmIemrOLLSU
TmAWjRc7R5ev4455fs74kAfHpantXwW3mhlNgsr1zi50O1BZ6ysFKWh0IVdRM/dunqwtSq8Qt2to
8wyhbv1nnVGkiIpJrKgs24NaIHY7dM1v13byEWb4FTqv3KItHkDiKYOHCkz/y7PSU948A969qDPS
A0H9qJZO6tjTEg0QvANj/Me2bLP8Y7aKoTyUDeho4zIPay8Gl/8VGGq3FU1k2VH9gFtuu57QR16g
WeIalr6jQOS7cehmoAnVTe7OEVO9Fl+gsar/KUAVb6c1q1aIJaoWhVu8EBVEOLIWmYoBPOd+PE9s
DSJv9Or66KG4Kx8yEjB8MOsoi5yOohbTyBJF7XUpaB0XZLaKRMhGtAlaSHkVBQG6PuO8yzw/leFq
t6fAbRx+4k44eEmIicsijpvUchAyE1nClLc2ccCDoj0rUOJkbaQht5lfBtARBke1jBnILlo3qBPw
xPU67rplfGRsYiTqxqL1o7x3ip82wI8gJxH++igacA4kGamI84yaOkTis6loVETDWrYoVlvgiSoU
851v/tz49r+u1eoitkQdrokcfEGPS93zIEJgB/SFzeuaxU3dgNKYlf5ADowVHonrKnCxQ71pzmKt
+3WJ55XnPBp91pOor0NsnsEtSy8J7DLUn5fV535UzGC1AY8rC3vwsDNOD62nxvXc2ktH4qoiXHys
FfgqI2CzO33y62kCVLzsVf3Z8jo5ygj0QbY8r44tmw/OEvIZeAdQzzX/+kXYh8kI6qflUAgPQhvO
DPQ40HycO1HZ5OrZCerSi4Oumf2kWjxPHJErXu1o7POFfWB8gn5XXELEYT0AFDepJpJ9Pcm0zt3A
P1pIVgeXurLwWs5C20NurS7w/0WCdzUdFq+0j3ZZt98gxfrsdc5hzdwQTwubdg++1BX/MgYy/+xM
lP9c7bEtX8Y2qGR7EOMsm/IwDZrKT4WXyfoPemEd74BEKglUBOpn17vMo4uyZ1TrnPE6LtHF0AJC
NtpTiHyVUM5j69lUn8rJY+wxqMZSQtaxBJUgwGBq/TJIq9IfcmC08lNRlVX2h+RQX+0wHW6V/x6g
rNAlK9qd5rjkgwZHU+Wg8V2iHUNfspFBeBJZJs2O1erO/J+17MvuEdE2EDFl2KrPTV8iGKMdPF9e
rNDLiyevhFseFg5W2neVL8LyVKmelEc26nIq43F0JXgCFzZQXPlZCeQJcAOTmxSVv3QnuciqAk7f
QZKiark/Ra7f1/Lxf4x92XLsOJbkr7TlO2sAECDIsc564BKhUEih0L680HQlXS7gToAE8fXjkVMz
PVVtbT1maWl5U1ehUJDEOcfdjzv2Awsw2aEs/IwhXiVIRyei4Lb2vPVzLoUcYZswErgyFOIG3rhD
gNvugUG3s+HZ7jC78LjMt9j5050roOGp5nvlTZHLaoRGvlfAWUQSdEGgz9bvxfcakBmu/psrFeiK
TtdXBdsg2UwFrxMf1ocvii9kSgIasLgbkUkoowp6zRxFr5ehQvBl1fp7eAxHzUEYifAKVIVfxla3
Cm+2PpSGlp/tMNAqrriieCZqr3lDQKpy8baQ6k7U8zd+pPpFN7/8YgMZuvtehQEIYRcgWgPcDZGZ
56Bdu9ZVaFyCtpVuqR5qq+4bX5HhtBWVM4mmAZ3iPG9GyNL7MChuWyv8HTL9uthE5BaabBROaQO3
3HAE8k37atjmroyV9vS6Q/xPMd52/UTxYa2oXYmrkZwUjz0d/TgCvmziUs15lHRuqAhSV+E+G3dB
P+fJWGywKZmMKdrrgW/TdvSVXoaYOGmQiQo74Gi3+r3q9lHbeFvCRCWipPRCBkUU2nx7TXqf3m6+
snABAHIYJCv6QoHILMp0NgKqRxmoSGCOsy0g32N87fEqJZZkxsWfJcQim2kObaFwDEY5dqPScUYZ
TAK4uIW3VeuNuCncho+CB7XjcVD0wfQ+ODNWb3IrexHjVBP1bqATalBkVtans2uoSjo/aqaHpnBk
vHFFgP1yD2mDDIbesEy+qYnLL1GPeVhno9cPdew3sqhS45TxDxUcP5ELC7u6O4+UOU0EZ2zbe6wK
86QcOq/ej5D20biH0x955WGwvAsc2QM0UcNok37tKE83gZPivJRt32eV63p63Ys2F3vHmgEGOitf
E8x8lKYlCyWNQ822JrHl4LVXsCja6jGGctu0t2RbzZK0ZgFMvUyIhIWYbdVv3hyZHndHwO0NHcLI
QN2LS4v1eShwPhc5C69MseWy+PdFgNEjxsJL5O+tdeJqNuhW3nXjz3kMgXhLsHbRBhXM8btub6ec
2xOSUcA3ht1g/LQL6TQmCwi29bzlWM+JCx3hExU5SNt7r7Ndfec7VGvcZG1jtqSk69okyzBZve+h
NiqvJwn2Jg1016G+1sNmUxxc1fbWwBTMSwiFf1GC+6iFurtYYFXcjUGTX0Gai7MWe9mNn8LyoxCH
dmqnNR5DjidNVnrNb8USwAQEtsawppzwFDVJODGmP9VgQ3duQe8EKZ7PcoIfeqs3iATNMBzRJ3ss
m9gEgww8380LjHOB1Qu1zurAI52bm4b7W3t2KL/eb6Jn+ICIVtSXNaUGTnzjiLThmGqOdWjneQu9
5jOdI5h5zLCJxrtxv03nYy+SVjmrcI1l6HbBMDdVRh0CnO5kC0XDTvW4YwB40aFIKg8iahCy3lqn
FUz/RLzkYvmAkVdN0pqSSu6aagm2B2Qy+Dx1W6eWhC4WeQAdlDdVUkWIydoZOVVNXLp19rJGKiOO
tqyw3CFyBOamqo/GKN5K1tNkNYbZdB0jXFE0U20A8b7rp53xBL837ebb27Ev5mLf8Loz+2HQDvd8
t+U6o6jXLRLfKyLiocAq9F61tuFprvRWvHlKMxlvvcaik3QteRUwedK7Soq1z7AXUgKwkmrskLG3
6v4oC4g3eVuLI+DW2d9H8OgoDlvdtfyZbYVNF9/dWY0PpGeIlTU516e1gsUG6qhrv33k+CB1qKsG
hIUtlvXzUUOjz3c5joiTHyCTO3a0YeTK40gz22GJV5nragGVgj6RaJGiZKlHN9MlOrKArW0cMR3R
VG+1qzPLlpEmqP0lVKdonNrMr+zQnKDkbeQ+1CIq4nrgfbWvtrzZPhqECkL24rQn7hDvuC3QZ0a2
QMigXtlhXGU3IQSu7fUuRH43v/NYsCKMd163n7FbfHCClQuuMDHMOGstlShudeT1U8w6v7rxRUHw
Bgjlu3ZxIMWQLhvmMCIc2iBTiELIE9QYnWd68F0VY+0mZLt1LkMcsI7LH1ZKWiIKUuckKwecEvEM
q5I2IbLUJBNbDUKsnSP+3rST9ysf0STGWy17L7ERpGrHXCE1PV3RxN+g5yR7KKhxjzujdKa0xJqJ
zBWcMEJdYV2MjITGES2ljflUQts5GGvZdZcb+VTO2Gy8DW2JLHMaNmN0KtBbNXRfopB4D/mAgQuh
heNyDrgsL95p1H+tjGrgw6Pa7k40HtdfxklbxKHiQZC2OKXJFSB8Dj4PhoDoBhpaZUO+IG0c9k04
GpANrVGP8ciUMehXNiYedvYxoLVdg6NwgZ3CwZnabxIVoSWKQ/RBDzVS3Rl0wEp9CnTMb2Gp1ugK
U8vUJE0zrHyfb2y9nc0ynftV9d4ep/uMvFN5uc+WZlnlvpABKVMb1mWxD/t+WHEmFaM4qYIs8ykS
PJI7upptu4+mSfHPrijnb4tn5Pe2eBAbr7gLIazfbLEm4+aHQzrnyMLZDxN8hG5GIwO19/H2oztB
NnHidvBxKFbGfyB9vn5qV9luv8ySY/4qgRykIag+mnbAurqdGkxX7JrAYugQzoEuJpUnabKFkVsP
o5vCLpFVNdDnbqocvfWNRTBUj9JSQhk8iCEp6hV3OOpmdzEWDxBLkPYN9CMxWU3R7bhq+ZxOUxs1
O+l3c3Xqiz5XKfiuYMgCWtP8imC1uL2dNb2ULTC//rGdmL89+fCN3A5wFNnoEyvGcf4ut3kbn6tG
zTLDfk6w7jEwsOAODUwX/Z4qgXcJU0jqb3G9WRfcBcxg9F+b0g2PNVHDL4pQLvZhx0D7R68cZfTe
b7pf0RBiLE1EU5Moi4q+5NdyJaisTY/st6T3yArFb+coqFGvKyg/e5FHPjE0YjjvxlFFWT13ZDxC
LWjIvobdj9rZmgfuIpwy4xUxtJqQj4YNFozuHZ0SD4uiNXKMXMBv6QhT1ivHbD+fBosZHcOjaIfd
5tRqgDMEUiMLMTAqRRSd8g6tLhz2rXRZvjo3jjYd/Ah2hkbDOixhwUyHU4hTkqW5z6V4sB3xhgS1
Q6+IgG07c5amHjP8x2TixQ9atcvDika/MZKJNetkI8Yrj4QwhhnXhTYPFqPoitnA5uVhaagUCsjJ
5umdD3FJ9ObjQK1UPA+XRi2UU8vistn8nwGRp9Nh7D3mDi0OIoQpeF1UbbHk7bwg9rkb1BL3atzW
n3qlYAx9Ww8PGgr2z446H3BGaUsXz4KX30tZh+0VDwryrGpknSfeQnJEj9ANA3BvcI4AmpcOphz4
UU3aW7LIbIbcPnwZJmiQDs0gINIi2i/DvVQeQ8+WFx1/CZEBy+IBY36d1hspZQX8AWZmM46VzvIP
T5dK/ArdCIBgW0aDEVg7MFRGMVtlgFJoH9umFdt/s1bzX1BV/7rdgfen6irv4cmLFfkrKdsxHSu6
JLNkAnkxbDh3vQv2YeT/d+mV/wWI/K+bHhMdaE/aabiyGK9SCOdg2W/1Pwil//Fl/2fx05//NyA3
//3f8eevftimqij1v/zx7099i3/+/fI9//fv/PN3/H3/058+25/5X//SP30PXvcfPzf91J//9Ies
05Xe7s3PtD38zKbRf70+3uHlb/7/fvHffv56ladt+Pnzj6/edPryakXVd3/840uH7z//gMrl/4GF
L6//jy9efoE//zh/Tp+F+dz+07f8fM76zz/QSv2NicjnUQimJArJhdRef/76UsD+htpGZMQDKaXP
L3wlJjld4tto9De4ohKAHLjgoU8uatu5N399jcm/BSSU0PkLFhEBgO2P//Pr/9MF+o8L9m9YGDn3
VafnP//g8i+d1X9AqwGHVTI0e/h5IiDU9//TrYFma0GOdJGFTPYxHbQXj1ZkTPhoNAEIxp5pa2hm
6wS7JklFliOMF8+YgE/1hJkToNKx97ardiXnjoQnyvlNM5lbrHMdwxLLokHTvG5ieMWGjh/LQH8Y
WhzqsjqQfv3QetniFVEg+4gizcDrX5ayn4Gaoenr2EIThi+XaxdDKcRXBo8E/suvzCP3cXTUAmss
+fBTjOylDvO71eM/m7suxvkd/rWvAW9ure+/NcOWzW44Fz79qNbhh0UKbY/mgEernXX1znbzXVFY
HGzoL1LXdG2ctwwhFz1UsVN/Z3r6ESwU0/Rc7lSHnR7oA+Fbx4Ms8sIPtAwYSUuB4IJqTdoRpjjT
Oqbe2MCqsm1xdMh5N8McJPaj3CQe2jJaD02i2TwlStgmVnW4K/JzPrNEFhvmVX/R4AgH2DebmKil
hs0Le488eVtv6s0AcdHoqHebv6YVEGRsZBRnCML7eELKSVcELDPjHtnvImZi+Pa9nzUX59zzM08G
72YLTUI6K+Kw6DLPH+M6GN5UMX2uOj9M5ZitJXkt2uLIsHIQI8VmTWDw/u3lOpmZPfO6xccXFW9V
FSW2r2+1KH/bgX36hrzX04agzeq4hcFzIaPbQJXXvvAeRdelqGKxbIMX5eW3fIreu2p+H72jbxU0
E6veza689oA0YBd3eWTTouKoD55dI9+xr03SvO/TqN++dWGrxKxTmzK3vI4S85qy9gYmpGjVV2mz
anRzjL7mrkQuc4rp5o1EPA1r9x5EdNp78xKLcBApEGKgokTshqD1Ey28BN6E4A1GXLJQdbsGaqkV
S5wJs9gZFqG6ch4BQgv7o64J4y0HWofbsoKLAp6CtkxGBGDGkWfugbqeGFmxsVCmDbrGeODjex+R
M7k2in7k0fbqivI49esXVTP616nI+hxXmAZFbMZ111g8ckie/MFGDxyKPq0t6lgW0xe6dSBtoX9d
+nG+oGsMdbcljvsPeIgg3QDmqfmLdOsVyvoJ8+69wNCRqw2xivkL74bnqsIrRO2c9GFUAWYzCaWQ
UgWt+FbrpR7P3aE2bmcRMzRZ3CUuqN5yKW63Me5C8o3Wa4grk7ZzdTPBQDOti+VBh/cRH/CADFCe
QpqVLNR/aMhyV7f2eyy6NqmC3ejL3+UkXkBrXPXl9oxeYowx+6gY1qhHFW4PmM9+1867ZeusAf6o
OGz8J+dXr1S82NylFKQzsG6Lca58QY7LBw1+BuPu4a4uYjnJX3DJGEG9Bg+RgGOAreA8RvWDNYVO
QjQujrE3L8hfpnUtYlWq75p6Vz1dfvwO/2PjwfPqghsbCshchwfBxnfM1s+uXWIWekcKy7u1pm8Y
5XdOP3lt8IXe62eOWrRYAkFvc37tqQZu3P76m3iPXS6/VY9d5kLQGohe+VShDeUGebRTKXWKJS3I
tMJwTnigthgJiWTA9nBQQ54tchAxEwxzolAfWZln/QqdOwDVCpHTdufz/JXsFQLhgJrVvxaGHnVu
/CWOGkHSZeQZpHI4hrZCYqavrpTgZ9gZ4nr/VlI/bE4/d1h3iyP+3bjgEbKNOe6d+HF4lPP5Mwz4
/dxXJ4XzMB6L8rnxRCry/OgqDxwBfkIEejEi8tptkU5DWBdinDjbas60WM5c+k+biG4HTAqoPQBV
2XMQbF9Tnh9mGp79zrtTC6g5Tjja4PFuuYSz67embJPO2FsMOA86WJ5B1XfJlLfP9bjs/J5noh8A
PIb7juKeGfKfKt8+aT/BdvsC6dHpdgbQMsk5MTkov8AVz8P7IM0p0oh7jyI+JzXh6Mht1CU1CzBI
rEGq2PBJN9wqHYUBtqb6kTX8Kri3rf6tnP6qh37DHjcH9Jefuo6gK2fyLujcK7Kx7mGjAludEWMS
JrzTCnFf6Y/HEkBUQie/xIpiu/N9+QYvoW0nAFZXc4i/u/AwHkGAiQKrOhAuoe5GRULGX2h8v+Q8
3Vyu2AjcDlwUvidyGvdrm0LvpeLNK3B2m3A3c/NaN8NHO6FUY4MOtbc9V9Y+Fza4Qef6DZEJVfVr
QS2N0YF/1GY6lwh5n/37BkRQSmj4Wvfda8gwj9SWdMlC+C0DCGLgwuYVR6K9Z+ykvi7FfNf3TWIa
9ZmHASqU4tDWYnjKYVrCPDOlFanecFBiI7Z9lFL8XsL+uumjB1qGtzPmiAmb2IlD2z63w/Mwuft6
6G4lKW98SC6TzZuv7RZhVXeVCW0R+QSowcQNMiRosH65spzicp0GjGZNRuf8XETgm6oJyzxrg6Fi
HM9VX6jUNEM6hGOURgV/1vQVh/AZJuQu5lvl4RgWV7JkX16u9kY6eFW3cP0t4RolRmQlTEUECLHv
r4WWI2jQdktyo5+D1YHy+gWiYHZAWuoaDQoWOcNdUGwPoVfgKHGAkJYZJ07NARBXOYY+dD/98Gy7
4aoZemQRIrg19mbYS2/z+tZKDJtNAaoRl5JP1Ve4ROi28raMI/mNzec7jlCkuOHrkPgTQHggpSAi
H8aq9hFO7iG0ncygI6xJAvdhNM6bArKisW/BaZCZxGbpvzyK8ZvU7yPRZwbYA/w4A5xSV0m9dh9r
NdhkGOwQW0xGfIxVBzw+QIgAiOVzrcSVTyUKnTxrhmcGpiYv86W9mb78/r3w+vuLqWi9Yp16wLiY
2O7i8lqy62rmv5reXMOD6uBbPGOhQFiUFd0Dyx+ntnxvEcck+zKFEiTTebtnawj22/5UZXXUs4cV
a65BxDjHwBoEaVF+56P/PdOuT7Av7MOo+RnOjDuj81Phg3osqy9PyIcmaF4Q+f3tCntrZX4o5jmu
lq95pR9e0b4vc/Xcr5/oSEEaLXii9RqlofU+eM9wV4noOSyLlw6IsfXWJyySX7lgewtr/znaxjOR
4yOrftux/VTRDYUWQ5r5DQDbdGmeboUtr51t6guE66e0P4zFelOwtYnzsshWsL8xCU0Xs/oiSu9Q
07vwRsM6dNHrXRElvFp+6qZ8n5Q9juWSQsaIAMt5D4wTduQV6PJKXJuWRonqkFYnK7GnF1O1ent3
EWJjm9o/s+EU8O1Kq+nkRd3u4sraE7SDIxyRooreNGP7CvEWAwHUYCXBIggG4oVI4rQn7Yc2c4kE
DO8Rv31SNxtWsumypm1Ld1FT/irW+bbdWpKU9SfX/tPko0uFx91OjMv9qio0w0Tel2ALEYB8Y1oA
USI8cafvwMOew0Dc2iW/r30Nb5XgalTd1SyAUed1iRV6X9uEqy862RaK6PGDwbkss2FztUkKqRwZ
X4w0yBwLHnkevORLeG5n9jRdllwEwaO2umcKuykUOvuQ18VHYCHK9weVhH79vHndLwweX6zPd/7i
7dA7tNNNXg63EZ7pEDKAuNT8Ya3Fddn0YHDn+3IED8+JOBdL80zX5q7iOVrLCsB7u/qvABIzpBJ9
56t8soLvOEzMSH4K5uGm3YB7gT1/bbEegOWWNp7U8l7r5SEPFvBsHqBc77FY9BnbG99N1T/0YCdD
ZBGmiLcEkD49gVxgQPY18AaNiJiqFGDOEYdrAp1sBcwGELhysbVJtny1GTj44czR2OTNS1QUaUOi
FEqLNwufmRgmR0M8UXFCj3y3tAEecevDAmFpQdMV8PMBONWFjIPXgVt2CxMcoN3orxyIjtyAmiER
Rc0rbwXDFDjpvExgokMk7JYL6EtitZZnpiZ7hR1ukL0ohuyyKNJFBbmCJZ2KhQ6TiIounojuMoll
hpj4DGc0bVJq6zqbTznn+DwiviN0+ImqGrAY32Rmo/Zym/e/wZ6PMboYk4QcFqCeEwPo3tbt2pwi
AcgbT0U37btJ4l+NRBltL61mc16dfd8wqQErhnBmaHqZ+sguEwU0U3IcXyrK3+BYhYZohgiNl96z
3LxfcxBa7Od3I/KfDnMJpAmy6JcV5+tBtt2z2qDFUl0PsZWeXDKMQ7OzS3NtSu4dJ+x17ScjwWOU
8EYNseWXETakrd65VZobn6tkKmvw7AKJ0h1D2p0NUGpX2OLs/QDxemR6riZW77HXA7culjcIsdhQ
FUi+xpMcIRAo0Ijias1wtNsw+7p0ltMM7lzTDMaa19PKPFh35FPSF2NSMgsVU5lEEdp7gLDlddvw
KmZ21dflOtKdM83jgGa0Gad7YBgPtLPfHqUdmEu2Z7R9qwrpwTIQPTdMLnFh4Hyx6OBcT/Skh4tx
+8wDnAJ3c4RzxojqvY76hKJxRK9CYXU0XNwrrmokxVccghiAk5h3lw0r/hShbCXcRvIGLoReQ8Ad
bGEiAqkwle27ef40tP/Oo7FJ3VTaDMRRgoXmbyjP1jiyKDVRVVWp0D2e8qpYUo6VYrxQB8LS0YyW
kAYERNw3FiO1y5dfYJXRPkeocGUPEmQ2cohVPhbZkqt3NoF4osU5uFCXrtl4Vj6qElCczted3jyb
VNieQcVZTpAZGAyx+hYhm0gJm+mj2qo6LiXEOuO7iKoPVQ+vtUDp8ILDZCBZmEbdJbBq3dXrGsZg
rCDggC5tGyHr2jqXuWbcW1btedBqeLvAu04Y9o01Puc135RaVAtvyZp1AgYqtYAEYnqo26pLddtC
Pw+Iogm7B8RZCokbYqMZK7xrG8yP4UbZrq/8Q93ejkVfJAML0bQhqiMBSYOEiAUuKCNNaV08Nlbt
Zc4+Bxz/I2/OxUXY1pokD7O81U8LG77rCcGPA2dPFkWp7+gLGfNiVyr+5JoQSVz2AZA1jbUNwjtC
yW9X6gD2LkUO3TMi8gBwWghDMDw4rMYRMi7HMVg88D2GHWoc0Uk4BKeJu37fNH5wM/Tg1nx8GmNA
bzuYaMUrFGDZYTEEDfJA9jbylsT4Jzm5OQF05TJ4kNwPC9xLytZYPFht5nDL79D10bjBmuyBluWz
Cd3BaeeOoq+uFoXJrIMALnV67BIGnuKK5cMGVozRuLhZ/QK9P1tv2l4cOBQ7kCUDVJnwROUagiQW
oigsJ2+ew7i+nM4hFobWYv3auHybom5KcoRxpRUFW1I0SiaDiCQ6OflKCvJQ2+4x6oejC1pALITt
QGr3SUe7KQObfyi8kiSA9SCfad03GMOvYJJpUdckoQPObmmbh5Ap6C7DYucF8KluEXo9TPwbhjDn
srmNACnGNGRb2naRjueLSBWtaN2RT3/pJc5mtMBzPr4jdbNPtgk+2tvFoafnHhpeg4Jj+jBuIgyl
l99rK8ofD/zpMqxw3UFkTeatX0vX8xvJ14xXzF2Hoja4h6P1uGJuNcJiMkbrAm4drajXX2G3lsSB
h5ZFgVGP50XuxCLGXcEllj838xYqYneLGn+1LQRECukZeEv1gwbxDCEBf+gG5xJdByYZlLemoabv
CocEEcTFxTqWVzAEMlNIMusDHJmLLSNNdPJqcupJBM8M9Mf4cEJMxsD3Wrc8R5BHQFwW90v9imC2
RxQ19EwGMU6m7LGiIjET2Ze86U/A/9GncmNepfGCpOyLYwc8NZEb+daeAnCvLl16APZxLtf3Tskb
z4TvbWVMtkTLbbX2TTwFpo7daWz6T1035prM26dYv0jUPYucfSgS3ttJXyP6ecv2Uzi+yX7YSzGK
jPswl7Ij+pyghA9Q5KsvuUAWoRR7VnraRYGCxW4EjytwHGsLeZBhv/Rq9VGGX56i79oNPEPG+K0Q
HEPqZWYHQ5eW6Is8EcJQabeBis18EnwjgzlYzHdOZpWGPvBOz2IwqnGYAUJGCfSmE04skpYCU/M4
9KnXqvygyHzc/ObkECAaK199hmq84mXxYdhxId5Toyaw1YLddx1Nseh7ZMz/KvQzzaMlo3pJLttZ
fjceMX9GCo1dBIsnymuaTcsUD1L3O8wpNm4qdTDhFPtaqad1kzt0LHnSzNXZLb8HnleoaPOta/x3
Wh+CDQIs0J083wacMDVQU5zjyYbsgsw6FJ3CeJDFbCNHChmG07V4Wgse3JK6CpNBqjaF9mC9aRD7
pBbcu3nUpr6z13QzU1ZyaHuAlSOkA0DxDBMm0zQHA3UwHoJV4I70bFbgjPeNOhBLj1BonjWJ3pHI
w3C/4FRQU4uHt29fuTdKFKdh72EjEGBWGEDggyqFo/plqPl1GJr52oXsEbLrszEj5Dhskkn9JHPR
xi0+37GeY58BONwo/J0kALV4itoHf5vGWBrYRgEfpzEvnqQ/Aw5RaEMWDBw+pFxJDUqbG2ijMbJh
F7vub6bJ22lSTJkOUCvK7avFvd7bVt2JuXmuZBCg67RRau1X1fTHKRdftPOPUdnBg0v3JnUERlXz
lB8OOIcULrDOGDDtwxpQCcH1bYFLvauxWJBtMImKochMhnr8AiAdxDjJp9Sn3l1/cld68RvoTLmL
4an3nTfzHRmm/Krr8H+87avsWZSwFfYzfvAb/KqDrbFz8FfZ5GGethc/X6CgL9ZHDUcejGt8txIE
w85qwUBWyu0YadxLkL+kVQaiZtpPXH2Di1cxI3g+jKzNieDZGyCEuAqmaK/m5jX3faiWPAqOHyLH
8n2w+QzRdbS3nck4+rbEB5wU18bDiIQL4Ur56GwQ7ExPbtYQLRhdT9bPEeXes6PocM4WDFmc9gm7
0UFqJ3fHxyoGaNtf9Ww+em35wrzfRTkUqVhqNNF1W8SMomkvyo0AG46uw81D6GekstyDNE8gEiqG
eH6846t4aE04fMPt4whdbhoOir+2S5SFXvnNTI2UKG9DXSaqTAQS7Hb9CFBjzZcpGfvodTY6zYUG
cnk5yYcVMAj5qHI/KdGE7VjpNfj1TkPOzI2rG7vfwBJj/rqOQlwf2yIQGdb+cTQvBbTM/vMG+buP
ieDay99DeI8jFpHwvQu8t3JqyHUNTd1+VHvIHAWwozNgOLj9zBGMLbsriNeOq1/f62F6hN5+TtdB
uDQMYR3gvUTS8dMK6U1eQi8IzQL6vCUU+55PcHozeYZnIItWP7irCUyLgqdy4CSBcq5JA4UR1De3
bdvmGTQZOvbYHfTl+cmYQ6TZXRM6m4De6hMTXJEa2ohqYNN1Z12XKr87tT2PUEEXP/Ywq+7mYlD7
nk3vWD3MVuhn4kZCB5T/L5bOa7lxZNmiX4QI2ALwSgKgFylvXhCSurvgvSt8/Vmce18UrZ6RWgas
yty59s5UIYXkgJBTpgK/bX6rhnEh1ZNfziZnRpGQQed+2Sm8aF8YV5+FahEGgGLrMoqxrf5J5T0U
DWPFjej6szNUR12uLMadObP7NE/vmh4UXrVvaJc4rZvAtwZcxnH84o7Gc2KjlDqjf0qmwglUT2E2
+c3b0CZwPmgvrEpBEZ6bXZZXT3pisETW/+q7jkdZKGpqzbgkOdenKfd6Io/Kq7tH/mUMhRMCdO1E
k72E5ZqHpW+/OHyHO69N/3newWf/jxg3/ZylvJbHazfUn3Yz04Bp+2TxUdhG98nwvaAb/PfYzA+m
EttChR0ztcjwvHLD4fDXiXNK6CHbueuU7JhsHmCkX40UAjJxOoYSVbVu/Z6irulciyVxEpuRFYku
/lz7/iKajlJ8bFACu/Ijm2SUl4UK4MGvqeXA7WcpU70HHdCgUhwkrlnLc+UGrkImKAkLhF6Iv6dp
+Gz8h7XJEOdUhooliz2DrorXk5aE+owT6P6vcfEz8OzGg95okvLPu4wFoVJ9S109ts24HzPS8Zdm
+WP22skrCVFWfvOhym+/ST+UbfmBDVu6HfJ5j0nqzW9vTIO9oPZ/SBzsokm79Y6q+V7m49QnQDON
vwE0j3qRjZemH14BdHa6Ob8U/RNSbIrM1QsiFfVXrdb/2p326E3t51qy1AhQnJih9ctr7JwIC85P
nZmsmAS4HNYSJZhlGp5ow0E1mBfGvGEfgf7mJUT2YSwJizHBOGIzyVngWKRBNTZa36YLrr8m/Zft
FmED2LrtBjpS5LKaLtz7Ula8XWz6q1gS7ufy482RDcSsvy0tR6+nfGqN6S3R2fEjGEQXgHxOc9HX
7tG2ISPttr76k/2DuPo4FpTia8vqx2xZT6vFAjM574XhffnK84LBfWzlMB45m46m2YA3us4vqd5b
t3f31oJkOpMjEMYTMxwnO2e+uO88nTZDIbY+ECx/MAAytDMboU2GKMl924O1IdIRBwFI4MKcFWwY
j0jz7MvppZjcN59lPWsrvqXicJj8ngnS+snCUM71guewQ16gaxkRMJIpxo7RWjtN+KHw/dPs6u62
W3osRRaSSjNyPdcVw+mamoitYLhT791Ynv2BaSIK4E9mqffMxV7j6N6bMcgHIoDfs5wOnLmCcto/
LvwXUDuvDGf6rpX+lk06OnGdXLV+/a1yEEStcijpCDLthm/NH17yzMfwZGiXUqhn+J8vmqJIyvRq
S56WZvrFpfOhadaesmKYjG9hck0ORvuik+S58e5jxRT7jcaCY1F49qbtsyAeZ32DEMdkzP+e6dxq
t7gqY56i3hTkybmHqTU5Pgwqoc5JYGP7TNy9iDwjWRp6Hoie6LjYssPYVWvAEqY2cMbsmllpurVs
rCol0Z3J3WVrWV/WzOEnQ8vSzyrlQmj4rc/ki5lJenTy9XeJnye9eeRYl/632bjfwpDX3qm8sOkZ
exTpzVrmS2dg9LBr/Z+bQMRy2GRzE+hTyQo+Lwl0URhhbWjPRPE84gZYTrlMP1OHfiu2HyxFBn46
sNTTL0DAx/EiBzeEx9h5s3d2+jiYyAgvp/knW8qd0szzNK8H4Jsk6D00cDj4MmDp8rfGUGrJfove
e6CP1KZTmUoASDTo7Vrjl5WyuzceFsU425JLpH4aX3MfM4U7APpiRfp1cx8es4VksCoQKJ8pxzia
Z88w35XMeXakdsn17gxy+zmV9rvynD4YCnU1VwsBqBv3HSfBbkyHa9tb9KwAgdS6C4/21DDCzDJj
l1kgyLiB7rXuvJ8b87B0/iPDw/NSuICNtmLIM166fniQPCtbNSA1yNQ7Ibj8dGN5TMb8FXy43OQa
Ma1r97T4zYswmeAO/Qs2uGeWNS97MXoXnMhHq+NiHLzq6Op8S5p0A7/Lf8zJOnnWij2o3iSGEc6F
390tfeiSy0vrIGQTG/Yy9mjyripftBF9MNM5n5zxZoEnI50+Q7u3QSdLrj9mfx343Wam6t1WVbUV
FqVHCqavWZukqv7GY/U7EWFqJYhl62AkgZcK7qQs/owp0TBkFNz7BEMmRNFGpRFHugUeoJEvyzKB
ficSHY0v5eJQnfjrLIwrpzGPg+LWkrMapvW07Fice44HfoH2skzwdd5FzSB7qcF5It0pmonkR+Zg
/mD5yea+WkPOlNUSL0ilT5+GE5+ANpnm5GeduaJjNc8yvR9hqCMQQJymXSIiT/O/Gh9tQCcCqyhW
AqsW2oNMXichf+vq77iqyDX/lt2KDA7izahaPJqqXW4a+v4mWnBtoRnlf6FnXmmCQMsXExMfAXy+
QodJlgdt8l40S38emrXbWnCJW0E9Y7juZvJ5uY4jg9GaAJnGLIZAN/0D32gROf1yVEMigwnXXtCb
7oteJS+tqfYejSAqiER8NBjg6j8AINtViDZoOm7/Ssh/Mel/raORTGYLyq/W/nYkYXQl8dzhDEq8
GdSEBr7qEx8DviDnN3rN07RmOeoLZgArVVt9ZuGpp7vPfao/xq7oIkwTBbltZFhweb46lBwozR+r
Kp3gHuEDuYR22ujPhuVevaH7SPTqHY9pfk4zWzKaWS9LCbQ+4hrFiGGdgA9nQGJ+ZY5ZhLG5s2Jm
b5bpiPsAieuzbPaeUYc1rPPekcW1aqvLEjOEM/vy0OcFF7QOkQMCu7HzUbvDIy/c0X2Y81GqKMxQ
ztmMB6tmONe/17lAq5tDfXW+aBj59Ykp0yMfjxtULc6oQbnUOB2SiO1WIcDVVZ+ThrmE956iPTJV
btizh2DWlWXLJAXqtcx7E0mL+RC+TizR/jVmF8feZ5KYTp2xNfz9PKOX0cvUWw30kSdxOsI6B/WK
AxBOp96XjdUEQiVA8sjchsAiIzQZ5HoeFozoZq8oD95g3+Tav8qBV1pWGunDuva0/jmhoXHahBWC
FTm7WezCeKCYxJr33CtT++ibVIaMbH3Xf7Fmz927Ua2hSTKygvb2Aq/lMcqt+0zDGU9a00dz5n/Q
FOzMqQlzPiqe6yuhsibuaiveZHVqBCrLwwwd4GDPKXME8z3Whm6v4uWPPpsPuBSvcc01AXn+SiD0
q96lnybxM2MJd2evYO9D8aB703PT5svBGAf8aNm+5475HsXJhhI+JN0FIjnbFg63x/pPcjzo9Ftb
u/i1OwQ4LZ2hfpY5UFX1x68graeqKyOTf36V2plbHnkYV47pDZcxWbNgaHHUJkxCc+2P4cc/rT3+
q0v7NlekZfNawctT6MFgZE9Fyna9dspZiezzq+6n5aTP61aTCRd6kXRbX7rzru2djx58ocMUBKhL
/+w7T6RYwWS4VX0vaxhQzzfbh0+jiGIB7DC9OHV5Gxb7YKVdtsEb4Ydpqn6SvMgDmtfHGeiEPReM
I6v6U1u8u7ETwx9AFibiW+UyCMZPq22Uq41MburfusfqfAfpUkvLNr0bH0vLu5bNXRVQ/7IpvhMz
Lcnhyal3oSoSZYGDL+sdnfcRNN0MaSphboWuPXSOg44iHq26YSIjc0K/U5fmnD458bvATz0z0HLr
1qyNti0sdDBchxArVFkl3d8G5Gtf2c10Lph1m1b7DKWZsKUqHgLpTUk0jGY0aGDd2Oi+CGNhmm8b
+knX2Tk659LYxbQKmmsa28Vxfqm04r38kmLqkARllHJ/7soavdIfDALi6brSmOXeXquHq3B+TI0R
K3rOo+T8eMIUHOE/w0ldJ9+uezFqEriLO6Hv3ymTwXGJ/rUfOrXWm6EdarSIGQ6p6UJwtedYUNql
0tZob+yoWiAoRdZAfxpgSYVmOpvifgYXC9RBlmybmntQWifqpmWfqbtu2r7O7gM/GeqwOt90Nq8e
z52evXj66MFPt2aaMaZKeew4ymbmcs25W9o3rShsrJbqyorjfy0ZTruGWedwH2SgpHeVdfRHY1u4
rtrKYqBCyr+n1a8OnVHadw2E5c5GHUReohmRU/X/aspP4WePvslkjT1Olw7ntcs7Rs9m0CRlrLWC
2kNo2a+yF/8MGMggd+jbfDG+ge9u+9VRR9ZXYcaE1vNrGNg0oTQyc46OFLgeYJPPqn13xQtqsL6J
dZKgpUf3u7Ag1UhaiYyIK7dnHjxWQCY164Q5p3hcO8lYkQNta2de2KYtzZ3f06Wqdl9xOCL5qT6c
hHUsCn3/n0VSr70jp64fjUWGxddODoXoS6bH1HsJaKhYHLaNe2M46vlTjE3nbBVJunPEsapqFZma
ehjaRr5TrIfzOlrPMYHPz5Xwoljrhq20JwYR60c2etlDQV2AewhQAOPBg54s3bvDHap6/23sbZSb
1DqTZ39hmV/y1mMQerDkuBPWjXqRhB39SY42b9z1a8ICt3FaHL7CNYoPp4kfSzxJGO+kH+p4Mzf6
aKtTaTEW0JOsO1AOM+E1Sesf7VmdB/tq6c3FG4Am8jz+kvFobz1nMMNq9btLjHGWw3t1ol6VCC2c
DpuacJmjOehbwUDuiI6JyDomxatTV9pDKpLn2dbz13Eo5BPb08J2yZbQcSsVtcVYvJZbu/pu3I6s
CUq416klPzz3XzTO/huPyUPuv+mj1b6Y1qq/LpLh4rKoJ54zvm3zOhfdQR9yPexUjjHG8Jd9kbDJ
QWc/kIcCNdanBu/zaW3xWDhlgR3eVs1pXmVzskpbC3TJ05PoNl/0ejdUdH6vkezP/+MKtzn996cR
1mhXKvdmalp/gk1zN7HrjndH5nD6741mCaMh1Z73ZWbXW8ntte16F8LwkOZga+iWw+m/v/jvTWPj
u8hUPW+tvmbwngpzPIk5//83RSXLoK5ktvVjbTzl9/+ama44xAN0z5oZV612jGvNZ2HHArdPk7bp
duhbM/rvv4JeG9fUsfUr5cCTa6/TcW7o0STplrs+z/SrEQ/6Fbbc6RLCae7/539/Iy1x01u57hgk
HzWR4+ObMEPuXT1FuGnt9Wpo59XMnIeGdajXqhcDPiTUm3we1uvsWerap25xLtZqb/Mtc4XqRBMY
pXzw6fRFtYwXS8UcBawO5sSLbYCR7FavVWYdW40vKDQb8YwlcbjEbTNcNAyBFynuIzhgYDhho34s
cOgPRn/xtRh1O+m1/vLfm47xGsPi7Ado8Wx6y4QnrWNccX9T3j9ghmbYN2Lh6VHVwzSbga1K5nQr
g522X4gAqh1rq+maHpoZE8LMN+ZAk5kBvJcxHrasPjI56Dd4fWXQ1CDK0xDHC0+bMwH38QYZiIbR
SLLQ1FovKBa6K21gU85Gsj39YmEsvghg6XCxOUJMVTeRblLqd5U7Xpr7G/ZmWNwtWh6UZvGTafOy
G8tv4jnmjVnonyLDdlQ7+ZVJ2c2zp3Vbynl8kSP5HNkanyckwI03awlMRGGiKxpLRCA/tsfWkU+u
PsinNCujEp774b/3kHUtNp9TAZb7JpvEbeyEuLVuJm6Njmnn3A9Zf21i198NitmIRdEQ5rJlLq+3
2RMzjh0zUyfQm8KMum6yn2n59LNrxN+FCcIy+Wy+0EnYxxvIVMVBmMY+OsvflRotc/UfXxhDQMRu
fXbkJWEYx/EKUeOQPQAa43pEGM0/KLn2nn6GgBht2o+NceHqNd6UlYrNYC3jrSxFdZJ+Hw1kH/Cr
Gt5SSumn1LilNxRmj8uYqUVez1dUBjqhO6jqTeB1vVfVj7Lxenj8ofqhkH6FMHXYzPRcLiA8fY9A
FyeJh3uTudSqVx8myzjyudyvnr68+xLQGyQYXoa6/pi42k642CsahlU/i/WZTjNqtvT9/3tTtGo/
2UruPYsvdlLai8rLN2HyjuvKj9F2WbluE6A1Zn2EVvdhN4x6RTWZwVK10A1pZvzqyhrDBf9az9Qn
9p5iKBKyiSdWosSFv1ksynunfJgk7sI6WaxjA3VwnKyLVCXOAu6gzZQwbzYycYnVyJjFpJXOOkr/
fcNNEbQ5ruEkrtIAz2VBmGlhPJIK81QKlCfbhhux2occkIAP9/b1BH7i2i5P4BDzAPehh53hMHu/
CHjDncIdH3OnDixJk6WJJCe3gb6rNIdmP+jlR9yyCUHT47PT0v0m2o7CXm7HxPnXTO1yJFdVPqy+
2tlGPj+ug3wlMlmLWm/4sJ3F3iWO/Ww06spQ/BvtUZ58DaSwnPYM2qZNU3buYa7oCNhhPz4WvWJb
okU2RE4Bta55Eq6DLhiBL1CnHOqLZh26rL2P0IchUqmeBbOvbauiw+XJwCBKSMx4NFhL/jgrBZvs
fLc+mkpf1l0QV9KFQ5RmYOKEU3qtX7rGhiNybyVhzwz7hzFUi8m+oTKm6uicemc1P1NjDkHJPKnO
8kujOdtYd60od00exM6f9uVAQSjd9mDV8Xhx9Kl7JEfB33cY45HVP5kALbtEi6dtOuRxqErCAUyv
C4kMqg8l62SwHYFsWtk+k3q+KZiEeBsKSeQNnb2F2v17m/V4xyrW+bzWFWb4Ig/9asIQiQs4lF53
LlGQNw9NuhY3Rf3E9h7bi6YuaW7ZEFVJzALN6g5zLX9jAPCt690Xx4N0zAowwTUY4Nty+iyMtdxZ
Kg+ttc6jVnCYjjklxTJau6ZRkRrkvzJJnqr7Rib7j1HOB+lccrzhoUj6DkPrJRPdY+qW5j7J5JNd
tzensXau4LWTfapM+qQL9X9UDR6qNfM9OpL5JZqrt02LGVRNU6FVT5hfbWuv9PiatNN+Khdj22uy
2pZN6K1cvkmd+xj9TfTBmtF5PEkAoE12iEM3N9N7fEbBUChddyBkW3MkPIyu2s98EOLsFZ0Lc4Bo
foT5ZDj1DwEpqEKlebrvn5zb5okV0N/ubJ2wXP6z3MwLkpYOSCekhAlK1JWEhsAkp2A8bochJzul
nvzHr/bMdC8PViaXGdiAber+XsZtGeEyQG1H14GfcPfS+5ILHn3dC1rFFKGjpTD1OHT+Az+wDVGV
gwmwcpzDPN+XOmg9o/SgvE/NqyT9yNvmC5emGZR8Rfii9qslTp3KSEopjMDp1Ec+dzs9+xhKJaM4
Hl815w4iQ4k7KYM903r1JntXDtU1b9sfHFkf9Z1x7weDbkB6oefkFPq5+AtyAomyc+J12pEkwlyq
mZIDvflD7JY7VkoTUkVQ8+SKNGyN4WcA2ECK9eTWIsUrvkcbNNOfLDaKk4140kCt7pZwkZhdKjkE
bjE/lIIh8dQtT6lkh9vAamy77X6dern1RfUSt6naAXNN+B3G+r10vKD8tjiOQ9sdf6bODeG77mS5
MbzneMG12OyDuitgAz0v24xIlw19jxGbdliwHbJpCm1bGxXjiiUBOlvOnpzuESsWX3KqvaQC1EUX
O4xR4Hl6w9o8K4l6w69CnXHCpHnM7ErQiK4KUlKtNn0+8Gtk2Y3T1DfLwbqFh1yUIFWVZcWPcffc
wuMyrpE3khB6Vgje6uGltLJQH50XXQHLT95Dn01sKhDLm/Jwpdlcwtx2EJmOi2jsxjxL9Vhzak9b
b5Eego41bU1JsMqkf5nVyLNU/VqiOyXpam3TnJA6BBKuj9E6xd6IC2sIVOGfujL7p9e9uMjaUgGs
4CFv+3LnO/lHZidJaK/Vl0dYxzzp1sYmfQwquKv2nkMv3k1jSIAYjPS8Urlb+g8n9ZFLnHUHGYCb
VZg+7NSZpLZX8lPMICUcA5KldQKCXV6V/YU130Qyql+dQp1GaX40ll2jdVRvLSEPotd/5bNbxtOu
VUD5pF6jMLQ460fP2kJgx0i8ZgE+rWkhFEQ0PptGIc5Mc++0BU0poz0OkRI6oHOTV47JoFzb4aTM
V7/LBmBIDUe1hcl94NljOT3q48T2RaNjs5PmAm/QyqaJgFUql/bFc9Fs/UL/4kG6z+hvhmm9DHl9
KxHKssKnZV67IkKAlFkbxQR34hciFsxlhfw8Iu96vpddNFmf8mR9Q655tEVzh5kmGhmTeo7mE8Bu
+vINPJz+CNrG7GCTJY9EWaCiKHpZhcGvl6f2vqqzMaTcUoh2miIFgBYK51a7qUd4J2xfivVADpdp
eqLZjAfje1FGw1MM255ktPAxIcGBmM0v5S5ZFJPHjcY8Pc4avjeU4PSk2c2HkU433VTuZhm8Qydk
eTA87Em5Mg0aEevZwKy0q/ni6uE9KeIvl52Yq2MtiGBtyG8psnspwHbQZMymOsdjZIGPD9ThL/Ay
72aNpGk2C3UPsSFsHAvacvmwXJ5WkDGxtVbj1WB7TyRG0m21hF5YGhKVqxPB6in9DjE1QSvMi05P
RupOFzAuWLarux58XX3p+vqCxGfhZkkDGz8l05W6C5s8hA950g3n4z5H5OW+M9m+5zm/YpoehxK/
VNupgyZJJYQowsoCxtuARq1Jyas4rfJr0iyHihzQTgu1oWGclxVna7YtTG8MPYrpQy8SjMIdSLHq
9b0f1y9TxnAn9jyPITXdXQWAI71SIXte6ql+JvuDOrIb1b7Pky9Pl4GJ5WHzPHh5dpTIUcE+Z7Ue
+ROImWsjTrEVt7jkFr6HDl3JxitUkNaRxebPQuQPCVZqv9RwJ4NBJp9azmNVZw9dUxxs3LG1Smcw
dLOjXin4+kNDeNAwLfZcTVvepZfzEqjVkR3e8H221+1b/5MwA06OgqMdrtviSYRG1m2AQUv7gMim
Asw6HnrbuvA84Wf0un43pCaha6yT6nCs4KiEVzdzJr15H6mpWqPEJHyhY8uRZ11aar3NpPkvQqkm
osM4w3/L7WoCWHmKURjxgV2a4lS15ciSG6eOFhQAp1l2vkyfRS6vQqW/5VxeOXt6RjnkLbJbXu2t
6VHvYVMq6v+hfAKVuTYprWMPJNonXegqG/S9TLW9k5oXs5iucbW+4lPxwxVFDE8GbsEYh+dkVMaG
paYRBL8WthlxH8Owjmgc/RIZNPVM5glqFFV8LbIOX+cENUr7ETaT1h4XjeIozvdNzNql1rTYgKf7
xOCh1NAmecS0yumyelSiXU3Rkq/q4A4rZFzZO/dNWceBjEBIPGZnSxzYopsDJk64+Q2sp968Y+Pd
nmAmJ9Lm6nEQHvEnKcU7QQfweYM8EVQqT//9SWdP46mS/Tblaj9OLWGaM6azcF2cf8oXVYRKYZ5K
ulC3fzSKqj43S9ddZwesxXKSfTbufE3qwBvDmxd34KFmnkee4bvvveC5TfkyLj1RTu/zJla98+67
yXVUTX2Ia7hFjWv1fURKj7zZJmWMvcrvAxwn09LWeqhF24VGXA/AAJ+mWpi+VuN6Bu+8d+C8O0+T
4NFL9F3VavzEbHveuI3+z6emvzqe676a3guw8ZzkyZueOPopTZYPQehN0ifjO4lhzWkSOllfnDNb
7IIJCVezE8YtLuWxKM0DsRnamzv1f+Y+hr+5Q91F6tJNIv4b9t657+LMVXGMXfT41ZwY4XQ6pYf2
z0ooiqwaXzZyaODz0oGkUHWQWqSZWkWqopXSggnTj24zu2tipi/5ioTVOagkwFfSzARg8pSCWTI6
GkYcLjmfaVnyZ9RGbr0e4tNx6nty6JKBlPtb0sCPNkhWIM1BC6gzjhK+kEwqVoHCcbUc6aUeVPce
p1blqdULbztZBnFIk26GSLA/bLr8GP3GO0ntg6zJT/Z01yesAY+KxjO4T/0h45qDGsQSFT2D7wkS
yx+uvC6NTZMoikZGimurAJHzI13GWSDjwtUylxUFV1deTuE4tGenuZuH1gzMdjb+2kQEXIdVDwe0
RM6i/nXIT9wPIqgdwtZSd4vabu9EM+bbuZUnAiiJCiWJC4mbmDibH8JspILw3fqUFHikCH9DW0yy
t0w3HwiB87A6qTGwjfU4uP7f0YDgXBWDgrSRPDSrhtt21PSrxBQ4t4p2HTo6RON7rsv5QScCzzGm
WzabtCwu2kq9J8791Dg8dlWR0mqazSchy9wx1arv86U89T2NiojFuucxPRDZrU4E/kW9AzY3KO9P
rZjGLmOATrct7NV701QZpUm2cl9wtkvj3WEeCLwyzjvH1a/MG4J1nNk0YVNidkgBsnBf1toeoqz3
4EYN96PKc8wLvsahW7IO1SF6E36TbIMF9UClLrioM+6LjGDknDi5vb6cGzf5VA2GKfyIGRLBbs2a
c0EYLGQhod1mk3/mhZ0fPHaV2UOZsJnWG45+2gSr6P80TZQN6kczWns36udxzM90qrdkYQKhXArt
3ib0J0ZVJDEDeUEMZiAx7VU0vjQGWCH3ADgU0357vxV662wW5o3YqX2T8uR7NRb1Raveab97IF48
umt+bEqHPA2zDZNsvs5rKXeqrJ5Hw5xCPCJY62v0+dLcYorCKdUlt6ZChGNa4G/b2A6sqrtg0/9R
+vqUCPtYGWLYp2t7LlOqH69g/WCNTyGK+/VEGskBHdHE3aumrcMi0UkSyFetfEIrtv6sTRzZJQHH
sQvd47SYtVO2GjUw/0nhQ0L76i/KE6EEGUGTQ12YgV88wfnexyTWc2em1W4GIaaVr5yIIKD3ZWCE
Uo/aN8pAlmGRsbNL4lJDQUcEwzK1EcFvMOYpLphSZhFg61nUgIjtos7LfeoZT/6/VLNOVjXd92ut
+3v40kBgRlu44SjXP5p/rEte+ULUp6oUy0bNPJIEPkzFWLEymE285EU6p3lon1jSujBCBQFW5FeO
mc2r3SUKb67EySqaFEnmNb0PNFmPqx1xjvZbXhuOnPVTPCab0QML0lJGGBP54LHw/pHatdUahYaA
6I8Mm5vbVp2dCojLWqQWpjDta0JEK6EM7GRTePHSBBK9uQdKTgQeONjkixGKzos/k16l0Vwf8BFS
rNncBmBTwJz9W62j/opqfHUoGvE/MElL9LsNi1d05jn/+OwJFaARaYsgU8RDV8GlRXyfkDui9+7x
GykjKg7P+d6dLI5JtI/ci2qe9tRIlFOOeHBGm4l4DCzYoj/Ysvgxc0iYgmnjKBIFXcCV4xjRfbKx
HZhihRW56Lie+BZYfEZ6b6qNB36ybx2kG6i89z22bMDsTZNWBk/ukzcTXDJX335h/6Hke02K5mUs
ywR7FIu1rA5ylQ1euOK0Q6rPeTj0tBIJcXiAUhgEOAjJjRvOSW100FYtSSTsY/RX2JK5/TYyD+uY
OwmoaQek9P5uFatPpTCSx8XdNMAEMyW/P+g2K/DKmXs9qkdmgUVqxIFYqidxtRvuHzMSLUcTppU9
hUm5oW5NgMgfyCD7Y9ABMgFevxNJwxupxhWcoUwooFACfcaJXilsicbEtLZjbcDG8esAU5vdtmmU
WagjsUurLkk8UK2Ig9J1qqPICDr1W+rWXkMCxX29hSlFcOWuABTCgC6g+2I4gm2i40z0Y32feHYa
ND4vOeKwka3SfYnWu83IhSb+DNay4mRtgJIRJ/VtL7XnsQQRqk0817XGrJ8k172Ls1dMnkbZ5RDA
KwdcV9iP7Dp3kYf+zo72W9meuyG6OdndhaVFcP3FIjn4E8GdWp1NzGbBeYzWBAjj2RkBkPHk5Dvv
ob3PHSuXVGVkOCSUgfrHtuD+M+OrT5L+ahJYCmn37c+uHUFaHrK1gr8jwSJMe3KtC89lcq7Kv0ml
PyuXch0PzJvMkmFrOYu2scqUarfD09qTfXTJSU8GLsIrZpOvdmb1DAailhFYi9drdYcqwtL1TQ4w
YgP7tnflpF0LpzkONgdt53F5K9LdMFuTxrnWkIDkp2FUF8sXq0neehvjD4R1bzn8AibUufEOGBXS
CX3fIhm8XRm9vTUjDFHsppgZCHfdycyj6V/cp5i590jDU/2PujPbjRxJs/SrzAswhzQat1v5vknu
kkJS6IYISSGuRhr35en7Y2TNoKobDUwBczFzUQVkZEaEu5xuy3/O+Y7FDpk284cV4KyxvfEg7Eau
AoxIGNHzx9R2tr6n8SRnpHurkDyzZ84rIWLcWGl5NwSU8XpCdqsiK3/nnhz2Rv/BKinusTDzzV8B
aKhWyuQHEv+y8L92bB5NNDRAixwMKgYaSJ/2xqpP4N8PSPEYBB7ZDF9rQayk9K3f2RjAecOHMXB+
5MIOVLSOLl6Gzs957JwyNN5kKV+MKqsvo+WA3i1oJYFu92NMi0WIktE+icTvwZpAKjc7wkPlyPBY
l01wqhDrgmX5bw3ujmn1haC3gdEerC0GXUkz0kfMLIQerWibYlcAqMTtN4I1AhyDF8jqYIQG/IY6
eDfPYq/z6m2MDRvBosVAGzRccbwPV9bDqjwMo8PRKPum+bC7I9TiYXczdxHW0q1sXWu1GLiGaknB
cQwRtnPsCTmujCG0uES4I7HtqljPkb0dbR5hp2iHZWbMyzartelEZE5Qp/qkxIBMO/3dHKVPXiQw
ExgsuCliD6ex5SCdYKHSjjPtxAD1E1yG6EiMtnw3Ap+pZQR86a60gt9MngaG15y591PrqdXYBNdo
CK/omZJ0er8G1oAB3ODGjT7dHKLxalEfxJ9iYN4hUhxiVmULzL+8hJabfE42PewyogViI+Uy24tI
abKfma6XngYXD5IETax0X+xTqY+ZDTbatbnI+uHRqdhomiBdUJ7LtKAVL44OQGRVI6M3WDbrWDGt
XrYvOVrlKiXiv+s78rJJGwxHloi9sgDqWsuXdewLlwUj2Xtdrzb9rB4Yhe4Jgv2wRuZoRtzc15E7
n/0+XUOKffQtVgBtNFc/HH56r3HdNxuMakd4DJ98FReTQsk0QvMlZ2SN/314Y/FVTUaQOnxrGcmf
EkUcALPdt/CC4zg29xX00C0Ug3tgaYhUHrY0WyMSTObGs+BOcv/4oSF1HLtRxKshQbke8XAAl310
mk8fKOZBS7ah3GJkmggj3EbpQ+CZBlZu3dzhZ+HzRpO+qYwzE4ztMy2tXKaByGBdFo+uzBx+ekBP
Qj1wpwuClWf2ei3WrvbeupzscRxiYeGYEPVHKNpsjdzM7Zgzum8V+6HOfo3c2EmiwEdfRnZ5Z+DA
JxRG1fn0lVbmTyvr8Fn44ttnmninOi9eFUPx3ImKEfPy7EotYE/FBcjbIaw4Nhis76K5NmnZHkTS
MmS3xD6X0U/FInyKwubqOV3FNyMOuJHH02qYc1SyOfodLtzJQTj+0Yh+FD3JlT7V3zhM7DchaVKA
FUzGAkcUdQdM+c1d3qBJW9X4nGQYDxmjkGNT0QoozHzRkjljSl9h6Yb3OhI8YjCOz0XhOneMnDlW
j9eqluapAm6YWqdWJN3Ntob0wSPEaZJQvExtx/Zi8Mj1su6OekzXgS7uqsltzrHP1JKM8ps9v839
aP+qwjXgEXsVwqIjTcR6D0aoRoJ/DHIRPSjfLdZkMrl9NGDgC+Z0Qzyle44JvJsNsN/qp5dAFges
Pm/hiXHVcnibloKYxM8FUs7YTxfPGbk4BfW0zlzSVbaHRBnpPV4aPpsK8SfMsaqSdbCNrxr86H0r
034b2PBPXWlSwBdrewNtKLt6JopKltv7FMnsXuubYxb5xc7H33k/zVuGbMgH/X4Y+UiYCB6T4BpH
YtiLajxb5qgPXnI13PGLoUX/xAKc02BvpRs58RBMi9pU+GNw39qvQ2N7p0HqL2780VqK5gA1HNS6
Lr3r6Fq4UxpAuGMhOtD1KPwK8WTTlrO6Z6kb7swKq4Z23BNZk4ZsjN7yoD+jnJq/6k4/8a3m40ie
4pKMHyi5ipAiuQR7ZFhVm4Y4GlZEEDbmYQtY6dpWcbHzkqMr0JS0J75c4Gex6x/aXPhH28OL47Tz
cPF1JVeRTQV4W56zOLbP1TDdFV5ZHG2tVs3kbyGtoBsnAOmXclcQS+kBjDnWkXorp/YzHHAop2P8
S2Bg67mE2p59A03H4L32n/vy2QF1ROcZx+WGXOgUzZsk6h6Mvv+J6/1TuDO/fTHvSHvJxy5379F+
zSLO4YJHWw5vQWJqLl/+p9WoLX8d87KCicNU6wH+xUObTjvlMgsIhggxoGPzZY88FZCGm7YjT8rK
GvIra9XFP/Cf7mUz/O4i+9iwq5PjLkNuleRqp4HaoolZmx93zWpANq6Ga2WRCDYs5zGpujPHhddv
3E4vCcZvjamwkxVOZhleCtj/TU/ZjCuvcRb8UJq65ETOz70w95Xl7WkCgYHFELsI4q+x9WBHwfdJ
QtQZPgqAQIROwvi9Laq/G6z+b8NHL8lnXTbld/uf6aP/Aiz9/wlR6kmXLrz/+b8ooP8FUnrqCno4
kvp/HJr8V/H1L6zSv3/v37RSS7p/OYHpB65rugBabIrq/oaVWtL5yw4CE6N5IBZYKVjZf7BKpfzL
sTzb9jz+vSeYSv9vVKm0/3L5QyzfomOJw4MQ/w6p1An+lZbrBSKwA5gzUOEYZgrL/E89epzCXIG7
tP5BAPbRxlEXOG+tKPxdHPF1s9L803XSD8icbAU+wRngOeuJpNaKmQTXw0GWOzPGl4VdRqbBU4Mb
4E4a0y6xuwJsOZHcqS/3AhbOIIG35Nxs7uZheoIMMbOR97+cPHjnr1nwd5BoAPQVBqiYDIszXB/z
FMXVebHhS8lX263mF2mPYhPWI0MhqzrQ97Hq6rbbGznxUY6+n4h0E2nZ9odVo1YETVPiA6AHgKKJ
lS/qbE2BBwAKIohudwNiBREEmHteZAGv+T0L63wdNfI2+QQRByv7tfxPYzAaKLK9o9ABJQyHCKBG
7Fe4r7mx3is2YP4BfvrYwayjm3Dt569wDJqd8sxsazbq3IdAL4Za93fDbLCVYvO30gpDVvlcBF+x
Vfy5/pxmdn/8VK9W4JKzCX4V8yekmfeq4YJDPB/2tlsee/4UTTPe3vPzpU7l5s8/oybdjbifgxhz
9px8JF5NCqVQZ66tLxKnAzuq2jIN+1nN80cyJSsObU9dkJ+5cDEDqBMmDsDw3BHffG+U7xyhA6Ye
+aUvW150KL/qEhuIIPN852rKQBtf3myFK73hLnEHZ2UT+tm34AjbAZ9emWhoKmW60RTlF4kE5tZO
9iFt7PEO5+4mLp8ir79whCNIn7TVnS+SB2yZp4KVZtU16UeoorWVDL/4yz4ShTaI92vPxHbv1d4j
MwdAJZm3L1AVyowWHanlzmwh1g9EDitvCFeEePoD1V9LdnIbJ721J4NprQqHw5yXp995bEIB2NCD
cXWnngoaWV572b9Q5PnB7FxyCJ1ehUWEVAU8fVVP4MFxkTKYbe56jH1dxvmOu+pVV+9myy/gK3gf
hU+VZozvMGL0qj6NWiEEv3HIIkrGv29AXflNdBim+qmYolNIseRGFPzuuBVfUf84vWBaF9gcjE8r
wWftjPUj9HAeqPZitiTjg8bfU2Tw1VnGaQmIOcOLiojb+MSvuyL5MlwTi0qdvwPrZs7XzNiCh9TY
TqK5Hwwsjg3DFdBS9Spthy/HzedtYUhcc9BAg8l2gTAdym5sNz2KMNNQsnGNvc+Wk7KVNO6dW2df
+NBuEnH9TjEkwWA809907WYmKX1Unl1jehHjI/pksKqz9DuUxjGbeCIdw3ky3IcgIK/NiglRdnpT
ZnnNAmjgSvzMsRxs3Rzlw8vj/SDkx4hndO1C6tz30a6s+WSsYzXb1jnMCXPoF2vsSyqf0L45sUAr
FrcE+ARGOFyigWMwg4iadaUBCQq95CwEn2SEqgKmM2p2mDaJ+RQ21q3JPICeznmfqzbyqmPteOOp
GfR7mql0x9hu2puVfRot8PayAZJYMnWmj+hND86OY7HPNdjeR05yKLNpqxnx3cVRsC29hvRABLQy
03INpf69wbkBMga4qvnDTosnXLnfadW8FSagSTndz060KYqeUbdClQvzM3OgFLSm+rBn9ZgRKNcq
fA1E/yUlYNRE2iDAmDKj5phogaOJkweWUDVvs8a8M+NFRcyTD6+ITio2jnGtn5Q7QHO2Od0zMpna
H1GCXF1kX6J0ni3PuoVl9DWbN5w7EW5C7FqZX12zOt1ozZjTzgRitOq2Uz0cpBJPUNCxxgi4uh04
16bENwgyatpyN+RiWpwLTFyEtrkp48gDiimS8mhuw4yRWzarvUF2UtTOvh2JI9lR8YThSJNi2vip
OHhNsnWY208y+xnZUD/67sHCPEly0tz4SfHtaJdPmS2Jd0mgVCjQ+M3IqN1IoVqbZ2kXB5s5CkYF
g1WPNqk1YICLMaoHvxnuZlebOH2Lcg9G+6Gae85qxJMpvd+JkYxi0IVvneKVhiXamTGnuxgtlqV8
HZGrQLgaSgZegLw9uCDUJ8gnd3barRuQs89cdR2r9DzToccAeHn+faIRRsqYBxY0yUKKZBPZWox3
YGIUGVpUzfLDD7LqB7X7yYpQUtBW3EC35HCOAIojo3LVxyVQw1sswVizS/nYBvFjr9WZhpwP8Pxf
YI4tnF/cjxq7eTD4UhVx9RaOxTVj0QPc8TI77sGWt4j1GLMvWMQmfR8DbgZV7h8q3Fa8IY0X1yzv
O/sxNH9PTpisch5QsJvJd0isKwidg4c+Z+GdhCH0ivhw2Gib6/kihnmcG+ys7g8IjVJWTILq4jFn
MdplcN3v4ke6B5q1wC2B/Q10mTlTa2TML4QZATuQUpd0eZkIFFipvB0fG/YASEYQfscXWSd4PwWB
+oaGg2S49P1wjckTZSRU1q3LBtnzCTBWpKhKAiwKG1ZfWYX+nQC/CCrjLjY2TQAbd0hbWnWQbNYh
+pvbvrAzxKQD67fMjz7Iur5nz74J7cQLzRs/KewUWct9WiV4MPmBZy64HwRZy+a3yYzzQSZLcucu
VoQcwnatvJ8lZRsg1SYHaHTwUiY+yBS/NNeaDPlR6vCVvNK47nF/7XyzRvORLcWQrbOpUB/yibGb
Tw+mU/DyMxZzV1gNgIxySZeyWuV1T5jZg71tYWA1k2ddEmzgkkdwct9W3hn7Fu4FSrSWtRg3huD7
FtGthAmkj/g4Z4ZO2N2jyfs0LZ6uzHEKIOzD2WBIw404I184uN+O7P5u3/23bhf/Z1eH//a/+n+w
3sDhIP/fXxzIzNJ38Jh8Uor+d1vCUomw/J5/1Bv44i8G5xAFPOGbsCeWe8HfNwbD9/4yA+E6lk2C
x/doUfjHhcGy/hJsKIgnrm35jAv5Pf/oNnD+oijB9gMPS6jlkmD+d+4LgovHPzUa0+7qCcd2HO4e
pmc6lrP02P5TFbmh5s7MpyDbGk0ZnI2MaKuyTuR/8ac2axeJeqNzRKCk8OMz+A9OhzVMGKOJzv00
XOg0lQfhwdxYAh920r1OFfqK62tca+o2Ov60LqhNLCampZBhHqIFYeN9/dMP/B99Df/cz8CO9V/e
B8URjsvb4KfMj8dcmpv/6X24JQ6huCLahIVz44TISmZD2WDFOJA2D3EtRCKPEWFBlDD/0mqihhV0
Teot87fU7J1dCz0LBnHEeCk42o4nKOpEjWxGN0M3yL8zQiDMRP8clgDOxQ2dWTI4BQEB95Roq1l4
m3nCpKPipe0UMy7AiZMZPVmJ4oRXAjdJXUqbkq522AxwqHkw3dMO0bVzDaiFbYfcA22pCPqPJKu/
K6f9jG2L/TqPvmTjvHVuZ2zigfWzHDP9OMXTg4+X37Mj46FwgOrAmfmQpWzeDL//4bwFrgGlajb2
YDwTwHsR4BGBWiAQhKvOr86+ZAFxWdNdm9M0duBLRbBy60QTQQxrjs6Dm6Hk2i/Mp/ibiTyDvE+3
VJWdUDjrjaLygSGQscRAUWuMHXN29kg5DCgC3g7u0Y7Jbbavqvl5dAumYEy6SGr0ew4JmDipgOgi
0ntBQ47V9cxNFCKA+hjQtn1KJ5bdxa+tPyPQKfy3FsytmmYBu6R7UY/ZpzR6b+8fOtB/1ArXF9hB
FuBz/Iaw2Pxgyh6xDrRq14VMLxPhnDqj5J5gRA80TFzD0WHIo1mLEeTZ+9MI/tUcoCprmggN9k3R
BSBOY/3gzBACvWlod11MnrXuzk2Y/Wg8RdPoJvREf3YHcK/28DoP6I1CluWi3iA1THa6RstCflQ6
QQii+SD3FxFAMsENrGrahnZMPMHiLeDCQvLnfB1igV71rX0L5/Jn1oYoYtrPL9QW7Y2suMYWpgUb
SDYNrC2pLFj+lgLAlKgQI8WAjBH3pjo6oDbvloriLEyOBI5nlFruuSQ++4cEfgImdmJgyPXXZlTb
xshqINGassJlJOu2JvgCN122KJiwMbxmQTFhTOvYVhJL41Eufw9C/eDEV7203xRqPcvAvlIqjLBJ
TpTEdrpFt+dpIzmx8aiCoKcgCdXRslRxnLm/An4t++LYYT8C3pWvpyGY1mUJHN1pQR0ReRqajV2j
y0NlxZdkYXmxzj6f8nqyjlPgy0ujbfSOOvIOgAt8Qhd0Cmc7tOozXYA/LRlcKst9SRrrR2i37664
N6jBSNlcAUQ/u1yFoSdhTMXDfKrnGNkVZwAeWHnRAptIO0K+xfmGq7h+CQv5S0vzR6OLL9M0KaDQ
N5zY+6S13iDlXJtuydjnqHM5INM8POTw+5gcAHJG6743aC8iLTv8GCpwH93M1yDoQYMouG4uRmjk
r7zmGQhuJspTjW2p6iBOyKy9ZMq9jcmSKQisnSeSQ0t7Jx1h4Qpe7Mmkl5SVSrwSI0drhX3VzB1R
lqL4pCQFe8mqrwq8BMZtGN+rWmCnpFoVbPax9CxIUCEnfGzB2KXN1WgSdrYseMtxvvNmOCAR38Kx
CK1DGRMSmEhjmcRlV6F6i2y+uLHwP0F/xHrY1aGOudL8XCKrZjQNG0vAyYO8tZ8D7+qS6FqJGuRF
V+2Ju5xUhWaWyfd+0A8Kz27caMYNdbojKA4xj54JLlEo627zPBoeo5LVyJmx7MwSYd+V1MANZ0oQ
tpoVY1vm+qN243MMLpgPzPug/pnZ84QKqIGLAoL+MOvh3fPcz1KlJ68GyNKU5MUzfKGbgnjYyjTF
xY2dqxF293ZS6G1ZQRVM7OZnZS4SbQfxjP5wOhZZhcoJK00EUmdfNzj63XQ3Sx09i6Z4NJSPU7I0
kBCXndFyhH2giBkUvu9m21QneAOwqs6yHY+QrQkdGiTgexdWS2zDsy79CrtSZkTbUucnQhNU2o5D
/+SVbCIeGeJzFhTNXTTG7KnoYXqaN1avPLxpncdlTqsD2pKJizKP38Ug31rDqp/KrMOhAKqLtzp/
ZSloWoZp8VMyhu7OLAZjP3uyvImMkXdZhaDAmgj0dWcdVZpnt4yGhKjB10zeT2093k1O9fFDMVOo
NBE3BHYV7a3Apo+sfdY+XQIzwkEWgpB1JvuqonivKm3dCFjXC5IPQjXCzzGqHTzSMAJfcdicq3pO
IHo21c5r5TlmME+rHPff5XTyHAfwxZykz9Z9TY1xkyH8Sd1irvXL7D2qATwYs5ouXa8papYFIClu
wEAliZIRKYJuElr9Jc97RmxtQry88/EPZAG5Bz/MHqMMjqGvrfijlQzqJUj4R52b81GZDe5/z1Xr
mVLDIz2m952v6kd66wq+qQaCTHOYh3B+mcI5xzRAtROoLriJUaV3TX41nLq9JoMt0TMcqmeoLbm4
KnloKYK/LvBML1TWIwFLgAnMETdh+jVzkbjhPROPpuQwwB19NGIsvbluHhRllKuKyPoGimt8BPv2
KIgDbmwzGdZebdU3aD/+Whchpjx1k/ksT8WMY6n0/fJBAXUH4Gfu+lrWLyaQRIMcpUTyWY+SUrp6
AFIxhZCksCWIu6y55QO9rUwp6+oHDL7koCq+3k1hswEkjb9px2FL5XPI7roodSrbCK9/NgbcU7W+
50H1N0auznOItjGX9GaZPUSRtG3ybesPYgXzocVzwK8AYTElNJIOUpRvhQwMin08B/tUpbSB4le6
8+7dqjnTerchy7yPgcaZPdL+JBMF2vBi+Um7SWeOHVP502TYOrj+5k8ZrNNNO95Td6ft4OBwF+Uz
8+7ayLk6XG+xtS8aOFNqQawGyR8Yceh9NKI7p3ommWp9+JrTZKC/igL+n9eHoF2r8miN3DlTBgOF
iS0q7U1kMpGT9Oi+WkkXRh8zPg59F4CCkXCHzCjwdKuE6iBzY0IAXrmtuLTU7mKXZcVLQYcVoGsE
R5GOekIaTiIcSngdu8bbROR0O6u+t7Q81xUG+r43P3Rlf0tSL4yOvZBbXU4kFr5p3HN09DHmjv1z
m6R7iTF5hO1YLtkVO4l3ftowkwchNxkx5lvq0+5MHOYUGj+2MnlSOiV6MyaQsBn+RYN9FLF/MCT1
RLZpfoU4nzMbyRmvDTJ4kV4my2OgDl7EIAS68vGbnqrmfWYsN6cPY/Ebo8ut7rS7qnFfK7s8+2m2
L6PaX0fRBNWHzBOGqE+vApJBivd5Fpx1ywmcB14neoBgDIULuxUjpOHcrGaAr1W9ws9U6PwOekT0
y3tEmIPLnLgM/dvwV9GPT6PZHqr6RegU9CovJgvGZ647D005PfCtbZMIfKMk5d3h4WULzCKCP8ns
5fiKWSCifZAZzSoYiTuAkhKYJF5NYoKbuGQAjQHuptOH3qxecM7tupyXW5Bqw76HTcpO57218DET
UlQAMCYmWNBZwHPvuCVy9CIwvyO6f9NYiihFU0ytiUnXPZ7NoZ0eqaO7pRMvsg+2mL+3jlHXy4n8
aMvmyAkvWQsLUtwc8kqWJNBRo1s4XvYdhrigBB3v0qcYUh28gRGVmNWv0kBRJHPMPW7SBxZAS7jb
cXmcpM8vJF78OeEFPeAYwPDuP9u0hl6TjF2fMANWvT5FAKiyCydHtjbm1NuxOZteld+GPjK31gLi
bcLQPrU9W3Soav+1tUGZNiEkS1na+3lQG8uDZRSQtzxnptkx5c/pv+NTC7V8y6PSPUy4wtZd09lv
mTHvlCpek3zWZP379qod+7U8e1kZvuaZFZGcJQH15x9DfEYbwcXEU/Eh7gkOtUVLE7nCST15FHkr
8uG1U5GwAxN8DFSb3LkZFLpgJi3ZZcW0M7Ustpi9yHVxB7hFfsH/cRzm7k+LyCCm365L2MxBZYpI
8l6MQd5PrNn+NFRPdf877/zmAGFAreLuOjCgfjIxOD8Hj1BwvkzLy+6nLKA9wa+eYbC3O535r1GF
8lOD4j3ykPwu8iKE+JSkj5HgcE4ulCiB6tLHP7/WM9r1Gb6OOWJXImW6ZZqEnhbKfZDa+l5yMYef
NoMtmff9FLy6pdOSJ53VxS/9B29ubr0MPhv6ZO8qNfzUBckAyup30RwS9zZmYASZz5wqAuMrOPLW
0zIFjQOSppPggooNioBYv/JGK6cOl9IT+AnKqN/KoXIvQ83cTQzGa5WB8cbWzGXDDvZwqlAuznXR
EoDpcdxpAwfun9OR5UKBYMOQp0yk7M7OeD/hI57iLtkVYfNo8BgxVuUrnrWe/cSJ13WHhNS4Z/OM
0u4ge6onKBtKoZulelOqLNm2kbr38nakoZ1sZd6VIaHZdECX4LdiPSnWafctqjhiH3ssG5XsTG8Z
sIniouOg2/45rSWy6w986HD+P/neQaEk1rRturjfRllx8VPzbsqK4goja9XTn31j7SQrOC+ppVxi
C/dmRWA389SznbxkEV6ugmqBsLA4PKo6ZOzsN18VfAgEvAlknoybU9aDr+TpKZR544exdGEzyrBj
XCiZO6Wrrhdq1xuufegHHyNPZNmUAJhQycRDsBw027HkBjXVD4qn72IRVAnvKsb6u0YaLlE/jds+
ZL7sGygjLsiGdZ9ab74v+C8gZONl9EEtVjEdwRN9Cbr+KivnFBt8FZf7qvLoX2v6YKbSAju4TsIz
6IiHwPetZ4shZ8MT2dlyPk5d1G/D6ZpHwbUXfX8KZTiS/eCTbevdn49+mEjY944mDlLVXwVo2q3C
I7EbGfWuE9B1eytkGpywAsxyggUNi+8u07z3vz9Hm8OAohf6hEwWw13sVoloOPNwEo46YyCtR2Fl
VMNRW37Zd+kzI0RzAyeDQdTm+fIDdGSrR/FMwT6uk9wZdhoHEaLeQmKmJj71Uux7xTe0O1ogCDWs
ohGVJlTjvZjz4KyK6rNJJJ4547l2nomBsFFWAdeS3MRZH1WLFsYz10jfObSczh2q6FYlWh9ZQx/I
a+ePGxccyn6gDGs5KjB7ImT8NNQJG+vEXErF/Ytha44IVf6GJMNpEBQxQLxwXWRJe0KX6FY2JNBL
X03H2JirXWe37cGZ+/CKMhSvRlV8Mo60ztQ9FztqRKgJbh4Cd3FgMg5YPq+D1+P+m3Ou1FVgv+gy
9o5YmvY9h3RKKcSxyCL/bcrrPel/63kKMFZa9MeUWJqhbhEitTqTbok/X00Pv4+ihoU0bioPf5YE
FYsU5jk94G2bP7nquwoD//znS245zrm2FdkQBmMOCvG1ksGrrhmbGbp7ijXff8imkE9G5WynIUZZ
nlHCEhtdKJAtbVSp5R4Mo/j95/VTBdjciGttlHorR+48iZegbsruyYvh0UJYsQ9qZi2LC5alcgzk
ihJnXieiKQQwrs7GaJw0nesMODPrjjK5Z6MfjGNdQq4XNrwm29wmRpueR/cpqtZ+bwOXoCfjLq5n
mzEQP0RlBh85AMZsBKIinDp4YAknxJB2S/vrUxYhBHpm0x8rvL+9J0n/+jm3bX2zw7g7mZgP21aa
Zx1tuHhA1s8z/x4RW+9aC6cfNM7HtjLhUs3uk2uCCxyXhdcn7m/k1qEJ9eefnz3P2SsMP+rrZrg1
kyYzQT3lVYB3GWf6vOB8QLMZkbzVdB8F1ncsfZiPy2MgO2XvTaMweXmNd6homvaDqryA7t+ZHKJv
NrTeohCgwvp4IyzEHyefKawas2dRYuosEyJVjUaFTyq1szq6CY2ojXazNRJRr8VMoiQ7x2kbXLlA
cxNBpusSxg3Lui3j8uT7Mdc1p43WI7zjVRJ09cpMydrO2PEfBQJoHs7hyRZNu8ZDfch8zqLtUKlP
LQ++fW/HYXoOFtFl0qD+yfDbB7sihuOkDMmq/MNXo36gMmg35bh49ThMJ+hEMcNfgvJF6TDhW1YJ
Dlj6Z9bLk0OJ0IEdMICE9J3XMHIzJ3qr8hZTYJSkJ933Puxr4LJm2SarOO9JAg9DuRrgd3Bbtn8B
N6A6d2QaU4vobE/mnmbv+rbUzGljvP5Z13Nwt7WZzzs2GY2JMOlxr4Ba/fOB/vnG0E5xSofs0azD
YEfdR76zTfgUJvPJqIaXY8bF1WIfWuvlS+Z0wTkKJOQPxYGUuasEAj4+OFnDc9B3N1qf1KpKxd4J
8LCaoYvaFBN67zib7uirg1beA8pXBVE4IyFv4Ku42zg5VGEXEN156JZQiRmT9CDMsZoTExSbn1IR
szxGquvZcd1xWhtpsWdG2K8QxpEELPXhTyM9B3kHsDUb9KvwjqE5oeXBQ3waPmxpx8Cevfg5tH9Z
rePfQQxoqEOQP71BN8eWjRRf47QPmXexsPOAJyO476rz6l0f6Y9s7q0LvVKSvB+jWBpi8mU9EtBk
7lru/n//RI1uQBdoKZX/c6Qw0o4C0iXLOfoxMezRoUVieSN+nsfgReMH6JoN6u3IPJXsw4adKVoP
aMpH6p0ZvCAanCqDwVsizRiMAyoliVa45UNUHAx+kgj6dXnfGjmpvJCdwrCNw5jO/kl5FAPe5YCa
SHBzPQwd8e0UFJBUhT9cymDIt1Srdqveld0+izqgVpm9y2svezBYKx4NXV8yRo19bQ9nQLzc8Lne
r9LaFHseIz6fpHkNCWQ/B4dwWbMiaV0x7/SxH97HHosJA5mHBEPbES/mo01W98/hZZTuTy7qwMq6
2cbBFPe0q071jSXhEEaiu8bDc6Rt84WRmcsXnW8QFYZLBDWdPrPh90xOeQ2h37wWLgzfKDBeMrps
7yBEmuUjQEmm704X7nNTv0dDtk6MfqSAkfxH7zJgJg0+H/9sojgud6mVxJfkww664n5ufI46Hn0K
4BLVsTCZzkCrT0n2GNQRM4o/BpAb1j6FFyFr3bsezVUIonEXh8z/XWvKiWMjv87VQCVBvcmsyjqj
kH5B7rO2oZcxQopRZtuG17LsG2AHkp0X59tcoWTXjc2HXrsrt59JU9TxS10LCOwXAKf61hr6WXkp
XIlsMA8mySaiOCStssFRaqVbu2TWznA5KbGk0t+xbxvsDw5jwikFEI2Awklg5pznGu9NW9yDTTEh
avGYF5hPzsFyeDQkrD8i1igAhn5J/RnRBVomdLp0TwdN9ZnmbOvYEM/M+MMfpVb3LHDqkRbhHOXA
W092Fr4xfGeiT/rQ7muXcqbhVjCTUoz3T/M8fsaQkgiQobnDlAweWFU5b0SCUW1lOSf2XdqNZhXv
G0cywPTd+YDvwaOvFMSMV7r3vf0KLqzFeZJ9RQPyDH0DjBSWI4YVRPYPp+IvYwBw/TNDRS8/BFSs
74inB9yPLQ9SGhEd1PGVMAHEeGHxSGPS2XAciGfdiGWEe3RYRa//Qd2ZNUeKZFn4F9HG5iyvse+S
QltKL5iyKpN9dcCBXz8fVE9XdU5Pt83jmKVhgggpUQhw93vP+c7yaAaQQc0EKNUF8jpiOoQV/CW3
tenKK6IpQQ0JzkA/QGWv7eFxGHJIrFoxbvME47iV2Vf6CSjGWZRvkhEXBn7N03JmFWl4b76Sz6EK
H8HJTuc4Eaz80q3dKZwg81QJtv8+wxdybXeQs1imfNJ7uwxy8s8Z/iMDE/Q59WmGTLCFHvM+PWWO
lT+qmd/aomGHxpcRwDEOj21cMdEWdF7yuhb73NRjBlKIhZ5/zaf299RBHr3Mt1TpbF2tjm9FDmOc
hMRNI4szKz1rl4EHtXsZ7HMSdVD6nTvyc3bCprov1BwBZc5qG4K9KVhGoJLVm6NXDsBY39yWnSx3
KvPFQbrQTVKxRX2Z1UYDS4qqtkujmwCubeKqcI8TZ4JFkZ+RslusCuVPEi7MA9yze2w39bEu4pFw
BtHvB6jzRdAEZ9fU56RPb2dQFFy3lnyVGuUMHh+0Qed7TTMIPaVLGVBuwHe5zOFp4ulUUMiwvoxO
izsyIf5caNnW6Q3xhrKDKJgcjnAnPqnmiNdy7k0gFiUHsAe01bMY2mfEFh89JnudFw6YQ9Puauto
3cV8E5By88xq3zoatXqyy/FJy/zqQwmW8X00m79d8xAncbllrI8IpGjItzW+LVPcqKUg2483C7zZ
elFMLQ8tpP7BuVhz2RBa2K7+fbvb1H9p2rsGamIbUQCGI1NnEfHPze4p9NFw9Pj6jEkchsEYHhva
BsKJnyJnRPcyz0VDy39Iddfd5IrggWIekPt5ErOcoz4v00ytwYBA/4pqpHVypvNYzQAM2lLL6f6f
RCEvZc6/fysm/18VIf9vJecO2uz/XTdyLacvdK519+OvuhFEH/8tHLH1v3mWi63DdCyUHvqsefhD
N2LpqENcywAR4Qn0Gz4i778LRzRD/xtcQR89se7rDhLuP5Ujmun8zXM8x/XRbzgWVWb//6IdMWZt
SJmNYVnMChcPiJHrch06yN2pJ9ruL9qR0I6JD6YvQAG9INKnby5mmRDJlFQ/8lxFeyMaSZ7uI/PW
lsCT+lIGqxTimycZPLqurnZ+zUKJxOqN0lV8Ulpy+8sn+i+EIeasdv/lFD3bdwUfiOsYhphlI3+R
hdSm3yHemrBnEmjGAx1fnkl7caNb0fScNITavNtQUwCFZkysotg5uRl47EHKy8Cz9pmYUGMLXDnd
ZCC+z9BL5ap2sbtQ1E03IDan06Smz/9w1rNY5dezxkKg6xgNaGr/etZgQ1l3K1Q3Ln2+tZXV8L4N
r/ycsXDWaJffc8cCFNGepNDtvcQltklQmzzpRg4kpEXvWefSB6BS72qad7CVo2fi0NXNoHx7Nkbx
7PbhCiPzluafvcGZJ2j3lz9NpyLIL4rsg21R8XYwyP2HR9evv5klPNMwfMMGaMcv9utvpvNxDnFF
Y3p0eqZHWr4bR9u45UpihnWb6CRA5B3DFnyCLv6wvvB4CH+U/+JiMPB7/NPHyn/ueLrgwhWmLrgm
/vliABaaJXGDhxT181nYKBJCYb7ajgbq0+usnYY4G+usOR3hzVv0aQBpa/cEYrRe/+eHuPk/zwZH
CEoujzvIFPavZ0MheSTWcVwRgzXspJq+VATYgecAI3gr0deKvr3kwkXGQS0agREW17qRzgXN5kvi
jN67cPzvMZFYk2n9HsNFeIrRh+80FocsSHW44xo8cl0SefjvL1DjX5w79zzCMYsxyHG9X87dhDxf
BYIulxZH+R50TOAkxr50WJuFSl7KlPDs0eyGTWTSSIyGojj07lymNLiC//25iP9xLpDwHU4D4AUS
OmRx//xXnUgAIWsO01k/oQQi/tS+qHTOH9TQ++sVyjaUxheNgCaQczDkbHNOMUkJf9Nj5FxR5Qzb
SWvL67LhxjooK9MOKvGMc4w+pVfxedlpm8yEJB0XWyNOOw/VLGsYvcKtLc1vOEvXhkYuhVnPgE2f
OGSsyM0JMvv0MEnM5GFsZqfQCLQTpwcyT2vFM2BNattKndy2B7bYJOLS+kTGQRSxNqKsNr6GZsRr
kv5Ykxm4pfCVbUcvrHCTMRXdgqlMzv/+83RQE/5yZbIywu7s6Lqtk/cqHEaQvz40C4EcQQjwWmmR
/BBRSLB2jQIwc9xN2tLCSelkN+S5McLlJ3+MvvfmgL5VFgY8k/nLkPkLtvuxhJntOO15+erXVxCJ
DEDzsrlIzxulnV11zYX53RrqAmnh7xtyeHABL/s5ZLgtnxT6g/k95fJK9493Lu9ZXhFTCdQM61FQ
slj78wcux39527KrrDjctAgPaHW4t0mfY9hyecnnUQM7TLhH+I0aQLTPIoOzW3rdh48o+Rya1fhE
xsJzYV6N8EhEqHnR8oQYNpNQliCxXigvjfuBWtpeUgnwnSCiyYw/c4p9hzRwQ3urKkIgkA/s3blk
VyBUO9AwJpm6b43nZN7UL4ZC3ptpI3KuOjLlHqSUcYqZzy+FrzQkWyIIt4j8cVFEw5tEG7jLpeei
e0re4TWkvyfRCGA+Fed6CD+8PvTPAIMxFJXCO1qS+S1TCVy8On5HluXdngy+CHwl0M5cjcBzQrvd
AyrIXtIICWEf9eXvY4+0L6NPX+XZG4RWk86fdCP5PHnM7+lLneZk7NCemouupmanAktuu6zYBfBa
Xs0ozK50SkaduvxY6f0LPG0CIfNOvkJQ5UfVvvkoqZhao4HYVDrYtwSk+YmS/z5DdnfM3N98rGV5
lUJMTjRS76k+kl3TNTsWx2sCF4pLTZGAtBHtBl5wunoud2hL6WMTZVaxMQm3QGhDWKtOHMvOVp68
4+R5pRs4ICHHc0Bur/aJ3/gtxvX2HNqEt/ZI0zcYyMx9UPMLBbpeAVOy5a31jP6murEkjngSX4lj
3KbaQfAduN4BrPC00yzP+KBwSReWN9iqxQjTIg23nZKV85ya438vQNG8uR28zIaw4/XodeKtCPyB
blvS7JZd4LnwoUTsHZddDCLYQ6Dq3JbdoI23KThbrHuWQAdjtge8RGcDs8xtqU4xyPM4JiWb1kZU
cLa8GnrjX19lzKOtMpeylg253mfdtFexm7oXn+Ts+0hw7GGuEELJ1IO7AGZ8p2Pz7BJwfl0OEUvu
HWGVwa6Y37F8F5F5v/OYsM7LIU3J9OznxIAsu/xBMvpsWgsce2g2epma20Qa2mM2bzBk+zsDofu8
1NUeUzMMnxzhzbHyAYHnvGM5HqMKuI1jvV32luPLz3Dogzf0Bx/+PE6j+F1ZqllnjU1uGrO6Jyw5
yVNm9frKN/XuUONU/+MYySbe2hxMinfzWxjVkie7gLw12URUEjRJGpI5g2/1xkuhy8z7eVfATJWQ
z8d69gx6qtiMtpbcNS93d0VpkMbbN+l9OVZ2cx6YYY+HZXd5IUZbpmjOPZgkSLEw5/Ogqm8cupiM
ozmYls5z3DxPBMYwKj4vRwryc9aW76aMFxwjP9o/YqDBlT+/fzk25j/L3Cjuy87ghj9QVR8DOi9X
PeyTx6EhsduH7fwFiPa3PMice5SY/kmTFZqiFnqw01otqN/ko7AkiDIHkDtXZHv1zDE5d7IlUMzP
cYVpaGELS09/zNVjlrE/pkjPyaRrxYsD52tHvfTLl+RggVd3n9o5JFyPe/crMlXK4NH7T42IQScY
OU4sHFw4ykPKo070qfWZ3FlTmx+bQvovZUEXdvlOMspRBFnJA83e+KoCwNG2F+CxakK0sdHErCC2
zekg85F0Hcovl6z3jkunprFM/6GaN2U45OhOsgrhAs9hp0u0U54JwMK1px18sEUvJr5KxSiEksDK
KheniqXfwjq0yZOeYgxD6dGpamrlccJ1RNVI0aTkgtI989XJx+GJ7Ji/7IlIHXpZT5uQ8vbRtyfz
SCwU9OssrT+aUf/Rht30aBC8dQNci73dKwh0hhZlIUcgC08zQ/PgSf1Gidy6+PMm9mzjALTqo5n/
T8yknOiUPC9GRL065yTOPoGkk08AFq0H2rsrH4cpkoj3uVL5WAxEpDTFSMpBYmy4GcQG4LtxMwcL
m3tHuGlvBTpFPjYE9Oq3kXFpZih1q8/AU9HTspkwDTxBqJnxctV1mPeW460V/Iz18cNQAx0OtL/6
RNuMjoNgKz3BxEZOEF4INAWIgeQ5TdXDsje16KjLrtcuy27XJv7KpHx66kbBrWSJre44BMUmgNIV
zdgXeID7EYTGhwwk+YO1rS6h0i2mdPGzYWneedlY//jKEXa1n6zodTmuxxUD5T9e9CMI9kDzDgqx
zFkbouzcpAU0EJNS4YZpqFzzcR07NwxOut72N5ZS/W35Kgir5GKS8aERFvOX48uLFiETkJWr5xyF
EEvUUkzts1KufAZdBP4/pWRbhm91DCsN1wCkG90KrwmJwZANs61gbvhcDIQyTYRR7fO5k9wlIT7Y
uvrSiMirNpETD5DuKGeti0GecYJcmHxUX7av7arc+zDTErE1RXX0CKS8+F7NqqMHIVHXhglKxhvi
S9KX8WWq3PiSqunmOxnLZ+YAK7dV2nXZyNIiKA7R8KuvjfgLx1ywDIjAHXgxHQyX3mEzTd4Fba13
Wb7SC8xKA+JOrTqYbdtx8XpoeyJaQ6vlSzdPJ6bfiI4q2EMJEVmn5feDJr+SUK12lpi7bHVvfcza
k8DSszemNynCA5VvluOQHJChy3J6TK3GfOAtQEhySH5TiIGrG4340a+I4kl6xEFZhZ/PcZzsVBXG
xUCQpedmBxKnku7Vak33GmpYHxoTPW5Q1czo0V8HhRBn2YjtEBfGexe2+M8hTD2W6dkwodNauapP
lW7uQ4g1P0lO2xcEHb3mbvvWgCYE+aNVp+VGrXtmPgY3lj9tMaGhWBmtBtG7/82bZPvkl65aNyQ3
XFVf22hRDfS6BrEJlTcno/J3F1UWERdVHZzRzx+WK6NNjd+1mcCUk91GlDo97HVNK2BbjjjKRju8
D7hkHpdNkb8QRvqWEg7+Uqf8j1zuxLGxR/LJ9JKNyKTanCj2aDo3ToCye5jcx9Ivf1Y5ComQ0sUh
ohQOZEQAt5y/GmI6rElrkYMxz49AjdxLP3ePTabDb5x3C6fsbg5q/8wYAxuftPKwvBfeSUYKrGBX
2/siaYLHZePPcQaOTUrmaCaInmYvYW7V7lOXonGAA9ft7L6tH+FapWFkXIhF+/smGajb5uQEbMcA
4Q1SemQaE6i9VeTaSMWSsVkvNxYJPphCS/HTECTbG1bUUfiuHR2aEzwkLSofSm/s96Fd9zNeeYeX
LkZWpaWXPCm7K3YpH/MnY4OKOvpxvl/uYgLGFvNdyeQAvCOcT7/imneZl2Mm0vpbFyO7qhr5AIvZ
xMGcFp+Gmb/5BOT9iLJuE5I0s0srSxxNP4qgnSRgVCqKPpTQvhLDSz8B3pIaPeUTIUMQ4GRvqdOo
K3pGXfnZjXW67YjZORZTYb8FyPGW41ZcZjuSlycoMjL6iPRH1d5DfCw/SON8THrX+IyTziF0rmpf
CkWWqoen/zYaTnYYIrc7RZOXXWodjVRkml8gHVGSMuXf2zKg+5Gm2WlikXlwPAUW1ezhMoumfrLo
Om4SMzJf9fZCKj2Wm86IXgaDRW6sBvMmOyUP5TAUJ1So3WVMS30ny2zWeGCRyTU/eweulJDcqd5C
cwheoMufU3CJZEiHT70eo9wquxjzWeL8UNK8C/LOv/J+xiP2UfBW2g6Mu3E11Jbzlk6oYUMntH9r
pbk1dA1NygRNO3PL8XfXsH/GGXTomNSiteRTQwrSUjkzsyearAQKaKN2MGYt5LKhyc8SuTUR5FBQ
gnyddRVCa3RXfeADcmyo9viF3RDzFkuSi2J1xE589+a95dCfm9wrLTqHdBdrboShiAYGUTZN0Gfn
oUZf37TFMQaXsWtau/8gLIaJYR1/bzSv5nYz5aVSdfWoC7Xw6bEsTx2GqVjdlmEocaS6saR/M4mj
W/lOJffLUyiWeoLoJZZ7yVyC2QO79bwb5gRw9FE43OLa20VDQ4F3aL/hu3B/OkN0d8gt/qw84qmY
Z4V3Ukw4fTvBbzMOz7bq/v7Vcsx2hXpevhpifNydo8mDY2ELMhIjv3llNcE9q9NTHQ7NxdYg+lVD
7z76SEo2k6GhrSvzdtWS+vBddGCclQXAHp+w6fTLn6/D7ZM9g1Zu32GwH7zexOIPm79qjRlbRBmQ
/D5mlKN5asdhB0Iz+cEQ8lIz2rwPdQecmQrFRdgTNFWvkdvcnOJ323JfqEOVp7YZSGNq9HuGu/MV
GhnZToarDgGD+Utn2N9l0kW/Va74sM1WveiTRYxWXog984Xq1TYxkM1vsCtqORifq+ceMfBRQCnf
A59Nz7UzQAz3OpBAJCAx6DnyNSYjuqzNkUwQgHklFYI/jmdgupbj0A7/+v5/HEfd+Nfj888JeV7t
2x7TP2YodVIegb26IHQTbLZ+jKjKrlmuBq+VJcVhJIsIUh+vEpms7cvWtDYUL4NXEtyLfZsA3l1e
HQJD7fzco7A8v0qglrP1R+i1GU7SlcrU9MJM1scT1E2oyZOJcoKvXaVlvv2xB5D0hYTiZWd5e2n2
zyWQrFs3f7Mk9XWdull1XN7RxF2/S8mJWWtDBdwiEveyagXxINeM5ecTMyRxH7Q+308D+Qh/viEv
3VvIr3hd3t7G0EPHmEfDspvPP6ICDrnS68lf21rEyrexWkw4FpqEmjzMZXfZWKV+Brfj3Iw+6aBA
EDHcU9fdLC/C6weQ6Wv0NsnQ6FlN3GIKuo+QId3HptToUiIQPhrMp/84BnQIgChX+JYeaUfxJO3a
w/LGWapgJM0V0WBzHRnC+43dCWvPU/ZreWHZoElETuTFF+mE1tWOkwuklOJu2GF5F3DWQGooG3ts
gwtq3qQaAiZ4KEiZ8AuubGVAx4vDzymIQ+S0kX4IArTBlE61XNc+WCkWB9Oy6p0e59pHmMHK7YPg
NWSADBSKzuUixFLDM0JPv2E3Mw8D/incVFy0JZrUP48HILl31GGnz39+f6uLjyFHqspCsn31/NDe
Db3Xb1s9ZxfO817YEK2HPOxeR2MCnDLhh1xeTfh1TrVNhXL5XhMB6laLvG+0fo1Nx4Pxe2meeNTV
X8Kj38DDzDq5eMWeLIew8+UNXad9BqyYnoGJ90dh1c1OQ2+1Qu+jLnkkvry2t2+ZtOQbVM+DgNp+
D2szewC0eUJP+O74WsU369E5mjknVqflX3jUtlFgEzxZ+e7BSAAJ2m52dwZ5HdGoHtMinZ5V4JMf
h9tgiyxpei5iIqhCg2vNYuSfWznmJU6L+ohA1jnWpZNcEFSQUQALYNsW5c9l+aaIzxJGUTGbyJ68
0XN+i/L4a9QYHzua/HnxFClv7UE2eEDQKp+KMW9I8xv26i1ClvDRlE14MtMQYrhWZ1AQW9x8Kukf
upjSK5l8LnBgAnX6IGYCrw3DqfelvveM3HxsdLCpMN6ab2OQvqPjIpijApNs2vpPbDtfNpBYXKDy
pW86WvxpWaPTaUPCcAHEpF7xknVt+Eje5/flsB7k/T7K4Z22gwUtpauxZhsR17E102D8TnyHD/HM
B1a/Rj7jrDEOXxTFsmcPywe5q3HxG8ySJ0b7dp1grt2reGiek4C/Zt1V8kjaQvNc+clhKpighYPR
zY1z8TZqCcmSND+34Ae3kuXQZ0IBpQ/K/rsd1NPaSCyqq2XIeqQbM23PsxWEg0KUi9IbnriAJtxX
tAyHHEKDrU39QdhafPZbC3JD+h6gtX1P5hp+GSjxGCLN2bLcjU+N4b0BdPE3ATB1FuOWBaTLLBDV
LUXUudGx7uAvn2GA1RuNVtk1s8GBptOEohIkIFMFeck0FLqiruybmYxq5zKR3Tj9GB2YAF18cqGA
XVGG1WByBNYthbpxjgzYLI04QLrTr0Zii62MkWtyyY6PVlx1h2BQV70Jj2gZmC4ToDU4fneaJJYj
hDAmuWMAQkiP8rvPSFrZBtXScNOd5tapGAr6fDKt0RlbGCruLLI59LQPPrhfom2k4sc6brYSyoq1
KtDSB7Aqd1MQzmJSF4eeIe2D7mbiQVmdfYt7+iHgNYu8wlo/mZe+IT6g7UjzBJ8f7BstYkJpyjNr
OMRu7rBGgVKSwIjD/aJa6w35CfGHU5u8gJ0EXG49xWFyHrqeD2aaCDDvyCTZxpZD8a2gZTV3fZoh
cY88ITfoZRDDzptAyEujiDCHvVzdUVE6O39gLSNk89SAsT3N/+3KYgA/5rHTbdrEUa+iq15z0F0B
CY5XIhzkg+jJEJl0rUHoz+78Yq3I4puSYxNQ+yNxVD50BrIwprbfmfzxlK5QUlaJC7iEle48rIJG
Z3eeDfchFl3lW6epUw+iFHyv1C/SLbpzlddqrcPh2skxEQ8TRR1Sk7UQ1uWwbfCsoFkLEyat4hHP
5duIlAi8kJJ7kmJaHJvjeCi92N6mQeeiYWsTumiMe5Zsj+BXX4WVFmebtmWtsCcWeunvZKrPIPUJ
i1sXnLOm1zaOx5Iz7TDIt15lkmWoKMHp9UuU5PWtpsojmk7cm3QAVaeCS6m51otWMxj03EGrQcbt
ffwR8NS8h0YSXPRAF+dS9XihpqD/nnjtxgZ+ju7OIZ6pgapJe3spYQu9agHgtCXrnHyr/Cy5qCki
RHFgzSRaPm2f2Fxi5FFuRXcere5jXXUvbliKU6uT9JcLn5sZQMMOH+DZq/PoavpAiavxnndNcJL0
i5pZsoljfO/aivjl5Zw1gjkORnjzyOC6ef09yiFIcraEGYcRntrRdd6E0JB6OtVw1dqJ25On8nZK
KUODcgu3dHHjczA+pbbgEoUVV96qriHmAXMgQc3uJRS1ty/rpNzUTfoD9IJ7net8VIlM+utVMeey
AJGZAENH1k/HEONeaH691wqeHnSUzX0q6UtRlzYurB4A0EyK6BOJLpXsJNbPtPXaadhrNJ5vfmn8
ntuDfhwEqciC2MSsC+3HmPhNsJkmKtjMO0tjWsmhkw/IV0HaK/6c7aS/y4mZifLzF7xPcxS0ZZCd
IpxL4xpfVVTIfZ8hi001XKT3aKD2EldphR1aZ2VsNe65kNY3auvjWQ/B+9iFXUMCF2KLzS7mbiWQ
3aooI7rc/azheCC4xWNFFeoEztd/yBNR7dwy8PaagVLdFYjbmonKDckH48bMawqNzaNtMC0rY6ne
w5RwbD6EhzxE4G+4BSQNzx2u0/RbCct/nxOSd0y0yr0NrvqRYnndql7QL9Qq8xxOEMpHSFyx8qM9
MT/NiRgs5PaTnAXm3LaBZzR7UfkBBDKLEQCN+6rqMgImcvszqAWTzlRnLT4SOw1P5WaG7brtKuuR
q4wOpGZsPE12rwjHQ4Sp1Vpmgfk88UlPqo/pL4LYiPJrmAK4twiLhupIixqL0rSdMtC7XswUz1W0
jigjq0OpCABhQhlsG6PHzyoL+KZNduoVyodA7wgIEyD9BkQpVt7ULEoQGqrEKFY5qVeniAF20wf1
iwSsZNAwO5BGDhSEtJeTQ/0eEgSBkk382PfBYRgtYlcaAoOsJrzFaUatL6hGlNkZRtnJuoNQ+AHW
jvzGHMuthyfUzihYxGPxwbQC/beirthEwaos02ILtTWAUHKFTdytgpqwmBCnx5ZQLw2shwtFQVBQ
CiMckTLj04jmX8LB+n/pqupF88r6UE/N5zLkouslItNKkB5n5bEgb22PI1wyeoztrnez+iq1oaDO
9+l8D7xheipoC2ehdwy6ggxz6db3STdvT32umpceodBKzaVhXwOraVt+9KkPkvjLgetP5RrpKKmd
X7QiwU7Cnz/QZXKvgTJs/dD5TU4mQbS6fRpcYw8LL9yUHfi/OG1xzeH/W1FB089jo7/V3eCsUpfh
uOoqwhpjbF1T4vvPZSQoCsupxZtAtrE0dIx7LKr3OVOmvQmlkmMDc+hAfuYalDlc/JRu3OBVtyEA
YEv/8rS6u6fS+9DmDoaQAOrSmlLUKOBix5juaBLvzSBrL+ZkEbyLpW7PoghXdcPsL2iyZscCY10p
9PeQjb1XTW6RUExaT6t5DIK1kOM3DWEuhWUuYuYjB8MgbDwhhmCpsPcJPd5Wpclj730nJYSufjWV
e2OKfksz4wuR2k8GROtFlzDKYjQ+6AnCNa0/5xb7nAJtk71NXs3agvq/0mrIP0nk8YDLC26CrHmM
SRrde/a4bQC+HNvJAviT5tauHJhf62TEMU/Cp8x3Q6EEN4k4Cxo2ybksA0X15Djilc7S3vXTQ8As
AynPeQCdt2KOXn0LI9ALk2s+REME5MDDVkkgisSJeB4aibed3/FU40yRbeW8Fgb2DTNEtoVTFbCE
15YrdBoonUUutyZt8VvcqHabx2W/8Zq0fZk0DApGRS4esIPXGnjx0HT9fbnWcMNVuzDH7TMYpIcY
MOzvxKiY9xbUjD358dYp5WuQBfIxsg3yQWqKNOl3VinyiJ8lvUUpWIGRXLUPLU0vpDc9YgGI1sQN
BccAaNpbXPj7oUk2lp9Ej4yV8X1AG7OjK7MtYLsdiX8HQzb4/rd8As3XYlG7jXGS7mnu43oPl7Q0
xWOXR06UyntXW9FzIHf14Ea3UUInabXrEDckOLWm9gx5XtuaJLxuBd5cI0Cbw/SC68r1KHzRK+SC
8LZRlcZgG5301k5FdcA3d+ej3iHqGe+dHQ5P0DLvjquNmDCqZNNVZrkNkyL4oiaR16H4VBDySmgZ
XLLyNbKD8Fo3LCnE0AEZIkSvHfYO9kkY+Dpupqo4T0q8BKgHEcN77x2Ranqr+yfKpvk2lXD9xxQ/
fj1m3XFxRruZdtF7XdKW1KO72R8D4dNaiyhM21N45LM2nnqFmKm3jfJ3RTBQElspD0oM9yEPwgdW
EDC60ugY6CSxpmB767K9uxqJ2QQ2bIRyKNNZg/+OBuGrQgJwHT0b7SWyf5IKUAV42QBthgJAlg78
YMAKBCJYhGNFdLM1eOZu5Tsb0dghA6yXvWCsJyWUjA6GD4p5hreWcXA3WHLBuo8q/uBd+d0yDUCh
mUDVSYgUD5dXz0wIKIv8z24oCGAsz6qjckb0lrMLaFusRLSOy7Y6eZo5R5pF+8LuftAx1tbCS+Go
MPzvIj87o4HzV0ERSXwkBp0yK93RGX2YvHw3uKSkFdZwZ3Ql4N6bWQxtQlmkGbZRxpM7zZJgq5z+
rVD08AGFO3eB+H/SiCKqOld+1Y56z/26/s2mbCMJUzIj+aL05kdWZ/4OVb93ivIRDx2tV5R46Nxw
Kn30Nu14fyy3WmNYTx6wwLWA+AQ3ZTh1KD7WNQTOpDHT88TjChsU6yaQv4noiw8d6tLK4fnhF0H+
DNIQQY3falBaTY05/Y8CdiBJ7cmjxcQeUg4GOKfwwCPbVGgKHPSIFohKCNdhBPcABohOpBbzWkIM
dM4LYk/22Co5nqSOt5rK4y7qKwj8MxDVGF+o2KTXzHRiFLnpG4Jxf2cZ5ArHs4p3GOAgaQXrLlQY
xrHRfKi8cupfqzbcNnWpXYPwHmHRhFeozaEe6aYEDkAYiLlv3eFeTKa9N4pIY5yiUNBOzFOkVYIP
w3MAh+EbCkxtow9Fv8ZlYB0CIYaVm2fRTRe/WcUPzNjVGt/I9EiY2k+iCF+TqlIXQ5GVRfZyufMI
6FwjS3a+M75FFgidIXeLXcPkmJBoZ99PQ7dOO94JtpG0aov0p1BzJIl/RrZLQvjxPv4pXXcPVqHT
J9Pyp2QKy88MtcC6H+qIVQzrAKPPdHhfLJ6L2r2BwfZ2JXfRppTjWmAtpwkf7BOAuLQGCcsuoQH0
Ibe+JYxvdrelcAWhWbS4Okm90dzwYTQnRkJPu3rKiPYdFKQV2ldQAgm4m7YjtTIj1wO7elSW9lEP
Cu5JOzpMjrqVyHlZYNR7+knhyizVts1BFxAcDa9lIr6vKSkNKN+mZo2X8SpAc61YkiYnq1I7FRJS
QpgYJxXfDRm+S8N4L30H0Ws5HTLVvmk9zaG0Nd57HfYuo8b4XMmSiXeOfYwGJQ9KW10xFFkb1ubO
xnW631HZQoAmiQLFY7Z3cOEcZeyVZ60O7l3rezstaQ8V08RvU2qvAczGyhlCRrN6HfNEB9ebvhME
IwmexZWRWOFnC4DNg5ehfBJW5OATxs1nPUXke/QJbdG+r30qORhVYnAniaHIMhch3DBsL472ahHY
6ruNOoxpna46pyhWvgi+29BdtvCgtkYxvSHo6PDLOi8D6smdk8kPoiRJRO2qT6NpeLSxECBPDSD2
GCaz1RnMQRjfMgNBSqkxnXRYwAdDgipBsYjLmNTpw7DOY8KNnOxSOXg/3Ra9Ld1mFi52pm9HTcIO
0bXfjVoy+XKEXHUmLe7eDI+Fi4S2QNlzsrVVkwBsYzipd740qJhNA4o52lE9xfJVX4jn0YHThAXx
ZDjwXph6nFlStut6gF89utW9raI7Zt03ZenEsgU/ETu/4Kq9WCiNdyx2n/3JMA8XN/MZwaV6yRlO
Ym+mwUXmiYkvPAYrv4xWyPhCKa/smPCnrfYgi/TcEMj0rGqAO0VSdWtfoZL1oxGhEJRAd4B6oAui
WLx268bRi6vXh9bZ0STfZkr3N85oPvUNWSH2R2/o5kaq7r+IOrPmNrG2i/4iqg4z3Eqg0ZJsy1Ny
Q7XtmHnmcIBf/y1cX9V70eo46U5iCTjPsPfaJzpYohoHYxVLVsDT6xH1JY+m+QyT9duLy692Sn9i
/zMiyeIICuoOZDi9VMJ47lw73fpFa247Del7z1ZyJTJ/JGyFIS3WHLh9vPVa0QQIGpOtTJyRzBUR
H6Gub9MRcqzCWn/MIwYfesWcX5TZoUi1/t7Q9j6Yp9kEOrxgWDh6o+CTduvP1mIn6AP1LhIrf1YO
IGUfA/w0NNHexgxbWt0LY8VXh1Sk7ein+Ov7fD9Kgi+W+A9tVLsRjs5In5oIFg3ye8fFFjivTHvD
H9/n7MHuB/VGMk2xqRBtB9Y0/UcdsWwXzwHTpouTJjqDHTAn5viD4y/ZWrH5lKlBbDz+0RztWhaL
cep5ktyIWzLAvUfTQ3SkC2OuMcpzy2o7rKYauNNe++X31O60YSWgau3J47S6QhJ0TwuJaBsp2Jdh
ZvZ3SVJmQdVBx/ZkjUJsMGbMZp61xTnRBrYzIbgpH4u5L7BTebSb12740WFOQJJZ1sDxfST/9L1G
wmTuJw9chfkWYvI7ravggTcFq7YBgNdySPu2581Rr3XdLSfZLkQFkPXWMQGqY80++XYXn3Xav61j
kVzq9iIwagos2hIsTuhZdWYF27IHeNWp5lin0cnNHQxz4s4Y82O2aKKmxn2pHN4QxAaspeWJxz3r
K25/asmJWYffxnjGUDPosfVWSWkGnUauhyPBkszp1Vy7T1tFKDXHW2/je13imLy5CCZUdqgW870A
i8QkjWGpDBsd65uPsh8pHUwSxG8BtkkWCmOeBf1cvUfdJYpYq5OulJyqskxDn5CiY585JfEJWs4F
vVw6mwTOhNJlVPpt1BXZpza9YTrGO0wcUT+3eDoRUAzzkdELB6FHfcdkp3hAGUDlK51rJdOdV7lP
ZWGpW43Afaq9ejtBmDsIkm4Tm3hJfLcV9+YBlwhNHgMBO8Pi6i7po75YJq2E8+AtyQHBSaSKWyxV
TS9/JMFdnmnccBcaPOF5HFwzxKlbg/BnpImMeK3bsoz+2RmjF6K1j00Ne0PTe8GeDz27svm8SNcC
ujqfVsaxBae9LLvzmDCClMb8s1QLxQPMuI3efeqeDBMXfXzkD1XAMWnGyWvbJjWevGJc24AfoYjy
cdIUvwTMscoC49oREZCCA8+LGFpZsU8c/Wij1N47PcNIb2KhONU3nq4IrwtGAFEKJKC6uxMxg67Q
xdH1j15DIGDPrbIB7vQRwZGbPURGXqWQkKRcA77IzkPr8/gA0mLB99lEEymbZql73IqdHZRQ+Dcp
nld9qrc1u3/yp3wiabQdVuZdlKbWIZbmwXUhH4Bgst6FTRy0jb4ty4aINhsyBAsAECxOHk4+2YMo
mCGA5+OuLyfw0bzuxhJmdTc6wNtJvKSAJhycIMV7jVwZcgqzwnFhx1p5cpt0/LGpf+kGQU501B+M
zA35N9SR1D5Z3PEsboezQ/MATfNRYyB1WjRB11VHR85IcF+p91G1LIe4odn3eOWNNr5+i4H9l0hB
koiCYkq88QjzkrAv/TOtbiUctKOS7tnPLsinyI9IeoeeVjuUCDuDJGfquBTzq0ZSCMfJwwTqUL4m
czETwYdUwMLqQlgeybyxolwQSJRSv7wwhCAxBAY4LAG1KWP7h+SIJ79C+inz/yxr5v5YJkiGOp4q
rJ1A/jobSe+Q0Po11hRqlIibRf7oifGUmAaCOYKjiQmN92Nrn9ZviUVaGMdOwPHwXcfFAyPOS9n6
D2Punxi7I/taypfS6D5xTydUVN4D5V0LLpFsLEdyCHdloJT9k4wtF8nQYc+KT37dIYhd8u044y5T
unsuwYKs3IMSplb6gpL61HZhRnARoiH5ibXkh093P0nwr0ybZri1MmjJHaKkBvNlrFcfsYyA0vG1
R2TLx6DbN+h6/zR2B2LTK657Ioz1wIJ0Z8m2DaPoRKXnZQcf/8tGZm/c8x95gWPZidStGv7ZK9F0
8Ie9wuMCtTj9y3KR7aPh7wllYJwWW/YpxadtTXCgFyei+vr9ud+XlReGTaMLZi/5Y7ZjEHGSnRoP
EdbylCG+OjamKzeaBKqct6V90qRvnbRcdRvyW2ToEtDJ0C9Bg+FvOikxd6wAHV8DbqZzxWSJqW2j
gjjeVtvPviVx8Y3Rico6Im868zZp3OAx9EFNSZbrG+bX6z5IHbuhc8Kpsf/pU8lILmEpwWkLcKnn
SdL552EYcmamkhOGbNWeSflQ8tu5PvmMuqzNU9pM0AAsA3JQDkRWZm3YsaRmhN8gZreVukjXzA4z
LLSNSSZXsAicHBZmhSdjfUH+uCa0VauPpvYDQ1JJTGk5PLIs3yL6+czSor/GNfMRA44g7iB60EwM
T2NzJgdofBa61oSTPbuhATvz7sf8v9R6vwuxvVXidNCkYGacWYT/iXtXg0hhVeBfchodp2BMkM/y
/vsSt0gRRez86XoWwItsx7uHbhOdHwYVfSaftECNsfNkqt1KN3kwlCzYAswd6iwYgkNGXq9S0fsC
deLEzoIQcuGBHJyNl5pFPZ+l9el1TXyU2O3Bnorb74tnrUe57YONqUjB8BJ0+M40nirP+hBTVuKN
Uo9Y6PJAi8BMzUWEy8AtzwCBnNa7dmZC9iwMZwA2gi6rjO85au0Tsu/m0asjhIA5OLGZHaLFQkcZ
Uguap2hi41liyWJiyKQg92FUOBazX6tmIrnMHRQ1+79KRxs9ulccutw/ggCM1q9vLiI3ms78HZqN
vA52IXYE5CBe97q9rozl7mRwYHIn9nbS6j/cxev3Q/GdsD88lFZ9n9M0vebRuFwEIUmCDfJoyJvy
mdLyu6J9JguMUfCY7dvxxJuz5ftajj4Dq7OPaoNBXwE2LMqvERhPeDp5HJ8IkNQjq39Iy+pt0gzr
sJCQuok9N95bDM1u8RcmOnUuZrAWPuSXSmrcMeR5biyveE2nHzg4jNOb4bpUWneFnKfV03FUVfNC
QuorqEkHFua2wzb2XBfEW+R5to/t9GCMVnPqzKwsIH9of6CVvSPTaoBxdMRoR0DXKRkhhszA3fpS
B40005tSwjEvaSTDwffFb9Cq5ZpHAmjzMwscVxbCwOtczsnOJSjuUftTEEQckA+zPEOLhP+q5V0A
THqtr5ms9WXsPRYa2x32rmh6VlVXjoRxa6JdOikwsyehsZ+YoSDiYVHzyaiOFUpZ9nRXNcTWNZnA
KA1ev3M6Lo86JSzYRD33NNdM9R1szl9RK/fR5NoftkkJrWKDx0vOwUofqZMaCJalIfrxP0imHGTO
o47bKDSLEpaC2zvbShcSUBJXqu7Gzj4fZosq3dXOZcpCnOOzeBrH/ivOtK+l8BCOxk1+LOvlGVH3
u8AT9e3Z5Et+xsyG/7rN9KqQLrLRCBI9Nf72fu9vvNlw717V8rQstPTK5CQ5Zi7k6RKYsDlYyyXq
bDP0swYfU+RjjyIh6QXfySssYmBaETPJNP6HTbN5ljNvFFjoY+YJAYTZwq/bd+6D2ZhfbA6CIQKu
7tdNw+KwkEjiUZUicD9xYCQMEWv11ivxpQa9/LHgKcvc/27chkgQN0XIqnTGbzXs36lyqgc9bZ2z
EjYSjHr0WOnzaJ1kWn5byCslo4YcbcvgfxTswN6rrHa2U7Ii05Yr1RJTqKllvl743cFmrcyfAIhS
9eVwcRg+hlk5Wm9uEv/Vqt7+x6e5XczIPrW9AQ1Ta+9DPhb7jmL5bKfQujWK+QQ7dSB0IOXCNavT
tDLKf1/+9yU9URXa44KsKxWf+Hzi3RRhk7CZpwAamfSXuKg2azzws47V8iWS5WctcST8fqWXmblV
aySqk0UvNdKoF+Zty84wFS6f9UtS0qcTNb3DfosvqwK0CU6eS9JFFzTUMYp7zdk7KEwIC+xu/3vh
mtXpaClQNTZPvz8/mcv//xd1PLRXqb14KVDRdsKN1nz6zXrsJhk/o7iYK3uujmxx/mgW6dvz4psh
IZ71g1GaZP6sP2o6LLRmATq/WGoV6CMDDPg6oHDzzPTPZkqk7mxPKFbXLwcZR5jbEn6ZBaF/Ri7F
uTNVh99f7dZfTVfryUhSSmjZGYTgSmYp8CIfLChz1cVdt7Wx/JoG6Z+82f9LCZmc8QFCnOJZlk+2
ddCOzQKz2d2Zfne3ULCMrCQ3eiR+iJk8+2L5IoGGI9kn/6pV3QOrsrVDZLMPA4i0BiAn+M3qSdG/
Ryed5ljvkWEgIml240Q07azumjWml6mHTZ7Pb57XIXKOSTUDP/2gJRIuppahLzTzT1PTrsQciBMy
dJyqW1QZUThZ84nnu9oOGbniYh1ARAnx5cU66CrSV10Ta+PCUxsIxBY5zXn1S+ii/fBgKAFkyevq
CQFCHqicrGMf9hEERAwo8auKE5ZRifY4LJc+4zfOTILVyoUzdRnmkwdoi/qb6W9U+Q+2f2ZriuvW
bF86lS5Hr2QJV1TtNwB+oLaz1x2ygVrHjkki0p5J5oM2Hz3abLm3zZqbls3pt73oEyQU/Saigb25
Ixh213SlzUBwkACrPXILgmwXvhUwfaX/6fqLUmYZCB4rHYaWzmnHP/6YhlKxzsPxPIeEb3JhWfWF
wXb+xKr6hjRj55EIOE/2cXTrP0aMH9NskamwoMq3hYX7NvYDVm311qyblJQOY9oj2xRhUpnMQLEG
NbqOBqjpnku8AUo2qO/49pEKm9uBHC6nTAKu+TdbgZ+BQvu8PseXnNIy0i5pkc6HRo+ZdrEEQIrh
34xWPHcTZ62IiAYgbGA6okAK0ZM7LJ6nOMQIwXncIRqdhiqcR+/iK2RsHgf6oJt6aHUOsOUCBzWD
S9VEAN3SnFQ6mnhuZ/iuDbRhaAyvqrNAVcmiCDoP8XXCwgDa19dizDvkZnPA3NlmlopIV/e5GcAR
b1zp5WDZukNdwLR2yug+sVaMCCIElIWOL5+L0wxldlNW5JqwUyX+LTkYznox5cWbEVEqQHfKZwFZ
opp2mgCMzK7bHMVpsOdrVddXun7DBuFNXFUcLtRmaU46Rv3fvJL69PTbSqObCWZq02aSkU23+uOg
ferC+piaB+bbbjh0xI9MTYTUns+k49YLu3TrsrgF8skiPK3dfaKPJLFKhqJpYqgwIqDeXUsXvEhs
mCQORPbLotY+eysifxdku5iNI2oWOmRWJ1pVhKiQ1Ea2B90cMP93hFxNOlMe6wFk8xKkyBDLxQH4
vVACKSMhFkYeR1ITgqmP+1BfjwogDHgcpv5sO2ZE/lNbIuPVfy+/sBgZ5XlrrYIQY48xL3DI51uD
9MKCcjLHhdnmJhRy+2fRaBSrRv9IhfmkYhysDY6SzZTPRx2o8UYWuREw/jCU+5R39SouzuCfFe1P
5cKjG4Cep/PdtBgFmbn2mqniLzunFCQh/MC1drbyuAzntGK6lvwD9sVQMhvfCQWmflsiPkwo3Gat
TuOY4HLBSLFBWv5UYg8mT85BQr6+9MhHArNJSWOZnOTsxf5rryrWUWlHx2FgMKiyHRDQfZllLg+c
/KlyNQya7reBIXGq2Jg09bjsqRrY3ywqCxQbkVIYGNJN9CFa3m/ntkWRBf5f1wkLdnwsaeTo0asa
sQotZ9x3s/Exe8hBLMGgleqUkPsFsLidqy+pp+MJI+1PzWbcKlp5ntPlvY2GTxaugWf60x5lWhZw
m/+ivlDmGJ+a1hJoVHDz5flmqaCGxpEH0jUrvivD7s/eAKlYjypSCVL2XN2jpljbVO7A+sTNDqok
t9B6pRORgSeWcVvOTwOGHVEz9mFiOISsLkTeGVesdoeYdxwrYh/GWvFPjPOwz2qUCGP8wYz5pfPB
zfBWZPRIEy30CGwwX9f4eOFAb5kkS/NXCoXpGwEq+GFDg8QSLrHY+ba6OHgTPY/y6kMpuvdSwHum
lqJYZOrWZEc0r0hECj3MOvcFZX4w4jDbZh5bvUnniT6BBHSj9KJNqP7qdLTBghobrqNtaXoUJzFi
l5X5OBVDmHD1B+R8sM7AcUboJd5gsjA00R6NiffEIIqETHL+3KCeCwGmOnI3jjFuY80IF38swmow
3vBbsn2wv5oUbZIAVR6O87OFQBR4AhQuaMRgwpn71dMz2p+zLBDi9W60Iwz5i7uM01G0DG17hPHq
XkxU8wu3AE9nnhG6YfwlOfLMzr3G0MZfvhtY8gIYO5U+Ga18UhIg15bVvx06KW8xYe1DQX1fShI1
FAlVXUZEM/w9KlsZM5ji2KMOJPTH096jgag+5F6Qc1X1vKCU3rDZUHu9rx16dzgJRtL8pPyVTyz2
GUGUd2lEW6t0DzFL4l2tzycBkpCbd8FpkhOc4CbV0RoptlBUkB6Vtoe0QCwacZLiLg3idrGPmb30
e6B0ZDi4cu9PI3qfYKn0f1Bmg8GoAjti8dsnPUEUvv2AExp9zWSX5wX4A7uJ5uglHR5Dx2SkcNQd
SjiOy+VQJXwsS0BgxMWZ+D7TJpu5ndud5hp/FXo+bKMEF3gi3usTMkCnfK4odg8gEQIelnyuTjQE
aP1Qe2ykAk9bKnXwFOhbIsP7XfHFKf4cE4e5G9C9BJVLHxX7d1P0xbUv1Efq9cWJ8MG1QnoYPHWC
iUYIoF29Aml7zue5oCvrX2HV4Z612W+3NofLb9ShJByXZKJyMh5E0aeXfrS3qu2fkrKiwJWVt1ts
nCTa2gQ4iQpGJQh3XZa/FW8ptTgPm1FHX+4VqFKqFnE2tFMstOmWP/GdWWdPDx6VUGliZhs0UVQE
NXKxTSkXxoZ0tb11n11uodrW/0bRsDMcq+H8uE7IO4MCLSdewH1U9em+uOl6W6EYp7/WvfE7zoGH
W+T0CELQQJyugr1H0hUUmYBqCWm7HiEyo/I3TzVxOvtII3d+mYjbbch+nQwsXIWJ1aFiDH43CbZQ
VIkW+qpwSMKs1o6VQ5wleyePDcBkMULvdl1aFAepV/cmhTs72JQzFqmqOUwIxsAdqrmd0XkjyT7W
F7rqcBmiekOqO+oxZ29D6z82QA3Fon5aga3GVET7LBD4R/Mts/BXYQDZsSNWR7Ds/ra3W45bUzEl
9vsd2tgvxTSEeshlPjvnj+jNTG5qZt4xb80uGjFsZXZ7zCzippv+v8os7sJJ5Y5vFnje9EQB/m2M
GhlB/OfSJ1mB3ox5TfpfWfcXcN1kUcOs3rSVTbpvWT7Pnlmi/a2ZIDQzk31c1qHyPlg4/qn7/yYJ
NxOD50vTuATak+RMtg/lVkMcS0zgQkw4i6ucJSjyT7bbO83w0Non1h+3x0rZLbixifkh7T4unqsc
r1tZmfrBc1D6zSO3na1h1qdrQ3l3T0l+PqILCFtwKJssBp64WkJXpT3SsIqEJLKuyyn7EdORUv6D
FhsVgCQzss8XJsN85M3S870QcpM7/ogNSLt0hmJpBmcNYQLHmE2hdsqYYuJGOppLRBfmcNdkxiv7
eWuT2PF/5oQCPJl6Njo95TA+56PR72zawJOerl1CjIjG/1vqDcIJ339xHca/us/CPGuf9dH4WPjW
1ngLqgS+fQ1ZvzMnzR2fHUlKzNF2DrZVQezKU1Ys3t7A3hDWXtgocbHG7C0pNFKJhnDxImZL1ur4
02mmhpQEkliQcjc8FV3ZHyyb6o6JKAKGcTERMCEIzd9nhTEXfAUnSya0YGxdLgBB6W6Jg5wj5xFS
PBnD8C/Q5zma9li1jnPq66gkaVSjXCS6Dv0+VVWVrhDcJadKLsg0rqG/FqXOWHTEMdboj6PgjyZf
k91P158Ky0JESqTpKJ6ZwzVnuzF9bmJcWzPXrGmx6fVTTkFm7jWPgHaTqEdjYi0yux4FLN7BwFrE
zdb0f4ZCKFAT6RjOkMunTEN5E+e3xXdyKklA1KSK9K4eEXUlp23dABNlbWbCMuZ5MfI5ZYv2nZr+
Kl8DRG4xmAbtGA0QaDM0er35UOVPOl7EQ62Zj3NKwHZR7FzT/qagpSxm/ByKZDoPWs5S1RSsP/0Y
H8ii/2iQTXdRXZG2Z+pBqxQXkbYAOaZHTXXrb6HF791Uo6XOGyZgpnMY6Ex3uvK/DNFel0FDvCHb
bLcQVspaLC523rzc0GqBn9BkebH9CTFRYbQbqJwoUoj7gZIstqJbfnIvdkPfMo+u89H0gnGW7zHF
cEt/yzN13OYYuT1Degd7QV3ZLDggNfdsKibwfuQU4SM/yd4uxvmYAXjRRQptQS7dxoTUvIlM86/t
K+vmQxryGNmzP6Oo1kV2txxThQwXnlm5njn/m30lWpYfKJSBhXT5S9H3l1ozqKh8TTsIm2dFmwEa
bghdickBQmL5GTfo2paBvBAl4xNocvIbC7Zism/2jliOI0E8Z4s/ELBJjBc+0JykDSLH37pU+ltj
KlBp2CRn4jPdTkUUalVzjsxOO1gVMxK42qFdKaALVY9WgjkvCpfSg8TK79KkzicrxJs3Khq7zHJR
inkUYYkXqr6xto7ifPJzo0Lls4qK2HgLnkFu7tmvkfbMX6ALFqhZrHyaYBj+xTqwB631I6Ip2qdx
Ht+TUVz8OJoP5nDWMULsyNfgGHDY9eh+WjMuJnMtaaq/aTkOF1XKFgdW6m+BO1CeVpN55FMamgE5
nOYTPl60aeiuIyYX23+VDDTESPniuJjvBK8891r2syCLHzXaaAt337aR2m4hsxFhpeMFuof7KK8Z
c5alebLA/Gxa0yXGnK3wxoIBVrc4T5cDGmIW70SMBx1p711Cu9W/2zaLCt99AP12UbaOrE6jwCep
SmfWaZjk3FU+EKokJW7LcjCIyfQyz7MK1qlAVgJHcJvisx/A16d6/ja3XXlIuHTTzh3CoiruBn0/
i+Xm4nkTY1RYhSFD/A75Wx4zwhhfcszeWwsVEvl/bNNrDd53DiugZOYCvG9+tES14tEoMxxNZlvT
6E/eGg2iS/oJaNIoB+f4pA9FygwZEXJiUuny/uYzQzuOSjTuLJyM3DpmjKTs1eLZWdp5WE2fv18t
vjZdytR+QMZdP7tz1YWNuaggQ6PcMhnfFfYZTeVX5t0HqsBH6Q/JM5uQ7MhxRkM8z3RKeTwcYeIl
T0YjkBRY9VtXsLMXJF89q14Lclcvb1aPBMmZymlPixc9Ean6L9dMqqBBfeoNucRTL61d5SxXsx3U
E9B2XD1JdTWigQ4+9Z86DIX3oUThIpzI2s8JQYmkT2VwSnjaeH7Kimfwb5EhhpdUH+QLE29c+1CO
9EWcKcDGq2emiKayRaDY6DzAJpjyx9m1MHsgq8t7N3BYrBHlulvmHr8+rOh9F/fD9fdFQG/YsYID
KbxcKnf0Hss1xVO19FqoCkEExHlxTMpgiM2X3F6ecH9qO2a6Oh+J5ryqryIuy8vSjj1/wS5MfHha
DNzRxWUoEjFTt+B6rkkGuqlLxD9f6fNjtRz1KnpwrRyZVEoukzb58dti0Y90IHcefr+sRyxdY4n0
jvaUJGknA6g4IM0RIDI2LY4jrjLLuQq/qq6W/ypr7VDZEdhzklE3bDr9q1DWBZzGjM9VIoebxd0e
luSI5Jk6l07N8lX8RtyDS0PK89TOUdfJXrsVRa29KSf+ZApa3irZMo9JC+tYQ5V3IOTPGREQKgWr
gK8JAQKdqPEc+VF7TEyy0BnYaKOdXA128/u8hLTpZKN5nbyrS1g2UaZ8MYjchMqWAeaKRbrLPKu8
yA7lWjV5Jz5fa2YrNvuVd5PZ7N7gND5T++XbJiOqRdPHUzxRDjJcqdYirX9yZXlz1MwQUs/6p94o
kIBQ8rPvGnaZ4/sBoZvDBIQrbUnxsRvmno5FMql79DrKB3taLg517q0s3PhgpTgtfn+E7A/fi11U
mK2Kojx5JvQKjCp7lLzrxdUlt3R9aWZmnsgXgOLYqBtHN8/uvy8VI/Jyaf8o3Fgn32vj598XxUpe
i/xLp3jLKwAuu7lr50fMu7umltkBTT+HP0bnlhN46twqYBHkAOhfL4BkAfDhDjzpOOT7x0JPsG16
0U4W1Pi+dLe9ORA/NVnjc5mJrTkxosWor/q+e9St0npZ9Oogalc7YDBnPtf75Z3IrCDl4Gcf0h11
i0gTp/9n1CU0VPeQpzGAwpLRctyY2xgz7MVs9fmh7PArNyMqTtUxmYZXfZJROgYTN2NZTXKX+Rgp
JYADlgsxs+YIllGm/83TiU37ZJ9jvATcniFxi+2hsoZ3jXobYaZ5G3KQeiBnWm2GjVMfB/7J0OJH
3chKZB4xlafcCm3xWUXmeBznIsBkEsKdUUFuo/hLdFKVv9nBobezb60zqoPocoLnR/11yvdGD0aw
9NM/VeqSSiXZy3UA6bcGz+1Y9oCSys8hyptL2Sxv7gTaNMdwxmDOxxTVRce1SzRWIU1RWo9mgnBN
juiPyWpgppB6+sGOj5ge0rMYT4pD9VBUNdpfZzw5kaCeQEvrus2TWdavKMIIAXZbsPKJz1B8JDse
ei6/AxT6OSWfaYgHcMPlGKwn/wZHqpHZ7xae2g9XPZm+dsAL9BjRGj1GqfHP5jZlA9oSWDllO6tx
vruSomEm4nooB4o2Xx9OkU0GSslA1aUwPhlw6zfY4vuwyv9pTYONomb0I9MEcpFkx6v18PlQzPPD
3xcq3G4XFdWbS6z3itYnI1MbN9aMDu73JVv//441DCPf+TzmTY31DATCcE5685vI4z6osc82JE+h
q6XrWTeLbo8BwVkN0XHaPbBINEQ37JOurzeN483bmmTSsIiNLxV59OwCN0ob8TyAkEtYpw16Dpj/
xogoB9TIdAtMxLAdEbKOJk7gzu2ts1zml7aQ0c6vS9RwZ+BDCurvPD9VTfnPy9Syyyf9I4PNjOFc
Bql0vmtz+tvVuA6G6tNT0bRVxg2ZIoUwbkss8YKh0kCeZU7TE0G5B7/pRuqnshNmVAT4tfNx0ZuZ
fUt5RUX+MymGGh0ZT7hciYGBnMh4bmXj1qhV9iMLznQ2He5kJ6MuxtyT1vlEeE8r8H9KoCfuhN7D
NI5MJt8wwGc4XRCZuOWeWjGoh/Hbg42x1RyPfZ6+W3pG8lbdayyWV81W/ElHy6UsUX3RlJ8iRXtL
1lK5pnsNZHBHvuPuhj7GcOCa9UmsdLuaFmlY5Wo9KTBAu/M1lkOnVwTOf6k7ew511esbKnIryBt3
RgQJ/CGxt31JsA7RGS8djgqOYONLoEB58F06WoLk/bAeqr9xCyRhGshdidK+pNlaM1x1vKj4ZVF8
tRkMs3VJb9XbgpS6OwFyX1ByT2CQDnplBUkLxbsT8O39iKcvzqVA+E/I5J7pFTqTFhRdJJvTlEvU
4+5gHGPy7YxX1gyPsTHrG0MULyUjGNl7KVPqmRT7mMSqQj42Tf1oLBwfQiKLtZjSTv5b0al11GAz
kN1h/yKxq2cp4avuDBLqn439btVwfOFMvDsxyZuZN1vHpOhof1qbGZyb3CLbTUgW03EW9rmCpDkt
EBYR/CHb8ZnDqWcaZD6UCIEWd9m2HSMmbt2/TPpFmK06qd+XSClrC8OEpI7WR3y498rCOGkFGd52
VN8xOTknC+NHGBn9Y1V6vE0AaB061/1E2pPXMkJAA3stx56rnaH7JlNdf1j+uJNf7XNd4UFjM603
X42dTSfMJiwBhHigaUMIZKtd7E3RFV/dtBlmeYYM6e7whKLVky46ursVDX3YTvZX5to/bkwnuYW9
cGaum906Rxi70pgSlmU9H+r0XunFQ8+IYFfFprwwbHirkUDtQXYn4dLFy2tuWTaedEae1Lx/hNvq
hyRjZc1jd7Sx0kQjG+JieB095I5p7EoKHXkZDQv1WGx5G2S2bSIP/RKrLfAM5qFanzFG4/fxuagM
p7LOpsWqgEk8Gox1oRSThchFdrRJTrUL4+6w8d7MZoeGk5hG5PhEWXSI4Ocei2l9IJ4CqmjNDisH
/h2u8Ldcc8aHxNaRcRHQk+igdiNQNhMKXiR28dPis/3D1Xxy6/7LBOm1qYhsWPtwznmz2svV0aVV
g73pGlJ1pYEU3iD2m1BkIw78ilZ3SEaSzPFoDqZ1TyMGXcJz6AncN99AVW9EUDWzFqF06j8LgJQE
SS/HQurjCxTRaQfa9aBq47N29E8XpJhqIHRhaghkR0dgtQx2uyz6yEp8R7PAKkW+YphM+k0bHUUE
bfwEj/g/c14wkdotVmiHZllMbyWG8PNUjieG6mjr2CAUnvyIiSdB6ugMH7bbkLTq9Ydcud6uqAkz
AeaDrlSWBy1vw8FDyDhSyJ+aVgTDOLwjZBpeavz+TxGReAyZNWLgonX8xTnu1GV64PyTm0K4uESF
fqqrxN55+KHBvbvi7Nlq3lOU3VP28wiDkesrt7CAfSaU4an77Mtm2UogxSio0Qror1LG/2WI858m
e4qCJtf2BGn0x4io8WO9vCO6TAO7YtciIiPFmVVciTkRd6StgYxnM8jS4eTarcZqDf2cWxs/2B62
YMPKDRSLMShYUk9W9qlyhxTnKX9jJJgfB7Yu21ErnvFgUEQn3kH10AwsHFO0gppJeHsjtnFR/pdg
4INC9n/snUlzpFjapf9LrZsy4MIFFrVxdxyfJNc8xAaTQgrmmcv06/shyro7M+vr/Kz3vZFlZEZK
Lne4vMM5z0FyYlQR9iEaHqOJv8I6UZAHUIMMpPkGJLIowubzZ0CH7F5GhcgsUreMgyIUyFBbPQnt
e6jvGO6IQ5ROX0UR07K0er/XO7AEAkCZ42QEGfLspdtmmR9J7bFN8KAs3q23yG+5eD/mpqPTV2JT
CXNkPb+QaYvVKn1Z0Pj083g30iQVtQ2ovsat59r6qwn1JBAwMEQ7HJnBYh7ujIy6oWMJXnVfZpH+
wEFoXmy+Y5/SX1mueGj0vmESTCNZdXYQVgwL8WCi3y8KdN4owG1KJCO88iQ8dl32PmnAZJCIr7HN
7nvczi95Ut/YlXFXm3l4KCpO2HqRPl36jY71exOb/U8LNbS/NHdiqpQvrILGMLXDQznNLC/mjVkv
lu9CtGHtnzyaOsspMvvMDSY2oZHgzPar2Jsrn7Mr5cnF+suRlHp8PrcyNjxfcxzMvdSx88TVAN9s
3w0Jmv8EjTIk2dWsZDJRNt4zHHPQZLtPq8Qtj69qo8chwW14aDyGXaN0pY+TauQMZEgmmjCw3DU3
U+wW4cb0t2G6tbjU9Znv4w6uzcozwlxFH71aLWRkRftUU/As3Esuk36fh1iuuNg+c5RaS+/+DIHo
7CqtvC4V8osFtSeWKt+0GBVMMiQ2sRQAmzkTWcRZzTWO5dXE1ubjwX6Sk5gY6bblzsh9Pk28Ro1d
+0o4me8wsHMGttupSrNzwWChXow7sDDq4BAN3aJja7Dpmm/4y82bHpUDYdw/PQ+8V7qSqHA9NqHx
aKJ9Hb6Gpf6yoSUPmYXtr3Y+KiYtYaMTUcW1idjjMYmEuGjVQt7swKthMQZwG6jmrXK+RFOUQdjK
Lzux7uPpfrDXkWxWA61QJp9Z8yCT+CPPZIPc/VFPSnwo5fATXMb8I6vZrBZoP8vkQkK5JImTQwid
gd1r3rEZTOBXNdICgggyvM6Lh98vZ8Kdw0OxR+HHibZNIjJRYrhU26xZc3lJEzCFdmnR6aUmPVIa
m0x7NiM+yThh6UqqH90mYwavWXeUGVWeAWt0E+Ift+Z9l07ZDpnWPmx7mDPZkvsDpzCGReYKJfF8
lIxez7XanfHCsG4Ej4rsapfX1ZcLO+bOTHC0AhVcETN4nvEbsNKMbzChZg8RFFs2hoWz9Ield96t
yMsJXxyYDLbzNcwG4Zfm8pF60bKFcfg+fbgdnFh9pf/EwH9ciJR437AA533+BjW9QZv4ZfTZwQ1X
mvZsyH2U1IE3ngx6GpLK1K3ZkYhAHeahvcPcw/6exIyT7WanLqSLWGxOjio9SNm+GcsIdFKrb+o+
w8kPfYI8q0fKOpg3UFCls8r7J+d7mAEUzWEEtuOzmZAldJV5NxRD48/teBWToSMvxcSpk2GbOIu2
bfqp35mjm+2MjI1+aaRAeoa5OKiIjn6GVb8RoYv7stZ4WkX8qVcccqBviacmL8LOhD9FDQXbOvSJ
xRuU3WMr8zNEmIvq0I/KOUdY2URboP93CRShdxfqGYHCzxXKf6AkLkdraiDBojxXa9Br9d1aKdQS
41GkI6cM42oNx3auL8U+9whGH6QFkt9yblMcljBXtIroKE5KA0rZALiomAyiwSKK7cE4xSHrFR0l
yJIKbQMPiKJFFV+1MtejyhrYPWIS6OMp5JFreaiMMS5OXX9lBOFt86Q6DGbXXNK+vmW78UsBnUR7
gBICRvcLq+0MAJnaO4oNFIc2UPH1n7D81gHz6Ued2G6yE8fvCWrUzh1x4moND3HThfU5vXSWZvK+
upcii/FyNaPYZQV8oJDrN4qceF9Vd02Eew6S3o1SOSuHtPxIx/G9abl1ahOZsxdSLeCAr31K7n3e
xPf9MsjnlpvPmsyAlEI/6pOPHr0sa2GgV4z7OLP8hpli0A1Zd5jdkMVizRa4ts4YG2rumREFNIDV
Y62Vrh8l74lupDiCDAw51L/lOO864PN3cGSQ5GfVrtQEiCzvWb94eVjsIhsqmpao6qpMby0S5Akx
0HiIY5a/dZEhyUGoVaTlrpwYjtk2Y+FGereYfaqD6klUcnGB4V3CZF4Ux4FlV94RbJza9yiQ8yBk
whBC7rJJUa2xQ3EnV4FOXBt0emtT83GynEPKF2IcZP9iyw0N/H2SsKQvyr1TIEbBBqdvMtNIqOuo
toulsqAalLRnevkLMzdvwKzjlC3p3UZb55K905LscUnbbzwE+2Qwf4poPK1Qia7DMJ+N6c3UTx0g
2Sm9y9qQnrHOrtlMH1v2ZAMhfH+KZu8EGQB59HlYjpMYs4DraN6ILtnXciB+18PwCYLlSWbtA3TE
lPXPbkY2TKIecfOW+eqQmcQofkLT2WsUbyKsN8uMS0NGSRMIiRO+9+RlhoYkOOQvltMAdsiWn2MS
X10JsyJ2nSdNq9Gv6Mbq0Pnk8fIphvp2bmc/rXGWDi57KaDx5Kilt7JyBBzlOkjz+gy3V7x31i9G
+CiHyLHe2hpTQooRwRTZwhAUZlen1pNXr9WKc8Z+aMCZunGiuTy1pPbtGtWeCPyKQGvB5kfOrPaN
lbzMfFBu0X+QKdns51Rz2HZ5d/iUFXNDec4s/Ai4f4Zg0OuHueB/TZF9k8hgs+vxlgvSeMHZjvn7
V1+y7CeM0d3G0gVnIS5jVTAJDgGF2CyotqFTP8Jbti9x1pxMExJswjbSjpHhJ7XO5ITxQ943By8q
6Qt5NOUhNw9XEMqy3EopTaxsU4fQOYohfG1yPuQJyGuin5JlwXvrZE/TbNAmYrDedjNvymLxcClx
z+VaUZF0b/xgiXufcLc+yRCyXFVodypub+tRc67lQuDPUHNYL7pb0c3GzobZvHMXGpQqob0nCTnc
OBrBF8Sdf8EJ4PK1nfIlJ4Vnqxfiu88qmzlMhq1unS+HitKK80A09F1qKABH21V1KWfS3xX2AsJB
uFjzeQrqiVxBl32dYuiEg5SFE6b4H/OMPbeZYNXmbX3bwyHagfo+la1uBQn2KSLYex+ygK/QjO6M
1Smuifbs5vcmuvkt8eTy2FkLQRYRbr4pSgo2hprxKBMgjeAHjZx6TsenMGrda+6hoks6T0fPUr6N
rDSzFgF1QyOguba30aFZZWP43lT0gKpAq4e2x3dLUQXYPSZEdtxQ0jXqVyTYn0OKZmB0JcaAnhSQ
KhFPeiGRWYTaWXbSerQZuu7I2owew9VZrQRa5lbp6XEYsHNWXaUfkeF8iw5YGpk53GdoywLpjlbg
dsmzTXULgIj061C5+cWYwjWhhARqKDLfeexMp8acvrOUqzF0iuRGxr2OgWbxQwXixTDDdl+0lbW3
wTOzAAEH7ll1+gCWkbvKIHnCAAdq6VtUIeqoM2CAdTPQ7BTGqkhvO2oLNKnWMpc/GmH9GkMpzoW0
JzBZ2TObDnUYCdU9WDSgrBKG05SiLUQiWXo6G0h7TDbwAews/eEuzkcmvsvxAw/Oc5mk0zujFaZ2
fNywv4mXKXWY8VGOYSI/AzPmNIJvTOSEcavScgPRlpusYGFakPMR9JpZH02lP/dD9TOljXtM2vK1
UJpkssbZ17YhUCGOGGqoi5mL6ho5lG/TorRLzwaNZzD1mpRu8pw2Xyh7BuYLle4nUyF9Mwfazr+p
wFOjz8jSo25ZRAuUxr3e1PlNl+AHbNs5eXDRcjcdCrooOXoeJ5UDI4+YG3g0wLdetX6VbdocDGic
HqPMYAj6K2sY0E4ybQ6LVb+GsEw3veoKpkNwOHQvbq5hBX3DpaO5htBD/FU/zW6YLWhfpofORG6Q
2whoYcFOuwbJAzngQTZxYZWGjG9hS6vjWJfkogtwJFzFA7OoffhpiuUlTqCy2za24NzzQmaPbbsV
CTGsmer2DpTZnmkgE15oSwR2L8DvI8qEq+cgcqbvxeif4ftkGhJhLssZQloTvrys3/BUqslR6ab7
9fF4PxBsHE+NdYL1oJ3Y4/6sSrdmzVfEe0+0NxLiztmDI4VpwLhFvC3u47h+gLao7cqBDAEGhBrr
qKE5KM/80VBjnWeQe9w6P0aiewIxuOoeEY9xWpbyC/fgAVexy/5heDC8UXEVfArp/nRSa9ljM44Q
eYojQdDEHoRrVdXJs9ayJhd2zBB4FsYdOKmZgdZdFmG+1A1L3yl4M52NWXK9ulH6xPNTW2bG2c6n
3TRJzOCts8dcgOy01EPG12e+I1MYaPDM29jvnwyl5hNcMRb/Q6J8s5oHH14MJaAbq/3izO/EgNdn
zS78Wsd9zvTt4vRpfJshy65VNZ91C5jmmJqnWWF4DVEib/txcplQC9anbfTW6gjFB2i+t07odAd4
QwsK4votzdnldf0E1yFFKUymAR4i094t7oWibdgOiXxOk6TAKUONvzLNe821Tm35M86bgqwMvhhO
Zp68BSMrcKM0oW0g3GJij0Sr3Fk04ZqBxy2uUJG0g3Ptu5kuuoBtyUlaPMZKqGMkr0tKPZXZtXc7
VDPRc47xXoDI34PcdAMwFJHvrkezaR51Jofv/KHXuwLFa2WdnXfYtvJUe8jkq8U7ev0cqCG8G0O4
CMCykZDl6F87FmlQzpAHSZtTJYqekSCH+xE3g9OZ7rnQLZRpKUMEyqHyoi2nrLJWgRNd+BQ9daFN
oBpQ/Qs5ElsFMuQqJS1jAi6vdir9bemYUs4myduxdZO1GIMLqs/bri5emUwQxJHVqH/rX/Sypx7S
E8oXYYBa0tmCWEQ+OM2+ckLrYscxkbPQg8FBtOdJb12sLK7c1IL6OO2qZ6+I1kqTNYfr2UcxXu3U
smCf7GOraQKd0E8rZtDmmAboKqLcu4GZbTYRq2LRyCxd6rskqjB+Kp4sJXCVljkfSZ72R413oFn5
rNEKfc2slEiq+UpmWLQHXOozjgUxAG13W9gkwKcz8I6Zt4fN0CbLhuLgga4CPxiejbwhP9xMSoAI
KbQ4TR5laOwLgayRseqnIcVjollt0Cp82vg78dAwZ5lD4ygnhxKwqEnXptP19JJQiWSMLiYJHk3P
s7vC97hjHtQqBu5avAR9bVE2FdiBOkgDMRp5aoTGH0T4jVHkoKl22U9Iw2pewm6ke9oMVEJo5qra
ecPSeEHUtcofGCiWUXWIQodXkY+rj5mos4tWI/MHgygR5pQvSaInwZhV6/SH3sHFtbeNKu9FbwAb
6asuYDpOYGiORrSHrpycjFhuqyZ0DgTd7W3IuOAgaQwlXaSZxZcy19/m2e62KM9/jZN3mxKmcZJJ
+ATvh18rcq+pXr2nnrkm+WBRyFC0+5P7lhMKhZh2a8Tgm6psDBSA6bRHtmhAP0XpGvky1WEouDXk
eUyCYIYhZlSCdU5q89u0pkMjK1R1iePXTkQm3X+mDracbxbFXU7yI8QQ1QbRlD92aWHQGEbObsIL
lMEHuee5tS6Cpv2MhQGnjvSRKqqTpYe/TIN4I2Vf8KyF+yjl7QaYu3f6+Ec0Jy81K8TY65trpuiy
qrA1j4YRO/vRGiXmUEW+KkNs9PMQEfW+TVi2MEuLSVFirb4JFQiNueaGtt3+I0IiwYyI7DgC8m5a
aPEOaCoP7+79qhTcOdpxztwkkJquE0tS4fJnX7KpnKcMccimbPvvqUQEhWB4Zy4UnOOYPRYrjzhb
v3QNXAiYEVS/tdEEK4QS2Epz7Oz4xEjRuKDvB4NbUxMijbi0kePcarRtXEYo3OMTLjrILsbViMzs
yJKhxncjKR4YfF6hChA1lOfa1hxYPPS48xm8dc5JN5r6YCYhqyJOm+xnrXNk0mD4WcHnqUgLV5jS
7jPjIWFxwuSeZ/8k5+HSaxTLZdFzwvMGYT1CqwhDDvVaPA5HvYBJm5UJxt8swY8RJuqUt7o6tTJ1
AmqBI38rJKFvGkldWsJA99IzPJZ5t1D5srLqcbMPAwpohsaxqL+1CrAddOr5BCIfcvn6hfl85iNf
Z7M9WR+Rpp9CfXxzR94Ue2bZE/EU69P6JKoKUXuSPE32zFA3pC4GkoOTZ2XkjJHLcBPOkAse362/
TQUtkC6Cp+uC16G0J/0+0hm2zGb04vaT33SWcbJlVgQWThmee1m+n3TkhA5KN/KgxTEaTPeAVHBH
J7OiIhgX6hEmK9WtkaTzUiJ6xW5v9GTEiSn00IvPajj9+x9VJJBvlSnDQW66fQ12BVvifeExyW8F
NK40RiurZ950amdFKTzBaGIJ15+ADrY7SP4Lw8TQPdmNbvj/I5rx22PQhhXaZbeuWjT072N2HLRi
ekOUyny7k08VOt9blj39RiGgf+ubkPkwYVKH338cmoWGqrrVRI97QSvFQSvN23aYl0Pk5hKEQqIB
M/9fX1Jba0HSyNKHc/bH//D7r5hMGHczZo1lBBvPhvosDTVc5xWsD2ePTxxr2+H3f/Ro4f9/nPl3
2Sf9/DTX3//6B+ziEkHGw3eUVOWfksk9knX/73Hmdx/lR/HxH//D90fX/+sfrDH+aRAM4LpISySM
H8n3+neWueaKf3IyCoHpy0ZkDz/uf4eZe/+UlmNbuk7YsHRNaZAw3jHkjP/1D74fwkDXQ1IkPVuX
rvX/EmVu/jkaGkmorgvbMgUPctoeYa2RuH/ICbchraY9ek6fCTF6ZuTQXvSQT49OGwY1ZHYoM+66
smvTbVsxcvRcvGD9PtQsEnOQLnL5pSTQbfLmUy7Fh6b3r33FKM4kPW2Dc+LS1uL4h7f3v4izXjOW
/09I+O+XjJndNXXH0m1LyjX6/A8veSqjvisj5k8dgsvtlOW7cIqso7vMb4bnvrrJNesm8o9ib//3
P9jU//Mns5XTLT4rDyGY85fE5WzWVA9jYPJ7OyIwbikZVZvFW/2ViuIebMNIK5C1B7kYH73XBC7P
3KJPPotyfLMGyBKoUjadTWhCMsHzr9zb2IiCNJ0Pf/8616vjr++Qa5vO+hpJHRfGXz5U1VgxnC7s
vJ4w771uuJqLvsdxex8pEmMrcdaYP2GI2GGTqnEcuX4+iZsOtmVOAUhCFFj5OmZLkbL2+/vXZq4Z
yn/+9Fg9I/fnLXR1x7HX9/gPnx7XdEtsZTpSpGa/pllnIiAHbF6W/jIB6T6RlYQ/Jcz20gg/DDap
LJfbJKi6guKgsdND7SBxKlV1bkUwdBHqG/IZibDP63t0YdvUSKOzLetrWIevRR3n/92bK9Z376+/
gWkQIylsnWzgv14FCv7eEClt8An17QZjH3Y2m2akqHsLLVlgiuxXHnNv5ATNBMTL6rtkaW+MtgGI
kIf7wcxyfxForruEaYvOBiaH+HOuqF6xLM20zAj2bC++R0vik5oF6aQtFF3stSxwEQyi/iIOgdVa
n79KZsbBUhSEWmSa4cf4SQm+ihl9GMFk5dPFyisynTMsaG2bHPVqcqjAa9YxzUyAwvo2pnnlYnfT
72YdTEe19tuIkNhcRJ4eJAKffOqaHVyTygMLiq54RszdlIQjWhkJIy4IN28KD0pnNLAY1B+t/YAg
DV/2jAuaOJB3vTducqZRlRb/srXqBa4j0U95+WXbdxU2kq0Brt8x008DGydmzn1tLU9xWN07zvDG
EGArKKMuPZb2dfs6U1niEB+JQRRcE33i3dUTHW9nV9qWs3iXz/RTWCOgP8fA0yN6VS8k4JFn/LJD
vEoFN3g46xo4KQiIaCqIHRFTSjqe/gkN7WGyCv7fHF2bbU1nRhbaUYr4VJjubT1wrcqM9soMq/Zq
Qx9kDmqv8xUN5iKuRlKTeHmZxBxk9TB1u/hIPipOltSk7S3sYs+xX9GXVolvmDPsZd5+uF7V+ffV
0ytgTqRZeBvEKeVexR20WsMOPKYieycq1dvf34/Gelr++WrmQsZRbLqsrJz/eAAQV0kohvJgipbi
yY6sZyS3n5VT/7D1iTBw66trlwcnBbVKKz5rP/+bH78emX/58dKxPOnyo9c0+/Ww/8NxsDTInzMS
MnwtV6jPJoELebabA7zCwrlDbkX/E9vVOQfkRmx4bexrw2pZrDrXv38l9n/e1hZ6JVCUBqh2Hsd/
OdyZYhDTKvPBtz2iyIrZByNyDAcElY7Lyd5FuruzF4AehN3c03b+0Ge/FK44GjN/n7zEPtPI1mmz
h4G/la+Xl0JOdq36ZN9AlQVgzrqw8VCVNVNi7tzK4OLxNKiydq2Ru5IxndK1707igv/3N3an/tZU
7/G6nPt9r44Fw0hCWqetAW0Gq6yvslxdRsSGZQtcWozxHbRAQiVVELHjYZY5BAmguCABp4BjM5e+
JtVxQcd172mMMkf33FSN59fAiILI4f61OpUEf//e/hcPJIuDncAjnIueLuVfDv2ctAyvHcfBD40m
BAbRIwG2bytZcfnTaKSm+wuQenYQVb9NR/OXbtqObynpXhDzUuizDHGt6agRm7spRzWe//71CfH7
OvvLdegJ17XxqVMGUY/9+TqMDTY+YZj0fqM1Igi70Qg0uEtPjDbLAzkR2xZoWZ2P8a1oDx5ivhOb
szEY8M8825Dfk17pVzMUE5HCHAJooW6mReAuMBBcqwbFGzvpc8Sk14sqSoS2hwXVeE8s5mj9AYUE
aQQpDKoqHAskQsQMkYpFNYEx2xKHucg+WBgNAftDzLW0Fkx6N4tRzLgcocx0mDS3/cC+qWcuhvGI
MwWxzHZKo895OaHLn71YMeNCbjKGKKFLjZihdGkPUHxKTiOOtUGlxTZKFUjD2cUEsHDoKCKI9aCu
qubGnCjrijif97VdhntUFVw0mbZz9Hq8lXBF41jEd3KxwBdrNX2ka5loDMtx3UFhbUKooZvkb2DR
SdFqUR8RRhOwVUBCmYF/dETQhJ57YbKNuzCH2cWvg8yeUUg6NcCtBrYQ09nsiZ1Hu+tsVe2+rPG+
sGQrshEI6NvW9dBDNDK/lm6nS3BdqD6/5nAS+2FBpt2U/L5m+tzqP5vWK55sMy8fPaKBp2xl9TK8
7jz7ZqoT62qrOiEoDQLY+swtLN0nQyffqNhlAsYjjslCS15MxNw8Wj30zObGbWVFxZFoB5yWeCJ+
/7i0zawNCxQoaK0GbEM3gpkd+RK/95k932um/bPs0H47E+wBmLnGtuJj3pZEHvs8XVgRW9GIdAq1
sGXwREJAvNxGVvpqJM0nhKHyOUfHgEX8LtbnHjFOdjccJoqBY5ED5ChjvbtJaZu3iMFyMJyw0VgA
XeL5q57r7gtZNFdRyNCWmwrJ1U9nSPHrxdF5ca3xjt4Yq402Xk25dL61oqVdJ6mOZFyW9z1yYRcF
KFPa/IVBuijYaSEsRVroLTvO0495LTe7UdgfOck2m9FJe18gkd60S2xejMaMttA9z10XeRcn3nWJ
TE/wL/3Iw+uVmnyWRr6GYMfxebE9bDn63WJb2jH+TejVGry+Sei9MF6bRwmBXz6klUWoT1j5qdeW
cLkh4zaRHP2iJ7ugQB4oLAVVg1QgUJMQ/kr9ISVCt7Ln/r1cWLLl3q0rE35O5Y4P2NyoL3BPKyme
tCyy7uGb3MRRzqUsipD48VKcQ3Y425C86ieyEnZ9k6GbjR15g1FqOrfr2epGSL6cVkJ9LvJxV7pY
gtHXsPJuNOqlABay9o5v+A4FHB+U7GpousQKSUVSOCo2dozackByol+RZJwstcgTcrYNZVF8aSrz
YQSh9M49bo7kkzRhVmBGQhNB+xbjlR/eC62eD7ZZluep64KFkiQUEulJwwKuHPZelNn3DdQhY+3c
+JRiInsRtzmxdsu6AjRD9piY0NZnDzNlVi1vLP3NBzXqdHjWUwMl7DiGxXVYugSWqHmMkd0ftILL
LE/Z5ejGxRpx0HT8GjtZzdDx7ag92hph8uufjK547dLZOEGtg4edYQ9CooxJpPO9UUwQi3g+coPg
FJ5zVJQKwI4mHxKh4ysAIWK4I9pzBAphYcsjXNB9XahjHDtM8WoO1WStcOuVj1rF051WOYjBmypA
btSiGeYTqOf5NsdA3fRRdxbY336XYjON74gXdedajQurRy/wQw/GwSyD2TLpRuK4PUQi/kHyGi4x
pK5TCKeMCSzwTp2grwW6VtywA3RE8WyVyMUGfhEi36tDH4/NPtHDiEz5D2+ezUuvIyFvsCA79GQX
e/0CVOgyeFDD4sawz8Lx8BBUwJYGlxVWGckbGlB5Y6amffNFoWHr5nITOf10G0q+RKaQpzDTb7oe
sldUGsax4cB4lJkhLnOxvLSEttxZHmNAWIwPUe1WO0I2gLWuf1Q6Jpa5KWqCJkq1K7OoZv8+rZrx
49h5SNLYCm3xXet7i+fbPjIAsnT9uR9v4ArCtaesBKBAicGkm/Ew/mhArozAwStuMZJYvqobkP6o
rODvNt6eT0fkOvqvcrqDYzHCRYcfKL36vnGiF9eO4EwA80TxrBEDvyAGpfKpGT0iuo8XjeWF3ne7
AXjMrVlrHzzHgokOc5GVjVsBjAVR3zdTCjGfXshNPMzpI6HM9OXvoYtC20rVpTEZa9QTkOYGajri
tUA32wGgf7gQu8e4GGaT0zbvdl87O6spT5XxXMwO1lXyN7bJWuYTKvHIE4q4hGR5SEU6+cs6zTdE
ybohAbMXqebLhcH8u0Exh+E+J3QO0rc3XNE2PFd28Ls9ydPmWc2lsWMeYx3r/pMV3hD0knewT9ja
drq8zxssD4JqjRWvBUIrog3WNGs3Q0oBPIH5BMFme1jVSkmYVRfCzs5Tz87BQh0SdAsFjQL6Tkjg
BSYZi5vmoXc6AzNxCHvT+GoKmOMtOlISzw6YkIzHxMYLM4AhCPLRBObXs0AMUxS4PKKIGHzwhuww
D3RXbb0qzfCxkghiBF6Cvja1cUsOsSCNIRsvTLp/EQdk7qLCwuVin+sQQhisxThImfniDAbAthxw
9XzVoufBjBJsYyIU2o9ssXd6QueGExrBpzNnW4eoLjNH8wgFtI/mD5xdC8riCjeyI3ZDVjqYzGug
UsiiAwxOcMxLph01lonNmhCz6wz4U5OxXHJMPKNWeNymenIhEgHcEeKCYdDZGljtax5GpEbmjPjj
e9eAfccaBeYe01pGAKjnNbZUaUU/kLslfkZz77V17MvKCLKWmqjNQK9Yr7ZbdNffvaTLHq6nKCoA
3CN7Wfau9YXDdkMV7R1Dp/kGtQr9WRbDnvrDj2b1EQ9RfDYdSkl9Mjg0cWx0djefHTs8dnFv+RG2
HMSbhDZCiUD056kgS0ATqFmkQMuXy0BEm+056UPsmq+tjhK7GZxy2zSVewDdgUJXj96irkMgbmdm
YISSDZIxnccukzC+WucWTU2VNdbBpCsPlHiWpSjPj9Cq5RMKdFgJGeVoPRdcuUt7tQCeeUWP7dz8
7Kz1lIkOlB8rqgMtvQbg/D5MUtyquX6jHA1SrGs8xZq0dxWmFz9C6HioMBd1ZlIczawdYOZDsrFH
qHVsKTl8124LWDL6JGl626mFokXYNYLvtdguGsht+mSRFRq2vlXe53hhPf1ltBFkzBKOSU05iMIk
JNO0IpLd6g/s4JvL7zuRUGO1QUeWddV5HpIgHpHd2QIZC4hrsDEQZhRJaY+V9ZqyKmDAEZ9+zyLY
/eNrK8Z+147qYYoWUsmsbI/P59qsLhWlzL1psln26uXiRJB8lNtqxymW89ltJTdvFp5KlRNWPUOS
UnG8q12A5xhh32QYrhu2Lr2gkhFHM0cbq7cyJjrF/HLgy16nqqZfQhxTiVjembPiyV3GxLLhcQ+Y
/Xk3A2aOS9PWV9tNBPIA7buGWxfERJ1TLXons7bUHhEHOaZe3B1ESSEC2udAtJFCuQePAg/VClr2
UrDBpf1eOzmEP/IA9yMK6S0BgO/amJlbKHTFnSt/NJZiD6/nIli86KQydTYbj3yBKZ459KqXCdP+
ZdGQFdjRgvDXVSDoh/k0c0P6sYOAlZqQUUCjhQfPbfGvKqzEaUXXUdd+Z1rWtdLyA1p2n/cOXWMd
wiHskneybdJtbIYywIn1EHeUKNoALIJWkseAxqC4ZUi+4USc9yShGhuKNR5cwJ1+XwENhr5w7l+k
1n8a0fCjJGFzL9ZZHym0jyJ5UANHRNVnKEmdFNV35M6sFm2T1Ns7er+WkWqOVKb4jMg0vp8td42J
n3yjDiFJTdmLAKFzLupD7OneI8puk3hLdZXxEO6XjqXrRDh5WoGJrFA+/35JXh3BWmnML/T0TAtY
cR4dWxxe6qSzb2LRh9tkZmoy9twcWsqO8fez0y1zA/IJUHbVBEurRcdZwoYaG8IlkkW9a+R874eS
cYZeFq8RFsUN0QXkweAZI083AfOeDu2+allDQlfvKOcqY7CBEaePGpSJTRyJ6VDp5cmZh/GshQ55
ZLseDCrWWcTkHv7WSLeG/SwdzkkNPteEWY+4+fqNMNg5bC9jkeg7exqrrW0bL3nhnDGGevfzWByb
NDZ8WFwJPL044KHt3KSMau7LtrxZNNqGcdUsDmjB7jNpint8GTdzPpfwLdCPeVV84K5aF5K4zVwt
fJvrFARlLF7wClNFotZd46X5DnvHAequ1dHPUKM/MgETUPek0bGKWGEOXnMWlkO4dUaOvD1+WHrj
ov3vsj38Mn57m4GkhpuVya/YufbtYPdkVictN7RRPmnmcn5yU7fd114BDQpXCu5rrAXqqUeyvie5
7ceA92hEhtQFUNkomb3kkcHPZzr0WAC4povO/CHF9X8Sdl47sirp1n0iJFxgbjOTtOXNKnODygae
gMA//T9Y/zlSn91S901r97ZVmRDxmTnHNN26OFnI64B2oYqEKfrlkdJ4Rg9hX1Xp9FzUc4fWd/Tv
9ZiceAanvY4dhqDT5D9Mz0xV7XOVUK/6HqafyvtFR9udkxFw0kC0dpRLaJgctL4NRdknPWxndN2+
dz50xrdEGvTd0NvuNk7NGzIpHtqlpeIk0HbLLrhJyo6YltceodwpTPVD0BJpCbsR7HPR3S0eqneF
yNCqFxBmTDo2Xte+SoVbEUBmSH7cn8pWyUHG2Ajc5Z6z4czVgA5b2mqD1AIUGKz6LMF6OC2PThWO
BKDOjKdrsh6bGYkdTFmEUKKNgkbPBweHIMRDjQCACJspsU++YdJze+m3QkzsJnNysFmbbC2re6Rz
1WiiRbcrhOSyNd+DKvcZvIibMBhMsnBCY9cMw3thUUV5nnW2zPxc9iVRpsTWH4PevR9C4QGsoxDq
VX0zkUB/ktNnmelHpPTWPntLZ6S3gCio+T2/QZrW3cOiqPGkdAgdGuvgZ8aRL+mzgNAddWUJo5a9
NEv2Nxg7DIv80tmGgHdomGxIUvw2XKPYBeY733THfeUyiAxdPGtVF8JzMbFt4UHctliQgAf5lCMg
dtmZjRtfGT2RPwIYmYTxgvhhvxT9azVnE4W4U7NQL57toK82XdtGvffW9dNrwEb1Lts7Cl1wKPv+
4Pfth4aOEKEpnrdx0IenfJDPJQwaZZTYl4YU6NKEzA/V9yUB/whXrCbPINTol/13/LR42ojV2vQC
ahy6mjc/NsDcdejAvDgvLhg2T3mm37qaBkfq9EjubbMZQdTj9bP9jc3QbjMZLWGJBWdg228cYgki
ELuQ1MnbJbx8O6DItloHtc8YkTKAN8g9cucSpcZAcu8pvKVB+uAMVndwsB4EmfBJuJ+fiuWHoI30
vkM6NpH2w/tZ7zXWi0NMjAT5PwLnLFRVjyod+JMGjRsLIsRR22wKrG9V113nqaOA5pkCN878gEji
gAjtgXb4HVLMlaD9a7vkppnMo4mew/DoW8z6oKz8VrTBNX3+bWHjU3PSZ3uQE3UhAzb0/LOjR8w+
DPHscOUEDuMfwKQP0mZtm1AAHGTTMXBO5R2L0zek30CsUvVOULh9tMKDVY/se0iI2Q2CUyFm5+Z2
38BzL8nCSbji3Ah28P+0OXVC5pVbu0jYyqQj41vmG0DR8xXmcjcmHaZ22PlbQEdQ9B3vJ3ZndWkv
Qit9X5fua4EBJNPxdI4REd/FFOZeCBIgbGA6IS9dMZjNtkrJpc7YmIGhMgGNShEjcQSLkDjm1u68
6Y4Av22FvMxRjfHSkYdw8ManuVmwbTZUDWSxdagDkZJj8Gl2tTtPdzmrHa6u5QqgcYJp3cuOjQUm
XuUyUgssLnypW92rfKc9iYxkOsMqu5il74PlZst40F6TnEq7xwdKtmuF7hCXubnNXdiT5F7tRt/s
Dy4MNHeoWJdYxrcr4x/XqlCKL6QzdYX/rUBGbTI/f5wHAtfks0l6V1GsmADNVtBq61880u86vpuW
HXrZ8Er6uRk5wHC3EODfGc0smG3y5y52j27YMSsum2jSjcMfwAEJnHo+2HN+dFtuhaQbyidbOl++
Di+W0PZ99xd6vBayXm5+njJ0u1bd3+YNE9lEYyBjm4yhFvThSHXj5+pP4XCG8ntiKULGLXIL+poV
wjrLSVisid0rYFUscZKi721emHGFAGuKn8mDDU6044SCEns8xtk24mYMINYAaelcLJjSLPNbd8Ls
YjRqI9oweR7yeYzaZvwRbOguvm/OSCVJAV085scpSxBWNC9ZjnPYVfCeQyOFdJ4eejVf+7iKzrlf
/xpDyYt1KAY6rc4F72kUNg7utB+hR4gLw7qElCaI1PD+X2hT74sA605lzKxTquVQg0u5EQ8zZcbB
ms3P3sEJqRMqKL9AwjqM30zm64ust7YbUBhxA8PiAvCJuom/QlJ2H2raqagmsGEbk8rL4tUHEzhl
0HBqg7xd1Z0DawTTyPbSCJlBhclCdHMD9m+tyBVT9wNzK9yMeXwD5FqdyyEz96Y3vjtuuuDjf4lt
pveEc6ZbkNfoGnkBN0h/78MZsXVlRG3FFwK/YM2IXPMXhk88wKey4uRD4k7jyyAC2MjCYcsV4QTs
IJKH0Ide2kEzTgs+X0C/xHDbG46qJoGHsbhLwDa34U+PejsyiSIrdb0d3gMlwaylNqRTNhGqVHVU
JPLZavlYXbrUeuaaQn6VMQXClFJM+7Z/zNoONRUkEPacmF5rF2qocbK9+A4Rt0MdjcIVeI/vrGmd
Db+NzBvM8TPjkVh8gN5eOcTjmx0eeQdxfxYzYhQASlTOxSHLJVlL+MvxWsAvRz+IXCzbJJ56dtlO
nh1TsMro8yduCxJizJR1Ws7SwTHQ5/cQRkyTTrKTrPMmgjVb8woGzKWDFB/I7rfSDZ8gYJkNSqJL
LgbEMyOrntAjDwUCdmQx72PB7h0pOfAmlaAXAldztRJUxE443wpiFWdMRwx2GSUXKQzdvns32s7c
JabgC6l7GJHsYS1H++QuPeVxVe5FCPwq8MQFoEkDyIyCBy4HNzlJMFGh1pTL7sozD2A/SmfGg5Tr
PekPJL2ARtVL0G+S3o50Ya9rnDIaBD+ALV3K6QGrVDK9eqmeUPQWD6U/ZbheMpJ8OEYspUlX85Nn
j4DhAxkrxaWvn3Tb1NdLsfO7j1nYxlWd5hd3HIaz7d4RhTtkJyCj+rmdKBmA6ZybWGD4Ctv7oa3O
BUbW/VAA+xh8vh36W0X8Ao4LYhvvkMskDHYbYA/Gft0P7wbHukyF8W6lpjgS0vlBbmnJpoDVOrHJ
fpqZJ0fA03fkfGr71oxGTLU91J5OOVdBivRGjsF3OZINIUgPPAR+LT5s4eRgZyU+zPqVuGaXK47B
jpEWFE11bLMbtQCvYwhpF/knLtVtXsXefqLgtZD5m8YYIHzIQMvC8T95pLX4C7EHsLLINazlUSTL
8+Sw2bBtaPX90J3SsbePaJBBg4L323GDfxdjS2XKETfSmTI7R5he4bqryxo3fv9AFERwtVivPQP1
fV7gZCut3r9aGXKaiOzL8GuOXBtzpR/L1bcWIubEqIhdXGhkNI0rv11+bszpF880jjY32CEfGpgZ
KRxRieEVDeYiI6t2nlRIkm0OdpUCIDk0vZvsWz8u9ql+z8P8IoVH3OfIJY2WuZfFo9WNDWmlGGh9
vz85PBUBmox2DoGUdUyzlJc9Y8HYu2Vzk1Jfbpfyu08noog7dFFX6ELVcenqG0CPx9nwv92y/p1M
Asw6Ol7QU7t+ImhCMKXe+PUp4Bzezc1Y7Z2kJokHkjPpg8xQ4s+u5XXCOUimDga6rccG6RTel9m6
pUnr4dq2U5i50mQVZU06MiuaBFJhGQvruMRrQ+nNBEJTA1eIkdj3MTlMyVFL++oER4eGAd0ltx5f
bFXnaqdqglldL2Td6PvjCa9ff0wU+cR5+IGsNb4nanzfKzM8gRikXE2S29qEt2qnncMsmdFUGNQG
aXWkS2lhuWfkwApHOJEBYX1jGZDmeMCgM5sg85MczFwB89nXTnDxjBj3M+RTpCrXIraiwZhfioYf
oJ3mZCcyD29d6zdRAnl62/RGehimDgxsv63ierqbnPqPChPjPKEOQGYdE9qTgYodDO+IJdZ8su3h
Dx0+BBtx3/O04x3jAawZx8cEpUQkn8YbRZjjMex6NzLLzN3ahKDs0a3mG84vC3AHOze2cNgV0hjS
EFnhFAuYOcl65CpKU1LoyeZlOFZfFNVyME7JDaFlZEdaLgTxvn6eR4Zxra7w+dacNWlBMvqYXQVz
OlLS7xLXTB4bId/+nhZrnvOOtJR8a/Tp0fRbdZblm9Z+C4dEXBlWeCpaNd2lCTq4KSDz0MuTZjtg
YN0kjtiPfmKzu5Qsx1kFMcpKoeUghcA1vzet8iN1M033Ms57fuWPUAXFOdWo7zOQqz0QOKOq1Yo/
kslh8Xgi/+o0il7AmODRqRqY/NrxIYnM2f1gfgzuXs3CYYooWbj60xEaeHhI6uSly3B0EeJ6onT7
cK0xoeS3TmrGlMnAmdfHTK+roUpOfptZG4IEunX2uC+s1L+b5/KZb5SoKtHTcZOdMpr5m8rgaFRx
A/jetgBJOLOD47Hudno2gIFmRXZBW76O0JYyqobEvUWQBp1SQNvhYipOhveuuAJvHSlpskUjbgyJ
VQSt64YeZ/4u5vKX2IwN2XnmLe6k4FoEFq9VDomsx5H2tx9I2hEUbJdcyKP8CECDGFmvt1ZF4aM1
OgWCB0B9w22GJmmw8GmN7W1uk7PresurxnI3+zbAAG3d+N6Y4o/277uZh8NKKmPLLXqIZ345828O
ZutegVvj/M6CZzBC6aHtKbtifKlbJ0YbTndLN+514AO7cTuUaxk6VTjtsxkTXS73qdOjMgSBlfZc
S7Jedt2BDPJub7XBge1EdWvAMd/7lbrB9hrTeJOJaOQ/VYNOCy7kS5ziUkqGx7kzpw2b8zfg7Xd5
tSKRYgOVHv5NPLbZS6Pyl84Vl7kK7N1kp/t0mExwx/PWm/MEFkZjRV66GiTnzZLmT+7gNTvcIL+T
8qCZ9dXZabNn6TbvDZ6UpUhfTKaAXKAuFC3JwtXj19VyerTqFdYsY8516X4Myn11G/96apzPrigu
i4JBm/V4NjPNuiMDuczQ5WROnthzkoOTLpxH5S9in5T6i3saWQhJLWggzUMlWnanJOnRul/i0H8o
S5In/TSAjkAIuiC/EmVIP7CYLRCLoLC3IvyltzUY+g2zbKtIj9y7ZHkJfcorsgYdJmbgXU9jaT0o
mT8CKwKlVPnfHWvvakBmaa/U5CJHRtAhslhwizse3ZMyFfFwDotKEtSODcmJjk8CKmXTk7Twhk3+
b+MlL2bL3zs4U8LfpjBVBGCjK55vk+9q9PTBieW0W7BvJiVoJ1cUn4HSV6QU16RjXUyoLmdSUPHR
glbJguLaGNRD2lu86vCdDsA3nL7wrruKLrRLIFjmCKM9KDV7U4UEpVCbkeV4ctjFbdAFN1ETsMtk
inVrIMnZYDkFaZxKxGXzQRbp1lF4iRJSTLQdPmD29JDUWJvS4bsss75ClY2fq1qOTto1OKlRpiiV
3bquTziwGgA6G4tiLOR0OxYd7CxY9zP6up3Ec9JhrrJIHmGRYV6g8JXQe3pYw7ykgvqGdJl0mdNj
WM1QRXdBk536okIFYk1cVJjUswq3ZYuaZ4VhWIR6qkHBNcJki1/Pu7dY529Lg2LEHMtp51tsR69H
i0FFudo+Wk5xR7P/wTHDoNxn4qQgXsV98dK31KmhzYyJ/x4NMAb4nqibldljxqih5KxfRyov7fnE
owDjw4yZJBwnsbmTAb/lEnj7nrSUhRDjDVWMRSI4PzWbBkFEVL6ZsBo6T8ySsAq17H8ydzQ5jcOr
lIbdSBQ9NLMdF3PxdpKMoZOlBVPXQQ0coTZvjbE7WTbYYaAiGxJSB94Aw9z5qUTWx6T0Zhi7OSoq
CznKH+FYnHQSSYP3m7bGQ2OG/HDJzPy46fZVW/yEsMY3zgO5Qz4rjeL1r2ud/gKpgexupEetJcHv
7ucr4BF6b7T1W2VNOEScR8PbFlV2yGUfacKY9mZ4HrS6WGzVYYr+pHZF4x7S9qB1IOGsHB5SQFU+
CYcEOR0Hy29xvusvj5zwsT0pOnGmVBypk+DkAAuyd1dvYOJldzX/KZdQa1pr1C7jM67/R5E0N3j6
2TObyMy6Ob1uPY8yDHTDUtV2JPL2DlclWp5yZEq8TmqW5Y500nwTMBWHuT4DnEZCi8nspu3VTVbA
xfRKWqSYNsxayHhzkmNSqusqpmEZ+KqCGZfWUifXUGX608QwMmsAK7CjxERZcZgFr2S3k3Uucqyo
tF02I49eoStijVHfZgmm27lKGk768ZzNxXW2OCQhKecj14M89RmOBwdBPhT/zGMJZmWEIJIzi8FT
zCwD9dEo4LXTkUOJqoZvrZ6Dkv2WBMlx9FNoIoEAuFH0ZrW1l2Q+JaC8AiRyoTFCjQ6Xm9wyYoKe
UOOBcOQlRq6NCivCOXKDPjI/GpotoFKC1rhPH22qvEiXJl90Q6ixm1b73KZIt4TjM2KdN1ZCrdry
O7QZpycb1C212Huh4Uty4HBRj+1r2Qwff+sHxbq2Zm/XmKi2w2JkUof7hJe38A9O59lHoeh8cstf
TnbHDi715/E74O6eh/wePRqlhNP8eIblvPo6SLYEgA9PoZcQIuHPy50Cte1oyhNyzoiR9Zv+Kq+b
N0gPalWCqz2otRuRiDuRQpvWtC0xKqkt2hRUC4Ky3x4NRMDuV+B176jvP2nrgQkKkj9mMkbHmW7Y
J+iQc/yqi7PPAtfp3rObm8xsIl+yt1E9umr2wkfOkgdznI6Bp58w/FOsWnyshLMFSxdJzdcLDpU4
YgVq132vmuzYTcslJDTLxhmHrVSQFCHusIIfFbrwtYPX+7A3qT4Vo7H0I7WDL1BjREYhpTKJLYNh
q8hvGetDLM3uMrcjmY8aUaMC6OI2jFZiIO58DDh64fhBvFI+BNJcnyVvLmIcFsXZO2HK92NT/WnA
AHrmq7a8p3bd/ktXPzgAxLn91oQbu+RWQC8OX4VU7nq+8lgt93AvmOaj2yi9+1G3120vuCskq2QV
Qz0FN+anu6Hk5OwpyNTMKcK9tnPH9jkz6RWXxryBrO4dJxagSPXR47D6PRu6QL1j98+lW91BJH7V
A6kyyT7jc9wEhvquXZM2z/swGBaOc7gXAzGeIb3hBmL7dVzG/YbFlEmABPW8mk4s6pMu/pjK7pgO
5W5WjxbQGexx74m2nlMZ/lGzcV0tbG1n52rJNFysUB5LjTWAxoWOXt80nduv0dNbIongzhUk85jW
oXI0OsHJ/m0KPNDO6AQL0URWTIByiKuCKWDXl+Zx6GyWTT4pqmevKv73Dyn1q//5/4z96igggGBj
45gl4dKmnK2tFbaG+Kw8z+Q/L4VVPpmyTDe5V/84oFw2bRB2O9CZL3YyODvYMf4uIZJwZ47fSLKb
t4FIK9yiBs1ZcgyRbjzQGW+o3unTrXK4rRgIsh8zgnPArkWkaFcEgvEBSPd5ZYpvBgp76INeeXFC
DLNqDcGW5AlJqydZ0Kw/HdJ38dQX1+HcA2Nh3B00yz0EmXUG2VA3uSgVfTqZwBIkFg8alvfqAoJo
Qyr6SLJMlhT3pStZwDvoYKwE0Yjl0jL9/XP8g46wObZUN1yBiiJNz97g3JiZfk58XcQgHFD5dpsw
r27jgqwQHxEFtadR80UxNU992GEOZmlnIOS5npBi2mF8V9fhTQeYjg29uBDygpymKw+sjNveuZvk
7zzBxU06Ej6rOVfXBXgj4ii7IT7WU/7lk8hM44sYOhiuYhgsWw1tY2f3yQt65nxLYNe0kxkNDF64
iLY4J5yirPHkkyG0Nj6mv1Iaa2oI9CM7Fl5PjTXx0KXpIWRgbdZ63I46nEkksO5w09qoTDGREDul
MSt5l7RfMmBj8x79V3N29+hmnsidlFdd2SOsSQZzbyOEXrqQSUm7IEUmJb0ldAgS7qXSEguofiPK
mAMMMdoG3/pOGZhhKow/U6ZPTu1S8gib5R10GEesYMfQAQugSHWJ8+aJnfVzP9ZGhCYFI94UPzCw
oM3q668kb3+zaf70YYtXXQ9BirdzW4btstMB9Fsg/dtBy3iju6S7xwjIIs92f4bMYxQrLnnN2+cS
LyyrObiplldPx0sUhOlrkuMbmCZSywX7uXQRULftBq9M+ksvPmzyWceRlTsgaMrwLNyR5W1ACYUU
FtNW8dqkIw9loAbssGZwXStuNQQM53G075ohDI86gRuGbQSSGDsbOJ3Q/AbX+uYJDHb/31zB6Pzg
splgsnW2lxmJZ5ggdIxZTRmy5kIZGvJJhTFtzYZ89QnJIHtCf9tiN0IAIc8z255DgtOsY0wDu8Sj
ryr6aBks8BCFhb/7JIJpiBL2EgfHZE8ddlN5QLnLfEJel7Xn7YBc36TCsiGWBD+zXS0bTqEUpLd8
dvnhM8v6ohQY+eB3pu2LWxFep7WObwZlM6OuLnZBOS0S8KUzpdUFlzZ75xb7eOwU98xnCJxlKmmf
5sx9Uizo1DhUjxmGx/up428aqVWpyr19prNfW1X5iVQPjM0JbIIm4XPt/qAIJDYzQ9tfiuIXI3lE
GgK88BUXuylqHly3VpFq5y9YV5827AJSm4kDBj6CPgvVbyVQjQcaVWQR9lTFzcQ3gLlQDeJDIxiB
1Dfv0DQH6Dox4C3mfA0cQMKuxTJUBumHI6v3QsUPcHuBfkBzojFrs8c25HScOvvD8ino58ZFLOcS
l01U7A+abTsql+TeMotkJfG+9Vofh4UoW5Q4HYt8xHSpJPnEhZ4qMPWgTxmu6D92Pmkl1SSPLL+v
m86ptqXF4b3A/PG75nMW/FpGLvbgAVrS4Vhjeg9qbL/reCwYJ1PMAha+a1l/TMNFUoeS6xo7u5rl
8iiCP9AzuqhtTWDSXn/VO6iuq5SBY0fhmU7csBmJTo7ZVQdz+mAVzlSaUIPDbDEMyryvkU/Zcviy
RxIlWYF07BAELj5woTJfnMiRyapff0I5m0e1D4aKQJMHML64Iel0lp1KmDFlc9IefJtvRBR1xugd
28yoPe4Z196mXb8cUNLjKEIfq0CMHOYkGc/zYs2HBNLOlnEIjr+xcHaTbzKUQgu7rP1QSlrBfmpe
UEKg3nP2GgOFuVQ30Pi/fJOQKNcFqwz9u7cWVNtFe50vFS8NBpJx8g2OufG6YLS9qxdioHXAbxDK
Z/Z8myxLsk3NFzLJ5gSZlIFZ6f8Emuds1Vp2XOhMVIltKvDSD7UN973JGJPL9oOs1jMmOhI7Cv47
DH+pN4OK2aMODzBL3pWM2r25GGlEIM0taJwCdKGMGiLwtqnQd/yeOBbFpcypAU2r2FCO94T3TC5T
CBagUT7JbzMMmVcGw84z01/PUifBx+pTOmOsWboN/GGWMm740TFfY0aOOYF5VTPCQJA9mzjTy3/6
wFO7qgyJTx0XJITN3ZwLttWlLKJxnG51PH+pWhhwlWoQHz1ClEyY7r7NCEsekmDjI17y2ZFuiSN6
NoqCsI6xAfU3pMWlHQl5FiAERzHdZeCs9q5sr/rlO5E1IPpaSO58TX0jcnAwMyqCElhBHlsmCQy0
gFa1ddcNfCxJGLOqkSefaekJ/OVpmGnLGfUuB9Hw7y2TVFP8tL9iIA1qgoqJEhkkqDThqZNKPuXs
oMxgJWCG00PrweztSoDzvcapKxdHnqsZYoTOxO6vUC2N4/GxqavhjACi5NRIAVhcj5ygUJGJOWnx
jwMhjdxUD3vkxW8ZcXF7J0Y3PRffA7Lybc6EFolHgoey7+6J4d2GLeqejtjKjW0i7bcG+2aQwf1i
CIwVLhLguPpOh0dWNWQ/LfVrx+AOJAUqr34KLdiBOtJz8eno6VSwBjGutDu9kSKPDu2FqR4JGqX1
YsA83laeRgnmwiL/a1RAI/lXt+2ScIz69mIFqoZ6yuZqdljiIXbZyhWvPttufjLq1T0EkYOYX+QG
sNMy536sVrlwoa/gYmF/IFJUA99YQc5IZXjvs/xXEwMoSGrcJDFKimSSXyTAbf2mfCsteV6oWOPx
m+iFWwCxXnmde6CH+2a4n8L6qkkpdFIj/Uyz6QHL1wW35B8vMF5y7DjSvJamhwtgALYo9oa0nlqj
/dmpBmPR2CzfNbflVl9ytlp7o2yY/k36c6JVcvNfGRDSxwZJfhoWwzExInFBKaeNpz58S5Pm07e6
r1m2X+Zknl0iglxn4tmw6m2pYAYMNef1YB+EjU0LnBMfCdK4ZWH2M6R8kV5tPOdQsauAJAXbPQyF
eRmSOUNDk3+5MITjvv8hcTvKM/wUNksvWZzluDzZbvcKRoGVDvuj2lX7wHZJtVntv9QRtHRzMu+E
uAvEd8owyC/Vs2mTcYMt4d6SPh+M+ZlrljKMEF+nVDy4jB66JVh2CXfhLiHY6aAZB96EDNVpd1Kv
PCRORsZy2WQHn8eeOdG0kDQ7PCzg+/9++sbAxSL5pnGlQJ6sM3GoYuy/TQtUZQCj2zIuxvGWEhDF
dUTNcqSWkC31uUSVeEir+Y+VzzdNlrZHx0Pc56H6p/dFWT4W2S2EZfci2vEhBztxA2zxPNjoH1Io
OkNrf5ftkOwFEZYbEJkU6uNkbxrBEkugVSrlAjmFpzUIvAcuHvxJVfAIzpS0r4JhVdLpW9vpof7C
ed1XRLP+NW+Q886DUItHTcDuCQMXs7+2Iq1sWIAtlj7H79Q9utLZHjM3SBkwdYoJ9oMVM8T8K8CZ
jPAHdtNwYDEdY8tCeoFXLiKZSHJfMWRZVx0g2tNDwAKytrR1rPIQ53mFvT01zeTwbKVJcOxWJX81
EZFBPFKxs5H57cNAupERpp8287qtzuKMw6QgRnhhhAJmhlI6ZvER2OnDrJLhWNULY0gTDvmQGVHI
7GqnEJvuGkzyf4+aUQXL0eNN2vSCRj+lbbpQL9pUdjCZz9AX7E3Wan/v98i7HGNckxqCfWP42zSn
H5qbr3wA/JeVH7FBwkcnqSTMaTEizVh9G1hc2b2bjidI3NjQ2wlMVTjzlufMZXLJBZmEWQTN2o66
0XkCdEnsdg9UEI9RHiljYmeFzc32e+cA3jMK8RhyOuvn2GGGl7INjazJvSwS6cx/Nsu6/05wED4R
K27g+Z4JxGpFivyLZXs0HIw8pt2QdJARNVzZZ2esHwuu583oy/d4IAZL+FcwT8FOQwUrvfRnKkmv
q1pcjEwIn7Miv2FsAl0fegJxH5tieVFG65EJhWBTQlTr0/iBkdOJ3LAdHFr+MW2uc8r0sycHYof8
y8B9QhtH9JsXMf/w1t2Q66YD7/8dGgrS5oPq2Rqz+qzZcBM/XJE6yuHNv0lsYTDk/wUO4vw7lkT4
Lr43JrYOVivrHx+Li0o7Hp1VyzYExrGoVzBxqOh/6oNG9lAq83cBNb0TqAHCpbxh6E39W3blfvCL
F0XSiA5rRv21RqiSr4yQRG3LkeiU9L5dA4uNOmRjyWZ6rpz8gPRCClLDQjxRTgUQ1Gm931y5X66A
/RZkBf3Zd7ByDypslkatq0usBgaP7X8xd/87bET4geOiRAhdfm3rHw5+x6wauWBfiHoS2aylZucb
yI++gGvqomDaNJqf4T8/gjjy/w0bwCbRAYKz+vW9wFvN/P/yDPpiIbJ2XaHI/qFs1c9gYpqcm2dO
daBYeA8gLWwMPTy0sV0xGLYvRUHRAkLM3k8lJgOGAgaxUhsXvHYjynS30r5NUZ4HE/Qu2ch1a/8Y
DYwyv8quvSbH2eC2MR3kcEW1uDBjd27Tgkwmwqf2ne9MD/WKuFs4gkEqEp2Sf8pcHUTIjpjqGCDn
/Ipn6s2G7bufqew2pm9XPAl01CYUUwa6bQMHG6973FoYiCZr2oku/hMX6moKwvJKNs+B05BBHziP
ponGdAj3KneXjSDfnhW+emDXRLZ6fpVXzn0T+Je+xwLZvqCP0VEcommaJ4YelCAJD8R3xg4XNwq2
a9xWVKQdJLLJeGcakNmKBWXNbMSLb5vSuYQZyBDGKUOE+evWH42bVWqlpcpPpBcL5CSef3UTL374
x4MHaidr4IaWMOWzY5ladDB19WYIXNlVbwYXw32ZCk1/zfAyDCZvS0TteXBnmC5z94GAVD+37dV/
fmb+koz+1eHPONT3nfV/kGY4nviHw78SfqhdkuEi16POmCV7pk6YmGYJ9mpChkCj9H5dQ5uHZWHX
qgWCioZJLdN9BylFcAvbgP306P0MvZNdsPxFRSbkHvTqGGnHPRtCvXns2LcWAU9RjiZ7r72kP2T4
UCDts/nwZP3SLN11nxDgZ/csd7L1GTZ4ZabePrmfBLFTIRMjuanKlPQXtzZgfNqnogA3nwxjsq1d
xhhxQkWcOj6JMy773mr2noy6Gv/LQW+Z/zzp+cgCy/Zdl8GyWD+0//uWoToQ/HahE0mnZvMb4oJK
VzhFJ2jHUUYT8BUCCTdSSJVu6e2ZUcVoNqiBY33AiQBxvhuX42SPzibB9EXuCnhiUZ2yikHB5DQC
zqciACp2I3QbZb9uCOlTNkkQwPPOdtD+fqRpPdVBuWY2WH+s2v6xg2oHPeuQe2ym8AMx1N1lgbqv
W3oqhFX11ghGxQhKgracMvzLXvfVeP6jRVMS+Auw230t6QRHr393hYE8QrLRsRmlsJB9ZQVzA564
AswUHnnk3a3C7oyBxvsJreVT4wQ5rPRUM7jSefP+d9NaTz2+YW/Em+lgk87sF+hLGVBImkPgzi9d
yKWNYzVmk2z6HDvzWq0Zn+IP7AWT7DG/Y5zehvBIKSJ603hCPgjkci25BpYZA8MatOciapon0eKU
0zBnt9PcURLfZXCCa/8kdQFTU3g7VyYfudXCOLYe//M7ZIt/HLvrm4MHxANUG+LB/+cDIRhM4aMl
yEHWrHCJWhiQb2CEZCixVRUrs7nIX1gJPRq+uoThPTO3gDU1IxzLyLOtGklPhmKIChJ+8ISYalsH
9iaeSAAYOwg6DVJcAd8rGrI7N7f6q5g/8V9+h/U9/7/nAPMw07MFagnPD81/XB1VUZW8+9qKAoOh
+qwzxWrIPbZB8xHWzkMcTMe0lLSvxTLvslHeKwbfU9H8Au0ieGG+F4ptFWFfxrbgEJ4dcR6mSkd1
9ROP/4+zM+uNW8my9V9p1Dv7ksG50dUPOQ/KQSkpJeuF0MiZwXn69fejT3ddWz6wGxcoFI4g2zmQ
jIi991rfah9ZvP5wsvjlW7dNx+SbN1yNt4yv+ss7dgcpm74rYBCTVjvvM+Pgy/jR6SqJNiGoZ47A
xhra7UIYwy1d6HhLnU8UDxbiIVpElo4czes3pND4s7TCGZlU9Tc71t9a4Opj1xtQVGNQp8qYzIex
X6p5IJe//9Z/geuA+xLCFSR1CibjzpeP0PKbPGQ+t2TF/bRUNNiFUey7nMIOtMSdqRRwhwK5/f2r
ar9ea5Z8x7Y4n3C/avqXM5kMAH63vVMvyYZeeZb6jNTpk1mdJM+DBU3NXi2lb0BtA1PgzRUSaaAb
0NP7/fv49bGxJ7qSCuHItFTzOx7nh9NKmwdeUxf0JZ2OYa6wHKay5aVyyND8/Qv9AtqxXF7JEvDx
sMfhNvlyGMvy1s/MERVgBC+d3DSHyX8t03lRPgcmEgyUhIsR9fTaYXIaQnqbC42pUSWC7aB3LLge
HHEnygEvoOBQSmQef3iHv+4pNrRjm4UE7KClq1/eIaYgjg15Uy9HIKdD9S2Qek+LgOC0GDk4WHsV
njep04lastSNn0GdXSptvGb68KGEfwD//HKOnL6v6SujiuF7++XKVIqPybYt66WF7q8p8q3qyZe+
sJ7GmtneYHkbtvKadJc8kjAg/0WJPP+14vxb1qRnGWZ19c9/fH0keGlYSMKZyIs2HLwvj0SodJ2a
NRCH4glyGtaSzA6hUQz6AjOTWxdL8hu2qaUffv+62lfil+U6mquzt7OUEMFhTXfrD3dj0xtVldku
tjhRbWRXYN8srn4mT7aWr7xAnoIl7fcdY5qTzgT9D68+nRl+Xn55dcsAcmYZ0PO+X5EfXh0NHwGa
wHOWWkTiC67HvHNuCsJNB9c5O4bxTj45gcrZVVPEoRM3BGSfoyC/FpF2sPNyRbjBH96SmG65L28J
DTbDPKCbzq/rK7Z7x+Z2LZdAWS5OPcyqik48vUO1L59ttX5GHboJ6vRGhP3JUpqDMkSHBrLiOG6m
uxjPYBOJedvm93p4kIPYuknNX2heh4qAUSM5JUr/OiLhrvnGs5EYO6f4wybx6xLj/PQZvjxWdUWm
qkdBuLRNnNuZe3aNmtZdtfnD5fta7XHzCOyOgjqX9ZRt9Oebx1JSoDiYRpauX14dOVycZNwJHD31
ptOyq1mQw6lr7wbaSrT9aHiGGcIyo47nUmtfk5FMG9qQ/z9vip2c06pF0rL9hQiK8AU1cQOcAzOl
htJgPSpYfyUlG48Xw9BLBC87CbKngWQelJRMQJr7oeV3eblmSDj02Rkt39Pv39bf3OlseVQbqqbh
GFGn3/9wp6uSpLhObem1R+qlpg3d6NqB0KJTiQr99y/1d880x3NsJJxqYKN93ehIBnQBmzflMoxz
ZvZldQ+kC78OZMnZaBPOCzBvkxQtuI6C9BwDdg2Jp5zX//A+vtbl0+2h2zqrmqlbhqZ+uT3ckmqd
oTVSIAb72oDFYOP3qIQOijNcrKB8rQ17BwTk/fev+wuZ9a/XtWyGxLwoCsefv+tCsUayPrGm+oP5
jpD/OVWKfm4H6iFtiidFpqehz0/dpIJdjPawMIzomVUZZaqAzmIVdJ3VAG9d30efVWjOtKq8Uti2
f/p+/m6pAbbIt2M4hup8byL9cE80naeoRU0b2PPds2a0r76WP+VyG0OJ4WxWanM6a++NZp2xqZc0
+lVgZYq/sBSfLMLqbQBAPnV/dNcm46J5DVtmrL//Lv/m0ESL/Pt2ODX31K/9vRhAXSEC5FwkWj9k
qDV0FSOKOAxafZ9r+RXExDBrFPlcpgOGY1pQVvCHZUb/u+XMMBASCooNUL9frierR9r4lc8Trcq3
siO3CtsPg49i5GJVt12Lq5NmSDiXWbWvzWzljenJFz7OopRYrrG9RemKF1ttMTdEQLE0UuEMPBG9
on0yPpTzNrrlIGQB7EFzbOTeSZElxlEaa0CIxJzOyeRXq/UFrPh5GfE3xSgxTTEL/v33/euKiilY
RbdAS0JVNf3LI0Ob0g5GE1933hkPlmb2YAZwb7nO2p64k2OrdH86g03H3p83PHZea+qG2DAvST/5
+WmBf2E1dZSgH5HoCoNcLEOT8ZA+rACUg/KpB6gHY3ebCsKBRFq5NFWDmxGvLWSM4g/9Q/PXa826
xRtSLdsUSCW+rJMRiSJxH0PYw1R8Y0sEoHF4ZCRD1/0xG/wj7iZqXDHr286CBAAgtO+P8REuH4oY
EBUEPTwNPo6f3jmZ7QcmNWAcINFngFkfLZ/TfGkjRiR1DBriuq5KWEqI6boMAq8VMPnS59B83lKS
hnDQPQUN9mLX2WdYfTQQZAaDnRqkzuz71Aqv+kPgn7DE0VNGsom4DAU9/cEr2AQENZNrOy4Po0/e
lF2DHiq3URpdk8I///62+d5P/vEi2ip7MIc4Tq1TRf510xsJxtRlUIxLAiKRZjAq1Hr1CoEHfyGZ
pqkCUr/IEd1Ysf+egk5GD55AfEIs2yL+/MO7+Xqo/Ovd0JO1VdMWzvdW0g8LG7CHqGWCRoBggWYf
h8hLniNARpkwSZoixtDMGMecJEIN4NRi7BoGf0798fu3MZ2Zv34nhqY5juryPFEG/XxjA8nX4Icw
bhEe/XEY1q+2kZKLUaxdnE8Tt4fp8h+e3+807S8vCjtdWDaHWTLz7OkB/+GjY3II4IrGWMST7MEu
23Bu4aLRe/pDqXP16m5t4ZoGefIGEu/CNeMhetNq5x62aDLXgKOS66rc275+G2vIs75/Jf/nrf8P
/0Oe/3oj1X/9Jz+/yXwoQ58B3c8//tchfCtRvn3W/zn9tX/9sS9/av0hjy/pR/XbP3QvU/739Y/8
9M/y6v/97hYv9ctPPyy/8/Zvm4+Js181Sf39LfA5pj/5v/3lv338b6j9Bnfov8qx6Z//7782fcR/
/mMevHDE+Osf2r7/8x/Tn/6L2C+Mf+fBskwCyqf5gjb95i9gv6b/O7QwOl+cf0HEwnH5F69f8Cv2
CQvMvyboLDmsYdX/8PoNzkEWTyhbGfUuv/qfD/3Txft/F/PHopFO28/3uD0tk5xvzOl0Rd2qO9OT
+MPtJkerMdjOdmBK9m7vB6SVNrCplXtsEVea6GfpmB+qMey9FhNpVRw8lfwdAguxr5RHstDWbhSL
06AUzNbLePFE4AW/Z5ZG+IcHT/LRaggbIU+1sdkfv8dzlHF2sHGJzNDubONckxu9TNrFaJEnV3oH
Ym3wegfwhkMIevyz7ZOSwRTmlsdmdxqGZoqqIkSVztNKlCAVR9RBqNSAO8OlC6va2geGdzbqNtwk
IfiPtDN2Rt5tqhivZYdHcZ57Gxs52rL0SYp1SawkIrvwJw144xIlP4lqfA2aRIhMYYA/RkCxfanI
L94QyrVTUw2Mlm6vefPgh4JxpxXR0fUDdVkq9lMasJw7KVGJEQaPRcOUZIzpBdFGxUE/8h9jZKHo
yqxtqCSf2bbLauRuoBlrM3i3pYK/TMvXgO3oaY3v0A8QBhc5SeSvLRR2CD8xEU/SvKbD+Aq1Rk2T
WyeJ3ipi9ubU/9aciuUkZA+ObowviTcsRw0uRW/2+QxyF9x4mudpviWK5lkU6l0gSe0iAuyckeaH
M+AjEPYWYeY+th0gKQEkOgjKoW/G9xN3nH46O1VU7lKd2QKR8LhdoxroFmNvmSGaVJSXKTYltQUa
zrzYw0Bt504ZXMIq+fT7duMOykrXwk8TSDLYRwxHgF5uy2EsZtIhvdvuEzIs4xX8yVNmoP7LlORV
1koE863dOXjs8KEypSLwZhZOAWXNgE486pWFY6U7D4N3SnjNvBoG0o8bRsIOXf4Qsw9jsGvdDdex
8x8Z8pnzqG8e9Q63SpVmH8ZArCLOKFwy3T7o4TBntEgtch/xKJlHI9bnCqZhpHuQ65JK30a+m9Ny
VI0jg1wIC/FDaCH4YTB7HGvCYiu8WW3Sb9k38IY6gAWV3oHX3LYnoyuuThVY5L+4W7Q1BeZ0Oc3v
9xyj8ElUfNEyXFWByeTXyq912S1iicbAr4qA5j6aONk9k3qJ4FsAbgt8ssIIdbZ066HUo880UfxZ
r0rCnsLimcvwmhgBIvTIfhrQMzZx/1S0CvyPULkCmLNWdcSRuAoULmSFjc7orfc+H485U8sV+WkX
GkAnJ5kcJQIeVPVsNuPEkbM5IjG/pMXE0Y9IJTNDJZbpoPS89CFA4GP16qJVo2Y+yKNdug8NIUi+
j6TY8GhN2dZrEmiHLLfv0riG3hOWJwOTR1SlH35CojjwYBFExII0ZyXo7/xO8WbopPYYVJdVFh7J
FFjggar9pl1rafOcGxBCmICem9p9iZ12X47UyK1/lDAGdrqdPZh1fOoHd4Eot1zUKTy+qA9IBxdQ
wuLq1GBPc3shgX5Y31DKFT1Wmh5cEop5TBO9tSX3h4pU92YxKrCly1XtAAPuLHZXUpKii51rGofJ
5PD9h8w50ISbh1powWCOT2QA8vE6NAVAYt/wLUXATuijV/FMx3W/cqYS05Ynrj/k4oMMaKYOklJD
bCulviWBTptZZv5amzZZ1PwJQYxaGiNoMCO8BbHcAVB5ALDpbZJ0JVqG0YAakkJ8OCo3vZTjeqDE
IiHBWtKy36g674AMqGIdVNMLqztZmx+dxihId3AEte1dqhY4q9qHRoAhYlaBRCVgPYuM5ki8626A
dBgLQLroShi1QtBMPHk/OPaNHMlO0Yrq1Q/VmyTqiVwA5ly3wUfaKfepCNylaYzMueSl1bNt4Kl7
/3XUIRMAd+X78HmOHKBzpfZGEOON4jVUVxVDHidOPiudgiaT2QP2UVBU2ChjwwaDNQu0ZlgVEi5x
XVykqh+b5WQRsNCfrbuJdDmC+VzY5ake/TdX49gtnXEKoeCsK6yznavJKtDSch4CbynNg+WifgDX
lWcHzQ6faQ49F5nLsAZgbEggeLdtYgAjjWuAyA9SjHkjkvR8F5n9TVCHn67KDGVkbJvm3b7NbFLf
GmetRWsobyfem8c/qxwcS8cyi1aH2NRoZvYIB5DtPXQDwtxobKN5oqxSUVFnInkBUzjvK/2us3FA
kmA4kB8IVj63cfQQNJCFUkAf93eYjneq3VxdnhbSeWDPo422iARs65uMEQ7R3zgrHDN4Qt7Wkd0n
ruOgn8eue5BqeMkJ88OWNN5E3kBt2xFpKa5ZqyxgZ+5D7y5iS1gj+DbWKUsoghYGXx8a6tzMYtiI
XtrHtQxzBUqKbfeQA4ilm9mJefWBwKLtJgihix+qDoR/4mfM8wN0n2qTP8AnvKma6NtoVCvPsTZI
Vk8mvV4oafpDb5Jj6DbZa9mHN06XJXMhrYMpwkdQ48d+NBe5qvGWGTXXDrmyOAhI1CCZGWHdIPJi
q4zQKyKAxhEmLNvFEWgkgmBkS0FXYQCAwVdVcc8oDYpc3BA2OStdkcLwyN0bmY2IFcKkeGoxQXMx
wUhqmNpVRPsX1UgFfAR1XPgtdmBUp3LWaEO5tJQAUFlqqsASIrFquvpiN2W8L9XkFYcWm6pbypln
uAY4MxOMrD0gt2KfTYn4XdpjaxL7ajxqSqexxLtvEICB7pRDh4cyxfk4ahDfJnS4Ie5NRaN/nNd3
aZbh6WUhxJVto5tsEAfSbcHff8JSMknGBpU6w9g3voqEFMGVx1GGGOywaD58YQLFU57TlFGwqSB/
q/u43Zs51MGgD9cjajtrwAIl07BYgI44d2Xqg4fBWuFabw0EuQWM57vhgRZjOM99v5hhtyogM/g7
VQ03Qhu+gRBRNoQW7OOY2Eef88Q81fNJfTkND7tPXVYfxP/NE2ECzSCUYu0l/kNS01mveOCTItNn
ldrMPBliuPb7aoq63xlpcLFyIBB49Ud6HoVc5BhGV0GIxy3QXHNV5ohBIwbJUGE1HSREhyy+Fhu1
eWjzccq2QKJg5RV6/erJjGixclKkg4ZFVRn5q2qnL1MrRXEQs3/IjGfUtr1ZyCmyC7F0g8aaNU1w
Qe4X88DN3Fa9QOv1WTPR5XlhekNsnpyNFPlJGSLOZUuurfRi0ws3nDsjJ6qDnOKVL/M3MK1zjnzw
yuRcg8o7XTnZv3SO81jyrXORCcYRxTYsiNpLXCjiNtwrNbs1hvHeY9MLi3pjpPqxgJovPO2UC2z2
wg/QLvfGXdVR1Sch0nf9Qy3wafVnQ0eDQtYs+KVhHjXYqkOihoyuWzRAM/Bs7kWUPLaJWPtuRiKE
ue8C7ezxXlVZb5Dpn8MiubXAR4UE8qLUtS5FrTw3Q2ne1GgmRf3upgafKugeSok3HY/9K62Yrrbx
UkfTIRCCqaveMjVPNuM4fstKmnaRZ98knrVUzXwXMxfAE+hsvl+AmvEvgOAX1Jjr0KzXsRp/MN7G
MIKjLXN5jBCf5HMxObBLg5Q+g91WpZQhO2AqVUyV0IJMeTBLp8JEp875XCoKQ3mTVt2nUgUa5st2
0bvDp9JZSHLSR4xwKFVtdDi2ll007Yx65x1HSmtln14XwP/rooNb+O/IqZBO9ScNvgWqmxW0rLmX
40yOIwNwsh3BkA+fFM2/Uf2RLPcRQjsDdxDir7rhy6V0omYZWuY6bXkQlB60oFcPHiIPknMD+ybX
AbIr43jfmtp5EAHQLLPdGXZJVEb70Y5ZtNVrs0StGmycGK+bxf3imi6CVDU5hXV8MMsQBIxFijMa
UaTmcNg1lGvuY9YjXtbweARedVcgyFMQY/FwshkEXUMmhdveh1g9WeLof2bOMrZNJEmUXDzbWMWN
YBeX6sqpmQ7PqQ6PbYyZwQ/bTRtYSzC1az0Jt3qJpFAL2usoqnvd7YiREDuma2e0CdGMXYc3NT1p
Uw1In8eNx4ceJoXmDTNlqLdl539oztVq8fC4RbkXLPecLIsN1xerlxev6XJ7UfTua3DWAG2l8yxO
dnXuXtpSfy+q9L5H/U3vCxvHChHa1WvH1yHEqeFRzFCCvrZhzmekKbxwSHLFW455HaxhVnNQcSPx
ooAE4iZ7EoVHjJWzi0d28LQyaJm1w7csYIlAd4STNIYWpXL0lRFpsYSxKjklrFaquyG3VoOWH410
vM/jDA8ouQETGU8txazsSdEabXPbt/cihepYxOHFdduz9LS93mITMNvyhgjKG90Gp1hXO4yfYIha
fefTX8CTBysdgeN9BKqQ0SVbksvJxne8JYBvHFsELXgB1DzF+hYr0VbpWSqyElKaOu3WzScwkOPQ
D0Qod+XJqhGhD9W+CtXHTjLcR9a8YiHmyDuOO9sKPmJVHnwDm30X27OgsJpdDKMHmqmxNezu7h2K
DzQNu8zXbnKJaUzMQosd0Ms7HMTiBCGtIE2i5VYNBpCndLlqdYMPH/az86A2x9FQN7ZrPCdZ+BH1
mE+HysJbk5L2lPj1E3l9FCSNvjcHYEymgr0YWbxRDZvSxQ8MkWvuIw0jEntX1fqjGXPGUYhQ927V
KKINocYXHSqt9J2AH4K50wca3VC3WsakfMxCbO597Bz6rAQUkJbv5Afe33aaRqRsh6wau2vUEYQm
5b7CwbIs/IHQCMtDlwBkZhWnyZGgFYz9E7wxCHXs9t19y0lrk0XhjRSlvmTfIbYiUS9daSfrIo/u
kFK6cNZGihCiOAaN5Flafd/ysTjGo32vSVyxQVlgAIjvHBlNY0tuC8e6hdf6BoMENBpHkbkET5IF
abqix3hIkxpfua3eKGXxjfwQ6mvSbyRIJifBVGDQJglG8JktVR1qlG5WIEvtRbPvTW0mJbPRpBT5
qtXFyskaZG6tTqaxd1NF6I2lyO4YLsYzt+9eJzBoJxpU1J73XGNDWHNk4hA69g0SfWz52gDBsyCI
VeusHQaDXa5D/0LQiQ3dW7kiO9Op35dF+DgICbJyJBzbcT/ps7wroFjZzu+RG72jmb12no9RLF8V
zYgkvHOgh+b+KuvhxrRUa15WoMMayFBnXd36q04Dip/Z6lxzqI45GEazHPoaA8CTjRoRCDBOIRSe
wqfM1pHva+e+IyXX04WAjZYnOP9J5KpvUs7LN5lDHSDb+p2pIjRoTS9m7shAoMK3DsFNQ2lYtCsR
aXcgB/tFY1ufurX1yz7dBd6m5JyxMluTJns5I9eQDkqa3EOFrJYZH8qUH6XQ3B08V0IAafzm2IGh
H1Kw+cQ1J6O9KcuAfUEpdrQbIgliKyKvBVHyY2LTMpLexCvDRuZ0NPZcfEBrK8ooTUus18SOUL2g
VWB18d37kI0/9L4JkAWbNmPQmSmLpNPkApb3MlDzpxTJGggUfTpyBC+jjx9eAMjlsLlWjH6VsBjw
FUtMVWb1TZJgOEttddVZKmrF+HOw/XajFuqTkV2peSgofRvTdUS9V4LSSRE1a8lD0NeQYAlD0GiI
+AV0F03ky0SosDpG+4lwIW9XjVM0ej21OcRTloCXU9zj4GYPqSIv2JAeZXnN4uwRO+I8pqSnMO9Y
mnTlw8QxsTRikkXVDNmeoWNzbystWVdD8RmVkYnVKvTwQWOK641gH6b9DWQYRqe98xLGuPJ8vUXZ
iyAA1DqRadDiQhiDmXYXdd491lQ2KF0+V1dAOnTw6h4IlMQtTGeRg/hA2yLqINdgywzGVsXkb7zG
PrKCWqtnTObrjWcqzhw1eDhng7VnRJtvXBxP3HLw1qKkuzjtWK9kx1jSCJtHCHTb2o5uTZfl0BqL
T6PqH1Q0OAyiuXJ+Po2d1IOqoz3hONUb8burXmz6JWQV4P51T0XUMV9g6SaR7igI4caOZxHHHmdH
PGqLzqU5yllrB9LuWzcoZK4BFC8EQRe6+ega6aS/60+l7n7Qn/qmJvSuMMLglxUjYWBGdVDg14Hb
VnJYWh0VokcmNMcn4OkfTvRkg41fd5LNUy86ypgYAj9C3knMFKXeNkabD1lWPAk/v3CMfwA+wbAt
uU8H51rAoQpi5OthcZcL53l0NsOgPVNAfLp6GcyL0N1kqnUqGwB6bXFSPz0muDvsucR3xCD2Vf/T
DRjWY9Kb+p7pXBfxa+2K5wreW8y9a3UTU8YiQUEowxoj/JPBaj0zq+F2KDm/FybNNi/8lJozLjub
oC9pF5dqQrK6xG+Hvfcm8n6peBC/fUMu+yy7dYZmC+M1IG4e3XqgHVMbDVDvqFck0UfJqdrHnjjv
3SkvabyECgbFumqeKHWMNbKCXV8iOB3SW3Vot8JVYCNysg0JE/PFt8GLaDxYmbtQah9REauRH9YA
KGs0K3gAEG44e+RoxiKDjrwxCQDQWjnMiHXKTlHCBwe0N8YF16ccX13FoetFdopX0OsoIz4dOwR9
SvK2Q2A23Xg7NM+Rn26qEugfffJn/DqzYnhulLSj1vReiESIZqFhX7GUQSq12gsjPILU+/BRRKEC
FouRLSBiugKEK5g3Ro8HuvPkK7evOVehu8zYF9q1qPUeNXeBLOncePvUbx/Adbz2Ojht+i1hCzYu
9vo1I/yXMDPuO/J3kJETpWUzGC/yk+37b4adYGegZLLa5IGk2hbDKRu9TnNKtdKbwXHkTOryPdNp
bXZ5dtJ4v3VR7lgewrloS7xkVf4xtiDXtBIPIDcxHRt7rzosszpHgaRrz5ghMjrIhynDdOmCGUQc
sIUmzMbQcHaVzksbDXwsiHaJu7PsnJCECNZ95Q8P3kfjNQhLQ2Pdt+x4ftsu6yZBtMARIgn3TuIe
orxq6b7ab2pO+heTRUxMPbt9Wk1oZ4dOu+fP26a9VKG8Fbiuwf1lN4BnQV0V3iHJ23PrQJwg5GQ5
UEoCsaBEdwiMaK2PRn3mhlDvpB7tUFVn2Oo1sOq2nDlt/xy1HseqzjkmcOaknbKyj6AL/NZYBJ55
bSdklNeF87oQ7KMGCWEWDafAHde6qQM+CfqlI53roFQI7Q3vgIvtGFvq1h7pRDWuRZfEpRXLd6b7
6bsbFeR7VbvYwUjbGP5BKvoiGYPH6ZdNStcvh6HZ2eOLFT3qoX5WilpbRPZILNtwx9H7Zeqim34M
klALJiZwfo8yU/W9Nz3W2o0YtU8xtJzb45BeXHqjUjrqqXgfupgugFG5tIqceUVioQYga+1n+tFC
Xq8VfTvH0r1JRsqiPknLBc6AAyYddHydldDdcHdaPuo70TMyxvKwrTx75fjE8cYVSpDYVhC+jB4G
LPO25Wwx9yG2Cdd4G7jMhf2tAG+A07RON6DxTyH2R9W9c2wQjCJ6yWUnNmkUHmVNc4SEqFdPcxZG
q7R0JQjd0i1Np11MihPUnLa39CVD9PdiNPOF4kwSA+M1Hx1n5Zn+I70JZTP20bHQvMNoON06cZ13
7zJdJXMgUBU9b7KIVfdNxRUmkVnO1NR7y62qnJs6Igij+DSHFPNYMXwajWXDtQsO4xTF43p3sL8f
AVRHfLwtEERvPqQJuzG25qibjEaW7sylNM/YTodFGTRkFItn1dK/5aX+FCSUgnFGaqsIR3dRKuOF
HUVNepIPQKxS0LVLmtOSJFDAG4p9bRx288agPKkTxIOKkcBcCt1FAck4UDdCD45xw1SzmtC4Sbrx
uvy+V7lIarkaLDWeEx4KDtAJs3UNPNhsYDDB+1+0JlBwovjCEbYbkKclOqA1rUbGfGq2Yuq+FYJa
JjdLTgWZMxde1c+t2lql0UjTpaiOlP0EeevDxRMGu2lov5mpKzdIQ7LgoughkLAomhra3Yq6civs
AoASaYHzrDjYeBa3ZZnRIaHV7+c9w0CvgGQ+/djJnT7Kz6ZXA0w88hJmBJeVurWptQp5uLNoJoCN
9dSR3kJmma8vKs05p8xOd6lBgqxJLp2Vu7dqgql6VN2AdjJNGQtm/Hqkn+4/tmwMeL2St4BSHY8X
NUGjxcZWQ/OjlJQJTsSOoY/qN6HQkOzD8lzWntyi0cQ1uSuADG08jyVOq0yV82K6QJhDMx/cLQ1/
Qn6CKj4bCsfteHh2OPitbUtEwPqpvhXOrY0OtNGppqoc6pkqLRxMeXIm/QZcX7MSwMJnZj7ZxXwU
Wrn7CZXIW+sd05V4tLa1rtqcpHj4sXbOhzJ17/qOCLSqTPG5eMqxdt1FN6T7QikPfqTeRA4JWgJ7
ngSD06uWv/OpooPC5mIXwbHHuCGqZMFQjEhllUCqZAi2YU7Xu6uaaqUXxlLXVgjPCD+3am692sPo
L61oZXpU/yzA5K1asKha86J7qrPydf/GGnL6mRy1abxzw9HZm1VGFh3HpHDmZJs6cOCJOrUT94mA
UwRVDBz1Qi1mcV5SRId5uMJa8haUSTOziIda6JxXZl6dZoQZRhxl4TOtbDU6MupZhobUjmN1K5rO
vcXl6NwGI1Aa3TP4VtB+Ztjgy8odLypdxl3XVftO9rduDnenH6xDntf+oYZek0nlkR7lUxR0zkyL
7Zcy6PVdPv1f5jbGemgothPzo9FGEE8xhINSY/1MnDP4XOSLGNLGSjmoBXgocIcuzG1R72UvG16Q
/+oS21lUMcEq9tVPG7GTZZ9sjKChbhrodpkcxBW6BRFwcAzAYP5Xmt6dwdSXXjVpRNl5nAQ2Z0wm
6qiL5yEm6AnBODlmMWl7kuSDlUqLG875A1k8ZztWbmLDu1qeKZYxmVr3LWamBfOPx7Imxc9JynoH
E2zGSZGFlVwRZAZjdFASS9/w7Gb45LW7ISLOXNB1AWl1DJ3oMfUVEk2LIX1qY5BksC99g9FFHNoH
6qlyH/jwmmoF+ne5cQKtXGfQobatb991Vsf2RsG1tLVuPBkeKyh0+nRZuKl5zJpMW3ppW8+//+hE
1gQ4DIBss+GdTCaNxJwiGJh+svWmPn3/L0zWw1Yr0m807U16gm1L+UkpJTkW8NxXFzeq4MOX0amJ
kllqifHYhi4FXEMvFAQjoSzuHNbqFBmERsGBPDAvHMr7wGgain13h91xpWr+HfNtOD0iaTYW6rxF
yqYHQXjBFPqtsERLmpANk0TkBIcTfIGkDKgGWSSHOqlBYqhmv0x855JXjMd0jybvqGYvztgZqyz0
wq1meUs3cLxDPBAWCaE7WjRiOET4MWa6W9IEpBitC2PFZMZYS3rSdGVkiymrYeXPIU+YDWxC4J0v
WRKlOzw+yPzwR0aqray7ajzqoc/mXg/UCu0qQ/1LlezccTcHkBiZEngaNYpWNRCop9sJJeF7m3fF
Pi+rYM6R9s5hPG2EOsEzfK0lNT15rIQT6vqtWub2KTN1uW48pVng+TtnKQzNmGQetodslrS0rhXL
c2dOUHdbTsH2bcWG0o/+EWHRLpReSJh0lJ7QNWMNpavNvJAcNp3RsM1u2KCyVCP8uG7dbptWPGIu
nJijS1uU2tEki9CzKACpGKHohU1w7/rfADFUD2jAJWPt/lQ4tLBi96mqhoPD9OIefdhLarD+mwFB
xGlvx4+Nj04t11zW4Tx+9ryo2afkla6qOntUguRRyV2OgA0xMAwBQTBAMNBTy96iofPXviqVKQjF
P2tms1Ww0d18/0mJwCcVArNxqCnFqglMY/f9/xJsPYsErgedaALMEaMT+UXyBEdCUvEY9cIVwv2z
HBrcygl2+bWBS2UZUO2nzLtJWkdn2Sr6DSvhHk//sc5JE+IzAH3Mya+BxwEPvWXqRY5RceN2CV13
ZIh19YnRviJ7F2VS2a0Zq7UY6PRrpUElVgsoKokHoSkv7rPY/OzCQl8KS763nXMo6WVcC9m8MqxW
dpFkYtiW7k1BWyaA87Z3aPl7eRws3ZFYAKEEHZzkeB9i2INIbz7Q5O/mq1jLpzAquNRGp5MkZz6H
WXLwO/FQVs7G/r9Enddyq0zXda+IqibDqXKWgyTb+4SydyBnGmiu/h/oeev/TlSWLScBzeq15pwD
ihcNvHlb2ebIVNmuZjm8cNXBpIbKsksz+GO+xh7US3aIUFgOMawv+4a6aYpFCFeVZncmZ/hf90Zu
nQFwk2CMzrDuZHX8WIF4zQAdoSJSCAKMkpSp5nf90CrxFXbuL2OO/Brt+oU3j/aCY1BlQEEz2IGW
yuXdFzGsFxRH6HHsNeU3wwKfyHmNIDOoo8UlC+qLged8YxASf6KhTWiz4Fjn2cGaoubTB1UOEu+A
rAkJhRun1/RS4yRZDiU38ISUT6dYCzhYO8kOo21jOGGz/arN/HHb+g5NV6iCVEgjDdsuWBSVFh6T
kdot+FCFsapSpJYRgbTecBsc+oESakWbjfCRWG43XONcljWtYY0ckLwYr1bUvYXJSBIy8VX6kXWa
mA887LvGusetYIknB1Q12VEjlGlvMVGONQO075TvkfEAJaj7dMX96B4Z5Y6sFmJqi4RUPv99ys23
EX/9xpjMd0JVZxHquo3Ge4nSTnf1Zej08JHt9LW12484Mr7C1DjTiyejjkmJkwO4RMKWLr1MQnyw
k4+y914Jkl4ARdP3VjO+6l17mwKPoN5E+8obfNjN4H2Onf5dyPJ96IZPhr6kwe/pJYCb6co3pKj+
IjCtbpHoNRFSAr4MyadwCj+FaJu3Lm8/JMJSlgDmVqb5wRhkiIljHcwqWEUM0g+txjG1zHFjNUR7
MGpgMjUmPRFUpMoYXZms1Riwq9LFuEI7M75I4f+kc+CEJuzmFPZoQ8YK1U/ewsbxyD3Pa3fvmxpD
0JImdt6zj6s4wIAE3IOjp//Qa/wuXQpDg8FIbzXrFirtrVclyrMxeuMXFagDU5vo+PJznmUXsh+P
vcHF5GglzSU9+tQa9ekaaFIW7m9ZTj9NnzXHsnHIdFc0nPUiWdZ64X22wqy3SWl4W821vwDt0kPX
S3fnFfm7UI08weSm5cYUdhP2hr8FBIlbMLNy0v/TP/aUNosWdz0ztG45WjKi1qclXAQV4dMxheqA
5jqwRusThgTzsaDtyGbC5k5yNWNfa2uAelyaVL0EIai10zrBwqRgc+yy3g7Sy0FBRGdZD1vVt0cM
u2qu6cKFhP8Lt4VmYWkjFXDSF8nWGtBE2Ly7OrJDLA3EGU0fY2i3Z4JualYnG92SAbQZXtLRQQOL
H51Gce2Pu1GX+OsB7KaFvywmilTPjfZ9IN9MbWoOQ16fpiYKT1GddIvenk9sIfcZ96EkydoXLfbJ
f7Z+95ZzLEZ21rnkupd2eWaBp7jyihMlW7EC0iVWdc29F4UM/dhxti7rGzu2HwNyKfooqb10gunk
TA1jR73dRIwwm9QBr+YlNF2j0T4/HzTqqDM1F8U3C89OBaDih/g114b4LUJncKxS9ZnaBMZWsvgw
2P+5TfTwTZ/ByVBcoF5ZuyIj59XyYQfXXXiLBXIpva/DXdoU2gvajr9unhbHUtDjExY+k9bVftmU
2K1pU6418ujRQh2yUNsjGh6WGCatfTkwi3G/pnDyNokAEDM4Zzf/0sjgXjTsLchsTtlVVCaAmjDa
9E7YHgp9OmRheulsEl+c9hONU7Amp3ApJYEKqHaKtStaGt8praeiYg5LDOua3jRjZ0VtI836FRrm
LMtcppzrl2EOUu/L4pjnXr3umoD7YvXwSMKfpUbbwncOXeJAc+ydsyIOfdmDW9lGmtyQartT3cTe
h3y7xntUVHOo+6givXJvC/M4EPx+bdMPcKErZxpY4rQvL2DB6dV1mGOq/AkwHvDJ4yDao64lbzKc
kAzk3ldBxOkql+4DbFK1savq3c80cuUlFmWbfZPrO8gbaN/EyiWAOyf5KWesqHlsVQ3i/JjlzRFY
E5Ueca5wAcyD7GcKAAAnCI8agchS3nJiToheYlePeoVbju85K+6bBePJ5JyiQyE1nXlegXqVcPAE
ehWh9sTF2B9ZOFZsP7GD25nH2Wz/Tgb2pSLYSaPwTimOXMMUMKQ3TAK4OJyuW4loJIHHePFCkoUs
YoCpk+Fp6LStuUCWTDoClNJltRw8/ZdvTxmTYVozScOqDjgt2o6wH1bonUudY+vuY1a+rHJJ6KXI
ZzpZfDFZoEyHOLfyLTREiNZ3Y+eZ68KZiw51xIGwIqdZrYRLMF7m5AUDktzaD32+VyHw5d5w/7B3
ARlpzmVER5h7USDdbVg3o05n3lr1wyG20A/nQ38sWbtcWJA2fUO3ksjvRgtZrjHdGHGuJEkP6zxC
WqtaM9l6WvZJeF++Hl37nuo1IrwRjBTqQKKWyPyYSDi+xoN5t0gmwC87EB6cfw+kg5B4hwIR+Ow2
0NKX3EZyHGmu9owftVJLJ3/WbzZNpBMIUo75y8x29BFaAIdq4LF5TvBwDf1kDqggCF2kYSy89yIp
7ENQ2vpVTYl+JbCQWXvWrgQ6ygVQx/jYDm0MrwJDZKH6TZuaOCN98zUsW3mODXXtMo2YrcS5tSV2
7JZw8+Vg2N7B5dYTBSTMdV3/QD7O0SvJI50YJF+4lcg13UJWiiwn9Y58VhE3walnaJbRKDjrouhW
IRt1oSu4BFrbrWoXiEhOB0AJTd9UQX1/NqLiNL/pY8fiQN0uD76Pe6XnPKeWnJXx+lgeMukk+yZG
BoOX8VCm3XR4fkRq4P8+ivgGb7C9rECNY9OutUWzFUNivWSN3d+aANObqECtcAPjVOw0+UhrWtzM
VUkJGNr+UXUB+05XvbjamDzYN0zMuIJQG25zwO8Vhc2BbvkK0IN2gT/A8khe+Zn+/+9iyoe7P+Rv
aZtZW3+YjpbffJVZhAOHknsXJvTeaG4WD4wHzoaQaGedkGgMbYLwlLYb+02fKUpzU3TLbozyA2Ic
Iiws0klNdxoe6OVJKkgHcBoji8T8qVZnwSLzVOYj5bcK4jNSjA/X0tciMn+a1lKXtO/rR5qhT6jj
U5V7yRm7ZfXwLyNRMJAniTEuBvi9rp2guWJ6Q1ZEs5yTAklxecR57bG1V2DBGi5WTWUPdLPOi9UQ
tU5a50ODwMQIx/v2YkFbNDkqb/zTTqgFmN+SGi/z8lzLAtCT3e28ToteZUOEteDfM5sPpWMyiPGY
P3zLyvfWqMKVQUTwIstK79yXxHO2iuTV5y8mrJXGZUXf8/mbM3NG6aX60XdqxuWBlT7wKgUUFDbr
NSKeR+zbrPr2CptKR8DgqFYG4OQXfxh2GMNm1FUTn0Pl9O81QE7DB/3YZt6rRV/wrlLS8th7bUtp
WdC9aaAI/lBuK0h+Y+42ngrzva0lxZvNGUIIIBsPda3Ra1/wS1R3gpan0kpea+Qwk5huncl14TcI
2kt7+Jwcj925cWDWJTdIJmhC9Mwvgx4kbNwn/7SAeADDIj0zo9P6KGBFHtFpcjPqMvPgF5JsJpX8
Kx1oiwjvg1Wp0+QD+GLvdVr8Yc4yym57A4OJ4YWZDw9SukntkqO7max8UU8G4/RSVfuMXdtKa3SG
Ii69E3rB60yZ4ZcnyTNGUzxl0zZxSrGVdRXcA64j4M1+t5eVVZ8KA8ldQhFIlcDJB3b6MKGYhfQ1
0uud7N+cUPaFA2o9ehLwC0/6Vwi8yLs6fe+3WEJ0lyCBpkABZolNiX947Vferc9T7ApGsuqPSa+I
jQ7IcEkGele1Z437pgPl1kT23Q2scpOQo7aYW7yTloPTsiwfwtSUkLXbVMeh/jXWSmfdT0p6ya1A
z0TYiZ+2SAJhhthm9g2OdXyIWZqXQRpln87ry6rIj44OcwBBZrsA7o1BIh3+6sztFsRsZhfAo+nB
sERNOq8w7nrPKZ2QsYkCB1W02/+tLNMlrXIkCNwFNx4iJyacW/1tSChcS+BnaymyU9WQPBvPTQyj
U9pWGyLsE/PTYAL+TdC1WqRZCsG1VNeUmXkH7HIfRT7MnPlqjELaGo4TIXman+pez1szQRaNo4zr
xpvkrTH8D6JnfLSXEfWTpM1QO/p9dqlsoTpX6xGhwgHzfLyM87bcjtA74eCkkPtikn7G0gwwUTXH
AGPMWmXODp9l+VqUuC0FsfYbITNy3wrtrZxsnx+WyE2lCuuu0cVe06GGglzl2bWp+luZtBMhRzcp
0eApsjfvowszsNU57etMZmxDk+Qg3ZF7u/ZNdrx644pa63ZSHCwahktda/t7XwfZ0bB5O59PSVZB
pcpbhiV2bJcaU6hD19QekKmQVNXYDB/M66dDS6A+OnieRqZrbHLP2/u9RluhneRdS2fThZ9nyy7S
mkPCNBptrbL3lA/2Us23BpuxxNaLyJ935guqrQHKj/MCjoGku4qqfdjM2aE2Y2xnbtnddbJ/5pZe
TNp72N01Oc/SExKj/fmpWzb5RuDX3jwPd2GSsErpw/B1/mqZadVOAwj438lQV8WwJ+AJLtj8k808
sQ82QZ5k3fDiEFDPifFRO8eStvwiAgCs2vzzfGaPbnYtguT9+SyGd/4SB+Xhvz9JZOpNGu3q+czK
q/bWJpcwTwR5eeNBkPF2e34J38+qyYXx9nyWB8Y+qGTw8vyRrl6/ZboLcHH+5Z5n/G4axzw/n4GJ
RpOl6+Xp+Y3dSHmZYAL979cXGSloGKAmSiK+daJAW6XYDrgl8l/1dU6GICoL2I181VKcXa1UJSNJ
3oKsKv1N4wfkyM0vhiCkbaORi+f51SaDUAvDnKV7/l78Fh1cY1ymz5881GSEAgVhLDJ/NfZFfo5n
OOzze/OUjj95yPfnD7a0sXnpIpzU80u9vonfksBEMYQCpJG6TxQAmcsVrioSnsf7JFN1M8fZpXPV
etO5oqA1Ti5r2SJF1jDEJaHRFfd1ZufsSyP1ivH+XLH3PgrUtLtWzWTJOqRh6bLml5Enbhz7oy49
BOQUljtsitZ9nP9TxBr5TtfDYKWz0WBVAqbgT+NIU0+BWUGpeyfMK0c8yHC7lXO6otFL8IWpQDhP
0nJeoPZystfU8LRbNsrkzS2mFfea8O7PD7b3ZbaheI/jcZ/UpXgpCu+S9DLeErNINEBh+HQ6ox7V
YPSuyvgveMnuLObrmsamiRqqM/kFERCA+XM2HqZ5FLDvnNliZMy3uG76dMd+2AuzhcmQd9N9qqZt
4JRQyK2AiPD5U5TBDMa6cSA3tPLAXPO3JTEVgmdpXym5O1tYatBOy0p/9XELdRGmnedDbF3CKNXe
n/+hF6pNFyKXH1vn6rQJ5uN5payoYVb5UPxoIeMjW9k338KsEjMwP9VF3G9dEYnVFHkuDXJP7XyA
bzcT3egGLx0ZW/N3dLiY9n1no+5sqXPnpYz2nHUiPjRBcO9kd9ceJVqV/OX5RdNt8x2XODIGla5s
GWV31P6Hrs5xlTlMbeFicn+u/hkBLYWQnM0bfBrIcGV70WCfOUHYvziqHElZNrVdySXsJvpEy8Ji
XmHZW9n6+srJGNm1YX8T2K+YAvevWC0Zx893Ba/Uwn1Ww6seu0LeYIKG17qxOFmuLpjju2Wa/gun
9oF+vntu7eFLOIO8GNl0GlysEBmQbfa3lyHjsEidAWAIX4uVEU2iiNnM1/HrlPV/pF8Y51Ha5o72
N4wFMuvhYkdsKCWtoCR0wjMgFuzxRBHWs+YhtSIUJAwoGggutzAh7jOhI7Cyatr58ai+x4Qrh5Hl
SE//mmjtuSNJ4zLaVfvqwRdjG6uwmsa/A4qy91GAdfaKKtuOBVr1dtwKYR0iIzQ2Wv8wXSRCk1va
uw5Au/J0AfbAcnbxPEez8VJtTN8J1x0clJtRfOelx+5vkv80kxZnMFbZTTQUfKH/wLuBc8hM9gb4
h5ng2b5J7Q/SHPe9kQ4yQztSyChS6il27MVgHEFQDGfyJ9+zsp1WTKfTfSZxTOrz32Rqdkt3kC23
U3nhaj6a7wgu3CAdLqKu37GjitvzQVsrADgrM4iT3XP8B5iMVSih0TP/E6HNm+HNb6LWmBu/TpyV
qG5MJm5mJQFiSfPkMK/P3MnEl8FyInNjvtXe6Tg72DfcnenTSAzDsAPpqu090XuLcGgp1rUeKVHh
l7S9/PoWYCLn7kbEQg3t8FaEecgGCJeUo4YPPdbLs1e7/g4kIhob2jO2da+93rxE0mPwq7e4Wxj0
h+1nX2liZXtYmSKVuaRj0j5yy7w6WlE+g4Nq7b0ThdilGE2XOaDeCgUSvXZ/UWN2WXmq//IqLDC5
GefH58vtYhYRCfFoo/UkG3/rl+HwPmr5RqOA3oaapPJWaEM0fVSbhNxAn6ztq25reIon6zb5mnWb
yya0sDcuY3FlMHwQKvkksWY9puaA2CdwbqRHkZzuDekWXZl746IkoDq0X/Us+QLOdmqhkL6wrb/Q
tkGIbicnojqI166IHbG6X37tJzvHc+W7NE40IdobZX76VvRs8WYZgWcZ6BEw8DSecfFhee8mV/Cr
a+2lFR/g6SXa046+q6P6Sy/L/vL8qCjQ0Htl81EZNFpp3KCcZtWQTKFSvHJ4oghOrtr48nxIuIzW
qpcvedV8JK6bX1I15pfo/39Usuet2J7u2zE/W4DnBBoIXpHPD7LHXp368Vs6dOuGEvq/TxeE4jEr
jemLJ4bQVqGFPtSurUMhs6PCULYcJf2jkY7gpc4imkilf0zRXW1gv1CtQ5gDoXMmNBYT24SlpAtM
Fk4zOZnxwUMndqZNxVCVVss2ioEvxTnUQGnBsXt+wUcP+t9Lhvl1Gm2/YJxShmV8vuu4axcS/WrT
fxIcxaYs8/QDa87/Pnp+DqlxvjVUeI6mcjg8H3JMERtuUkQMhp8wr+oNqfQdhpaUJobxfHSnoDs8
Pwv5G+XL83mPFMxJv6n3wo3WUbU4Ktu7QfPaSf3u1DL/1VeEtjPiiumrFOW9j8ReVeDozBLrZJ+T
V+MbasY0DUg8DSJFVdutZTcQFtP4coXCMVjbI9x2QELyZwC4KNtu2gXSL7mFBfq+r+npWslUfnGw
Vl6Zdz8UhjbKfGy6JfXZpqPRgKqQ+sxgY4TloWlfI6/aOWGHaC8mJ8ZJmr2aUItmGaH7uLkU7bza
Ufp7RQYzjRJsro3uv7YjDBlnmKIXLcnCUwLKjIadN/ykV03r419gy8CtktduJJp+ZMTQv4yT+Kem
Ys2gaqdn3YsITecB9S8D+1mObz7NdemG3gqNPfvF0eyWnPLTsrlgRzP31YB4kw0JOqg2Svd5GP4Y
zbbsAGVJxrS3umeM1XlNshOtHDc+c9jdVNkbg9vld51/xjnx96HnWg+9cei6EIpYy98N6aEgWL3y
miO5XruJhWUAVMAuVZV1SgxaHIwA5VIXgX1wh/AtQm+/j2oLqmbeGz9m8DAVI22P5Ki6MZg4ZfS/
MZ1UGzK7vkQ1Hz3VHFmhnRvyqG+d1h174FF78UzTOTkdA4deBvhEauNqjuFWhbzzZpTRWuJduRoz
4oZBC2YKXX4xHf+g+xr81RDpKLtnDWdyvR4Mq//k9NSGIKHnA97L1+r+E1ww29ugdy4AM8jaNbst
LA8uB2dAiFTlc3gBevKaEL+jqeEbNJMab5EXl+exNqyHo32rzK4+m7SPjw0zu6UXycVU4JeUgKJ5
3xqfk78bEc5Y2rvLao6YsvwKvcQGmtI1W2IBsmNk6JQRqLi8NKBtzLG0Chv5s8FNzmOE1wYfkV/0
26RW8jQFCTKnTltnVZSdnbTJ6D+QNxigrWJ0XJM2gSZnUB6qNuTdpWe9tU1IsZo2predChUvAmZ0
cQYzy+0KZN9IUTJZQrdIp8tYBz+s7hl+TCNE4OedE3iPuxZhWUc7mVb5xB6Rnm/zCuw+2Ux6FC6a
DvUMRXHEAoXgwrGg4hAzdbCTCmUp3EFouaOHGooJXGOMMBPcf3Fq2if2QM7p+dEYhf+GRoZbzPfI
+aM8Wva2PUu0wIwO7oBVVbdLmJQbw4qmUyrFOvFsDHy5DrlIp6eHrig5038jUKU4sm8DME0qcURY
7zKo4fcEA/Wiq+AnzQ8O+5N1Y8GBL7y4WtuDZrPY1iZGME/cbbNGsCL0o647d2IP5dYIA+dUIFE4
AYL20Z2gdmtrAuaG4Ed1HqY54sQm3uiTFt5g+DnLHiHkcrASqG8wwo7Pj0SV1ZvKC/6gILW2jiu/
SLtiyF4BeiSeFsu2oUfHSA+ioz2IWViHC5vgpxwaMQ+M7PKj0nP/oLGjM8Piv8/839fqWH2LEfmY
MnmRidzkMIn+fx/Z5buDZ/NQjtqAX54HpSPgS1RLaN9kWjsRUwf2md7+97NRv7k7N/HW7vybAt/e
EUIFclkav/MBMGJFz6d2TX/vQkleRAZ6DDc+NzHd7aJgI8FGjrVQ89Py6Gldeaw7/KltwuA0qxjQ
OGOzd0MiVPz5QbhOfwT5m0OmBuVkFIuqnIJD5ZvSXRpDcbarmv3RGGU0ubj/qML8fj7rVZ0dnx/9
38Pzc5mTXQYfjIgwlgR7iGNd9trRtllNVYkGLWpShrOdSUZ1pPAKOXZ+wwTewQLf+Uhcj88HHenr
urJIRbHK6TBpGp0+in0MG90CwAWAkMQY9jYEyhYrK4Et5sqfwJLl9kwxTJLj8817HqEkDrtDSiPA
gi//0mtRCATMm960pEKkNIzUvGWAaNXGyJ6psvqw9I4JohTuV+/6v71MUz8ctivtNf0FzS1GASLc
fMJICAWqH4VProynjHfZluZRAa92jcn+WxTWLvac9p8pUL1gLTnEhfnCqJsGOCJbWuG69jnJyVyE
xPdvaizrGxmX/bLWZHFLquQUubNWzCzrt8Ek+p3OnnyZuS2bvsGz7OBS2ZrmEJ8rk5gYTvNfRtEM
x5xe27623RAvSpcemQ/pu0qvjdNkIhsVDHoPoipPpHsWpGRMxQtTTDA/QUA8w2QU8FlQJybktVAn
MhTMut/ZYK69DFnPGHnWHRxpmTJepxW3DBOLdZ4k2UNv4jirm1eNu+eAbe51wpxgWDFhROy/BrLT
kYGnyaqgwU8+Q6O9h1Wmr/Ao8Z4I3IjEfbB3KO1zQvb5jqiMlCWkGg+GreEI1Cni5SwVB6GEaLwP
ul0jTG+DXwtrQQM71dNGiiydEWVlFruJ9zzu6Oo1Tb/vrWBTknNMVZ9Z+yIZ6R+QSLLuDf57+ov2
mqBCAMUiS3e66/8EE3FLkeMHr3o04q1m+pfn+tlShtqXjnlNK69ZoTXw3sjraP/7qJ168myr4Fh1
yjlluMcxB3YrXShxKY3xbLs4KKKgJtsjgFGGdCekkZtGnv8xN0tgMiSU7Qj8THsosH+n4sWo8O+N
pP/E9ng2SPklvvlK0HC9gWBaLrPSPnbghZxd4uIYcxJ41FQWN9tivpthz8gMqNWlt+fqr9japD5y
51qjez1Yl34KPvswe43zX51ZQ52XltwCVMRUQgJgnMTRXA7XL6kXCWIEhnRZ03692pZ7G7tSvGWe
WLhzUJJfxtnGTZ3k21eLQg6/HM85sl/WFqMOiNMYq3c4s0gcuEXbYU1DCkwgw6fPMMG8pbSu33YM
HDibfPebaoM1QiQDzZJxOw3VagA3wjjTXFtm/jcz9F+NDtRAiHVg9O6houxTobHyK7gsSd1sMxf9
CyTzEROSxTofTeKDZu2mi1rkO6Sp3nTzNuTRMaedsGNy3W5jTmOB2x6Nbe5a0ctY44lMgBVR8acm
eVyV44/7Kk21Xdpb7rpvHHjqhvaLuxOyijfNcqM39B0rmMwkiQxslwCVkW9dvOWx8RsXuXE0Ql3H
54EUJpq6r6DVOR3i7OrWenmL8EMxu3Z/V4n9ewBvpM9vXjm46MgEbG1Lv+Cdgz7rimpDFsTSLBhs
hnkNRdbA0WR36g9SJW0JvKtaoNtZpElsIkLOpnPFMtm7dbdty/KfzQS5s7fKBy6SZdRqbHTqmgCs
nqZcUwR/BrkEIwyfNawhbFUcmJHRbcj4gdAfjTmbW+3gulQHR7HbVaqCLKrNFnSFyMRvTIK99Oyg
BWrjAoaNZilHDCZ3R5frb+v9cRL/zRtMa9O1hGxVTdBtLM8Od2ANTeJVTv1UyjMBXM2ywIg+fyOX
JwEvXM0ixAYg4vwnr7BiDplJPIXVyOvMqyY6jOBDXMt6OALzaXmrghYJikJsuKhV428CUFIrFQck
qqlSQDxkG4+JHPWQg1/d6tRJTR0ceTi+cgbNk79QQKBGWYm3yECbFv+gH+bCAbkjQpwLbZ9/lJX7
OfQgsQlPsmjydlvuEvGmwxeBgLO+l1UuEVfvMwCC+Ekoyiu39tjb1t5Z0laqQ+/iZhcf3c4Fk5h7
JvNLxWrm4aIXFh1NPYsKxGk5eTsZmAslC4cuhV2s+p5EgvfaJX6z64A8RL3OxKLxXgrHQZJomrsE
C+Dl+SAWXW9uIzVZxyYcgNwHcb8mFwabRJVmW5IqEca7qbHtHddftlZyzHGPMeHT3cvzIaUU0ce2
Ozj5q1+zz8EwybL7I71fGace9+y0XJIA8yq63j6GbbrHR+c7hDjkzVsVesWabs+PQeX/qEJm8fWq
FEzCOZ/GHCxEOXjNHl/hT4LdcD00KcriWH0IaZtrPabuJIgLkrm7jCoF8iFjbRb8IcQ0EVLVuCdi
2Zh9OJLuNaCcqnUebhvT/fY/q1JzzxOX5OBXlzFg2Nym2CrovwJ5m0gfAw3tE66Aa2goklUE5qx0
YYlqaG7JRaw+kGyOG4MAlyyL1cb2iM1prHVA1iTCCeMD3B2tfhBgGltWCAPx2fGTK/90kJBaMnvJ
uOuVKPjxJ70Ho/htx3r3U2r8QhV4Gxxi2SICI7hLhTeQRtRa68q1rqaWFisNygItoaXtaLvkwPx7
WDBMbq6DTks4I2ViNYXIuUljIhhdWH+1KCBjLCq3sKwC9Nccz8Gqvpwsa9ggix9d0959Lfojushk
wcN1b8bpB5T3vZHnZ3ys2kmKDqUH4p8sOdqeLzZpaKBwLkjP9JHjGahLNlPsQGyR/2gtNPibkr9h
ZfvbmdMyFdEf/jV9nXXMmHMan4fJN/6QKYp+yBZvZRbQqOLwLvDr4EfD/NAJ0k2E036NxFRwIq9E
H2v7WJRc1CqX98ELfBJpwmuRokfmJUJMycOiq6C8gSVbtdN2CrsfFOO71q+5Pfsa5D+HEJDcyZBw
xtFj1EV4jCZLLfo2/lFC/Gh0Nsi7oVIwCazx05XPaGbVVXmy7nKI2nmKdwpmDgNyjJpmfOpLdxna
wWsSct2wXDQWRpuGtIAFrgq0jIhdoqT2FpEL09kD0c2EEDt5pLZkKRBQar6QI4DizDiyhKw0AD97
G+umSnS5cYNeR6/IzbGELmLENEuqzroPWvjiZuaPaSWwqKvepX2ppeisynephfd0qpnK5xMDOJvI
onrSGDQa98CZgbLdolHGv6hiu4ZJf0kO/LfJ5AXVcvrLIpIg1dPmRjQtRvXyjQQegqa5NQ269Y03
014aHq2pSuMeQkvcrP9EGrO1aAhI9SjGFZuEV+kTX6LyTeA2J+QMxh5/LH+2OouWjuEQx946SEpn
0WkWumGiuQa2HGFGvphHgKUZkAPs5NT1057xdL4wWnK5TKf71qA3I8u1J25F9jULHaoKnxG4KPa6
V2Po47oBU1tugro6M0WJ9mmQv7uIKuafVRd7aSTu5j0lnooyFdyn8n+FEsMfIOZsSXr8zXUU7S+P
A0z3/jeaHxwLnaIN1RwtWKcEbcQLJ2J3oaUBLLz0EIUxPbrchU7qD6fW/k6N6OBIO0HxEH5kZfM5
OpSlkMdQ2Q/tC5cOLMCZLw4+rzWwKbUaOGrf/tOGuOhb5e8AvtCH5ag351ImtHKC4jpFplgCTXO2
YYIjBC0M5h9CHluc1+kQHr1RkgHmUhpmabBLUG2A+opzbno1d1ljwHY8frPmWBur9zCAAy1qJwrO
rA+WCeiSVUmjKLX1k0ESgzmyHqKxLYp3RFcOOYH+gwkgEdCUgTu4l79I/T12s13MieQ5Uejc2sRh
LWOXxVpC0eE1L0rn5G6d7iulIi6cor3S0bv5aXBpTeZbT1h23Ia40hSuKmjJi2nSH4RozNbu4Wpl
CFkq7epFzT/qQpjm5oFXmoukbuEZw+7zw25rT94f3e74463qVyPbU6F0nV5/cZUuxE1Xo8eO+BTB
XpfXO8h8m+rcltpvLXaLU2ScC0mPobXZH+AtexlFs0wixmU0Mo9Q+kiMqf6FNRlgfYr5u53uQ/DV
IbBGkMJ9yfaEzWygxzShvSg7xjnuNJRR+UdLJ6iyNMlp7tI3RL7JASUWrVzF/rTEgYK4rkWaLLTg
3cuGu+hJm8QF2S6nBhaIPrrENtvW2gnqvRQOlKBeRwjlj4SMDcYWkzElSryOnOkPSsN7Ol//QZa/
VkLPl25Ewn/Lhd317VqTxpkj4rLskMQMiXgxGNk3UQOfprePcFAKRjptK2ZMIdC9MOR2mUBAnSoE
Bi2NDysD7xyHuL5aTMI0ftoS/DNiUDL6yUubImsZi//H3Hn0yK10afq/9Hr4gd4sZpNJpi9vVKoN
UaqS6L3nr++H+hrTdTnFTHTNZnAB4SIFBckwJyLOeU2Hhbngl+Bj9U2B6ygSKDeaJ7z0FiBMK3zl
zuJDArgP8nHPveEPq4dOLmAip0QKU2ebbFL11cOiNB9M9CbLY+kLIjqzf3S9uMdudNjCjAux0kh8
86Wzuv3YgBmNG8UGiPropfWfPt02FhZyJfwwdAYq7iGHUQ5+9ZwPKxcCINxhEuD1rVdfN5pG1nZQ
SaJKr0oTv3aILa3GUpwilZMHMJxIOqubgpuCqKRQQrJSs3EYJZCLErJAPel1AUDT+ExP42QxWdcN
PvEhuZWtBLgYAieAPLQfBdTUAlhVpVGxK2KhcNpBuwfQ+W791oSUIO8Dkg/hvHe4DpcWJq/CKO9z
yzggXHHyTOUV6qu1RSmrcPDpRuNQbtCs1ifvdwtcgXrfWc2dgHDFusezd69yXXH7B1cXkaJNlGgd
ud6vEF64CWLAJ/J2ZU3K2at+WX5E0STn3BB4bWU3sfsA9gkJOBjCkKfWVRUxQC4yhSnRm8pPtO71
DTMFFx+YVep1xP0vRSgRmhM0bNB4Qv/oib9Tj0uo8ObDfKe0hDJGXv+JjPTe85sKvYnUwYf5vqsF
xGnEfSnU94GsnTQve1J9XHu5xfr+RoFnw0ktQqznkYMxhJ37vOmfrXA4yEndcEQcbomyp7Q2oKwS
QLsQe2/fuFWS4eDjVb+SywJcGA4vhrIfS+3OK1MEFHzbM1JKKXfYukH+jdFGrjbYPbAOhpGcEnV8
1wyvfVXmb+E45X2C5mH6w7QIAJXUHAgmnBb1d0A41+JY3dTgKDrqfbKX/KlBzzroGz2qFsB/gBy/
1KZ81zvlrvZYkmFue7pYr6SReafXaIyiQQg39T5lv4f58EvTxxfRZUF4igAVtLSzDt86X8ZeexhP
5CnZyNGXcdEW3iiAbodefSVRgIA0Ma6GH4u3McJQaDOZh9yloq6LB80vAFHVgKqxN5bard/eKFqw
R5BlZ6nGQ/ya+6RGXa2TnNTvbutQgEhmIQeTS8lulNKfjexmK3TRXGdUaF6RdRPdZk6vchI3G03g
+F02MPO5d0/uBbexkW0BMUOuMdM9qaYCERe0MiwkomKgWLugeQjc9CUsW25jRXZsxVqEM0bfMDCi
mqPplqTCpqE8VPgWEvqltuXowmJCZajCmXXfWJveal6Kqo92bLQxePtjA/AKZwFkRDTppW3andGh
lJpDeHYiOT3oYD/tNKu58dXqaBPh+rVcds9DIBT/zgcEkbjz3JoCYgQMvxo7x1Ki20lhGFkNmCGh
APkwiOqjgfEfvtMwQzoQJ26yx7SkvQo6SBP4uJXtNoEjsou6pEZye8QjwZCL3ZB6gBEN8d0oa98h
1G3iCA0qFEYzttP9MBkIuogMrTw3P6YmSqFjn36YwXTQAA+4rgnw6yFKnjsZzIkvKuXaaPf5xFKq
XDQ5KgspEWpySe9HVAO4KXfAKkukAMkFk2TSH7u+QRU86iCPo9wBXGB0eoHrzMCh3cEzEtt5Vb0u
XOHFNaOeAyp4J4HaFOcQAAC+t5MqkUvYZI2NPIhGTWkLj+gUGQDcAJjcqdeY1ZknQ8gOnRUTdRQX
EH+ND7LalaAehVralHoq2kDJN/VQbItKBXWqYL/cJ8SxXAMOEzYgDRt/B+Adf1wF7amafcYXo1sF
/G6ZIXQEkJtK/yTb6oOV0AvNhmkYXImdwQyCY7UCGvMq9yUighyIQDM5gSW4FKQ8gdoIRf4se3FJ
JKPCbXFEV+/EDtGnpAada8j9D0VFuxGkiIBQDjawhmFRsQkwmMqgdE8q3dpokekX6ppUSu1IAudU
r7JsI0blszSFZ4VzdC+2zQNY9FzNbZXdBUUL94SYWmBXrQo/RoyldZiiWIO4DRKymkyJUxaTTayg
eep6wzW2Asc4QgwkGW5DRKj3HnhIpgciRFH2IwFZDhQZ94YsL3WECcHjSqSq7grqcKXQajaiB/FG
7Vvospr/c9Qw07QQs2hSkohwu1gF0O7Zq36CndhaY34laYFia9Ra7ExWjEn/ouNswkIzw2jTanh6
A/SU4ECnqRP1preDOce5SXjvXL3aqWIN6FFySmrJQ6aKP/AptfMK+UITvBvlvJ/mWKB4NxEvRSTH
hR7lgQC91nBAwjZIAFCQe3itqP9OpRuyVCWCYqN6m4ySZiuR8cp6trCsTAT4TUonyg7XKFmJcQUl
u25wTEezQv0hdvCpEplRNpnzyK4XZsq9rwI0HUeVgQAc6Vez6Z5cj7Mp4lGRKeHxPqTuhqp3SimQ
S5NeG+K2ZTuF0dWumz5ubPSO9oNPEUuEJ0ffOfgnDUjkJRDigvKqVr3B0bwRucIMwFHpQoI1kNoA
fXHUZet3qg7+Ns2jjzEUTkZQNuwqornqSJ4hl1Vsxkz86Aq+ODOhiqDdSm4KGJzWoMiIYki7V2LI
LanZE3sQEUSlCXm27i4OUtnJw1Jd6fSiWgDNQr0UPXjNfdZgj5yaobyW8SS4lgTtyAXCLslHnQwf
z1orkpVNEBkcDxVvI2vRQ9B5xqpDyXGNhNHjX1WAAc94TwiGrT7KG61Hqr2mGOSIAN7XSeandkg/
rlErBGuhN3c6Pag1T6jPXJd9jZ2LKSFJlpshUIPooBUbS+XeWJv9dPT9LXlQTpVCilD6xWIc1Khn
U0FqpkPLZBpE+spJBKFgI0oUEiHwyoaMQl5p5T/gLaM6IZROmEMONEkgYQ433rlUJ/boCtyVFn4A
5BgqgLCcO42wQ4PWRWsA7+VjIoXXUELKZ7cXmm3UtawLisd2MqTHXODgmXm/hMB9R9PsqFRZ/xwN
PzzQMxAZqVNYA+fwOEHgxItGoF6WTyUTXCD1GDPae3J4NSThHcVi7aFuKCHgJmhsVHcranV7CIZx
E3RJuNG9+KNGDasqs+bRsFAv1jGK0afzdBspD4EsggNvb9URJCPIJu4xI5IJOeypQhM+OBQcRwuy
YMrpB81nfHQaobg3ZRTjZKF8r4F8t6GBa0LqugdTNVa5Lw9rZRycIigaJ9Mm/wK4xokSoiuKtH09
BOSQveIn+8yVgmisXXU4CTfJxvQTAdFP9uoMoTFHr+UeSkKPbzAusytuia7dCMariv+Y7Vl97aQ1
QWA0UDgtlG7Hae/Vshq0oSDLoj+k3QD/qu0sswJOq4m6LlUDyDMYMq1MP9TjSDpvzXWs3QLCPYkx
EkUhaI4kFsdjYCFDxvFkH5DgtsWxUHcAKJAFJEGErCYMylFuk3Xv+vdxnNht4xd3TWWjWMHCrLQS
zYnHOLNQnXbFal9kEZzIjhRPVm6DItO3EWu60TVwDd0uDbw9CAR9S4rVXZtc9aX0JfBOclFXe7VJ
/oAm+EW15kHnH1kSiuCIOlKdHfTnlnrphDEY1nlRP4Z4Tax8r7hxNbHdJVOdpIOuoVjFnYGjsFOK
4VPLamcYk4euP41mn08XuF3aT/C5EmB6oHRXgUBSYwCWYqq6Sk2FPZIMX7ExGvWF7WBNrsn92WX+
E9q+ykaLUNuRB9T1xiA5GD5wiFwQtx4dgmInvDtkok0kz2NhW3WCj1go8En4wZDzBJgvqEg3NyWO
AxWsCx2m7F0/VjKJhYolhlYV3PAaBZYMJe0msUWrCA4SK2SrwjBAweahDVyQvDVELtyJuD9Ga0H0
AI20uDOWIN4bP/vIxdIpJOWHYQUNQawlH845PWuhp0SCM5aAb6ZUp2MVqGCp5MwDJYcu0bEVpv1L
jBuUwIEfmwG7FbKdquQfCXsOYjNE8Uk7OL/pUbzaZ3G8p2bvaG58U3XBtUumehUmpN8Fkb0wi6Wr
btQfQoCJq35E+SHJ0LLxKpKfeUONS2cT5qojOpCDp6yAwe0DyeK2BrOfjpZJCrC6CWTB2ER5hXro
7ZhjQq1WJLYhoa/S4qiEUecEBJeVEAKVSCVwUMoOi2pxYkqgVk/2S6rS296Uf+UeajqSRI1uRPPD
cFPgU0qOZRVLCnGeFF1LlB9a5NAFmdS/0SDQgGspcmka34I/uWO5vxMy7kAqdJgMFhmJWDWMrZS4
15YAdN9MRrzti+CF3BiJvHDcGCVYs8D7kzVI3wphe+wMLdlo2vgSd8GvKC2QeC8weBFDkYrvwJ6Z
EIUKL7VFTtw5YBuCoIlRW0KNok84DXVqfAs7h6KxuFJlNJP8nPynK1HFySctgK4q3wo5gWnTNntA
u/4mwptLLMYbLSrca10W+cNXtEOQN3dSSxxTKn0XZUG0kyVpj6AuMrciKewsyTgei9lbF0pUCbuS
tlG24rsVEptJDGo/CEELlEH7NIzWcRDYULG3WReFIXNzqOPjiBEUeQhs2wWEqQ8uWzGO0gDDPW8y
0xuP2UgBkiIJZDbhV1WVGgZfAnDxQr6NhfR3jO7IdYXTYaRO6cygeBXlrOZ0Tf5efWpSRboLtUC+
a4I6uUJh+QSQIsVfUJj8xCPjyRu8nSuROswxqtdJ1Bdm3++lDkUPE8ArxnCrgJo1m1lP/TnsIRSQ
5DbhuMi50iAik+lOBKLrRswM49DU9cFS7KjxqZmz7J2xE2/ztH0jjbmOJi8+LsG4UAfpOp2gMkH+
UkdRjVYXe7tqveo9iBM++LdobXxxiLatiOqnFrnSRo7g5MuDAZmr3ZVadNvrpX+EGS9Hb2qfgl/O
sTgO62hDjDtAJkef0KLkOXofVVNsSrU6AG7+pbUBAIG2PQK8oQIEW2PbpWh6+xp1jAyYVerGr0JD
sTP1irchUF5MGcYrClD+yjL89kHSjNvGhB6IzhI+GUp2CCqEOCZwwNEva5Im411YwldogUJxp6bV
/lEqqAIXiWrHvvxGRUmkroDNCl7X4ZbbyU0JH7r1pR5Aj4GMM4m1MRbR1dJKbR/jn241kHpc8Y2I
8hq8W0aEqoHK9u2q9UafXFh8Ud6ANlJXUmMEu4qtTpuU+3QLQZX/mIyx/kcGYl+7fv3DS+z/zWPs
/0MDMVk86yBG4ioO8jxIf1efjcT+/qt/O4lhzfcvXL8USZRMUddVEVOw/3ISk/R/ISKFTaolmSpE
dQwa04x7+P/+D1n8F97M2CHC4rbwkjP4q/9yElP/hfujYWEajdqPhRG89T9xElP/YZUnyNy5AaIr
c4s8kmAsAS0ZuTezi4YNXh9aaBY3fyfNP0znPvuULbU+88LDygGXH9caTmUFDjU1XJlDnuL929Nu
sfV/Okb+97vPnCIRcBy6oPSHUychdFuCQHTkEnCMboTVv2f94iOkpS+Ynv3+hvSeh4e39L/EIfA9
d2K8eBluDA6Fc/UBQQn5inro+GRZfnuduSGcuiCUXuBpyn8kSR1OTcceT7opxedC1Cgm4pAriBes
WeXJmPPfDn+TSd1/f/j0sp9eyvCS0jSCvDvJkd+/tIWFn1qE4UaVpGwPWYUcFqgrJzATqg3FIL6N
mRcioa+rta3EoOC7GAqEa1nI32e+Biq1yeJnWUMxETckF93Mnjm5xajHevzeRGAaf37jqOFg4TWo
w9apwakdubV10kJXOd/6NOBf9cfMM9WHt4fgb9Ge0FkJ32PIJTuhlWRyIrl/rfpud8necqnj52Z7
pLMTxSd7Lcu19dNVPYxVck98bOhUGCpcuhhpU7Be69L1kPMou24NB176c/47lyb8zKhVBlLRCcP0
eOlgeSeQDLVxwUd0YZ7rM8NwmNNREkEiPbVSsdYp7CWSe6HXFt5an7lw1pJVB4nHW6vNfYGQknhd
CrvzHbIw8PosviBXR8YoZeCV4H4cP6qAS131HmAGcr79pV6Znvt5ofWJa7L6W4p6D1mOTg0SJ+db
lqe5+cWc1afe+tS0K5Uj6uBZe+IqgUGqf1so1XsmDrs6oVgcF2s1DNBPyNc1ZgiGxQ2c0io0URvg
OJkbRBolc9vhryZJ8jqu1LvRSxw5NewRy97z77j09dPvn18RWpboRXx9ljz48YunvZ1v95/Wlf8n
fOmzYADvpi8t0yxP4DxSb53r3NRXZtkILxq5P7KXUHP4oasNbl5ApbMLFsML36PMvqdVgMpajWse
I6ne5nGw82rzwkRZ+CRl9klIi5iCEcs0nSICWlhATiHmN2+qS0K5wCBNeTjfd0vfMAt1ujI2qaDV
5tHIUetB2xvN1rwpvzfiyiy+1VZT6XpO6xhJYcTjm5WNTt/7+VdfiAPKLHqFjYKlQGnA/W/Kw6AW
z0peIN+fnr7VvDyLYG0XSxJpM+OIRcNNTMW/V607AaPB7zU/i2KWpcCRGmgegr+/k0mZrNS+y9eD
6OnX5x+xEM3kWTSzABUqYh4YR69+T7kWYtdFquSlMrrN+QcsjIA8C2dVhS5E2Gg6kqDgMSph24JG
Rp8p/177+mxylj2UQ7Q58lMgDNK21F1lq1A/3lp6VO3Pf8Ji3JxN0QqVXclF5O1UpsqIdBIGdkh6
VEj5FfkkWK5ZOTqEmNVhXdONJTaQIDeFfZGr1hX1CPW2wCcBMKFZbFwotSQ2fcvDB6opbtF8x0Sl
yymU6W7puIWBkrrkGcKJLG91yXZ9aRCm3z9F1VqNTYi9rnaMWxAd+EpMDIO8ai4s4YVIJM+CXCgW
sCHGFAfdVJeowyQvuJjf+K57X/nyAxJNgMDAxpwfjaUZOwt7gGjrtMv5Fo0kru2VzbvR5vdyKg4U
DL3D+YcshLy/M+FThwFZtwoFqa1jq+u43ZlIddXwLC7011Lrs/kkBZQkzYzWqaMDWPPwD4u0yD7/
6tI087/a5Wcxz1PqGnkLLT65Plu60XfZZkyLBK08rBV+wmDpfg5iBc8Y6C7oCqyYMUYUh+YvOsm8
Qe1JubBwFr5zcqv+PO2ipEfXRUtJABVes1ZHyqR+LZrfi47aLDoGIZoLbR3ESDtK7aFWC23fKyr8
P8iguwt9OU2qL/pSm4VHRQfkEsEtPYlWiL0eTD3BWwcAe/Z6qk2cDUsD1Y6mKoWD0G923egBuG2V
Qn6OWm+8MjCfOXRC2/w5/0J/l9RXLzQLp2guoGShWMC4Si96Tb0mJ5VnNdnvqfr5yl81yCpzjPaz
AA0rFyM11RrTraGWyrMLi/6AolL1G9dZQLiIfkHiUGNcQ7CsVLQfNQAYoLd5BFzZMpW7TCzdl1RH
icDPIces0QIeLuw70jTXv/iQv/fMTysMAFFnWrmnH1m3WiOtEuOIFVeuvyTFYy9t2+duH3wvIyDN
pmFV4RXQdCy3AJ9hnEHBQoxhOn5vMUuzaUiupMZEiw/RcxTPACrl0EKF7sJqXoh20mwCpongdYln
acdMHtKt4E2kQs1Ax0WGxlOa5vr8vFpaqbMNQosoHtRSmqEnMV4Hk0C4kT6eb/rvWeuLkdamZ34a
aW4dsEZ7ds/apmK8+YUO0BYJJidb/25XP06na2X99vRAwchBZ2Ilrx4+PpoLn7Ww72mzvUL1esWw
yEicPApIclw4qWCuska+MPTywiTWphD86dMoThaa3+D42K17O96QLbbhcjt4LNsoXNn9GmHOfbtt
t+UVg2d7FybFNPhf9ehs/2DpGIOgw1Qry50v4o556tVdTbmyGD/OD9rCtNNmewg6x4iGaGp6Euti
11DbSLLwTQOIiKJfcKH3pIXgqs7WJbiMvq6ZdadEHbW3btRQGdRz6VC4WO1qgly8xPjsnqRBEmAg
qzEnCVM51hI4mrZ0s21alMnr+e9dmCjqbBED1K4VKwvh/nXKKZgMcPMmupPkdvO99mfL2He50tbw
Sk5a2khrxOsoObhy7DRZ0zrnH7EwZOr0+6e56GkmcG6FR8TljVInttD+8TME9i7dFKbl+sWkU2ch
wpNMCymTLDq1Za1CCIkdijH6hbmw1Pj0+6eXb0yxEgMVv1oTdBIob1m/Qhg0/94GoM7CgI54qszy
iE65/tQDW5DRFT/f6UvzZhYAYi5PkocWGWoGcBNjtTFWXgoCxJSpjJ1/xNK4zha7KApRVlNRPGli
uJESaSWxXcs+eEccXb73iNlq98fCyJSSR3TaYLfAnpU+cerytmu+d2ZXZiu9NTWgyWaM7Ip31ZTV
ZMeC3aq0rpFOP/8JCxNImS9gTRcrPWxwqTKzu9GQdgJoiO81PVu7SAvBiOn78OSlef4mB5CDa5Qo
L8zNheFVZsu2tzpPb2APHwVBRf/OrzdpHO1Juv3U0X/83gArs7WrxUHF4QROKAfa27iVHyjz5ghj
q5RW2/bCQxaGQJp9iWh1Skt6wjha7rjVTe8+FnP/QtsL60yafQBCxRhEB4Vx7CM4RGma7bxMdiR2
9+35QV56wPRRnwKQDHgapKVnYFCf3XWB8oRYor+Kq+R7F8q/e+Cn9g1ZQrg1c/WjJCMo3ZUwarAF
vjr/8tMk/yI0/70JfmrcF9SwSyivH0PCgty0Vz6MjB5tnlZrr3NwT+rw+/yTlrppFoygYndeQ+Xw
GNSnEShEQUFYbcfd91qfxaGx6ZR0bA0dqT0YbpWCanXWYsTckw//XsAW55EoBFGjd5Z+LCtOnJON
uFFKkIMhyH3rG8RZIBJwFB+FlG8YRe0ZI/UX9NbeRuCYF9pfiBfiLBr5VQK1kHCKPiq84eCmQ3WE
ezbwqO920Wwdo6+b6eDv9KMhlW8ynI6fUlYEj7rY5BcGYXrXL+arOFvNqiVW4xjyhDi8R+htJUC6
LWXY4bjXymF2IW4vPWW2pDvfajNfJvMIcBUUBIBsaGThAVvs3DdBtuDddX7Ip7nz1efMjhcVqYdQ
0oPwRHVxn6vGNgG+OgzlWoLqEIo4KGN11ikgJ88/T5rWw1cPlPn903r3EsQ1I5TMTtzqTypMdhil
ayypbKlB10AHm+7Ha0FFgEsLL3TmwsKfgAmfH1m7TZtGQzoctXS4BkzioJm5w8DrQvidxuSrL5qt
/KGJ3DjCxuToSfusvsmF5wtd9fV7y9ZsvScGqiAyprpHKI0bdgw7cO5vzZW5qvbuCt7gNrwwp7/+
AtmarXtjANmILtlwlOKbRgC7eCHL9TeP8H93jWzNFrwEn8HPPL7AvDJuvOvextOyldfeql29h9fo
aG88knxrxfF3/YXb0N9t9atnzkKAFGRRL1N6OBZOdI8fmIMZ0Cpao4W4BrLlIHy0vlTFWuq3WSxo
qkEw9AyjhrjNHzT0MRFQezo/+EtNT79/WiZQ0UtIJQwJwl3XtV7+0eHfXhjupXk1W/MYD1ZGS6r0
WGIxoRa4J730Xvi9BS5bswXepbqAeVAwHJu2qVHa0XP423jgXincY1B9zXAeEo1o8qnzt4UfIWOW
l/6FcLb0abOlHkF6QGc0Go5K4d2oRf7UtuVDq6CA9r1hma31XMzGsTYA9o/IvhWacsD+wvlW08CT
/jHiwxApVdgzKgUM/gd8fqp9aQDf/F7rsyUemYmsmJMgdmS2qxoZubC+MJsWZqo5W+OuIhnGaOo9
xsqIMQSvifp2/pW/3gNlc7aQ2woNXVzP+6OUC/se0y4qVtWpjPKPFEBtXACZ/t6Dpsn0aa1lY61w
g2fSmKSULes9MXPs0Fq7FDVH7rIL9dalz5mt6NJUwJ/WsXXMkTUalBw9meMQ/VUm5gB04RQ69c0X
wc+cLe0WWTmM5tv+qA4Jhe780FUZbIYAU5vb85219ITZ8i5yFMwEsemPYnToETatQFbEk6HShcFY
mk7zFWxk1KOrivbdU9m+y/l35+ls6YpGiRt6ScO9/iumbCR5F/p8oWglG7OVy+RvZMiOyFJpOj6L
Lg7IiGQOyT4PceuJt55ebRBgPAyJttfS8AEJx/Nj8bcK8MVwz9GIcqt2sY6a+7E75Kf0trjuttnW
uHc35oOxHdlVMRFf4e6yRX9+e/6ZC+NjzJa7CgIlxZEBalP/A40dM3660O40wF99y2y5j6IPRqyg
4WhV263tr4XVS7yHxrK6eXTu98HqV7xJb/rV9vTzbbCl9QmxktXb7bS3T7lq6IVOsBFs0/nmqciY
hYUO/WSj9ehcV7wZGgzAPs5/6fTvv/rQWSCQ5A6NiIEPRdMXc51NEbgceC9sgMq0Dr9qfRYByjZl
+0hpvbXV9QvqA6vAhhCz9T/CW7i27Wq4Vo4Igz8xSW6qU/uGSaidbah/O+hcOLhKrwT7u104CxZm
aaSRa06TBYuC9qiHj+e7cCH9jqgdX/8pZAvWaLlQM9mHb4yH9Fb4lVwh3+Ug6HOQT/IuvZCcWJrs
s5hRFG0fVgLvHyvPheyjBX0hZiw0PIcP9uE4oRp4/5yLznDCgeh7HTMHD7Z+m+ZeTsPq1kXRZ9Vd
ZVeV3TrWn+rRPGYPl+A9Sx8wCwO1oKsD+2N/DMufbr2Vuwvby1K7syiAbxQ+SCXtRkGxrgIYQ2jT
n++bhYqXPIcQJlEjmJVO2wLm470trLRdxl1EWP+uV0jT27VjUsKLbHJna3MtXliRCwgcFP3+OVd1
bFHbSmVI2s2wTvf53tzCo95iLH8InGQbrdEatHvWXrM3d2gtbLtL169pzX8RC+bAwdjXE1HweDKo
N8yfbHiMe3Hv7TlFrbi08JHne3Zp0GbLHFGSEmIXzxlMpP0OdX9hNi+1O1vlTRGFvVYxYBX2n/Dt
bLd8OP/GC6cYfbawBxjoOQL+/dFXkEvWHUV76bmnpP4lmMxfjNgXfT/Hj4RugyV8xLu37/jGrKzV
NOEwgL4Odu72FWnxlee0K/jKdv9HOWjDSjt0J0w8r6oLIWbpcDDHmERNiNB2NX3jHp+jzoGzsME4
wYbAvpK2xpV7ox2SD3NTbNJtcmHKLWA85DnoBKFCiP9V1x8bpUT+GkVXlIKrNjjFSugiAaNBm1V6
NfhRakK/advG2Pde1WzEQbVsVSs6HEVQZ1ACNd8bmRvxfzF+lrHcbRPEF0+yrwAWTfCzsQY55pir
JLZctgJq9loefC8RKs9rPlqT+lD7lP7oBVeC9FbCpvc/zs+8hTk9L/Yko5mmOi5b5LublyTxYDj6
zvmmF8gXYH//GWnEER/l3JJZ7yhzv+S33VX0JO/xe9obh+hnfAge2ktY56nJL6b3vPSDw1sMGYtH
lW5gB16+xtDcqbxXQ1Bg7VsXAsBSyJ4XfwJBi8dgEPtj5mR/FKxikLTyVsNT/mDcW6/pNbTgTUhO
R7vrD63DRDmG22925jSAn44YQSd7YTbyhcqN9lI+qs/iVfyAe9Wmfg4+jOcB/sLP849aOBDOwdCc
BfRkkBtCBZNupUNXW8lFtUap4cK3qAtna222q0I5hUo5bUFIZG4aJ1oJJ23aEfhvcIZ1t8bAYR3u
4XkTqIxV5Wg2rGKO3tVKWiE8Ad4l39WH5t16Da/1d5zZp4C19h33ezuINjtrK21dq2nJCybGj4Ks
UXep4aV04BzBkwcCLM6BYWw3wk17Akh1lzyZp/5Q3DJ1DsEN+acLEXdhHOeIHWVE0lPvpoAr4UAS
+rgdtOsEvO35abJ06J0jdhBKR2gerbejvg127aN4FT7o7Obmi7nLbiio+5emy9drW5ttu0Xfdd4E
e8LNFKM35D0b0rbnv2Gpi+b7rmj6aVHQtIYUnY/ebK/c4RDwvVk0B+XIsmhJlkvreHfbLVz4DqnC
8y++tJvOUTYubDBNGonb7tOwFh28Tg/hjbt3T4LF/bN1hK14ku2Um3YMVuz+/FMXukudou/nGDQg
SV30fFCnY1clPiHSlQ0X8lELG9Ecc0PVsDONktmUitf++N4nF+fplPf4Ym+Yo22GavDRryBoQ+Y6
yE4Mriy0hfv8WDrZKdmHu2ATXhn7wkFU0jnfUUsfMwvWaKvjcRrTUdDJ12OSHtryIonNXPgc5Z+D
IOqeUEMapm17fAnevGv5EOwQWT8K18ixXCFwcOvfl9fpwb10Y5ha/qoDZ+dpJMD11AgZGhQdHOFG
srVjvun3GFjd9Dvdzh3rSjoMFDLSq2GX3Oi7ku680JHTSvzq2bPFbySy28kiz36R16/SKrQfX6+i
FSfYq1/BYfMrW22C1b1vc2XC9nWNmTvnR3H1B50nUjB/js938fr5/Kss5dXUWbCIEYspIf6TsbtR
boYDquSrkadiynUD2+D9/FMWZs7fPMqnJdYpoh/WUMmPqcYi9n8FSXzh8LLU8qwne5Twx1CbIoaF
eTXZgzj6+N47zzoGaazRiPIpLIi7vnxAnO18u0uXljknyMBhBjt1GsY+Y6W5N/2mtjun3Cs2MhFO
tO42ne1f539ww9nnb9YhvZeZhVOC8Zt7jzwtwk/DgXpb46rByHAo4abub7g7XIjgU8z8YmLP2UK+
P1aC4jEcsVWtlCRFLdFahdFtiDwZSiKXNumFm+WcM9QNoTCYPl3on/qNvtVeop2y8w7mKdiLG7RB
9wg73Fj2+QFbmGLytG986q1A6U3Taoi0QYYenKYXTqcKb99re3rmp7YtZQwyWRtYfaaxQlJGi399
r+FZPO3Nysz9niFGU0xrrtXxexvanPeiDYOpKxkvnMjYyzyauISdf+GFXfjv5eRTT3jCmEwm4Vyr
hrfJzdR898ML9+WlAZytZIR55KoaeOc8h+8r4ZAgpZcwyguvPacOaPAerQxPtWPl4yXypklXY/d4
vkcWXnvOGxjNLmlHiR7p9MkK00epub+w+S299ezIIyS+HGcJU1pC6tZVfiTCTaY8fe+1Z9cgpaOk
2Lp9f5SRanIzBYcF83vbyBzkl5qCBPyBzg4yP1yrUf1QCfHt+dde6pL5SqSkVKA2xAEkLZ/0KNqB
Pt9o8SX46VLz8/XYYS5ktvTKYCqhbSBeux/ETN1g1H2Jw7c0X2YHmjwRdBKR9dQ7Jsrwui254YVd
diHe/uXofFqcZuyX2NuUyjEv7pCbyWNOIsZ7gz7V+c5fevX5CqUI3SI21dC+7h4qNcJlW/EuXU8X
Wp9D+vBI6XW9bxpki6y9l1knC/3Tb734HMxXZ2KQUj2vgZCZxkeYpZPKWhF9L9jOoXxtgoxoOlb1
sZAKtGobHbHzyKsvdPrCXj1Jv3zee7A19LN05N2TFjPPTpFBjwso0OW9nzuFH76acTpszvfTAptL
niP6cD2J/LIf8BUT9ZU8kiKHaCONLrSu+OCJPnqFyNzjk1wZN8jRXFjUi4+drWqvQvNUHWqf0N/s
cL0CsJsjwa/btSI5Smhch4m1jYd97P3x5PpCiuIv9+qLU9AknfO5Z0Vy6mUWoQPdG6mFdlmCOdoO
nShJtDNfKH4EjYbpVJKIAVpcgFycOtbVn54ldR9eFVbkiiw1aHeBKHSHrJaEnxhEtbWD8l53jfpt
fyGcLsQkcRYwrFbqRNccpaPmhbeSaNxXFhW+Ur/QDUvLbnY0l1WjTUuxkY6loqA8HqD/b17Yv5am
7ixeAGW26qjJJEycan+tBunGHZAY9sttkjVcYPTw1/l5+3UXSXN0YC25/8nZlSy3jQPRL2IVFm64
UpIX0Uuc2M5yYTmTCUGCG7iDXz9Pc3IQU6zSyVU+QATQ3WigX7+3mGBsW2jTvqEBdkfB6rHZGPjx
LKiNCGwZVdQF8W9M6ow8iSEVIDaQP1wx0RtgKAAzaDuyPz+RjyM4De3NgEB2vnDsdVXfO1DUKaD6
Q8p/zVbf6cpChdaOEAi8Oq1naJxr8J66aEKZflZQHz7/9R+bErUhjjnvqwIU9G2MUvF9UUs8hlcv
54c+3Xn+9lXwWf3pq9hNPUKOFx8+66f5JJhaUzpGxYJSN2iM92D2/qcV9PX8r61N5LR87w5SEjSQ
dUpCGkP1dT/37nMyOhumujb06f/vhs77UkDwvmhjbtzfmijoX6b5fH3Zd1sRbVAgJwfMgMbFSSGU
qwZXVCjU7c6PvmKcNpoRwju9VwhECkg5fxkbqF8QP3sipfwivMsaE7Chfy5PzXXotAEcIOdDDXnz
cLkFu5hzL8C8sDGNtR2wfGAGMegC1m4SJy34hMCpWd6Kmmyxfq2MbkMX+yYbmSt7GoeE3YMsG9ev
7uv59V8JRKH1HrCAuxrmwwmGfoS28V5SFEfkw+J970SzcQlb8TMbwSgTUmIwj8SDkmnk5Y7eZz04
GjR9A99uE2npoP5RuE+XTcly67qFvgNdEI/mab5POgNiflrcKn++bif5WUBvdSM0rQU+y6OrcJp5
Vnk0dgnA6eHwpSzZLyHNRua9tuuWV6dd1QyymGis6uUwyQQtA5fBbKkNY8x7p4ZksAC1M4W+7BDe
yHbYeOBcWxT2p7ONBipUUjAsSs92zOgvvZLXQ5Ze1BIHWck/h29GmTRBZ/o4y+qJRmMJPtOphBZr
UdbkRgZZuTGPldW3oX8jWhGXOW1pnHTsZU7yO2jObfjDSqEJ+N0/JwGxvbDrgPIEVBIpS84Gt4ae
DfPfwHU0HADIQFt4Qsi+0Mb8KjJJDmmf9AdSjhAwrj3v0PliuexYCixvaUxbYb8qZCLoQrkOuQ+d
UZd6G3FxxfVtjB/efnNIVRkSZ8q9adFeu8xo78wgSRDlOVIFsE6gRpVtFZXXNs1ymVpyEOjXQx/3
if6uAva50O2yMZW1sfmfmzb2NISCeNvHk0ke3K57DoCoOB+x1oa2fKZzAiLJlICwNav25Xwi/9/C
Xq+crzaQD1qNnhAaX01AdI6+EOJDaCkRwd5Rc3Ls/U1g2YrfB9YJ6Lu+LCeNCyt6Np4r5UOiLZ/B
Ex9uvfyuzMSG9PHJZKBM11j/2fmxpN9NHkYZ07egib5oF2xon1cEyANp08e538RaLujW9q/OD72y
ODYvYN6CQDtYsAuK+JBahjgELi+PvKsu/HTLidXocxfqXH08VtC2qwX9DmxUGZ3/+BXrtGF9JJ0z
3QxYeFc5Y+SxBjlaOHw+P/jarp5+9F3qiiopXHWAx3aJS3audMW3AcIssewaqCt3mynU2g5Y3ts3
woE2zAi1Gm9k4N1vkgi9khpU9SQ/nJ/K2k+wP6fSC54NRMN+CMlifyRXTTM96PayZijqW1lskbpl
O44YftSP3vjaQiPu/Hev7a/luSNvyBDiRorHZj5CKWk2n2Y2bMEzV0a3cXpBkBqyLBzS9BAmJ0pd
1TzZyAXWhrZy13ak7ui3M4k7RX9zSB1FmczajXC/Ypg20I4qJgrJyx5ICj/cBSVIbJ0MElNeMQ27
smvTjWRgbRKW67o9ZI+aFiobQ0hZhGeICvm38Tb2dsUmbdyPGBnEQOYBjxhBf8CzW0h/p5W7MfjK
4W5Df3jVoIdZhDpuoeQOAdidCr+VLoQKuhIy0L/b7sdFBvoX7md2oUwM1bu4KkJn3xDRH4RZ6P78
6GtLZLntaGTbhIzpOA2+dVDGG5vYTK/nx17BJlMb6pP5YupTjexqhBLkbQqnnXdGQS1aeUEFEQa3
u/JDx/zuSuM85JC131VtC3QhnXr5ifuj+8kw9IPsVC6bYw+VvyvHdRj4WMvxsfaFGXbQGCHQanQn
KnZtF0LdODWUpRtb/OH1EG0Ap0V7F56bxKVAaurw6DfjrcvA7/+1hhxRNWuwcaLkfn6ZPtwC/MrJ
N979CnQYmoBAWDP26PBpWebrIoEqnGH+xo3wQx/D+Hbwh5xHo2oZHifFPi/QIRNq62679umW9eTz
2I4q9MQRoltXEHh7aAS57odi4xayNrwV9E1daeNU+HKNzhKIyO2rLrspcIs+v/D0f8zQX29gWBor
+CdqIXkB8okjdDo8PFfz4XEazZUYxBIHVTlC1lywh8lr52gpzPJVjThDHSgjQlLE8Jd6cUsIJPT6
p5ig8q741B7KNmD7Qbn9nZv5yXWOFtG7BNTIUFtLjf8keJ1EmlXdsQ6h5cF9H5IHwVxCkKtxb8cA
YhxR3mbipoYU0XOTZOq6Jg554mpEj3ZP/H9dtiQPpMnLKzrm4jldaLITdc2vtaL1flnMGFcMyVbb
QXGN94ioqDIAQRvm6DpI8IwYgF8phZTaXMRzw8IoYINzXUA6+Zr3UwDB3C6H8gVNriUZ59u88J/7
nDrHsAoE9MYaBzIrDGjqdHbf+DwvKbTj3eZ69rPkG5uyFKpUxHuhSVE8gqvFRPnUmAfKSXtDB1/e
LT5oD6H/pvl1PfvFl2mh7cOUNxOoumWxn3M6f+1c5n5zlGgf/BRMjVFaO9VNKA20QwZ/fNSV0NCz
0d4DFJfrz0HRIwZAXWd5Dl3IjADHTyg4FVl1nWi+fIZcTHtkmrIHsGizY2CKn45uEigY+7R5YNwp
b/I5rF9ZT+t7v0J0gfRtMx2GsZO7YACvHC31Al0/J9l3iQOwGRPDfVBD6wVKD5O46tIiuIN4d7lT
c+vsZ2dGhtvgsdZzM3UIi3JyoXGWljc8p03c8TzfZyZtocqXFHvQB+ufnBZDBNFQqP4pI277oUx3
ZsATVN9DfxTqkRRYhkw/OFVCwH0fvmaJ40EvMXTlXRFARpPIWkd1F4RHEwz+YVrAotIXHd+6fnwM
/kZzixUKoeAEndCqA2a9yukR5BH9Q8Gr8WfVk/7BC+v0LhzUySpy706oJT1WshM7pgZzl4LkGYBV
LQ8+eoduzvvuhwkK1LCtlxDOSZhOoyOOqLkjKy92vPiXAKWq6Mv5H1iJPXaB03Fm2tdTL46qWr76
VfnFXepHKoYvlw1vPYKIZupVTZsE2qNfSw4+cf3AID122eBWVtXVqsi9EYNnkB7OgqgtX6X79fzY
H1cWsfKWJYDDpZ+kckMEsPIxS7NHCgoiyCya7/0ExiTq6j0J64Pu60Pv5reh3uo+XrHBwGbaCERR
trSj4piwRsacjeorpEnlcw2llyySkqKxumjYrgydfJdkkCCDGERx21KonaV94H2voOF1qHmWXJK9
Yims46NGnZqFA9Z5TMp9QcQ1JIQ3hv7Y/Hy7/gYxpWXiZSCOGdRcqY9GVRda5sHW4+3HOYFvV+CG
OkNpJ1jEkUMKyIUQSALlvfMGcvLAv89U9BP8mc74IOdS0O0Txymf8GrnzFAPh6TVjpg22CFPcCF+
Z6Yj9Pp86O7obouqbW3FLKMHPqbpWtcXx5a3eGAo9unyutAtfN/a6JbV994wt0unxLEAF9ZLMvTe
vccr9SttSrkR0tZ+wsoDE0XcOp3m8Nirl4xCcnsOIyWci2KCL6wskMwDnQIuk6MKxmjhILOFtFsD
0dPzu/5xquzblawwVUldh9rEyUjyp2zpsxuUIrLP7ohjwJvm4DpI/HnjYrFmYlZeOGTQEp3LCSFI
uuBx7pW57dMEr6oKqrw3E9HqOi1mNxqE/wvE5FtLuOY0lrtDYwaI4WoSxwXcx/vWlxNUwbstytSV
0e0yl88FhNEA0jlW8wJhaGgIJh5TG/f5FduyC10gftZQc8Du1xO4z6BZCdXQAwCrFw5v+TxZHAhu
QtEolmWQXqtkUft2LMzViNL7xk+sLY/l3ovbjUwtJjy6Cz8EDO1gYBs8b7trQ1u+bRJaDe6MC5gv
DiPsGCJ80Oa7bOzTb7673OWkWmgt8NlzmlzXC30oa/f7ZUNbHp06Ksv8FgexWOQhZe2T34qNoU+L
+kEMD9mfXy2RvGmgZMQxXKpIFKhZEH/nk4c033i8WrNHy4NltlQ1C+HBUPHOo8wfT6qTJ0k7tbGn
azOwfFXnChc7QsTRg8hfgJtQLT7z5IuWF9qjXYrjQUU7iZ6dOJ0GyEA3jrnSrZvdnt/bjxvLmG8X
4ELWUXBTkhBi7QBSBY7DHrxU8T03pQJHd/CmB7e9gyJdv69SP9l1KgGkTLtsnzhJdl3jbnGjIAK8
X/x5C0rz4YsXvsnycocRKedJlnGmNRS6nSJ88ua6+aeD6nrUQenwkY8lS/e4r2wJ86zYiV2fC9su
dbgHRqS8Y4ceirZyYXu9uNfnl3nl1LILdKbI0L2H8REWOUhUoLJsUDFTTO8QJ19mnWyhYFdCTGCF
AVekzaxDbGfTuHi+Q4tnV9GNELNi6idRuvchxrDSQzO4HxyTxmmqXVPr8WnJpX5rag4RaNLKaiMG
r/yS/Zo9+IFOZtbksakaNKK5z5kH0n/f9z8BDlps7MnKUtmN5aiiTbLL8iWe5DhE/jj/BKH/Rfw/
uMZaJlzIkbXK7/N4LMZ/DKg0wbB1YQJqt8G2vGsDPU5LbOoD66KZ1hClYe1FXePwPismQ3s6FQvw
5XHqcn3tlTk9zEovN86ymeCs7K9dLgVwkYRTF+K9kz3X/kNfQQMhPFZs2rDUNW+2grKX0iGciiU8
QhZgH+rmjnL+6sz1Vi1nZXy7SKpHjjfoEO5MVBcR9m1kJEK/2cbXrximXSFt8IIhZp9jQSp9Nfky
TkLn1/k4tLLwdoW0Nt3sOvOIaE/ar2Hb3KZSxkznLygobFwo137i9P93iUgCz4UyO7bTW75KiF17
rR9pP4/8rLyEzob5dqXU5OVy0kcOj6NoD7Rtrtq52wg8a0t/+v+7j18SkaFOgZhAO4ClsqD7XU/e
1/Nrv3IG+Fb4VCabVOXDaMJAoCixjMWNn4/OEaA/up+zBZEOO3J1/sfWLNRy4nDopnYa2vBYyl7t
gkB/FgtYZJd8ixlkbZutxCobK6qRhyCx4sGOAORgGvOWSgNnZv7+/CRW8gCb3gQ9jMBqBwiiQt/U
HCVC1UQquU5ZvUtmEbf5FqfOyrbbJTZThEk/mhFHAe/Ay8DpTzxabODLVu6QdlkN/FsLLXuRx3U2
8Txysmb+Bkh6t2sMmIpRCFbB/diB6NPxKv0TrWr9JRBuHEGWCUBKvmVABS0AS47yEwoFzW3HKu+q
9zIZoRtb3HSVap/Pb9WKvdmcHYorAYmXDm8Kht0UZp6jMtXXS7FFqLQ2vhVVoJAzC00wPvVkJEEE
JOW3kmxdnlaM2ebnkHRyB07hLT0KeyWEvcO31LsL863MaeXr7fpkq6BRwl25xKNyvnty/Gnk9LU0
2cZOr3y+LRWCykmVcoPh8bK/r0G+AZCvl/o7KrY4WVY80aYk6ApvasMWbKgB9A4/Ac4kwDDlJTzy
q6Xf56RQr21SeV+zYoLS2EUmZVMVuEaFkjuw34nggm/mK5Lzp3RLE2dlS/7iJKiAPRduzmPfWx5M
W4CosfhJObuksQhkWZa9+u7gdnmR8jgdAJhwkqEEhQbdquSuxCubmsDzilmVFQ2PqBql4BFCFbFs
VXB1fuFXIpZ7+tV3h+AYyAV9kWMW5413Vwu8saAgtfTTjmdPrMxecuEk0Zj4W9IIa1thHYxyZgbd
S0sWL2LagWx+3iEF/bwkFduY0Ip/uFYkXBypGtfBZvjIYQ/YhvEu9PIlGlOpwcfUbdE3rC2cdSY6
TqrUAoh67KiXpqp2rfqesi+MfFLkgQ6PJgs2ri5rE7LyWw2ezmUCRdUxGd88CMfmutx3fbXLNhsG
VizMpo4aWwHGOpUuMS/zHR+qK5G1G7uxNvQpxrwzLwp18CAZfBab3sCOCFjna5l+P2+7Hw8ODfU/
B88HScCbfUqyHAHRBTBgoaPIDPvLRrcslUAljY9qwNtg39+VCgjhcitgfOwE3BbR9GQY4No+oOYE
XUhAeSNVEnDrbl3qPiasZ9zGtRmA80lFRxI7MnuZeZHddbr4t/f0YUzHm0aXB2js3QLqcpNlbMNM
1zbDMlM5LHnK8AAXu4X8RMcmanK5AVb6mFWDcfuJADeAzDNasWPSm0fNJ/qSjP64nyHKtitM5j+n
3Asi1nnNzzQDWX/EgzbqfEhbEbrFprOyZ/YLQoYi+eQQTo9F7n8HZU8T84J3VyM1W+WztV843SXe
+UprhHAM6ICOnQIIKUQnFfAUA9BTbFPN4uNrCbdfE8rCFVC372ooQbT1vshmcA4kC3/QfZfdVg3t
DhAj3Opy+jiP4H9V9+ekXIANaeOpyYqrtijkPjS+v2tEO+7Qa+CgLwnV6bJyssN5l11bQSsgsDAJ
K5I2JOaejoGyOYoSNH0y3whmH0dibmf3ikqWpcTQo5+Sck+NN/4zVHh+w1oCc5a71YYrrU3DOsL8
NAkA8qgJmFbfAFCJRKuiItvqDl+zAevgSo1eSoBw+LGpnSfdqiMjqG6r/G2uzCtJLyLYhM9a8aAL
exjVCFPLB/bFr+d7NWefzm/zSqixE1S0OxgcBthmyZb+rhdZfs+l41wW9+1UtGc+AadMXYOXyfMj
tN1+74atFvQVC7IT0YUPbRbkTosv199LtM1dh4W4Z6Cw2bMZT1fn12dlh+18tJ15ih7Pjh+HgEOc
JEh2Y54fKlX8JuAZwQv71kGzYqh/paaOCzBGCLSqRMHfg2qmw9or5SQb81jbZ8udJXWp7+WcHWmO
JsMBavNR5RJx4ejW+d5D63tCkUHHC58jP/+RiKfzy/+/purfhS5up6ATMHNOAWLQeDi6182dyna6
i7y74KaEDGd1w0BumTwCedE+1Ffzffk4bLzGrW2H5dkeaEeDgLg6FvJt5G89UH/hlqjr2tiWO0OP
tsAGwKaaUL6m6eDtsqF65ZCnuszt7CR0GpuwB1ddFbdZFQeKXjnNeHN+Q1a+3eYvXUr0IYOWDo8j
PY8a9tAUSEXxLnLZ6CcvfHdsB+0SVHLAqkvTfwmS9E438mpK1cYD6NrHn0LJ++HTvMuKLljAaQSe
+N7ftXlxU/Kt15CVWGG/hkAaygsTgTOtmtF75ZdwZKhBNpHr0+JQD0P+oH0jDueXasWhueXQJC1a
NHj6S6zz9jqn461iW4oGa/OwvHmci6rvkgGAdqE/ZahQcQrxGTonn/VIDn4gtrK0tTlYh/MkDLoY
S44fmpcnJqcXNm9xQa5tteW/XWuyGUAEHfdeF5n5xoAiWIFw8vzif8yjwQBm/NOShrlCas46NA6i
eC0PxXAYXtKD3Lv7cozSX2EWNQ/1p/mhOKSPy8ZRvTIlm52tNII0c4Df1OQH7eKc/JjHyxzDpl0L
R6mTTmFoPgpcom7njkegIDm/WGvfbTm1AhBoSgsM3mIrQHiSe2GUqA2cwtp9xiZcY0WvCtBAs6Oz
VMkReuryZuRD8WQC7j6GOfR/+Ky9+yZgWQ58ngye55qRV+JUxadhJltSAWuTPP3/XWiRxeLTpcIk
afGDLp+rDkX3jX1fSXT+59p+N7SzjBBmczTacWtyyJqfZPyymDISaquX6GOaZcaZ5fCe3w20rE4d
LKzoZDTK0vwMAAN/zYsR8t1z4IvIEcYFt2b4KwUm8B+8dO2rDHo8Lm+GqzwPSbNvxvALWlX0Dy9r
sNbOVCZgCR4Sfz/MOZQ5OCkhftN0V+fNaiV42Hxvuhyr0ldTFTe8P4KS6TCP3oY7rA1tBQ80M9dm
GCqO26MjI+NNt/2SbJQ11nbTihxpknoSHUP0OIPzwaDC57NXP1DhrixBSoL7itscLlogmwAubOdy
YBD4OhVQfvuA5TNnS1d2xdr/IoArWqciZcGPCEo3k1PVO6dP7rsyez7/6R8/CEJC6k9vymkvur5u
xdFFj8a+FryXkTcBDdsFTj7t6uJFeekNIRQL6KoLs1hbBbYCeKKFc+h47PTeA7ZBuxv58cr13e5T
QjeD4WHNF0i0PjSuuBr7OQqCZyHMvicgdBs2DHfl5P4fmP0uVEC5ee6G2cOrtikPpXJ2vViisi2O
uvYitHmd35213bfCBSe9cUuDO6MLjUIIIuuD4en3KRg2csy1pP//WP9uGgMZ0A9bTfTIRRkZ56ug
EDX35sir62gou0gr/1CCBI/gMceMKvKn29IVUSke0dVxDAfcZhsByo5bOX8uyotYyRj/H2//7qtm
2fEExXiKRreURKWD4nmuvC9AvN+VpWoOmb6IIhO/ZMeIYW6qsiNIXroBD9QC1Sk367eYAla2z+7M
8IWcQ1cAGIe6akSJifg8gFThop5OhjaPP323cqCFOxcLHgzRxRTVU/d5ofltMm2CnFaM3Oae42bw
QAtD0ACWv6BvNKLzP3z5gSfTqJVbMoYrJ4DNQEfZMjnIDnAR6cBIkPnEi3TPt1qx10Y/7cw7S+oq
Z+idpkyOiYvbLFVtu5NQbttd5J7k9KvvRg/SqQiFDOjxpFwedaC8xUPlEzZg69VrzYAs/x+pQzRH
13QscMPpi3pvIEo/52zj+1dOSJv8rXGWYpCOWeIe+A7oIuxCKFVxEP95W5689gvW+T4FXk2qbKbH
KZsBKFG/9FA8jrN4BA3glurs2h5bPjxUaSsVKfDGzUPnKheERZUn5UZO/bEP/KUN61WQNRasJOAG
SyHUENTXKq+uVYAXGJXH89BvpNcfb/Vf0rCgX+nKcHCC4wDWpSScHkMjD/OcXp831bVpnP7/zlRF
Bdxlm7MqpqpS8z5zwmI/kAYo0rCaP9GJ8QNT4bR1bVubzcke3v0cMaLVhnjIvXjYgQsuee0D95h6
81ZF9uNNZ8JybKoyB8/0SNXBifSVe/UrykdX55dq7dstr24Yobwtgiru627nFd+SAKc7+sEvG91y
abRvo/e4ZOxYSHPoJoNGurzFRWArJq1ttHXTR0epQweK7hxC0/0MiqtO1Tvm/84mEbl0uHCNLL9m
Bt2dLq79MQjV+G7JuvSqrIphn5C23PiJtR223BqXrmmc/AZ+Nmp2IE26RF5A6cblYGWT7RYTxWaZ
6rECFVmq2Z3vJi16jwuzFymjGyniygTsRhMwUATeAtgL+hpRJE2puk78/PN5K/qYT4Axm0rN02Gt
U+m1QG+k6BjQdUsPJe05DukeGtkAcfnJbySp4b+d1HUEPtfyWE2gPfOqai6iSk3TVQKe9lsXnHvH
qXbJczktkwZDu6p+BMGgHlORFPnO+I57jdb2JmbzGPw+//kfZ+l/Kc5WWgk1dw47tiMar13z5lbF
+C2ZTtTfdVftaSFnCCgWaksua227rXDRdUHHUFalx2Zpgz0hef457NH/o3XYbARwH6Ht7/dzFlph
Q/QF0gGNg8KAsGtqu0gEAzAoX7LM7M+v2ppBWaGjZ47ER0sSkz54mEtwAYxyIxNYG9qKGqHyw94T
soqnTr8hgXxzHLkVqtfW3ooVU6YK7hKpAQYXEKsGmcD9CFalL0b3dOMes/b5Vqxo2xCvdTmeEYTI
67t54GRnxOhsLM7KBOz+lqShFSl6p4xlWx+NHwJ/2aEVfkDj9/mNXTEdu8MFVzw19gv8sKmrN8LR
OhyE47GR5FcNEMr531hZIrtjpTchaOwQiOJSj/dTB1EdmWxE6rX1OU3r3WHPpyUYIKiNx37v86Tf
ivrfWf1z2Vdbfsv7xsNZiWv2ib6N586VGpPby4Y+LdS7r05GUU5dHzZQh83GhzarFzBUJOWFNsP/
HB0S4w0pA6+K59nZl1yGEVoIXuog2ThcVo55uwVigBsxCJOA/jBojm7TlhHQY0AO4BqPzg4dFYRc
n1+ntd213BeUUKXThADkB87y6EKLLlqa/lPjNxs4mTXDtHy3UjoBBQSIU1AHuany7t51ysNFn243
QRR5zx1/4U0sh/ImDZPnKmdH0Fx9u2x46/7Ne3cQMkzxEj2r5Ych01jhCUhVOxPq9Ov531jZZ7sd
whDtV2F4enSnVXhdCuntBacapJrefOv7Mnt2El98uuzHLEeGFpIvwEfEjmbMG1AmZixamNvvhjGd
7nWb1nuZ9lu0Dx/uO7pRrH333I4MSncmzobyEc9P103jvZ2fx8rQNtTCobnol7CB8mrW5JBA8MEg
t6AWcn70j2kfOLWxFsQRVQHCJnA51UNwl45J9QwPb0QUYrs+A5fvQedv6Btnn+SOE4GBrwGKXhTh
AZwtWwDL/w+Hv/INfMXJYt7Fr75oUzd0AeVMgsnMUQp2Cz/qVYd0I+lSzwWdaPsbShPqp5/yDvrU
AW2uKtEmd95kxhu2gMmHTWQ8zKBNOYbN/G8o2uB+ClqgW7njRrUv3R1e4fp7VD+zN2T86m2Q/fjg
BN78I/VBH5ahimyiwhuamJgc2Fjd0RokDXyZIwI6qqOfJBryonQ4VCTxn9AfWr6Cc6e800yQPW16
9dUlpboZZQc84YBeSrfIs8OYO5AzzcBycV3S8muPpgAURzp5xZqGXc9i9o7tUJADI26zK5tJXE+Y
+FWXsWRnlrwFOxJ6Sjjr3B3pvXLv1n31WS885xEDnOyqXMbgvhqEuAI6jt16qi+vW2X4Dvf7Kc7r
rn7KlAkPbb1M6Q5CIxD9aaRXmF3TlGj40yBjgshLlz1pecq2/Yp5gHmAA2rj3Psw6GJzLU+UboGX
BdQGkS6Rb7xp39Rs0E1QfzlvwqdhPrId61gVwCHiljDxmOf9b5qnuwG03p1Lvss82Z//ibUZnHzz
nXmOZFEu+EVZDE2V35QpHVEzPDqV2cIArDm5dcIWXQ26asfwOAzS5x491JHvbenXrK2PlQ63S9p6
+TTy2Mz5v13SHRLlfkND4z9B725cQD+mcMEWW+dqWXhgjOoKHrusKO8cnfFDmw56jwcz6Hyxcb4B
j1J/A6XS+bbuyPRJijLYt1lT/vAGR38LW2qQ7wp+dX7DVuZsi6P2IwSBsiFtYwbKGNc04OWdo8L/
Wm4RKa/9gLWoIkRbCd6eeAzo3r4rXwf5i4ZgpwHZ+PkZfHhWcsqtFVVdsoBEvgZOLaXBkzNP7aeZ
V9kt6IuSPiqzLNl7tbsl+/Jh5Qz7Z59flHQgA/NNXIfToTNvoKyPi8LfKf46ZPmhnTIIteiNTGbF
2G2cUZb1/cglDDKoiuwHKKklOjovY3TBwlmJzFi7Td4iOMYg1YoFSx6rvP7HD/jWDXBlqezWK9kA
2N2nDXY+rcBeLqvJi+ayFodGVMs1yDLGfTZKuRNoG4iS3jdbz89rFnEyxXdBqNHGow14TOMu7VOA
qELxVZPM+THxiu+8JRO/Paqa3XnzW4l4NihpSlxTZUnPYk7Hbp8bql+EaM3tCL6Rjerm2k9YQRXk
cq4IS5hBjoK/yv5Vg4eS3O/z379mY5ZB6yILDSjAedxRvF6wfgLoGRRXG8654v02pkZwH+W7tm+h
koT6YuBXkILxnh3DUO9x+6fzU1hZHxtdA9g2lOBVC4GH8EWFbhRUrykYnc4PvrI+tq5hOucqLTgO
Sh/GjBZM976HFOrG4P+jyT44km10jWh8IlOOB20vcqKC7br7CkKWV+WT91X/8F3geA4Cz9Hdjv7s
Y/8W8Kc7fcuu+CG8qVS01J+rYa9klH2pXvCnfcmmKxJtdauvbd5pvd/5UdLmfr14CerQptA76U83
IRn7iPvA+HTtxgvFSpSw0TeEBhM1RYlEpAA/YnWta7ZzKxaNw4MzvpTl8EU1G+9Fa3Zi5Q7VCLHz
NEOZ3pUyiaZw/ARdqs9p2g4bsWDNVqyzLlVGccyljefkXtFXt9r48LVxrSMuF9UQ+EQAOCHQB5oz
741O6SW3P07/xwi82+RKLw1RaKOMw2xh6SGY+v656/L2taSiu5tnKCsJ1EGuz3vTyhbYmJkU0Zf2
DW6ybPB/N636h8r+2C7VhUIsNnBm6IB2TKYenMTjlwqgFtFvBLKVLbARM4UH6qt26DQCWb/PCLs2
5XLh0NZxVYqxnFI/NbGeB7aTJvnFJNmi7Fo5C21kjJ/0Ydd0Ci0mDo/6byT8tvDHGbSb06/zO7oS
JGxITOn7ReeVBQo2y0PvH1p3ea4bdkOTLQactZW3vDYsSUCHLtNotwU4Pa/2ElzI5799bWjLX11p
ZlYUFYtDMZkXEA6DXNfn7CI+FOBZLLfNisxVRdjzuHCD4gvNRH5fo6kJD8pwuo2Qs+ZQ1vFtUr2E
gcIU+EAfPA3Gy1Tch1n1etEK2VgWqGm0Ye3WLC54OR3KZQD5BKhiNyx/5eNtKItxvbKGYB6LJdcq
GoNRx1038UMFIvfLttgGs+Q6o8VS5CxuobS2G/oagnF6+o+z81iOHGe28BMxAgRAtyVZXl7davVs
GGpHD0ePp7+n5m7656hUEVqOZgZkgbCZJ7+jr/T+hQG0lrGAOcbkPKD1jpvnoqVPmkyfW/PXlFFL
4MnTsIrDGWtMas4SV/pXTh2X3vr897+WfCerVNUxvDVixsu+sH2wVTPxrpzGLrW+mq/SYbzr1UJP
Gsr5bR+50daLyk8RC6DcWk3ZkldlVYC9cioXvLpYgm0P9YRfw7Tt4xF/aUyuJi0xk+8YauBPdT4J
RwwljSiFgbrk4+bPl6t3DnxrYqpoRNEaAPNP/hR0u6mS3/o+uo0imKOrQsUA4fz2J/Xj44e9/1vI
mqGqliYvAp+is7xWHDrJUNrIpmLDm/YagOH9r03WHNVirrxhLNBdUf5mg2PtXytV+Vcc/d+eImuM
agsfkGFSCra8xjGHsRvnra48wHWBX8h3VRQVX1UQjMuTpdQ+gZAfDSBxzTNP6ylCLVmFS1PqdgBJ
E9EoIDgF7DXNxLF6BcodDn5fRLuwY+afFr5qc7yAu/W9CkJQQRHEyuTm429woYPC1e7e+zyylPjs
pPNI3oWDP8Pjc7hGgb7U+vnL/zWVl1G5jnWwSkBxGB4Cwccvvrtk15Ro72/uZG2RCO+ILNAA0J1G
AlhPSBPHAanZkXHUXYuIXfgFa0nPBDtPgfQ2P3mzPUyzty/l56wdSHR+5F+d04IImM/TxFFBfBMs
eQyLq71DzJVc3PsXF7LmySKWKhCla/lJVByUtjGenSGuCheqi72MHmodxUJ+Sj/EyJoui5oCij0R
Dyuqr1r94NwHt+r7xyP00kderXiLi1mTc3STdnQbG+6SeND6kZXLfejPfz5+yKXPvDqnoJ4ftaps
5ifS2M3SAKsvo8PHTV9Y5daiHs2L1lYE9mw687aB+8MpJoQwrlmYXWr9vJD/PYicSkEc1Hn/fmYB
cGw36LiIru1nF/plregpl8AP4MLMTy07O1T3/zhj9PS5flkN/3CUwNDnmFnt0O+DqgfMKxpvnbq7
Fgu99O6rnV5R44oM2/2pF7eh+MKLT0mcoXBebfLKdxDSyfDmHZEgiwqwJ3RCxmsytvfvRGTtiDtA
RDi7RHmnovlHtsE50bkrxE9QieBO9Lmtd+2Ka7jQSHp09AQP8vveDzYhWFsb0zD1qZs0WctTXG/0
6OB57NRO1TEKwt+hp3/hP7sSlrkw7NfilKh2O9TejxSh53vqs8TplljxK8qXS42fP8xfcwo8Xclw
cvZOkLLHeiKxQr1VoYf444F/YVyumanw22kdmjHkcSrvlyH+AbzsT/b6+Rf99eah5+IyUYHzPE50
r1E9C+RsdceW6spafGForjGplc9JXviIJjckexy5fWyE80NE/mHRKukmL7/SRZees5q6VedSD+U9
AXzKvQWVZvy4lORBQh8ZO3IWSS2dK8HrC7vLWrKSRwFA+4AVnqbchi9L5Ml4PtOOw6VpUgOCz+Zz
H321iw1+jltehoMor1mbcLM4yaivBcne3eupu95iTITbkkHqB4G9BnYbhHFo5QkhdF+KoNouqqh3
zIlaETdsos1Gd/Nw5Tr17lzBo1f7T12DeioiWI6Yqt8KLyiQ2w6/dt018ual9ldzMesbkFT7Gneo
8Z9x6PNdX0p/b6l3rdL/3aGGH3AeGH9NGTdnMC+OJv9YFq/1qe3+ERJJmebU9VcimJd+wfnvfz1g
oaDs6MH6RyqWL60Vv+kIF+NcX/OZe3cE4wes9lFOBsf3avwAReGq0/zq+iUhzn23/PrEyEX7q7kY
VSJ0Q6v4ceT+M8w5djWvr0Q/LvX9aiOV5WiJnKk5ZU2d5gF2IMhtnoWJnos5A2xRXMVuXvoIq+ln
LRyDBpq7sOtoZRqVcNnyEN/dBOd46ef6aXWEnBxvkk6eB8epcFC5NiYtAMyfanq9mYaynEu4JgRH
GGAdSp/tM0rfPm76QsesN1Ia5UPrzpF/bCjfauZsAgRfRxhofa751fQ9g0hdBteHo6sn87WTXpOQ
aMGWV3jsM5Eo6q63U9qFfla1xh4p5Km8qvfePG0+fvvzFPrPHR9Nr6Yuywo6QgRkj16bjUc6ygl1
0PTagPm3sPS95s+P/WtlyOjUiEG7QJiWeevj4tqKbyUN7VsLbhdJOxHqH3KKZlS5DjNvEg6tqRvb
wCpwPIHpupcwEf5dU5dvvHpxv4FeOwLWjxKUK/PzwtKyJpcL4kVinlDySKSYQefLp4OtB38vUTL+
AExQ8bklcr0JG8O8GRom1OLAtCN23eabR+Vunpcr3/HCOrPmZjcl5GM4u7CjNz47/m/AhHED+6e2
boza6CtHlksTaTX9y6GsSd8ScoSZzj8gIN8V43RyJegunxqLa9nobCOq+4KhfV3c2R6JQZAlP276
wquvwdluLrUfuJYdUWLtfC96Mp5qD6bltKjH3597xGodcOpeenzA+sun7FfgihtPaSdWPbmyzlxg
GCAmsJpLeVcDS4McZEhcveNEVkfZNXO1oaKtbgfkyZvYtlEFHEsXNgY6Cz6edNi7myyAZiuRpnLO
xg118KJ4b8J0qXxrYtSYNFNse1o9wupNjWkYkbxN1WDrRPTNcuU6c2GhWVMGIZNsStr485Ha8MSd
8LaR1whWlz7ualyKskFZDS57RwTpv0E/UcakFLcscF8+/rL/5kbfWcXWRMFxllk9wyLx6AzCpLlq
zH4KBX2AHCjfo2RgSInIhpfIotAo5n0pEtHSeetiozmglid6xD7Zb1ijsnQ6IxGMQ9ptEAAhMfWU
HgREra8fv+qFZWDNHTSCirydp+5Uq4c6YEkL2RVxb3KlNpnnbj5+yKX+Pv/9r0Vd1LxUxI3IESZb
fbIUEncwOgXQLMN/8ONHXFiW17DOksgMeS8sBQ2ncWjuKBJGM390liv9dOknrE58DhSMQSEDcpS0
e5wzeLeNTb4lQ/uZWyR118zOsdXGUyOWyr7jT1U4/gLh9Uc1ka3tokda9lcioBcm1dpLYl5oAduQ
nB4JZWXcDIwltIvKKx/hQiet+Y8yXxCbL7z52KjvGfKl8MmFNae8sptcGqqrUQRqdNjV3HQnTthd
Vju7Tvovuh/2tSJJn8trIrhLfbQ6ggSsb4tJUHL0QqGSWTjNDiW59sqqfKn11UDyatsi9Y4Pnan+
p2uyezVeowpdmANrSjuBHg/QbLkcTSu3RrRJMb5MHT3w9srF9tK7r24MWQN/T3IePa2EFWjHZRAX
dLkyNC+9/WpRnm05OISM1UkoyBqh1gCOWg9mE2b55lNrxLraAFVsAzgJoXsEbvdUT3UcdA/AlW4d
6Gg/fsKFIbouOEDVH7LvXo+gA8eK30+PyMPf0twc8qn4PrTmk0N0XVLgzl5npjorT/COtHGJM3MS
5c34uSH6H017RHMic9sBUal2XhVuZ/k5i6v/NzX+aydAebjSIypKT2MZ3VktErgHV/C/hj8dlVde
/8IqtGaOeyWzZMrwDGHkTRSSu9Cv9rNnrkRCL4xTvprAFfdC6io2H0GY67YFKfu9dn22ySs1wE+d
F1cuGhcm2xrzKAwOZUHpl9BdkTrVgWwSy4trENhLra+msu2HLFOUnnkPFDQP1tikR0H9J+fBai4r
Q31YLqGP8Am2k4cbNDzZZP8o22rTOVe25AuTbS211pDuhYWv52M2IaEB9lJ7F3hjt3c6WGDZubIb
jy/XUocXvvpaed3n+eQqKrH5gDKwqWT5OgMOEE8WDteFs/t4+bjwUdbya+tXU1l6dD7azL3BNznK
hj583PSFScHOv+uviUeII8NeuvMRjshflZkSXDBvMxRVftz8pTdf7c2+44YS1+ASmrV8a/vwZKhz
5c0vNX3++19v7tbcMZItM0Zq/VhFejPY4pP9vZrKBLUcvhB2PsL8N866IA3CKP24Qy4NzlUYTzQA
trizKk+EPobes6M0LNJRzp/DGbwfr2xolz7qahIPUaO1yPD+RQRcjnpupnqjG/vJ3llNYgl/zMjP
MGT6iNm0NwAX9KqUV5bRC591LTP3uqXt4V8DR6qRpyPju8pzPrdyrsXlCoTcLtOiPEnskM4UwGJd
XUlc/8ubeudmt9aWh3JgeZMHw0kVU1pWbX+DUy9PojraBp17sH1z55fDn8otNOAIJb3ypS/11mr6
IvTQAtToTUfmN9GOSZOnTa2uOf1dGEf0/Pe/plg5wEKhKFp0mPzTYq9fop1zlcr6bwXse122msCg
ogV86RZy1Hlg/E0mcWQZs6hOVGan+y5bmj8eWE+7QIANXw1k3C9L69000zB/AaM0ShoUn8DeLYri
wAzwjnRGb1/PY/42AZi/scJxDxUSO49d6ZZbjXLOfdjMXR+fPYnibBhh9RJ4RdKDm7OrbeNuXe0A
Rst9Z9Mz109p4wYPk8noBm7A1V4F5ab3xM8F1mlbrwnzh6UUM2DHkW9QtVhE1W6a5/Y1pzPZVbQf
E903roytnrMTH6f8Gwm7aN/oyE2HobHbQC9ZCnTykrpW+rso0/6T6FnwDSKjEnsv3Pz0NLGk7Cu9
c0lYbYLSDQ+qCcd0obZTiA+7zob1U3/rEIV1m2T8ysC6kCZbcy4tMlMot+rKU22dYDcOrnlijhaP
CrSSU6PQoQ6VNJUwvjiYObpmuH1pPK+Wx475TpHRpjyVbnRvAvJAri6KIQbte8NttSjCerTpZa98
kMRUwnOdLLLbiHGJbVnAdqZDSctnZ+VqhewdyBqFE42ncvaA3m5LufMX0OM+3kIuHDnWwvuBdjgX
q3k+6jn/2gXFSSv1PGt5N3Px+PEjLnyGtfaeKOPKPMPEH/riAS6piEONPL9yCLzU+Hlr/HtVsYXL
9EyH06CAWkSUS6YM8OcrA/fCmrUmUy6WQONg8+lUB8P0pSk0pFy+V45tjPDecGW5v/SQ89//+gkU
bg8TemQ6ZtaSY1jRZYcNcdw0eqiunJwC93zaeGfAruX4RS0htep4doQMUNUbnxjnAQ7k2b7H4eRh
AhYKSv2gqLdzyPSfBhQ+cuicaP5llQLIIODRDBoQHdRvhvry1wIl1d1+tpJX8bD05esCA8t/zuCg
0yzCuoZ9qB/C5gchW0cNQDN7HswsR0P4A6mcYLtISvcBhBIbnxl6k9t+fkCZof/Qh255ajDmvypW
z9uuZvlDwMN8Oy1+m2pOnNfAI/KtHnHQ8XsSDfH55z+ITFWbcZz7lwLkSYUUJkfguSvr7g4QA3Ac
l6Ddla5ZNlFROFvu0RrLQll9bzyMlnlos22mEFKNG8cXuxL18KhuqqF0a+p5B0+T5vcEV8t7Da+U
h3Op57EZSrNhuoli62TOSSycP7oOXNliWY3tUVZ5hzOqnu5gNkZhK45E2dadsnaLesb63gEidjPl
vL3xl0F+n4El3JG2Lf7QpaM3rDEvVe+Nu65YDrTubselzlMQWElaOValoNsUWx3mORzT3Da1MrzL
g+7Gz5SIM2Jf6ez5aaP7Z6kGBbmDLOH9PoMrFnrjEdXXcgsDqyZpfGK3Xi5vGmBLY5O3e7ewh8XT
e9TwH2Ce68aDtb8g0rgtZv21M025Zb5noGYEHrPNsiZGesrBhkmfW9b3sTMyEhtUeu/aInpoo7PP
axC9+rz9SVxPbEWneBxqCq3CUj46TQAOpmiXpMrFC2QMZQzX+hOpA1QcCyBaS4R0Qfla8Bj4QcCo
uo5Q3r/8dFu1s9T87nPvu5/rhyBXwA60/QHhX9TL5eWBUvg9+xEZEjo6b30EZQFi8TbN5AQNoIVu
yUL+Hzv8DL8r9L3XWp7mjiL33pgNMV8AwJOlt11meb9MwtyQsPlps/pJD+JBaETMh2bGv67oGxvV
jSPZF45I1VNFvDfjolDE1aiMGz0BbDtBrmURLPhDTHPP/LyMGQVZryQGwHpHOejjMjrmAZfgvjlJ
hqpLyEZ9lH4Pw7O2KFaSiziA++jsp2YM4r6N/swLWPA8l0+BcP4BFWgGiaC/8b38LfKap5lBE8T7
r6CRvKAm9Begvk28kO7GFcGvmeRV7BETJUXZozXCB+ApyM4fQhuLMKsSjzc3GRyuUpeDZmtKCFuk
7/6sF5n03Bljr4UzOfAsd5DZHzxePzkTQh91821sVZW4g9nmOrptG/tAFvVdtPa2g4drLPPxKBg+
csjrG1YgIhPWhG4iPph0DHKWNsIzKSv4HVBmP0LPe5p9+kXl/NB5wUN+LjERhN36Y1bFVe0iNj5H
hwHORaaX91ToJ9rbW7+pjioL8QuHZV/aEPmW+YvWDFLEaJP15jaslq+0wvZDFKyIW54fuS8e827e
OwUOURnfNuBS9qQjqK6UIExoODF1wKH15E9Xua+wboX9l1+zhIUGw3esb00gzZ4ESKsB9ZHFOUKv
sTbVmAyU3pM8SjKYNt+YLBq2frR0KRlYygP/uQ2DVLTCxBPGE9Y0d9P0ud1UpP3VFu0NzcgdhqqI
lwlaRMv5t7zN0iyLtlGNC5501S4zOdIb9CFczKscZlgHh8A2d4qlAYer4kzDzcLlL9TSvJli3tXG
QyVpiVO9B818Zsnewut26VF0QJaNB+l83PfTFJOm3VDr8wfukSypWvUoID5LBWpBkqBa9sqTPzVr
fliUoSeTGgrUoZi3jLlfK9Z0cWlcJ1nc+a1yM6CH2jyIWTXmSC0hPhOSDCfNfLmP3OKgsFLwovIS
Dc/RfZOhjDmT2W2poj0brT0gBb7cBkI0KIHtHzK13DssWuKJ+C/KwQBqRTQ9oKo7Xujy4JDoFqUO
6PVlI7L+uWf0n1o77LmDR9RbK2AGHcD6KO5oVcZ80ifw0n7O9fyU+XRX+X2inCE/DCZ7HTBA4nLR
tzMWSOwk8x+HNLd+Tr9OrosMJs12C7RrYKg4G+N7J5X5T7yd26075m7s+vJrubRuDA9qEve6abfh
5H53jXM7lO5J4lKRlJ679cHZvqG8thu3xLrd58FGWVxR4YJ7r11rUq/ND3kXpWWOiFCrMRBrBSNR
+Mi81UByh9b5Phj3ZuThL+vmD7PlByw4P2qtMMbARA4H8xINwXfCYZrGs2FX8OprBAcyRCPojodz
C2/64R5QX5LUlXdgClBCzyz7HrtzLLQZdwFymDFbND7Awu5oV8DyEGT2Qtu3jE/PmkRVqhd2MKZ7
iKSmcVZ2r8iKARIEgUvCWv+1bu0BR4oiDkZyQyIsej4ZSOqZetr2VfObdVWY+GrqkwLpqXgYot+u
YU1c+86tH0D0FNqb0Ml+Vc6CAwQBDnCowufRKx5hXfhoPLxbniEboWAGplgrk6oERcM0AFHbue9T
22T3OUZLXOU5S4Kl+OGNXMe2ww6/hM6UoPNBt2nt41S5AuXF4pWimgi16BzJ6WK6hzzi1bMKV5Tx
IDGuZlrWWKW1D8RviVGtcANDGUSVlFSEcWuzb73B5mrCusVIbb/SyNzlk7xtKuxoRj6Bf7BxR1zd
xqmIVWn3VeEF+7pFFTnMmt6C0vsS9NOubSsn7iCrSfqF0cSUeRaHyt24bfbUQjY0YQInnKCAKu8l
KiwbnXbGAkxjCIwv3U5uiBpkzBUgClU26qSLlN1i8MzxuOTfZoeDGgWvtDEiCTLxjwsOF0rzX/CV
f2oKB4XWk9MnEG8JfG7zxVbFKTSYfKqQLG5GjpAENpLCgkTeh+1Oe64fS8teVOH+kNw/qU4+CxA+
YlGwdJ6HPa19XJkjqEtYkRgQYWNcaFiS49I5wb4zzmDeSAiq1UFT+l10PQ6NA7vN5ZDHvlE46tRD
uxkVXLgWx2/uSr24MQAL4aaD2nkDh8k7kemfdInKzYDVOA6iVv3mnjt5qZ5Au8UYV+VzhtqzYPJ3
Ls6vsZjKO9gNbYt2+MYK/1U3QZ2W1t6O/fRNwfNL+/j5xMmeXN6GCc7oX8Mw+l6xckoy0qTSBzRy
Cjt8qKp1sK+bISY6erMz6vVbHIIzdlP5ECCaHoeNsveSDAGBrQ/ThzHOlCd8nH+EfhSZW5/8WmBw
hG23y8Gtv6eB609x0WG57Osc30hXmsd95Ts/BQuLNoWHpslSI9DvBYLUGbSHXN4TO/ZN7AlTgd4+
Z2cQOIjjlSKcJN1QEpv4OAW0icERH7qlYJhTiBhxPgCnWu6WyraPULK2t5Sz8qnuRX5bayafC83b
Xe145RN3cZtGNshXWdI6AdgQvCbRA8zr9beR5uqGsAphEVi32F3rsOEB9VbTL7/OI5UWkg4ABuAk
tneNaw6NdnL0mAuFwilAIHOKFcmCe2ax0OSNapqDdZfJe2ado0QCXmT3UmZFlKC2FX5XjXVGN+4N
xkRa9G5Rp4L7QDOFWTb+dDs73GXaAjG8tP70YPGm3zzdRz8/vtS+f2n7TwndGGChVGTAwuM726lo
wPoWqfKvpZfev5b/p3wOdSWWQLEzHzuYPDMMEUM9nGXl0ZP2igD7/Zvzf+roRNkO1VJxxKWxSpoQ
TjoIMX7cOZeaXgUSQRxsVZk3y7GDLd/kOvuCXLMIudTvq8tyXYZTpAQstlRd/plxG1SzeKb+NWjQ
u2/uwtj+f+/iHSUEJDSnhwPo0UypX1/pkfcJvWj4HEj665LP+wVk5x4NDwkW3UP9lJ/GL24q0mZb
bMfYT6etPMBn4wu/QV5jJxKVfvwt3u0wPHgVIFlEFKlKF8PJwsyhUm4KqEMy4hbycfPvDlQ0v/rU
wbJAXgOpysn3ScxH8HwMS6kItppcK8v5F/nxn9gFnrH65rRu8pkNeIazH7dLku3IpkjaDdvPKp1u
7clPbXIz3ai7/q7Zi0f6DbTibXPly13qv/NI+evDQXctsqkz7MjB+TtVglPEfG21MMRE2DX8Baop
3ovP4Dey/31MHfoWVddYR2DxTFgyo1RztLqnuOqMiJ+AIhB+KfxQPMBjMetihG4ErlSt59xV/qRf
o9F6fgIGPQjiRa1vWlkGuML6DoqU636eijRTznIc8c/QSaoWt7ApgmFji5MVtsgpHkxPN17QKrjK
+eG29ntvNzctUEwoxUjbIAJZr9JkY103OoH/2R2Fjshd62ZhUnBHPMxBF/xholiA2FDsdQlhWcpZ
wx9yjqiix/JpW+Ujjg5LVDwSyvWmyw2f4haGp3vDZ+drIEdQq7uoO+meICGU1xLBlXnEwah0lnaH
iwLH/16XXzomBx4jrFz/iowo0tY1xSGsZmh5TedND7XHnLfMMcENRcAGwac2Tyml/YvtRLuZkKr/
VQruxB4V41f4tox3FQDgiFVkeh+VsIWHBginbTH2sJXK+2ONExO0h76p0mBq5B61ANHeSly5HW4z
tcnnPNsBkDk+aelkG6qlfz+gt26JxY2Y+AV94hPo3GwAEhK+GWXzumSIHIF3WW8NdZ1d1TXOqWgJ
zpMNqnwIbIGTYnaig8rMtKFT5yFGFbA70Q98Yx0JnzCL7f9bMeS2jrGtNftsKWYFDDFBMZAKl3mT
tXK6dSirv6goxJWYNU1zYp3+hjp/tUfAIPpBonwByLjhiK7AQT3NYb8xbT9eGS6M6LXYTDSLmscB
K56oVHIGreUO3HKbK3n593NkqB5ZReChDGUFaOT0WNWg96TWBwMnxr0vQwi+xM1WSPvGGatfi4E6
CCt0Bu7KGqe4T/26tQqtkoT0s2yiI3ywfxHHPPKRfEUV04+Pm7+wD619hyfl9eDRdz0q4TSceB7b
+cpX+Tfq/s5i6q3WM+wEuWeitgKXjHUTDkczr1PMdgyQ0s/Fc0c8HMYnKJ69DbCNHjTx0bE3uJrZ
vvyGM8MeIsX8R0lQCRhHqKzpeD3th4aCRRXCXunj339h8KyF6V4+y9DAMf6oK0xqhGR+IO/WxGUX
XAm6X+jgtTI9mJD2wOG6PwVwpKDdK4KlH7/5pYZX6ZqWmiab56g/Vd1h5vdsvAKUv9DuWoauZVXO
PVLBJ4RS4MakIULHbdS5MizezWdhNq2OJybsW+qcJ+uY1mLTqDS4Rfi8F6m8plq78EXX6OJAoQKr
sBLvbx7L8rlRJSoKnz7u80ttrw4hzhKisgBIoxOP7vSQ+kiT+enHTV/q9vMj/9r+x7zoJYvQtGgQ
3nlp6iuCk0uvfH7eX+0WGNZIF2Ma2gjQ4NbZV7TeVcun7DLwPVfHicZQIcMKrw3d+UuL62M45lcG
ondeYd9ZQfzVCC+cYC6lQdsTHNe/TEtZ3qisdbFVnZPikbY5jiuoYhhClx7hsEthRNVFr4iezunC
DeTlnq5g4ZX196MBnRecKJbmyBDuCMyZ9rUlCB/qxj9n0G2i2kV+KUru7Cwgmoe+yEGlKcNuN5qo
T8Chm4AlRfJ1iMpw2/NF3uaD6HG1r+mBIla8q8dG3Jbw8XrsJhhMqKzIcZnmciO6Ob9jgfbOIrsw
xWFngrarc7aoHPSRiJ/IZtJS7ykJyWMp2LwhYq5TN+qvgaAuDK61GXu1FK1ibo9LQe4e3N5+Ccfy
WiXvpbZXN5kB7PQcVmn9aTa3bfFCl58fT4gLA3et5W9qimNqBbOjYIrSMO93EzObTBefW5fX2vE+
rLTMHXRJ6XZ3pdGHgnzKudcN18plXkFVB3JJD5NjD5o6C7j0taL780LzzpT4d6r8NZuVGzYE6TKs
EvoxDB6I/0Nnh5p9sk9WE25q9VIXPl58LDMkdjpMrystX3jvtVg5K0EjmRpWnnrrPzcd+8NluC+M
OnW1+7n9cK1WVqCFFxOoUic8Z9nUjWUbXo7e5uPReOkHrG63sxuV0jFCH8uI57g89G4SjYZ+4ZFP
v9rA1VfUXtG/l813PvFar4zTfOC2w5SfEFNqiniIpFh2yveZl8AouxgOcmxHnI+GNkJuxuDSEtSZ
eGXL1D8gsT3e5gLjw9GsepIF9Xay7ZHbRZjnxeLM/qfsohDndNW8yFzXsFacCRWx5xbRi4Maw3DX
Q6D7KEJQP2fXre9kwGGwWOTIHdOgHzaZknzXdLW4HbIvDn9DHd8NEvebUSKBMP/TtjzJlT1yWx3c
btowBtESuD2i+doHIIz6MhXj7znXO5kfUZifsBq2fmDj4OZ7G8JTOQDjp4DsAcdREcK/KPoZMZbW
wysq/FJnLpEqwMUkdFOJa5bS1bLLa/6cK/mzFsjXtT9G5FSW6j6DJeH4nQKmpAI8oZ+3uH6lM9Zp
q1PkIQ++gkGVLGVcVsFuCc0hmvMl9mlp48Fn26oP7+n0nTDnBORxAsnCweTRJihQ5MqWXTCVX33K
Dq1xjkElThm4RJIHuPg5aWSnH9ox9e1Yfw+qLPGq72HUHL0lgHtLY39ayR4DOyW4Lu8b5R2DsnkA
g/iJIQu62OCJho7ADWN69nP3C0K8G+DtN61CnFWmzhCCwIsUux4RribVjsO6paFxI3Dfy8BIcu4k
fdSdiDX+Ch+TJIR0GLHsmr/lSMQQ2sZM7Wd6ojWN6+II466NZXdmEQmZH4a2io3/HahPuET7MWj0
yH5u5XQHS6Qi3M1gCoU6ONjmjM3nSXPujHpbTmU60zvHmJSC4B+y4lYHem9GuqlwI+YgRks/2yqS
J2M4JKKcII64WYrjNEzbOiiR3UJ8k/0pGSni7EWrN1XdqDlP+iJV9Ukg7VrfBY17u/wYmtj9NsNU
jJC4vGN9zI/01t0r9rKcwPQtwaRF9yGCXiTuL3eq/rhmOP0fZ1e2HKeuRb+IKgFCglegR9qzY8d5
oZI4QYwSIMavv6vz5MM13VV+OafKVRFqjVt7ryGGJCTZ6diA0aMMHQhRFkcvPZF8J9KNUW+I/VrN
PhKf8UuDRH22UfG+vgM63VSn0UMyI1DPrNqXj2kWNcgug6grAvw40/L5gda3I57rAmW9Jy2OrIaf
C9ZbMD8ZcNKrHiaqQ/hkxjyQ9W1lBfXwIOF22oaCkk1Xo8JNkH72Kr994a/cM/bYAWmVh1AC2wJH
mowvvPMTKm45ko/m9w7/Fc6dgG87YqAXC87nR4eGWef4Dezo6ev010jG76Qdf2gH6wK+BpAIGQ92
msDfx6TbHI5cBnwGmmAatR9Xtg8picrd8uRcJHghw5OYb+I7k6F2VQEkm2ebrBh2DFDFt5YFJpkC
87dAvRWyuLMQAGrIoJYcuYM38Kjz2i/5oQRgIPU9hXyKCIG9xDlBOwyTT9zbisCW+1AnT6Q6zXTr
cRUU1nOMql9zlw5PvNx38g44Pqz4AJ7ubXGrAVFoA0Z2Rfl9LE4yq/0mfZjnTTlaUELyM+OOzb4Y
A9SViyScUsR323lPgTzo/dra2fAFnzb6EVWqAhyKISyOlbnNyDaru50x/ur7nYkf+Z6p0H5yaNDm
e/JTzHtAhKufowyTLED5mv5s/sY465rQSKHwHOCnePwdfQN6CMrhpXGvuyNh3xPjtiMblz2MnV/q
oH8RLgB7p6Y76TEQyRZVSLc9GOyViS1wQX5PHxmqLvRmPttDzzdNt5cQIhONzzqgEVCJOpIydAT3
ObY9c3zHxR9QaE0DkA6rZ1vBe63yYSKEQ3YnLRCB0tuxCDI78V19QgEj6BlSORV2RpiDvAAdTQsH
cxekhkJF51VlP2oG+9AmRNhy5DkO4Fb6DsvvFEwqXGLvBTzviWqDKvbwjo+m8o/RQGT1Z8tRKIof
C2BmZusPKW9E905G0x8FhFJNO/CQ/mt7gWI6YEz8VQ0FgmQUurPIFH8GCaFoF5AM622097DOBIvy
1Y71ZshtnzQO6qiQyyt16A73DlijrvimIc1szm9FCgCCuqloGxTmN+6+aEr9vqpPHX0cdBnG9KWp
XtL6oMkuQbYyq8fAkbeNzIO6j5GfVugZ/NWnO4pcDSgwePcnfjFi+FFGRPnU94xfRXIwindkFHHz
BwBiBYpD8RoCiVoESYO6cvrckdLXhguyPHxW0HFqnGIHa48E85wGXAybptEh6x55fypJvsm7NpQ4
KmOUwQEDEA6eFeMdTL5CwHbwzZ9A5B7yWGzjagd4LB4K29qUATvjaLJHJCRDWexTiAoqL9m0kP5x
RAWp0k3PJr/rUR8byY2ppd+Y9qOdZYGr70fguocUJTmB3BibCqCUdxUeNqmTHGeGaZ6nxie03rXe
E42naLJkQPlT7TpBA1HworV2OukfNGNBPQKNOOQn3g83MidwNCGhB2FwGLjtaFnbPnw+9zamsZ/6
JybaARCO5LGIp9Bo//JJbjokeSv6Pc0hk4hDxIalk7YJGJsuMEF0g4AGQwINcfJ9JvVhwhIuqAwk
+eEC1OO4f1P3uyiSHcFDrO4f7f7B8X5lZ1jTBAUtZ9h0xjc9uL7ok402M/zDHIcu37T8gYw8TMgp
JuXJllVkl84ekJ82aGL7LzHLTQIoVte+FNUBSU2UqPqXeTQeYhoXwajuiurkISGb4HyrMLglCo27
AlGChZNrrE7SjIPGDGP3hZ+xUj2KW7m5oe60o/D+AduAILcM2mKGqMlFae0tyWgP+kTzmOnpiZx5
Vggpha+5RQMsp1PB483cdrs4t8K6ow/cwiw39KasBunnAMk45quBLQBAKrLpf7vcvQeQJDBB70zy
m3Z4sMx803SNz+caG6j7McCSU/fi6InmPh7lfa7o98qF/Wej0/uUlydt6Q2QkdHU6/e8Vd873YQM
tGM3LqKGjJu5sN5z2JgzyV3fiXHgN8L8Dv+ym6xKdpzXML6J/3bwoQlStznC7McAHsDbO2L63RUd
Rqu6t2vz1oxxbUI/FQdJEQFseSCltsMMEsW+k1Dl57FCPcWd3zxKUUio2N/EAXRv7npr6wqMLrB0
1VYx/hv/UOxQlXO2maranTtP3W0RZyjue9jCqp5rgAXk5Gek3vWlXSKznuh9DglDf/hrdxv4A+Pt
n5hk37sIeXIzHqFK0d8XNn9n3rnWjK6EaZWGVeGYiGhjAPez5r2x/jmSlcYmr3Et5M3ZsLxhw9YY
9V+4lN3kwKn5VSv3KRUyyMv2xrYVOeBzf8YhsQKSA2WYpA6q6AnMLQXCzJBAOQFPitYO29x4IWbV
4uh3H6Ag1m0oQ7Z5mLFyAbKAOD0q+rjMAJFQlgql3T96yoS2mxf3O8ji2zdYRS/QS042qi7HozTt
PyIZFIyzRfutgdFLmEv4pRrwgvUTVsTf4eoABAYXBEr/wPwBM/TbNpPbcWzhNZAPCA4akPqdkbSB
glBK6BXoq5uViIizLse5BHYoUjIZxcU/cah3ASV1qsvkzinSvW1D7KMsYbI99XQ7YcRCtwOgDm+G
99gFAg0HExBZIaoKUeLYyPiWFJA206yCrm4RVtYBAAzykJnlw4Q931vxtnOK05CN+7ErjD2c0DgA
IGcURmbxLpgljr3ccpKtnrOjDZixb1FCN95wvv1jlEPrFAAVQI2BkMHjKvYYYrDcyh8GBRspWGY0
9zmpHu0m3iYGpGxS4B32qJ50e8/oxQm2HlhBeNYX+wbc27Cbk/ZA55K/Otos943RuqdmbNSuthL3
oJsygX+zwjNGs/Jc91G8efBc2GKB9pWKyChcelTw8t4VjhRvwvaS5xw0kG+1a+DKlUMOmFfWjWyr
C0orIGfzAqhJYW5to2I3NC6BLZF1idOnEsYvZIPVb8M4Z6YY1beOJvAAHLIO11fRhwLyRT8n3VaQ
QkitgJuZ80vVbXqT1hbZ10U7vonGKe5wQ833rldOuwbqALdWl8jb2nP5U9G3ySNwbHH5s5etyvDQ
GOcikIpZr5cf2SspnyUKPgFaSfM0rqPROg3Gi4o3qvtxuemVLJV5/uSHxEmF3ZhZM5oW4t5k3yvj
axnhJdzdLAqbzdqAvD09TcZjCX7uNWH7tS4vUqvz3AILb+QwkW+zEyyGXl1yjWy6ls1YjAb2kWWZ
0GGIkh7xmFHIZzNOniHTvx3Am/haaWXJXM6MdvQmo9MoBbpBZTxr6aFEeSU5fM67fJYlWQyO3ep0
QrUGv8AYmq2rvS7svEaBY5pUIc1QPcomBF+XF89K0WJJXgYtdug1RV7MBhYnzFBM3QjHep+FZcOH
L3HebbgHb3hT2leyQCtTvzTpgh8oan4MyUkLIDLxFntXGDIrG4wuEnwJmRPCLYJsvWdz3+s6AyES
0iJUpT8vD9XKF5Y0Zqt2Z4EDT0cem8N22tmNDMzi5XLjK8t2SVu24Kpplm6tIzVt+bxtphBa4mW2
vdz6WqV3SVgG2MKokcnTUTyEeJ8DRKyfALRqT7rdSnFKzODyh1bW7pK9nJjQlsWRgbXruXcqKQ45
kiT9WN4hxL4vWn4lIbo2FYtNLos+HhQTOoJ52z5tnW2FZ/xcXcuIrqzRf45CH05UO89K2buIGpNU
3UIq7Jjy5Api7Fw6+GRzLz3hLEfifkFJ5DiWKjkW4EscdOqQnVe1ZigyJJ5oAict0kt5BG3qGol3
bcCs/94RFFTYIa1R+RwyJCRLJO7nuo2YuPKr7PMu++xnLZAEAvrTTdJUSeQmMQXaX6npj1sy8Rzj
HSTPYt1pJNq235pZLG4N0jqpj8oXotWyNY6zW/FdXuNVw5MaPJcxnnTYMs/7CWseuYfGFXJYsBtF
Osie01dd9f1PAHDUW1Hh4vZro0xvHBvnpDSkESDQ7b+1Ga7bWwBG6gNtzPQKYmJlGM3FMLo06ydR
CJgQNXB4LHCNtwFHpvlLm2fpaSLG0ekGj9VRZYYaPPSU3RvpKymfHXpNEnvtByxOSZ5yJwdLwjsO
SMi2BuC7zZ/ymuXLSuP/Z2gie1gsCAtEHDyC/ATZXT7aN4U9/748Pivt/1t8H7al0xcF6pDANhkz
rM/rxwReR7q+Qu9b2fNLmruA+3tBpAt9LaftA9ad025mvr/cc3PlXFwy3eNyBCEATjVRmRR0n/PC
/lXJnoJewu0thwLZN8Dc+AbLf7aDqW+5sVdF66EuCwTWc0GU9zNJJUhRRQ8okA8TTQ+CUHjFQJhl
cklzZQX+W8if7OOlawzUWHOj6TuMa+wD5QUL1wDQsG/sjQfAIzshm66cGCvDvfSOcZzSmYace0dT
TxAxq4Evv3YHrSyTpXEMh69WkjnMO3p9+ho71biRlvMG87Br1pGfxkw24YtNpMdmqJlFu0j3+mBp
G6yPAWcpBWewfqyH+HWMr5ngfM45tckSslI0JYmFYDwC0GHGG08jNZyXbONVeFMSkrFDohmUtbLS
upGggYcc0PG95ar+iADV/pbAq/nK3f7puKIr5+H4sP1cl4EKVGd9JJvcN+K3pvyrxTVLkk/XAxo/
b5wPjQM6RWY+5n00ZkjrwdtBeEl4efOt9fsccn1oei741Hgc/daVe8imYedyA2Yb1zy0Pt3a6Pn5
sx+aZ3AqL1FThGw5qmBbwXu5pXOf78CtKH9MIyoxlpuOV7bNp2EiPnYevg8fq1Cy0DFL+6jvCngp
g9RKwqZ59+zXy2O1Ng32f9u3WtWnhSv6qHHH2xI+Y00Sb77W9OLuNKR2kQ2K7ShhyAvOveLH2Oj6
KxHhysAsMQ/A986ykLA1EPWzIKdsABIGCRfbqa+son9F6v87GjH0ixAHtA5lZQDRRLnHwIllqTiI
nlo3DhA2e1gKx4EN8lNYI9G1k20PAkmcvcS52UCRpc8fYgcZpKynyCMyVMTwN+R6UdSG22gzvfRZ
XR0AKiSHJpZd6HXQeHZtLsE91O5WOQNF1QJsGPuswlVB3h2WkcbL3CD/1rrV7dDiFEpr8lZy8iNT
E9lyGp9mM8UE5jnZo0r2Z0btOii9+mUoQSk0bYWkDY2rbWapIRx7ds2FaW0JLU5H2QhwiFC4jlg8
37KiO2pQ+L60hJZqnTmZ0xm2tjQCw9EXetpPxNt9renF4daXzDiL3FBgZtRJDIAedFC4+1rbiwPI
KlU89C02VRU7zM9mXNrQJr7y7l27If4P5irJIAaVOHB/yZstrVw9+dJw2wDyIOrUCaQ3M157j4jR
k3tw5I1tolMjJEzpb+6IAjBwKtdAhCtz/3/AWIPGrIqFExUIoAJI4KQ+i+srQkSrv3RxOI2ihtOQ
xr1L7FwHgzOfdcpECYpVb91kDAoDSNpOyY2LFwC4fygyQ5UtP/K6rW9qA1QnPy3z6u3ypK4dOIvj
zHKhN2kUBtyheHfozulYNndPc5OGFnQFv7jgF2dO6zakGwYHNMO+uIG5+XNc9L8v939tqhbbVDHq
QEPGw4FZmGCQ8wTK6ZPIrpyWK3cuPT9/P9xTrkdFR2MTDnuJa+AMKr1TV0Af0jHS8Wu7agmKmsFu
ZCksySI+2XdF3p2GXl65Zdd6vwhGpIxN4LsxNu7YYgUTGDgY/D0rx8fLY78SMixxUJ7tUrdIyzKa
3RTbMVH9hoK1eXM2iN3bo4i3qEbpa8nKlZmmiwCl4jF0RQxsSob3x1h3W4ma3uUfsjZQ509+mGYt
IdqUdQxzoPogEWk4nf+PAt7Xml9s+KnheOVrUsEYFkoHZ8FjI/blOG4uN782MIstDHKozLjCFsa9
YgfuZDdBPAJB87XWF3sXmmLcdrARIhfVru+uGuu3GWTW7eXWV46fZbozzotMatRCIkhC/DGkDMkI
G4Tz8pmu6byuDM8y31kMKWFtqasoy9tXM6keazp88SZfpjv1ANEwR+FgA/S52aaqMKDKUg1XIJkr
y3KZ7aw8y0YpChOrY+D7AB+TOXBLzjULrZWxXyY5ASOBw0EZw50ubwPJbzmAM8Tbiy8eP0vb+6bt
a3BwXBoZSKV1yZ+k+JEAUXB54aw8Xpe5TcIdqG8wdL5wcyADoGqueECzH6YZTXkREgD5Ln9obRIW
mxeKRfMIQjKPUMDzoQC9j70U5eNrlgKfp7RtYi92L7FarSGFRiPlAqtSAL5Admc8ZNdDTQwAnCJ7
YdyC50UVXP5Ba9O+2NAV3qdQC4azFgLsJ7MACB/Exr2jUzNIve5r1/Iyx1V1hZT2jMPac80TxAVO
nZPeX+7/yn5eZrgym1HkZjWPTCjY896DGkD5laKOTZbprQKYfiuujCnqcqRbeAnb4bLm6so5vRb4
LbUcJ0SzrVeICvCsvA+gejLeGNSToQTPOOgS1wFCLtcQpzRQVIapIEoNzHWQVnKzO6bbbNOYCBC+
tq6XmavY81qHmQOLuqmCsEkNxypAA65Rn1YW2TJ55cIwarDPrU+F2HX2TT7dZgAt6Wucu5VFsLQ+
1uWQp8WI9vM+DQqgu6wvWS3ZhJy/+CEWaD2za8cKLbMOqDJjOGTGuP/ayj0P1oemRSYTqLsRM4IK
5K8GKglAQvErS3flPFxKalZ8crJqwPMJTrsPFRxPapvtusy7hSzInSghlzOx56/9jMUI9WRMR2wQ
J8JJGFVJdXBNeqXplYhyqQ6ZNi1UbrrZjCz1Ug3AR1h+nTym5BXGx+Hl3q+c5/9Y+R8mQcoM2kJE
8YiL4q6c7djnZXZ0E/uLG+ufO8qHDxh5FUuj1CYA58hwAww+gVNdGNfkA9aGaPHgobozZExrM3JF
Axtj8T110kNSVTvYv+6Mkl15O5wn85M00VIMcjKhokpQBIvqHFzgut4VhXdlG6zMwFIEckydWqgE
EaXT5oFZHuoSqPAviULYsCf87x6rzKpPhQERkRiQ/dIVt+Ay134s6isx2dq4LPZwUzbZWNgYl7QH
0CfvoIRiXdnCa02fx+vDwmmTgaapQtN2cyzpm8JD//KSXzmMlwgYO3b7MilJCZeAd0mf7A56SOLv
DGGfr7W/CJGmAaQkbUo7Yu1jau1Z7UKb9nGsvl1ufm29LCKkIpvtqjM4A70h9lX/HuOi0tXj1xpf
RENkrqwp7oDzy8269xUwX2GRuR2YEPTKA3+t+4sNS7LBHNpYkkjZGQghNvmTyOTdTs1rNYd/AfUn
e3VZsNRpaUOHrS4jz7HlHQcycwcolT7kEBwKHcvwoF+XpYfYsOtnT+opnNoC1V6ldbwrc0jPpU5X
hG5PChPhZjvtbZ24EFps7PdhKgCz4BBSKqggT7AhBElJlPoXMw1lB4NFmm995SWPtODm9xRMzqjw
MvoKhSmyc4vYvDMGb9rmU2skgScK8hxnbBoRcLj8mjnFygCTxfLjtPHSue5ZZHQDzKK2DohRSfZ8
eX2sbEqyWHwd0wNsrdC45/4q+bfBuYKO+lcN/2zSFgtPQOYhThNeAr2O2qllJ+aNbrn3qGBXBkfd
VJSbAmJCeNz0HQky0rZWMMUApCdjB62/y79u7fVBFotTU961gHWrqJB1/w6sLN1qpee96oY/swHh
Ft8wIKgIkS5C7oYWWrS+OXf1NYTKysm0rNOiKgPENEr5YAQWHJclnx8cyEGGs9tkW6im1V+5ciDc
vcjjdZbtkjQvrMiE1hEGUzvbuYDONVzH1PbyUH66UPCJc2D24fTWQ29NTjmB16eqHxJI1JxBSutr
bS8utRJKpPMcQ4IkT8ofzBO/OL8WN366edDtxX1mQXeFO43rRG3bBSVWmmdTCJe9Xu74p/OL1s9f
/TAoEAEyO5ujdWmcmSCQXjUB+yaGb37NtQTJzP9+QSKU4M0U66itxC6V9hP3siudP4/u/+1QdH5x
rlQUPE9uQ77B4r3aaqM8VLZZBJ0RR7HCOWdcq32sfWhxxminhdK7NSmsTsO+GboeFYAGOI7vc5La
9wVtik1JOsGDy5OyslKX1unIaAtlt0xFdTcJvDsVdpr7pYeZhdf9f+eDTTOUhmZbgccOQQMzOUD8
Z/O1fi/OqlZQoK5IoSIiOheqkhDO4y16/6XWvUXHPUONIFTEMppZaW6t2kgD1sv0a333Fn0fawWm
MEU+BFI0mXXsjLfLvV7ZvkvXacXdOkmhyxRZniaHGTqi9+0kbGQK3PnKNjA/vyQwp4ujzaKeybmB
tyUcrZIwgebifaxJcmTQNjukLp3eh3Ikb3EG5V9IM1tJ5Q/gT9xXJihtKM2BOChmtpt6RwajNVuw
3vZmUEfpNO7U3IN9b2YDWK2lBQXMNHFdnwy02qYCfFbBBhiPGx6qClmZhYUNkH03l8nPAvDijQm8
4S7NZ+QAB+myR8ezqm3vQUwRBcL6aeyhzNxQSNzOE+U7WB1Do5HMcqPdSm/jTnWHfkynA+DCGgSM
pgOzKB4jCSDTrdk21cFCsQRiV+58bOqxOLKGmnucNhaEDlUH9pee7ghMK/8UmX6BqvnwNirYYxsq
BvrJkdY2Hlh5pBPLQYGEwvnJmECRFk7fb+EQbW9c4Ok3hI/dLXjbdR8oWF/ealO1T7Sxc9/sKLpf
ltVGOxIvjqq/TcgPbyaHxEjjkAyOs2u9EpaZMGFRAAmw+OSayV/oTSW3dB6gdd55QxuOHZj2mtUt
iGN2HAqcAE9V3skHkQ/I+vVKdyjJWwP72SZusjGyPn2u86KRvt2wFEK8TjNu7FIoAnVTZQYlo2M4
aAYSr6aQevPy8t4VRcbA65tbqJNzD6zkywt85bBaqvClg6lN20khQyBKa+OmGnDrrrWu1GJX7qel
FB8oQRXskRH9T2J6MUaj2o4G+ztD1SKwBZJwl3/D2iY9n/sfbkGjhVRcpriMRrs3gwaS8UGiCy/I
uulaVmDtE4trPJem7gneLRFY62RPYeoR1UhmbidZ8/vLv2JlrNzzpz/8CohzQ+ZD6i6qLWMKc1p4
EW20fmwt6p70MOlfl7+zMuNLL3VgLWFoM1EFcxghfYMR0Evdv19re3Glu8zwIBpnYr7ZWf+6c1FP
GWkaXm79HE1+EjD8n75iMdVOC6gImCa4TzmrILBgmfaGZ3DOSRXdxToxN5CtBi62GV8uf3TtdF7K
LiaT9gavVVYUO7l3m+iWbdjY2TjACnLokxrUTLsFfohgtgII640sIE4vrq28lelaKjKWFczLU3iJ
Rg6pnhub7aeu/1qgws+f/LDiahvwxMHFShiU+aMtk3czpVemamW/8MVCaKUC3lATK6pr724m3pMB
+V5Acr7Y/CKim3M+40FMhkgSgKzgDwHpfhy2IBbyBLrwl2d+7TcsIhYMjSwpbEmiObHopuCQZARp
Or8f7KrZXf7E2uQuwhYJmH/sZKYVeVrArgJ01R3k7rzt5dZXfsASFKr0CK0ZGAyDa07vSDZtWSEA
ATWvHO5rzS/CFsbinnmpsCKejTeCWXeOQnStxx+Xe78yNkuo5zCSuu/j2IxQzLelCz5v8rVRX/po
Vyb0WcnkmhF4qSZUvOcKooXgwX+t3+fh+rCrUGvS82SKNgKGvgqoN3s4Oaxrok0rt8QS2em6I3iV
8EmP6kGMEPxO/uhMfFet8076+UpGbW3kF5u3LKDfiWdGE5Up+aMKXKeuNN8vj86/Wt8nh/hSq7LD
G7jSNQZfJ5CRn2BUgMO6F49d0UJk3ZKMBo126zA1anl/dj85tQza4ZCPGW+cnM5g7uYqNK2uOQqR
sE2XuuUP/IvhYKRZAa8JEJ+NuoUlNQJtiOvQTv/IqQQ/ec6qjeNNvYDpiOkEHfIHG6Lr4enyL1sb
tcVxAZaBnZRYWRFEg9IQiewpBCX1Gnx4rfXFSaGGucTcUytq5uwe8m+/KmboKyv2c1oOPFsX6ZvG
Am/dK2crGkkG0DbUVumrxC75M9ruvK8R3t6OU9XfOZVzFnSrf8+WDT0B2pIHI4WdS1tp6087qvqs
m+E8NSKDBCroNc+KGCykQzreNGRAdF3l5I9nddxnHJACeOsQuEDAKc3AOoDGItTl4eo2A9bdTk6/
nZMkv/LI+ic2+cmyW2qpVZ3XGyWBB64x1reOYxVDMLcSOWIFl/FDqS3jATiZ7i9rOMwEChtOQIC9
kR9NrPipsI1yx6GutHG7fIKOvs53Jkr8bw42341C1mirGmEf4aQTb00FE5CgRVo60hYt38DDLsOk
hXEMjOHGOyKqDj7IYDaWZgo2WgI+pSE7SMvmA+QPUstFmC9LuDXpHqU/p4bAiCzGiNZ5dkTqWd27
RGQved7YUTVMyV0qAOqFGYkZmtAEPmq3n7/Z0P4L+tgioY6dGiIoXrOHc0l+YCKpbvIMlG6w2EGL
Jnl+kLbT+5aXOi/ghoN4D8HOTZGVdbWDDAAcA8g0Qtmp7aCdwRyPv8JFhrhBLiFQehi1y7XvtR1q
ElpIzzdT8mKOeFx9aVMt8dpA/FSlKTr4C7f9795qbxxIGF9ueuX6WsrKaly2rsmMIaKqewRTN2wx
jUOZPlxufi1uXAJudd+1hYJBTCRY7wI0k0J80hmm72UGeFdogEg/wCKxoA+1QdzEr1TlfcuQrP6a
mZ23BNnCrmFoSo8Pkao6iDOxjR6u8ZRWDqOlmKLXYKH1wGZBiV9mW1nh1UVic7gy559PDF2eRl7t
ZSVyDCCqM+YncA3vILOcX7Xh+7zzUCD57/2MxIBjgegoUWFMg2bygrSYrgTUn1/OdLlax2HwMiAo
6VFAKRvOVicBzD1MPrs4vbJoP69FWXS5audOOlNclkPkwJ0hUiTTPmTc4r1bDQq8yMqDegTkI8IR
CbfbWdBB+6Qb+ROfTPLqEVcbvlsx9jgYlG4ZG5sdLsPO3EikAfQOkVz1U6QQez7wUQIIHVcZXIU5
9P7yLNuMXsvfvEZ3p9aMi90AUf+/ip7twXRjbDqn54fcsPvfOsnKTW3b3knE0ElLIU9x5ZJdWxuL
4Ar0bWqfBTiOSfq9af+a9lYm6ovr7rxgPgRuniNdyLCj7YJB4SJ+SwWU8+iVC+hzyhwmbhlUpemY
VcRTEWppxr1TTEXpI5sDh0nIRO/GDrkRDaO9o0O1hD8d9uzYukD49q7xW+KAvbl8LK0NoPXfHzm3
KcXlct5cAM1C/cM9lN54m9vVV3AN+JmLKMiEqpAqGDIANAX4HmZRyi9SsI8u935t7y6iIHdGUW+2
qvhY9/Cyg4QU5PVgRPSl9xJdotFBEoeFsTfTIxDpIRxA/KwCNoM8fqnvSyB6LPDiMItWRmyCJURs
w/YmTzaX2145eCj/76y2NtABIL3GR8Dda38Y9TPPnSOBKEdWO9eQyufG/j+Eoks4+uTGNXfOw1Pb
D0XDAlWdzX9/NNNPCfLx5R+yMsFLELpnZp0qmlRGdTNYdxy+i+Gc5/rKMK0s/qUeh3A7Lzdz6IlM
yIFPI/Q9h18EyleX+36+QD4bn8UOdwdnlFLnMoKkYYxK3NwESjpp6qegluyhNwGrrsywH0ovLq/s
5rXhWuzmPKtM2+OzihqKOEMZR5OpKzfN2lgtN7K2jW4ePXqsAHgTo/2tM2DCWdq7y4O1Eh7RJTK9
c8eu7XMl4SwPUcFiL3RzrM8mGPC86jn0mtIe5oxcB/CIuPzJlU2yBKp3dW2IuhL8qKSJa7NWqrrx
Buh5VolSr/kEObTLH1oZuiVq3YkrGIWPfIwKnuyhY/s8SRNefZxcSbyszPoStz57QND0PEMEM06Q
f6ikeajKK2//tb6fB+/DJQhLscxKPUaPnVRbJFtPDfP2ME69csSuzcH5sx+a7+PGHDy7wdMIqSia
ywezh9gn62zI8hnXzvG18Tn//cNH6qFK4rm2xsiQ9SEmxj6HsfCVTb72AxabvPVQ+0ldHCGmCffp
HE5wQNvEw+gn+fPl1bPW+8WeNvOxcJI+ZhDFBbAR5IfEH2nyeLnxte4vdvUw9ZKqEs4xLgftdWhT
G9IOUAXVggQsA1L58mdWroolPB0uwLUri3yK0sKJrHh4rOfsJ9x4A1SAn2rpfrv8mZWhWkLVBwG2
bdK2U0RcuWsooqXMCS83vTJQS6j6POW5F58voqpKX8Yx3iOBEMo4ezTkNWrC2ifOg/dhmdIOrqrp
AG2DCUr0EgBWQJPeaiEKv8ej//LPWBuh87c/fCPPrVkzG8sVRnC3NVMb1EGvnOBrTS+2sirNQQin
HqIk6+4klBDdmV95O681ff77h16bDoXxXeN5yHfM+ePccAWt2via8djnZSS6BEE3snJgp5DFRwWZ
YmXZIXHDtn9TsOqj/CDEjQ3B4MvDv7IPlmBo1+Cwj5cI+j1dxPBAnpr31kt5qEw7hb9e1d/A4lx8
v/yxtVFb7G0NR8BmTvB+yebpXishwjmDffDlxtcGbRl5J4mlu3hUEXx1xb5OxS1r7aPm5Z3dsX05
A3jYN8dUw/758gdXLqIlQHpWdTFY54OW8pbdp/CI/R9n17Ekqa5Ev4gIQCDEFijf3kzPzEYxbwxG
IEDCSV//Tt3VXG5XV0RvO6KhkEmlMo+BJ41T8HSKi/DPx++4sAPXSGltXPiZxMqc5pA+xfnwWHL9
RG15HMf+yn3o0mesNrkVk6MITBePJVSb7nIodCYLaZqUQxbskyO12uNODVY6zDmq08jflN5Z/QS/
348H6NKvX+1xRpeoUrzHrMOUa/DnfWB6SHlfc0i6NP6rfV4P8IONKX45+CDQnJ/KLhn8/oUJ6JZC
7ebh44+49JbVkT1EPUWTreDHoVZRxnyQv9o+XjZM9c6mJDCr//g9lwbL/3fUmuloQB8P6ZEs9QYO
uD9rVn8Pnaq5klZe+o7V/m7mqURpHMyEvH7zx+9LVOxCCelSdS0nvxBA/knV/wq7bsn82EPudFTx
PRPh1tXT5lNDs0ZQd3Qca1eT4Ej6PO0oQDAoPLMtrD2vLNQLd6810HXioujFOARHpJPTM4OIwW0V
eOaeKBJkaMwoBYKnW4KERX987pNWG9vvjWMnMuJ+NHwlFMUbACngxHxlri+spTW/q59mi7YJ7vDU
s3PiRQ6k3YFwgQR3Y6+EjQuzvaZ46Sl0jcuwt2G+cNPl7tvSs2vn3qWfv9rYkJ2SDGzp8Ahzs5cB
Zn1uWfwCWvXKT7/QzQnWkHRXuVClRccCosZs3C8QPcomZLbbFoKwz9NMyltNpm4Hw5V6L8YYOtqa
esd8Jv13tyjJk69wseTO4B7pwmGH7kXyPkSZdL80S3U/LJA1J2O93MGuF57Ao1lSp+L2vnVod1CC
wiM+Kro9bL3zp7hR7p5D3ft+rht2EyxoJFsB3WtHU34bNx60dwEVupnQY9ta4L63rGTxK0qvTTrq
eIIDmJx3ZQ65d9mYcKNLOaR6ril8qFtfpvlUBimCVrGJGKwgufQCiJPbOdMlNHkdYAQzAGnDLCRz
uQ2GeTxVTsMTQ+E9MMG45BDnaPTExdlJe+7lK6wn1BufvWjfSrfIpph229CzS+bHgdqCockyO+bj
FmKf5srufz9wkTWyqfSGemg0J0cAgo4upBIYPfg22PhoUn1mM0IX4d+ht3NaWFsqgtKLNSCc8ebA
ICiYMIXOwcdveP8bgjVPoRrbAIa4JT+OxZy6UNhGHyHF+kqa8coxdSFXdFfhfVCjG1RYp0cQLtwT
MhMoVfPC/4YDZNlXCo4RUQefrI8/59LmX6VzpqkFxPcVrO3HztxTJWE9rub6U9GYrOkAfclhj97k
5BiFZbXhtoOJiRV/KHdfHD0dnamDD8bMPodhBGf/37PP4VvqzLBaPWlmMja8zPiaj4fp/TiGUtq/
n2ynSQluFUqewsaZbgLnlopo2A7tcA3UdukV5wX316ELJFs8mtGD/aSYlhTyQvLQmmjKeD9e48K8
P9mErRIgKWFgz3G7P6EnT26bhUKyWoXyymS/76cLyYTzl/31BY0doNXbQVIXALxduV+e2+NwP8OS
psqcNEqn1KYASt7QLSTDj/29u5e7cQ8Q3ZWlfGkAV3t/gUWmE5VFd5JLKOEH5TyXDjm2fb39eA1c
GL01TUGoAtLlNbRq1bLsWtQwZrh4fu7R/r9HzpiOQVaftqdgJi9B1DzCZuBKZfj9aELWcHtvmue2
px49zhTOtnW0i2nmzeUmIvWhoFdqxBeKuGQNu2dhpFljKDuawZ9uQlo5iWLFshFITLOiH8vnwFKW
sMmB6wqYcRu3ldc4R+9HZLKG5ldMlqgoQZ62bLV/khBuhwuPrOgrgKHtnwgqgbuPZ+nSi1bhpZ29
JjgLvuD+ANcKuADp7tFAaUbCVOXjN8SY7/92DghbhZlhqJG8wqj6qEPg99NYhmw/AyiSCRW0u7jT
ZAM6bHBUQ0R+do0zXfmyC0ubrWIPsCcTidXinqowiLO+i7xkHsdrR+al1bEmwugIyDoTd/7R9vxl
QHqRIKfdSNT9k5mbu0bwL05LDiP6IfCg0l8+HswLnVaypsj0cUlhrm3akxeJLILZ6maaFbwu4kDu
F4hS1ImEgtu9bir4RzecJr6rm42yAUxNBtKHV86OCzuQrY7Yqi8h0W60ewolKBhmnCUQaXCNGU3V
wCithkNJE13rPV0IgmsY/wTYloS4MpqLbgTJM7iswI5raj+ljQls12oLCILiDkxB4iPO+hfq8teg
wi06D64ZWF9YiGtkdxR1vj8PITk2hd9nY0RH2D111+TRLg3Oapn7gIZrBQbvqYAw84E2JbuBrmEB
mOB87b72Pt0UI3R+91+HYMcn9Pfhkn1clj4bnF0QtYmGPc6k4OIRBYBIdZlfRA9nn/dBiyudoAuh
aY3gthVMDAoXUsq+Ay1Z+JznNzZn3gZ5i9mJzq+vBIpL71llEE0xyzEgIzkWJXfvbB73mQfLln0w
Oct2ChS/8p4LeyZaHYg8Bx6rcbEOpmJsh2QRYs6AkRJPhjZtOtUT+iz+OF2pzV36qlXGDWfbBlrO
c3tCkfY0lxw8JfbLD5cfXhM+fRyMLi29VRAYLFCCA/PQ5exaVBXHTTzRW2fWVw7gC49fI7zdemlL
uK24KAk1B6DIshZX2thzr5xLF7blWsq31W1ei+hMrT97iBF7nIbhCj/70qPPK+Cv/YK7BvNs3fOj
36FZrnPYP2F90ezjYb9woK4R3ubsmwumJHa8O4V3TQH5b6c3X7tCdjvmmTAjZVxvO3AedtPSFp/b
jWuJX+KPpe5hUQdtDLnlJdpqZTQ+TPHyM4Sc0sdf9n6g8YL1NbFgtHWCbo4OykQ7D85EgpCNL4Zd
1T2oGtCrx3YaYYbY/ux7cUU5491lhneuVnGrS2ClvSI8gFvzCP8smw7w5IGE0vLw8Ve9uxoAWTjP
41+rQYZ+aQpviA5w0wIW1YWPqfDza4XT93/+f+6H80QkyysnOLSLOzwDretsx6GSqH1w/wpZ4cK0
/OemWCEXLd3QQ2FjgfBb4vcF/UkmlwyJyasFjgM0BDZ99rbKjkNGSNk/dxB1L5LIL2C6+vEwvhvQ
MIznv/81jIEDtLCDzu4B8IBuW3DewIxqCNImIjaDr8KVuPnu7sJrzuP812t8ptup1ws9LCFle2cG
9TPmNMgg8+2BhR6IQ07m/iuvVQDXiu6a5tnFMT6vnr/e2w9OxXooch9m5Qf1xlQaPMKQDv093rdI
8Dllfh83Ojz7ASNBd6K2hTlnKJ/9Einm58Z4dRTmbuEtZ4HGQ7OEjyqmu8o3WyCjdr38VLUc47s6
BYUCew2cdXLImZsszbTB0QTW7pXYeGk3rE69CpbtfB4Beq9aSEu7FG6lt/UyXnn6P72z/9xl8ONX
saIkTFchE8EBQMAe7pqqbp0tq1gl0mBcfLOpqfTGDDG5PoRLXj60rPC8bZyP4AhPPuy0kM/wLuuk
Myaeho51DhOwJHdkDRtFFW5Ho/MvH8/lhbCzvkJyzbWDJBxD0UPirK5xS/WEp6+slHeTGY+sad20
6XwJ7zxy8MBUhqhXGvNvlI273pnTsHv93CeszlHO9MjHIiAHsXRfCpdBEiscryQvl4ZnFU4WFNOL
nMHiORoGsgkLyxPlFdc6yu8OD0gnq1XuSz+H46KZTx5YFJs4N/N92JctBGyWnwBMwTC4Q2vz8Ilh
wstWi37gPIDl0BmskMMXg0HT+HWKTPP28dPf3VJ4+mrNd83kTLZggNo7uv4y17bcjijYwmsaYmtX
gu67k4Fa/OqI9EBD5axz7ckt53RkRUaaa4IVF37+GplKZdCFETH2BJpaOhPsMJGKa93XS797tUAD
T/szTjh7gvf6i8gXqGJ8khq7BqTC5w8uKdA3OFF7IMOStDjvPjWhaxiqHrs2mCmeDL2nuf0BCbJ4
fvn40e+e0ZjH8zj9fYgRMkY4syzIdcX31kx3rEC7hsrmpmivnVHvK2HiJatDqiS90EGv1anISxTE
7FKrZJZlXsALPYZEeKMDYDkdBGP8gh14ZXEmhB1Au+LFRlfulPmB/vrxB19aXat93vuBE7FSQIMI
159oCtLWgVc6+lkfP/7it662di4G5DwWGFjgB0JwoMLmENuw3UkkVjeqgqdGAduDP0LpGWKNvbuj
FegTedMPCXPdfA8AublyHbu01ldxwEh3rMhQuhAisKnRyy7wrlVILoziGrzqNf4UO23hQrzu0UcM
9pybMFdX7nmXHr4q71DXN7lT5e6JhuYFiI+NkfpFowX58RRdGJY1XpVRrwZTAM6TvvCPciSQD7Yw
jP/44e8mo368VllukEjAkMGxp45qyKJEAAk9dQ3ZEvOC1gBU1pasvobYuzRO57//tXehApnDMTq2
J9+OidDfcR1OxubKPrk0Sue///Vwt3PDWmhqoZ0Q37SteOji+JMKGWs7OejG2ByaLKgTDAUUEvI5
vh2XODoWdLmm8X7p56+2eePnoGPAbOEkQJrgpUhU324+nuJLj17tcDt7Le00fr0XN32yhMRLLLsq
sHBpUlebtuUU0ZF64kSBOUwU+nxdRQP0MarXj3/+hYi/RqkuMF+HhJ8rQNn2dm2gt6SKvhI74XP8
ayXOC0O0hqs6Xd+CUkvsyZudDDystL4GYLv061fnd4yeZ+wbnFdFDa9MLFIBS2DwOy0IYWlOy6fP
DdIq16Rx5PVlZ5HeTDlNBcQ0UleZ+ZmbLt7I0IXW68cvev8W6cdrJV/te7isM3jCuY4XfbfdAtbq
kEMYiJqG1MmytPLVFhHsUBiYyfkcbiDFIjaAhzhX6kQXVpy/2ungoLdMcgghWVNkpVsfFDMnZ4q2
H3/hhcR6jW+1UCcGJcRZYOJJdmNb7gaUpP2h/aGp3PThRK+M5KXPWO34iMUgZeZ4j+zOXvN56uf/
A974c4fGWuYX0JegCV0CHV7wZEPRPvMwulKs+ac8/p87KpbAastjtjsTDhT8VV6aX96gY5X6VmpQ
uwftb6Dfzr7ZQMcC9zS6IMZD9yNIwRotTppAmxmlSoW2ZjgU4ZbzyB4NreZNH8/8Nm+RVKCoAzEl
CVv4NLakfK3Adml2NSi5d4E3aXDKcth+j9LsPXCDN1XlB7d1ObMfPOD8W9Ar/oQuqt5I6dPDVPdw
KofM555Mi0w7l4zZEOk4h3m9hV7e0oRR2k8tr1PmDfMXCIk6+1EV7aMjtNoD5MwzBxRyqHy13VM8
AbfSD91L18SwSNeRAYi35V8mMqkDYJFlCjtBByEwLm76znUzH4Y5+7AT4ldU+eMWrfD4ONAYKk4M
lds0dluYz7ddt4cKj7mlXVTd83PltRML+bFEdaAT0nB7rOuiN0nQRLpLgGSUzx8v9guLcF0O1QZ1
A9h6eycbPjXhnIT9FxDGPrfC13XPbpDQ4Y4hKA6LjiFry/C3i1b21lR1fOUNF3qk8RrmDGEzV4wE
sYDF5bMmeZ/VUbnv1Pjo++EOTOVNo+odrFh+Fb7jf+42vMY9Q5aptZLDvrFq9JtfR28CenFXvujC
SbQWiFbGU17YhQvcl4D1pEovCXpeV3bupYevTwnbInyNeLilEmp8dOcUw+5TC2ltj+5XNC9RflpO
FRQpUbUxGQ3aIQ3k58jh8X9UogsHtvIEAa1v+h/Iu7xbqAEAe7cs7Ge+gPXx8Xe8P0RsXUrn1J0B
7pr6UwPVhFq5b3lp/nz86PMovxM2/7mB/ZWhajfwnXIIoLwOD9TU77usaDu6XxQPN7h/P3zuLf6/
82DP9XoIhuC2UCv0yIVOlKP749T14Slw/E+KXf6THfz1LV5PHW8+T7ctm60At8dtrkm1XAhJaxj1
zAB5AHoL8kIFbTe6Yw9QOYbN+AKTu08N0RpOPZgeZGIU2k9RhHqiiccXUk3jTQOVQ8A4F3ql13Th
Q9ag6ga13BxDDseXoU1lS089BWrWRFei0KXHrzLLqgnDtjtvCNXFdyWA2kk/hV9AiLkWii69YBUt
eh8Vvrg03knwt4DOiYNbWxm8fjwHF+6da/h0xb3W9QgOnt66YwbUzLSxpvS3eR/TUx4oaEqVQr0w
04xDUkLU8tfH7730Ued9/9fCBf7fcVgeelBrr5KiHzaU6SQm5Eradenx5N+PBwiUekW/gKAJ9YMF
hAyoXCYdya88/v3oFK9htGgiVm0PvQkYjEckGUM13nRFtFxJrN8PUGwNBM2hjO9OHRasqOY0Fz/L
0Uta3Fyu1qzf//lsjQf1IwjikPOSjfIldSud+t41BMml375arHWrofA+wZ1gKYN7ZRj8XMRvoMcl
fDzpt8+sHbZu3JULgyS9PrNvhxnCsUtiaqisVp9ambAsWy0dn8cF3N2902Rl6kl4jQVfJghGfe63
rxamj959GDsRzrWqqODRK/gjtEV16ixTeKV89/7aZ+u+m+FADlKcPzC9ieqdH0/jpncDuFv707D9
+CsuzfKqlKGtDsPSwo1QLsGmL22au15W9UHqldf6Kv9kWv89ptm6A1cM+RSqHI5XnjMGB0/15bZg
Kv8uy7b4n5z4+OgoAEONmod0EYptRB2BRxTHhXtkZyDt2X43CVxtX3k/yKSnAuCSeVk+BU0Fvvnf
68QfHG58iECfRPcACkoiqp0XQyVm+j1eWSvv34DZuvNWt96EUh3e0A/522gm79CoPE7rNuqgK5eP
j8L5ZL7L1tjNgoSRN5+duAYxuZu697u0cyDV9fF6ubAk1whN4EewIInbn7ratMkSMXeHGudb39T6
yhsu1EPYmp0Rwnd2wMO9kwZGbde40maKIm/0l5ZmMa9l4i7KP1Q16bKZ8hz68oalainI08ffeCGo
rskbvGzLkXaoqgJHPqZMRn0CyNc1CP+lp6/iBiHS8YEOQDpZ+3nqRPqx76Mrqeq5Pv7OTlsDXKmZ
DelEBHzUHD26fbwPqvIouXqaI1RdavYHwLIrydKlV60CR+WVvvFViZPHKrodCIPEtRrA35mNtxn8
ZnxhOdafJa69gtC6tPRWRRIITTptFCPBKRjAI0t0mCjf9uANfTzr/1ys3hm8NWQ1d+Mc9YY+OAHu
yQ66DJuvHoA/98wr9TEEh/nVU/SbiVUJEVkzNYlXNfGdLAp1W4s4eqwW4+/N0i6J4sS/MqMXVssa
6MpqgUYInMNOoTNlqiIZuQqmuzCDa4yrZF1dId+BXSM1D8EweJtKTZmIwFPiZfSz98rd5FyTL7gw
eWvRYofkUNqAWQB0Ntx700wwQCkPwnxyy67RrnIOK5VDVePU15rtBubDKDpUzecOyTWqNXLKALDx
s48bEPfw7VWjyAQLw43XSnOMkSlds/a5cFCsZYql6uBB3iLbJe6DWVgytSKFBFpSszehr6HnLq2p
1YVWDEOjem/yTo1wUtXNKDV6V6LC+ch8bw+tokLr+kRJghsOZ+UJfVsYW/c8dftiI9oCUBDXhbqq
4UFSxZ+73bJoHRYCCjdQ5PBn2EZ5GMc5WBJLY/+rJuO1jsmF1buGtWq3b12HNbCF9ubpzcIVacsD
zY8T9EffPg4/JPhnsb4zeGt0q7RTSDrb2dPs0WJTGy//0lMbHIBGFLtpqsxGVKI+UTHn34ayAh7F
RM038PnjDZf9pBKqJsjKAjzxIuE3fyCNdZoktOPyPc51dRCtUPdjSOsO2Z3y7kNLlxs7A/6QO9zB
3b0xt7VR8T5awmY7uYK/kGIad/6iyl2DVDeb8lancGNgLzRu823FVHfD0Qs5MmhvbAK/mJPIq9md
FMVyMJHbFqk7jx0EOBvupRWMlW5hoKsyuTR1VgpjHjozaMhS0Xjo0yIIvGMRqBmwXmg6TEwDP9H0
vr0LDJvuOJHTbxbn3heY7LUoQ5fe0+jNPUv7Oa9pYhvQYeC0yfc9+LMP6MOO+w5+wxtDlfd1ILzb
+U2EvC6o5sy2On4KF68pU06pBJ/WZU6+KXXXbpgxZYIuPABivMBxQ2egyzV8rdu46A4QGGXZjBbU
K5fR9FpgqHeCD+VTqZpWQBqn8rMuIFASCtDnbeYoq2X7jGj6G03nfCdd9eUsaXRXh/XJVwrwMqpJ
sqB+sqkd3d3NlrUZ1zIteXFo8+IwFk5q62k6yLHsXqFIbDZFN8KwIMAlu6aaZ3Ut7Dbqnf85Aoix
2LY9tA/bF+KgcgFtzCcbRxsY28NUtmuHLXTJf4da/QEQzj5DAFDs8Up7zF30CUaXiR2r/FtnGX+E
vIbtSjc9+5bBIyN4dWNhd4uhN8rXsDiknkymqruFaM+2IvUuYvoR7hp94sHuPqlj1ANEU3/vFhWk
XEmOu8UypvCKiXYi1ndTBG1I2A7qfeTBhc0D0/dmmHQ7plHZ+W8G9LnjBJXfVNc+dDHdCXLhocQN
dymTqBTRi9caZ9fW8f1SueF3EnXdVtp6yLiI61PfxSyBfYxzHqcRstd1k0qQi+FrqOa0iMggs7kr
JsD5lmGEZ4ZTU3IWeYYGMwgyW2ba4jiDjL2TUJ049IWC2XntThv0YZe9m1s/4wVE5zTva1xGRL/P
l645urJVB7Aa3Q3QasgJYFP2BY4Wk0kG4zs7rRUsy1ri7zkvgV4DCl9CTrfXT0hvWNY0TQx6Ts02
RPn1rWDl9MBk/HXqUfl1RKdSz1OZKcmrVwmSybl68XqxcTxxbAvvdVlAOZuF+NOCR/BCeo/BBJ5B
557QP6aVR0fz70zCnFkVFJLHE6tv83I5CpJvcwh3txHOZrSdXiD6iry3qtGsM3IfEBe/MeKbqm/2
bie/oZZ0qyeSmYLv0ES5k8acioYeUe24Dar8qSDxj4WWz4MbP4jC1Jmazb4rAogSm8VuJgLDOaWL
O1x8bg1vYb3X/XCbZbNI/QzjmRvr51/ncdqVNoIOugMlfSmPaP3ECdhLNwP48eiJ3gRlfQJg/jCS
8KA66SYkyjMVirc8XyD769OU59Dfdgrnqc6dWyRnB8btE1RF76OBfiE+245QZ6ob79EtzFZG1Z95
ch5LsuydktwHkfPckmBJPZffTjp6cCzfci9/GL1SZHOEEg6wh7cNI0dRy32bt1u+5Pu24TtlDXpM
iDcQ7eTDPoLz0tLxX5UU33NPvJbouglbP2B9b+yMf2n9g4UDS9nBbK1CsEpo6GiclVjcDd82U383
1v4vUBtPZQNn6GUutsYVNFlcVaRRpHlSFRTgocHk2SDizDXz/zp3uXGC5baV6khKXacY+hRj8OKz
/FZbr0yNjB4W5HeNbd4gBISyjlBv1DivTeh89brudmGIioJsiyj8zjt5V4Xw8goG9rvxzXO1eC+g
8+BaHmDdRgPbdK16yKHGnIdm68ThTRuCHK5z75sDiFdKjFOnvRPi5h9nZWz2zNHwktWZmuQTa6Jd
FTolvOfoHgftwZfO3eCWD77t3qDwCIKcO/9E30+mE+3vUPMHj8K8tQ30Ibpueahn/eBV8aNYfsAy
Ehjznj3M0tsWfrefqvrGyvBONPkNjZc0L/AVpnFFwnL62gT9bViz1yIntwwylQnaUKmWkLgwIniL
/WlKW8p+RYSc5si/kzAuyFoWPrv9+GdZ6EuOyFE2VKTg+3+Lg+4GPXqA54L5vg3YE3Tr4ewnn0FW
WpJKh7tq7k+lN94L0rwWjvcQ92xrY6xhxr9Cs/zGNuKeOipPCld+5Rba5NQ+0FneEisPPU5gGEaj
ZR50Wxe/rGi1TMyg7rk/7RegpQroTMSheYM0kp/GJdt1IBTgBC1/jlN/70l51/CpvvELiTDRjtCM
M2F0F5JoONKw6LdBQSY0lG2/pTl301HVz/B0/zKUAtW5xd55hQ//lLY7+YCUFUH9NsWiT/oyHjJf
6McQ28doITfyf91EySOD0MI+EpW/n4Ha3WrUy/ZLFN01Z6M8Tqc8MzA79yw6BYMYzN6IudlVA2zX
G2oqnAJnuhqJLGQjKHwJubmFXedzaAKTEOn+pg1WnpsbOCY2ZZ2EkX8PesNzp/O958Dbk/TwJ6kr
k+hZHUMfCzqusiGs0rkZ3ibaHXkggsR2IdrjnSpTcOh2QLqjVKgw0E5d7YrKPjrTYtPSHb5YVwJ0
Wd+rJn9BzfXNmOplBFrYRMMmaMR2kCXOtuZbKFsoyc/NV9P0DzYCLI4A8lBO3W1rUe5phyLPqhi6
5oNX3YZ5v6nGqEwIHXcwpjkIC0stwBj2s5b7OGS/oz7MENf9LfEDkVSdOEEnpTiVZ5xyZw99VN6V
wtsIoAd2fuXCz08s94VEBGJTcQi4hPy/xWCG5CmQ0UY5zm8ke9B7Mv1rJ8qvcW5fcuI796MbRlhe
ZkicJnwA+Xufk/4m7hFxe4XUj1XVDXRD7UZCJO6IvAsHe/UKj5MHZaNjA77XvJSvumQydXPvjmIx
5Iu3LdFbxybtv8P0/DUCuBMQgf3UO9+6ucuQsyAPJDLfMPhrHb2o35Ne74puPi15va9zekvyqErC
WB1nfz6huv0ixulxQnMMCmxFvWlHvzx7gkfJWJAt1zDzcutXVfXHSg4G4mkd/17PzvxLMS2/dSrf
jqNpEtMD9eDHzp2o4p0M6ZY3+Qlw7Lel5bAW6wWHogo2p5KxhaxvtI/ysXwptAshD/QHUJucz8L6
kmxMyBAx4iq8A5enTUL4Wya1C/+fytdR4rCYIgFhR6G9Z2cJvUMvgeWiJvIf8lyrB6+rbMr9APDb
CmseZj1QHNXuktYFIBkQSHGS2fo/4e8EWRkos8AJALYv4aiL1I7zF+72UcI6/c2HzFoZN34yUlVn
VT0D0lo6Q+q32Ot1xWXmqQEZjIPlFVQWR2hX37kB37tksUnR0jiB1IdNSKm6RHTxIW/bb5bMagPb
6R88Z7/dyT9rsphmw6Rjk2HwwaPnM4I/nHO7CL11UM0eVYFQFxTjW0jEl5FgyUzYTHEOBbuRFA9w
4Jm3TUPBBSZTdAP4OFZWR785cfMiDRyWcTuIk6KmD8QryYnnHvmK604H5kUHi4OJYupGcwxr+Vq0
lU3qwMeX9fm3sdMb0U2oCuq0B9DPAwjGjsWm89ieMnsTN/HGFZjrihcJcr2N7eqMap1Eo96KGXsN
fb6kqT2kkDojOUknJ0gkbf7MnoUfWzseQwj4UGO+hLPdxf78FtIc+pGOea0mehOPgKm39M6JvdtR
2BShfxcX3i2Qxq9Rw8MM+d6JEQXbuRBfY+p2B5tVuNONCHKsCU3SF3WZKOq+DbzQSXhOYMRQA5AD
ThapHTcB12RTFPZ+threDJiftM/rPDnfSEse/S8m9Q9/higdn81mhIPSt9bSFspiZZXNc0W3C3QL
M+B76IGLKfi96MJJIMieH7reGfYG/cNdpJfhYJw8ypRm+hT7BGdv2Av54HIz/F7coKhTgznassal
24C5+SuoeCHc4ZwRN8NuVHuHDf0Njxp1moQDkbZWDriBxXY3uhAaRArvHxuDj+4QA1O4PYHzM5tq
h7w5fK5AkLqDose403DE2EdAhO8dN0eQnao2603e7G0/mB00W2mfjuW5IAy9vBc71vmhCRl7Fotp
nvNBLOkw8zmrndHJmK7bjLW++xraoHjmwaw3lMv2K+9tdKJzHdq0gLjfdxTOeVoM4E9ZECS3wONB
8reZBhSbB65eIqjV35DKd2+jyHNBCFId9hda0V04TrelvwzZBPuWWwgQFvAJEOSlR3p/h0yn2/ZG
2W+4XdF7nDoFh6Lm5N56EFCD4I3tU+2PJpm066e4TkObmYzODfJZmYVqHhOocLCUehC2T5wxDjcw
gEb1U0Tx84jxCpZ8OY4S85o7Qj2bYGz8NELlCIaCehhu+piL+xI9iH0lq/ZmYIPEHYkN3tbDInpA
WgGu6+gxk3p+URzCoB8eYBlEDgX8QOKkrP3yxSmw70vcliDO1eGC1+n/c3Rey5EiWRh+IiIg8be4
MlLJtMx064ZoS+JNYhKefr/au5mY3W6pCjLP+a1/202pVuKgFhNhmFuwWa05uRBe2V6r1c0T7dT1
Cc8RB6gYtmuzeU1SaDePpzwEgVBQWp4hvCwYjOB8sCNlzrYrUijLKa3DcX0nH+Gn2y9bFGyl8abo
RYRco/By9f39kYn6SBCZepFagUVdPAPfdmJXPtwC0aThY0Dl3Kapae/XtAiG4skXHpo4fzwif8WW
FIg2+LZOYnkr+lkwP0mTj3ztHrZCl7+axSahoRmGk9V2dZ/0FoWH97fOewlNWxxRVZCvR7vXwB8n
exEvWpbxgj4ucnw+Bn2v8OVclZ2Kunkz4hYJT2RLbb1tzex+Z3RDwTeEC2OBHPrvrq3am+ScUMcu
eH3z59DNn7Vf/MJB+VlSPJOGov6SbbdlXt9uxBUNT5SifNibfxL0XRyljvlWzlvniVjPRFq4Yds9
G2obY0dbdwTD2RJg7DGGITp3d1c5j1VkzP7NN+bx5HWLdemH6WY2NukXvksN0hQ8FCQIMqrY209v
ousdnGKK297rnzqDoGRRHEciVMWNaA4z3TVLPPXme1+GP492mmLPcYt08XDSaWeaonpDxgqmorkn
q+/higtkL6ijCPafU82buYfprrY+kT6Qi56Ol7DTZDwq9XtRpbxr571s3Q/aEJrmSZr6qxRsc6yG
ca5a3pNlLuNqxb46dlCZe2D8aNd9i6q1X+PSX5+EWcwJYVCv5LifzZZaitISNSLA/LlwZDKXwWXm
lIX5fme8e8iVnRRMDzEz20dHvzNBHfYRqTL/UnaZdX2buQ2+z3X7b1qMd3Opf+zqYFMaXIA3YmDW
Myrx717RJ2pErXKYyQFxEXVO/ux52Ft8m+HmmI/HxbO/283+s/b383iUD3qsX+m9eW12tvXBuA/j
I5oRMmUiTwcvLnlWmEWW9X1p8+15Yi8p4qab5ofi2LrUDsjrDdnSjSK4AU8HWeNV3ZPliz9sIcYv
OPct6aqmfsQRS7yLvXcZre3mK/ffeDXcbb30q+c/D02/nCFpebX5XSOjI07QLfP11WtKL+HY/71a
+rQY20U6jCfrfj60jFVvZkS+/d0689UzvZNrenXULQeztlfdJjzByVCG74OS/5lr8wQWcd2P6azt
Ef5/XdrUNa2/m9mcHF1m+1C/lENwpCa21rgpiyfLIVyP8e3WOTyKqzVeTFJfE9tpARtXIOdmmsOI
uMg8yheQZps48pNVKL4Qa35UTCLp2nFDHxWLszU2XjZOtRkTEL0l4EGEf5eMMOIwrCML7aH/oN7E
ufl94aeyGz8RqIaRDvzb5AdfRcn7bufTGK1G179uG8pXYtlcnL+WG6lBmYkbbl9TX5dRD1sF9kSz
c3Uxq+GdQuafQ178bL3wl6lBDtFUAkYNw6fRjr+dVea3eRN97BBr4a6tioMhyOhrfzU64w013xJt
DmG3dREfIdoG5W0t2piRr2E5i4kTQjaqTIexvJi7831p/HOzFdsQL+tu/6mCfbsIxyP1ail9LxpG
J4javOZsd0fbp7HBmVW0rk7/aLDKXenVnaFYve7TNUPnYSra/KEkSTjJGz3/15U2FgsGG/CX2bj1
S1s/cf11Zz+3TCqqynoBRlnxz5pbUJG/5RnqnuxjOm6c1wwyVSCZsaqB12IRa9Zip/60tq04UmxG
K1BVIHsiiw/3fXHKPIgOJfInd6gPJyZNcP9dtc3yo+1b/99iuNVPXI7dFPthLe980PCe13l39tYh
Tzq78Z7V2IwYxFfn3SUf+Aba1dxWuzIS3/dyRM3oCwgxpfA4uq+sfjSP5vF+7MOCan0VZWqVRrnH
UnpjkWmzNhKGdudDCxcQs3T3fxPZb4lj+/p7vYzNm712bR4zSopnwsGlFRWlUT/2xjJ+MG+AOaDO
4/mQZvuTwBzLAbtq699HuQzxDvJ+sfU0gobY47OHFepsqs3427Hux5PbhiLqfbO4iM2YaAAL9Jfs
OaFMDEdp5/j2W1MZ6kLib0C/AAr2NVnzwgFVd13fPNd+s1RJ6Rru/qSMnGQ8c2bG0E01vRneeF4Y
wj6BXcYyqdXYnnbS89477PZm1KM7fhUqWNuknxov4TZ0Mn5HM/GsyXh0JC7L2CjDGtsE8xc/EoHT
nz5UQmZ1k/ckcYjM0XxI0UXt4OhXPdU7fKPI/6raH3+203Dv5GUOSlyLJnSnEfuJybQA0pxyI9Zo
/B/afgK2Ui3rSEk6JLeKM5ZFZjdLQ5Zj2O5RaxISspTu+EBjrnverDyPfTVat2CZ6seBK+pXrxFd
CtkTwKQrjR+h6277LI+zQTQgX+0cnKYGHWM3oBKba1r0aq66dNT2+rIjhYqdEq2C6ZdjXEsvOAml
wpuzGfvPzZpYb+jEaEmY3I0pM9qyfx3R+aTO5q9evORB/bqFEzfsXlOBM6pOvIxjS2Uzx13UjJ3o
Iy/35ku9+NMfCJDhsi+T8cagd5xkx8C5td3xwYwffF9tjGYIMZniw6rQyTK3QTJKozjlHUKa+Vi6
09i4+p2HN/yulCm/HdUw0AzHT5DVQhd+VJgBAn6rqpYH8GTje+FO/vf1sHVSEvEB4aRExzkqtiU1
JlfS+1fpPwJ5LB+gHL5tgR2y/Gk/lqpkuivVcampcHpqrKmjNmsLg+/+4NvZUe771SrG8b9SddPv
YTDLc49x9kRS5nYyB0r6OhCFLMid5WoOXnPLUfgzHIugzHzTDNLcmuTZ3Yr1UUrLOZcdt4NZmkyO
bM8naWv9qP3csKMgKMWHZS7bz3mfu585Uwz/RA5nXHlqfVv4G09rvftZN1MTiOfeDf5z5CRPKrCA
CMwuPEu0IP81payvxjgc7zVFoFa0TGqmN7D2LU1OD3PZtx5bgUUmY1V2kSMUkUT3XMklEjqnyQ5j
+Vfr7x/BYdNP09f2f4M2/47QZcksyci493GHb1Q6h0BdI3vCVhlbkG2uYzxMk3OPsGtVk+SbKv5s
RlX+MHM9PY9WPb/vI26KSG7zL9EWYxb0NGO5qm7oHBdjZHpVkMwrxk+vD/2vZt9gDpUx7GWqaGtx
nwOvXGcSKdjKf8jJKGUq5w50l6CHtxAPFNjSHRjBC4gZKWwoBtSkl3kgnhhFZJDqwVhk0oeddcmF
NfPc8kEAVeV58+A09/kQeiqCmTI+wsDS8WKu/lWN49TG9taNPI8NFreusp/zgWMjNvLBIY950we3
RuMvdkTkrP7FWbjfApbLbA2XX4HlTUk72VM6kJgUUaRCR7VbE/8X94Vd0mcnAUuNoH5ZVtV+r+zN
eTKb2XgI5Gbf3zbxbFAFllWz0i+S/rIqWg+39ZhjK5hIwyi+qbpYY3OeRMpL9q65kc9uLv7oYn84
gvb7SJNwUq6gfiFmt3hqrFM99y9aQQyt9tn118fCPoCzKdxR5fZj1capbhm08vbM8aySI7DfD92v
oAz1kxEMy60e5EFKFi4dYI1XYwzbBOXfd9g2UniNB5PfIjqcpUzktnRx2PRfjlZ/HYcxes1lHSFD
uQe75f+W0GuAhfws6AY/FUXHpu/MFbiqycTdhC3rvudy8NZd0pldAcDQ4DveVCSEfDQnnLF3cZLt
HlNaedtLrmXA4bDSZW8J5D0u2+qwBtluexdZ+8CKBYK9YnG+cpIWo7KzpihQ/oMFpMumh+110eaf
xltZD+jIiNsj/CpYA9k+cs5TJHAxCx+3SG/k8V5Y/w1ts0f96lBTLyWT8fi5Bs71oL4UA9yyJryb
v6DkmqgI4Tva4LyKCmFgwPVQDF0ZHcdCwY2kSqk1NxmZ/fRbc6si6M5JhOSkAQmTbUTGrYjcOl/P
u7F8hH4vT6ZT1OBzzqUt6m9BN9+cQtxwjvyaZiRgFGZ5GYt/vOfLg+Ospoy8Q01Zg2zyzLdbvByb
DF/sonIvFg2VZw+1Y2Rg7opHu3tVhQwfFwafVEijPvkSmNaxnJey8hNl4WEoCM9K8Go9Oi1QV+4U
9DCW/AmOF/42teXHmjUzoQM6W8KD+MLDvMo7FcwVm6o97GM4aQ8CU6mkNaBn3bb7w7LOfr8eJjza
tsN9gI3v4GLRjMtAmSRDN773p5fiGT/Y8uDpKnwviCJJA3PsotqZP/2RqtsGgUHVlL/30PCyyoIJ
J4bJiipzaeHVKbZpdqNCagjF2rV98DwfzXLxwpWwRT9co74Y//J/raNwcKoI4WyNjM9aUqX5DEdn
qTKrnkqOzMOloM3yM2W5RjzI3Y3teatSbvlroxV144f5tgS1n1ZuFd5UYAPOuvVzsXgf3V7NZ7PX
9qXr9H/5iGQKindJ4EPcpBTuwBQAKFsKa8UtYhLlNgHhleHQppYe3kVdmkAFFGMEPMGpLIWiMbfv
UiXGLmnsJmBtnm4EuodZzWIb6Vw5r9xiiVO2IQWktBT2Qq4pZCbExxDoCCr5sTp6WGuTp1IsIqe6
OFfIP43mYbb7JZIW4oTKOfyzJ6uvQU7XHbrjNNi4PsfBl2evLQScaeEmAxVkcWXyps2hDuNNDif8
eVuMQfTHSG1rtNrHHh3hAGm5bzol8gOsiJxBRpTmN1EDOPQs9RoQOJ7yJnVv4QE76KnpF1+RQTog
QX2lZ/7QjrojWb4d93b/27uXz40VrfJKNd9EvXzgvnCiEuos3qXfJ96gIfTlIuImXwDUNeqeAlfu
AliZOq7N53H4sLsMKB8sRzWumbz/zbb66B7d94P0WtZQewESCIMXLHxfwVyngx0Y55zuwbQKBxAg
BekPwX4kawtBIGodpjo4fhBA0j4eJKlcClHMvwwfL2TlB1XMUVhdzdxh7zfJDeCh7mIV6P8YyMnt
EzOVC767JX2lni1iOrgK++exOiRYE+9VfkgIfGtwT8KZb7lJf7Jt9havE1NvO1g+r675k5Gov+1G
vbyUbBixspC/gD59tgYvuOOpGRXU9mdAIPnUd9V+akywsH4JH9dJHvwv/X+rLpzntWBWskVls3SW
rOo7lNU42Sa0D181ja1sDPM6J+7cT7EmuD5yWTY5d+4nhFewsfXmetpRvqSH3/1q89KLeXK+ROjP
j3PYrk8N6GjZ1m1SGcs/Xww8KR4PVrdMLAXqMkzrTfKicXVg32g4UOCvRPfZ9TDNrWPR2zIXH3J1
bovYe2qKC/Bpx/m7ed3D4fDjkXX1bs9LFjQt9UQhNb45Nz6IykcrqRzfj9qIatf9zUfxy2t4o4OA
Bbws299Dd5zyoo7J6PpbdR7Y4Gh8DsdEckK7Quxp8Se09rSchy21Vy1PtTM8uWvD32kumbG4r2aR
PzQbBSZNM5SZp7VIPIaBh75vYV4sXnJqF/7t9vxP6uNxpLAxcbpgRi4w2LWOxrm0/sLCz6zrZljJ
SPSTQLqaF11kbK6V8ieI595VXrZTEx6tbc5OfzCXG1gUT6ZXWH2GiYR71VbInjg/Jr1H1K5WZeLX
h/XIhEkxGn6cjCzt+Z1QleOxLHr/rCZHnhhmi1SFTnWxaql++oLYYvPYgmvpNvPbXrfLdeyZwpif
cpvW2XHzr1O5BEOsRto8NIUPf41lmueEGD4V4SHjNt9H9f8cMryztNaQ+sdAx+o9/+nCut3i1XeK
L96NKdupCMjfKmB9wK6qbM6zdo+vucvhHFZXLZfQEmOTtKS9k/or9gg+dc6Q0vyupOs/bMJtk2Ex
xc1vWvPRa5X4E1Rj9wr0pdLAq1ABTXb7C5p3Oy97r9OpDsbUm3frbAH1XESV71HNVJgAmIXZ7PQ5
37Cyic0Oc/97YYz6DFFZxwfRsSfsj3PmY/0/bdVg/9HTelzLqZLPh6GWE1hFfkWHZf84uAt+l8Eu
/y2TDeEyb0OqN0OcFx3059LonDctOdvNe3eF6hC5ROEoVoRgi2a8s1QRt4o+hSTwDgOGLh/PHaXg
MB8IA+poaMsRUYTPP+a0KWbNHW3jdzIyPyzb2xIU0x5VBGFWFJcHxdNkhDLJ/VJlllLix9iRzUr/
dmjH4TRSuF0NxzeI46aK7oclMNvoipNtTFhu0b4DUunVsSMa5NvUMXfUcu202HtkWkPAQ1B2jDzN
XlztznK/DIofyth0jf2GwMWK2zmUbyF9j6SDOP9C2c7/eEr3CECZGJICgCQfHTMKSwG022y46mQO
f1d591FkNTM7aJfvXpvLuLHVls3gbu9hXXSZX9nI+GRZ3cI1qN80U/YN/73znUXcoR1AlTE28O7U
bIHxiN63OqFJCGNT9onNhWmTgEsGv7vvyY7w6xk4yoD/dj3nvG69+PRGD1pSEQXt3NAYhHcQXbcc
O6Ab7R3ZwbrNG1YCeqr8soY+uIM6mtSt9HoqbAYlC9wi2QQN4tFcS/9S5Ft4cVo1/DYmR5HVt3BQ
NOb4Kfx1eJ2FFJfeCZdPR2/6pfZB1f3VUtmST6CbxKBs8b4Mzolmj545f5WpN4wjGNy94W1bvJW0
0z6ni96u/ix7TT+4bVqPtWWp9zbYZKJ5RtNq78W5192UqGW1ovCYz2rt7y4GOnmIFJCx0XQ6RW20
vzElok0c/Gk+kxkEuLwXfuyBEDwNNRdMNJLV+I/iZXk+0DvpqPBRLrq2yW9VtuLFm7QAiiiKjApT
4zHYaRzCtD9X757rLcTZltMpYOC/0FWwxWWB6oiQpu3Ju5uY7T0Xp3KZ3TfiqIt03esp9dy5Y8wf
pi+U1hbXQtg+ubsUKdtJk9EWLKLAXitungWhHbqhCGNgnlghBPoWjM05LI8+c5BW/CSHuruJnZ2b
V7146MA2Moe/8wWtl+IYDrao37jmll5MQ2LNJMUHfrnG7UoYH0EC+otqMZIM9OZGA8BuIgNnoMze
AIEq3HVK6sJZyVykN75g7zE51tgzfgZjRaZVCLIz7LIt4pnNEXHfbsRWgT4dQmhaUh3KIBsaPcRd
Syw2cqrycvDWPXZjUX2zZ8dhkMHCV1ZrAME8N1dVl3sSSu08s94opADIzh0aGX+EyCweqIXx4pUc
Ebo5qGhYqU9kCYE0OpZV/gI04qSV+yRf2ZzrJ922VZh4Pkmjsp51WjXudtHVMsV88Hys29adgNcQ
99T1cvI5rx5Cp6cbU+rh5PpT/9W2EJAWQSWPloNIMvJnWT6XPmu6GbrzRdSh/iCvEOsM6SLtjfTk
5dcuKjfGw2vFooHthvHLKQRegcZRCgIa3/WsJo3xO7OGaCyyHcLEXmmucibe4Tx8NfgPW9nFVT5w
hltg3Yy4RV/f4VH7T9k2iEaIoB7z6rUK1xOPCMmJTBnGoM6jbX5MhpnWkHO9d9zrs9M2oHQEAeBR
1Ildr9eihsJu5jRoXASHw7VZyyykpDrf68dRmuPJrIyU2bfIgokxRlf2UzhzSPumgZ2wZKrjOX6x
V5JHd24Kjkiq9syL4dho7fzyWeSC14889LqwsXUY9lM9NC9yM2PZmm/o877tJszHML/w0zJ+TcNT
aEwzCqXSubht0SRLuwRZWYVPLaaYB5+DLN2oJb80UMj0+shP4M9TXZa3enS3OEceZ9vyJpzWinoz
/2/d5sy0gynRG7AWfGLKV3JD1ltccgfLwQFDGKKFg861zx6zL/LPeHD6j8BFn7PZhnWdClVkZr1a
HClhzQ5ZBx8N0RkvhbWuV4uMR14vIT+DxrbyJFj38Q9OIevBbSrbpRd+0Bq8BDUw/EcdvPjd6KYo
F62IgY3Wz7lY4hkRM/TBEPwO7+kquX0M5KYRRULwSD0k6PT8k+37TTYPhXNtndm+COH7cdvmxqni
Z0kKFxDPpOolyVsELdKCl2zG3YKN9QJ9pmRUx2AbTkZE0UBWGmJXmwXmcR/bjXu2tkFmq/pdzPvX
4EqAqruIDtm695Hby/AWuEI/jQdyhKmfwkvJyH5dV2+/qlYipgT/Ti2LYXulVP0HRPVCiqmPvt3w
m1+Q6+rBp8SeJp1qnuJpkvbFQugGgujsmQIve3YCxS/DHhgVHDlkzg9BOrJTWxCk+3I6ysZjJnIO
CFivkfFeivUkBpMx06NG4WwRioK6kr0ogmSY1tcGT8yfkBfvtSqtCWLZax/LRaBB8db6Z1Nq/1vb
i+UhDNuGRG1/7hPRF60dldXsM+YFRuNH7aScxJsK3kG/O4ybW9s+sheCDffOaiFoilsA4RCVy3Fc
Q8zfr74/OAnJkDNNOO2nsO4Fn/36QhnAt8FX0B5BuB6UTrqouDtvmLIJuTPn/HJwEKz91SghkiJ9
7Pob6FZ92sujwZm5d+iVetAyZP8JfQoGlzN0nAp18My9ZsrYE05/60oWACXq+iEYybdy1n2JS9kC
K7JYUdLRz8ZTZ6vpb8D1jAJoyU/O0AwX21GVFy0IbMj2ycunqQm6DKlxH23BnH/NUj3U9BqeQPHD
knDBavtApVn9EeKoiUqZMQiQOZbU9lJcZef/m6T6xs9WnUun+yrDvgXsbcLHnQfkebSVx8dgI3JJ
DD52jNv+/gnG9FI6/nZtw4VNQC39+ZiM8Rocdz+qF7AayaBgynOWtKi3JtX1pjMSDMn0O1ayDTea
tCovbC5HQKkF2mAbcdchubGR7wpRyHfOkRFVwD6S0VpY13Dmh2VTHtNy64bPpVNmulm7vhJM31+M
XX/6a+hmLasBQV6iidFZvgPVI7UPmGJD02xptbiLPg43f0UCvj6Pte7+7QItV13NXkwN65ZMvhuc
uq4Pk0BiNemYQGNPtQh1ZOFmlU3gkV3uTnyY235n7L03g2RxFP4u8lgXql/Buy9LxWbdDyJS9V4/
9bVlx7NSY+yuiwug6dhADMcI2343lOuCWrLe78p0w0ly32PD32M5+sDc9V8mV+aHSbjTRXv7+uio
AUkCkMsbdCBi0eEeZnA07dlwFi8y1i2/hm4rX/zmCLBLTXT8gJV9TvSrf/MnxzybVlDdht/gwV4m
cMNSxAXg4UlhP07wi9/cpdDRPAwPLlkxMEp7wyEAs2/YEkLDVJqAI5cfdfTrh61Hu1Vb7c1y9vlt
rjZkAcNmfSvuQ7lbobYyW95wd7c+kAZmvRi/GYf6Ucr91ev816H1TkeogSma5lqjm7aO4WM0UHID
ET0p3zNxVNr9WXummdKtBnV0p2LZNKzUU+HVVtaLu2wWKFb+bxvDrOVjiihIKyLfvKOZs33i4fvW
GPKdsx3SCLpvrcue05b5flG2eyvC9khnBykg3RPrzdZMNbZznLvAQOQ4uGemPgrstCvPtje/FavO
0TRyiOdtFcS1r9/9wf5btN3batQPxX73sECWHDB995MOGv+YXz3L9RI66+TZQiSPq98g4BypTTSU
2ksXXnZEV+K1QKdttV7q3lOlxCCq5PCaH+YMWFsaAB4+/F60l9AERQVrJQTvzfJmwFZGeTXLbLFF
k457BRvQUT0HhmVHll38HJd5AcagVWOrujxFnQsPzms7LmEXbXagU9s2OEAG2INtncFx3RVcFP3Y
dwKp51SXQkag0z/MrqOoynfbeJ3uhNsku1NXQ87Wys2z1Q0LUEUfnVSHucXyiuH+JiPO5/K6bWTs
nH2FPGHEhXVmG+jPfme/zJaPFBmFAR9mcMsRsqM0LYzHReZl1hYBEnYIyqgs6//EPI+AEPanocqz
A6Z8zQPxX1WieRmt/Y8S80/XHEneaEFlbOQ9KXOKRzVbx60t2vW18tv3vPe+F6p0or5fkZAK/+KI
4ukwdq4AYkmfZj11aa1JtClNvgaXloLI20In3e+jV6FwIHoVgsmJYec6yNmIUCT8yxsadBbUigka
z4NBgeKEWaGu3eryKa/I68A/jVJptccYypxpCpkYqogyiCw9vXZO8VZu+ZNhuF9yKV+PmmyJtcof
xUC1csPZzW+IEPTuI3LxOzwGs+s/M8o/DY6BLL/+ftTjD86kETxpomsx1+qRJL2G0X37tjSoP0Wd
67OwGVZYt/UzT+SPaqlSalHelTxQkHjv9uQ+hQfnBi8oalAqwqe9u8yFd0G18SY6/xEpCT+OAnFd
aphcoVWV1Lr6gTTtjLrRTsTmdkkv16dKjVABTApZGJrgpeV2Oezj3oiqkbrVE7sNMKowBsZtvsUU
5pg9O5jSyda/R51XqCS0/OI9VafKW/6hA8+2Lfjc74n8oSmfDcfdMuQuVSTY4KLWdj54ED4CWkrO
janfLLip3Jfwx8qjGPx4R3Gcp7AXibdY6JKtgKg2GIYtdD8ns7vlMzLooedHzK1GZrjCeOb97u+d
x4vHujj4RQvuxfzZWQg+37a5ikMh37bCvBaWd5IEp3vC+BAzwn2vzzykCA74V+wf7c/BkCmtoSkr
MgdbjUNn7v0PuaPvbwIu7ByZDsJ9/m0Mnlt8ashqNHNFM7x4+PdyXAn7bGbmYn7ysWxxZbnfQ12c
ZKjO+LKgTZ0L+kfOAXP/3ls5WtN1mOOVwhlm9fw2LSEaxaM/9ZB4V4hlxg6FDJgsfkR+Y/MBGQkU
q1/VVH4dXr3HKxYdXvzmn7mgO6AsARhybD5ha5/9HWOIaQM8FqPCg9PIK6/5n8laT9rS9wsdiTKX
HAYgr0g6F5ljgxQ1rYQHBT6yPw8D6WNKWAQK7Ph8embbZrenGEkB6QW9BuBeWuNWVQN3Z82X5QTP
SPJn8DHvv2lF3kYi5XozjV4/55sL/SIXlfqOMi4yEKAJbWiiFVnmrGtnDpw2CH+hkLHOZT6juBrR
6BM/dF03PmMV+kN6hOI/Y6zAf/Olv4Y7PGUNintpB6AXa7ePTJUmzN0w/vWsdnOiNmzyZ+Moed8L
4AtlN+iiGdtmXvnFNZ7VBJJmVXq+4a74trUVvGwI5Yfs67NqRf81wWddhN101ym3vkhYYkI4cpEE
dKCyoo2a4AAm4oVCkQDgG1xBj+aYAZ7/V9l1phj45uG4HQPLxoj4SPj7q62Hv3boJI7BA2YeE3ms
UrzvhpUFyJtO+6asK/iK+dgdu3s9LCbSbgUzEsS2pQCFdtzl+5Ja6H3FoO7Bdm+j31/Gdn9tOihC
lTPX2RoXW2ksT61lX+lcxSq/9n/JAWMRLIr3ZXJ+CQPUryY8L1p8vWei5jQxjfmHtKo8EXDhsZxG
gTKnrGIvwOIpXfWTFiEw3RKIVeWhfSJuADZdv4O+1/FOx24EC8QYp6GkB3RvGQhDsshji9u6qUnF
gF3CVlEg3C2Ga9jZF2ilHXcFYUDBIbzTDP+UGdgbytx6Vm75yzoC2E3/YFwzJwOIBIldOEjrnxy2
O8KN8bUINyqRq2JKC41bdtT/4+w8ehtXui36hx6BYiqSUyUr2JZT225PiE5mZjGnX/+WetQfr2UB
nt0AUGaodM7ea7tU0FoKyAEtyaUldFSfeard9xH/0NZXSd7ejekg73p8PYsstMTyZMZfdcjxrzxs
Bk/KIqhJiFiuFfbwhW1o1wEmr5EdjSZ7YzUOGNdkaZOxXfoAP+St6iKLisB0o8zhXlDi3cukfnWh
72tOuAtHeMQaxWmEyYOfrmUQH+CjBytBv4pJTEON4Mon5sqH1LMeQqHsPe8kBxtl/mkN+3UsynhF
Jf046OZzRl1kQ+flPQ8mNrEZ4xrpfaTUIweru8TVryHaVAvFlLhQY7sJKhBwkrr4woibjpdTfccZ
xzsokE65ib4UOmfISUx3caIoRhTRNUeKm6YS46q2jB2CnXen7yFTqj80UJHkdyxnZVQ9hl5TLDLF
Plnvoy1yP/jnmX0QbfebKvrJFhRY1FmCB0ejQ+8Uw7eg41ZjdTVK60bafLGJpI6g3UzS/e7UdJ91
16ZkU2v05lGkBpq4jsVwn2dsd4Whrsd22GtJl9N8puauOx6p8GyPco3eS+/HFLAbAfvW+a1H7ff8
9AYNn0YUxmRjtO6jFKlZbzRbnUGyrCbt0VDi2Dj6E8KTp8EbabzrI9rTZn+SRy50VR6mybgep3FZ
BdEeVMl1PuQ65idn21LrweJ+o8uTxj/d66G5H5l8AQchCWj7gyg7qmZ5hjKN0pFVkMFhlNFj3Ey/
sUc+1ZbCx5UPt60vf9XS+0a8Mft8T90GUqil4xPAnQYUTpyTe+a2coxkNZ7WrcxxgmVi0iw3cvpO
bkuI80Tq16Lpc7T3wHnthxJJxKYbrH6rxY6+yE1ZP5O7WhyLIMbkhaoK2Rv0czGScqdsO1uDcOZs
W6NRb1ADPtPSqK+ljPUjmbP5u1aplroS22nMyqefHgo9vU4nJ7kzWP1/adlUPug9my17yLTfddd2
m6DoaedlfGCWyuVa63x6o01OUbhOwpvWxNUstBwjtcTPvutKu93VqLg3TgSBnl67o22mDhyMNKss
X1OOzkNcv4v6dlAnozH7FQrO0cNEd+2kzg42XVmYSyyBw20tHNqzsYVjaxJVgzk+GW1+YnzXx4i9
jKVnBxUX+v7/TDMDHMUbOrCTpZ407BEU3Qd2uYPr//w5KeEMvkLOMH2Jk5Sp4wJTGjNPIsCyw6uB
4KwLrI9zVz+Bsv7B2UVTXOVxO3F13IVB3r7GPfbnz//yM3SP/+Rx5QHGVkGKg2FP/UHGlbuvOXEs
xhhvPmG+40K2SlzI5zjDrLBPN/jPjWBiFfF4CjSzxEkq7C7pVGPvii4grT5+TtKcXR6oYK07KXdA
hjkhcsYq6fsLlz5DgJJzOvyE6FbveQ0HK+v9nxh3su9MuMG3VGYJdnHlGsUCbYN6BC2K49d11+g1
US/GQn77/E2du7sZIoWkhigug8nbh0UzPiVUC3C+++UFxNXpW/ov6EOaM0pKyjUNw+XZnfK2ig7l
1I3d/2inS8S1j1+9NGdIFMNIq7g2k+kQGLbB0WfaFbgkW6v/8fnTOfP3zwHy1cjBXRFxvp/clNZn
QpyYX250ycm/Q/L+tR85YYv++X7zPpwq6rvjQSK33ckeL1mrpeygzJyGhyvDCy/jzKs2ZtNJVMss
x5Pg7hE8IrKnVbJoOuqqn9/FuavPphNPUvlUtLT2lGkOGfbV3BkuEGPOvOU5N57FikszLg4pS/+q
rNj5cfgOloId4oV3cCbLhPrs/74Eq3XYMY+ju49T3bxyg77ZNbEnrrQ0Iz1Wz92bBubhCuKAuak8
zVwJKCibwe96DEk5XUnTj6sLj/LcVzcDpwWaaro2T6dDBQ2RkpCOMiwdgoX0UE5H2f3nL+zcU52N
fDURMVkKvm2t9Q8u1ZXOyF45GF9gDf6F3n8w9o3Z2FelTWPfVt7eopayzbUxQ07iYOSvLHtEiyvk
ddIO+YOfhnKNRAYgs1Y2NwXCDArdqAxdhx5NQLbCVdi7/i8MEeMy1wvUeUmmhit2v/E1pTuxdVSu
w3fSRkaOYdXVpeyOM5/0HNYdIFmJK98fD5kZ7+FG74OhfvrSw9dnYzGeUrMDDUOA0uBtO7yopg9A
WDe/RJCT+mwwWn4Vao02AFg6CRHdYRjWmSqclVaE9uPnd3Bu7Zqj/DvTBFQiEfCQ0r5uaaaPrYUf
DxFhh1fX1+B5uVG2ilIcuUQ4UCkOYM5e+PHTBP/BxzWHtxsu9Sh1Cm9Ibe2+anHGZ8J/VZa0lnlO
QdCThX8lS6Oi/ppgUceOeYGe9/HWxp7D8/SyiX2VJ/nhBDmpv2l0VInbRjM8cLpXFzYGH49New7D
a6JhwD1bOHssc9UeJ5C+4qigVjGB6BfG58c/QY36fye8yBTSiyfvVEZrXwoK2hsPV9DSkhzGP39J
Z6axOXbdiwrkJIpv3LF+jfW3gsIyBuPIvrCcnbuB2SwZDprlBDXLZuTd+ukusB5AzXztL59NjS3e
EFvWrrPXoT9Z0aMJj6gzb3r/S3hv+XdI/bPiq87BrMHidVA6ulgHnAa6YaxdX3zws10RiT3ghgeb
OhiVWKTEi8bF86YnC3o8X3pAcww6Uiq85fDB9my+l0lxhUN6qbtU3i88oDMz75x/7o++j8uDd4sO
63qMY5onX4uuI5T9f7/7WlmITbuW7XzXPZYnz1yK1f9rj2U27SY6NrCi4MG3KLhIoF84ARqI6Vo6
F5aNM0Nqjj7HiOg6qTkgmmwc+gvporEpQtlPsff8+R2cGVTi9EL++TKDqSqEFktnbzjuXRmalNTd
lW7pX5o8pZiNWRm55qSKYDrECHH69GCmj5M8onmkofzn8zs494hmY1f1uusRieDuzRJ6ym/IYTSL
Akq63z+//rlPc7atiZrTzkzxjvEorvoJhrRlX31+6XN/+nzcIis0KzzAe5hiC1/zFl1gL6jIrnLt
/fNf+Pj12vOICkfPiS11eL2pdN4Ct39WkXOcfMA1n1//44djzzHwuNTYDCCY3SsDYZXh4taKaY58
7eKzkZtRnJn0wnT21GPwrxVRiuSJJtjXrn56Kf98+bUWG7RYDHdfCdpsaGJ7+2uAeXsOf89pyVYm
PtS9ZdDh1L4rge7Hv26TC0v5x9+NPce/jxbWlLbj6KXFb/Ygac+8+sUxCS4B4M+91dmoDW2/jYOQ
KTMKxqPn1Fu3bS6803Mf5Gy09qLvvYzlac8WdU9NEd9p8cfpwt9fe6mzwRo3XtxmQe7uS9xXo+2t
nKG+MJWdeyizwQpHrda7KuJ7UYih5NC767oY2gsD6XT2/+/+1p6T2husz7nTOv0hSY3pu+xUdE8O
rVhpFFNeTyXNHxTYur00JvTBnz+rM1/RHN2utwkmV9GTA1fcTikhPyAFjPCAffdCRsS5e5qNX7ss
G8MiL/SQeS/JNBwlDuMJ7qCDAe/UyMnqS4mIZ86e9hzefpooTl02dy+0Ylh17TAsoxguYOj3eG1P
pldLyJQAcS247/IwP0Cfja6Dkp5R38VgBTQ9fR0CdEZQOtplJ6Z2PaaWh8dU5tdVH3nrlOThq04A
GBvGkE57Dgrq8xdx5suaY+F1P3KtIOqcvefZ4hhjIENH6Q+bz69+7jWffvWfec6MwjoxrDg/YAvP
Ujo9xkvh6gurfPz8+mdGtDubLPooYo8yUPpF/zfQJbM3XaTDgcgvFZrO/cBsyjCIfmsRlI2HwfkV
oWThEDiGFzMKT8P3o4E3mzFqbciI0dTHQ50m99oIxqy9d1ygutAE4wANwwaXjHsxhezcu57NIgCw
qxjSQn4IE9XTpaWz5iAIuQCpPnP1OficDmCp11it9gNS2E0pA3c7mm194erG31DmDx7WnHVe+tlo
627VHQzyR1a2GQHNhR44wgAbtD9VLTX4kdQdVxkSAmh52ikOcdKrXUrP9M2zpvAAHH0aJuMqs9O3
CcrDTe1o5hWZ5XjZThHrhyhHSgCkUDjDyadEKzUyCyKnZVonBRoFU91iCBqulS+Cq94o3O8e6jBY
CknylEggCdJDLxyRDrGJibNfI/l0j1KWuo8ZM0Klx46Xv8X2s6VKg+HJ17Tip24a3wHsNs8oxsx8
WWHPR1vW9dN7CRTwGliFuAW+2y0tF1/l2Ir0urWAVda0exe1MSQwcglChjerfweCW+DNIzfcb7V4
K6F/bCGr/9IzcDVOk2CBMSaEHsL4DebjpF2pFRZtlezaXHtrHZARnXKGDfQV/XEytBe/K601YIT8
XeU+U2elKSi63nAEv8i/Z+OUHfxRQedseYg4Iwbsi6P2A+tzTM8+wWWGaniVeTRAJ7p0awN77ioT
mEPbRrjLdAr7RzqNb6lsvd1oOPWNFfYGBm+ZrbS8zXfVFJHpMaKFdDiSYHuTILWK7Hdop8EKr2uD
kR3pjh5Mybo2m79NYrZsvbIyAFpGvk9RHijakLXEIdvV6GSzafSO4aioe2PHEhCeYhR/sYnGrbdA
qSPLgO6U/rAS2axMu7a6RdoDxUPOHiPQLKxqG6pyfIkDy8FAZ9o7CVKD7qlRbrQG4fhCIXLYTML2
HiwLy/DCDa36mGg0+ayq9I9dCsOxr0jKBpiX3aIzfG2cftyRxJQ/4+PUN6pP6oeSLucVGpO+wIKW
Dj8TKOy4dQoXAIOFHNYwzGRN4Nj0BtXgHQiLurOrAP9lBLJxEQGOWEvH7ta4tlyOhhUmmNGfNpYl
TlI4G9rhqA3OXYAo7FYUXfFY5jbBtTYxHTyJ0P6Jn2jAt5n4GZn3dvc9iyBEqtgBg6Nqfavi6jVF
q75vCuXfWb1u5FeTGfbHERDCKihOD3xo+Eq6tL7uYz3aaAHqWFf4tARapPSQ2tJlh0ijoRE6VgmY
7ri5C90s/Q7ctN8ldm9gr22NeolbGoe/ioA4x/UPaZegLrHrxxn+oLwhrdLvSbSOEku/SqERuAAP
SD9XRg2xoGjx1ay82NOfGr6fHCAnIvAIJTv5dr2R9itwqQ8xRWQQrVm1ahmgq8J5hE2iXXmVH6vF
CPwZvpWCX5eq4jn2o6esEOQrNXFQJNA7awcJSxZT0woQDIeVc8ck+4JcZMJnE9bBccoKe9URYc3L
nKRACUaghX1teWW4qms4SysrCXD5fL4y6mfWlnnmAQE/beNDxTh4AelPZTSKK/Z0SG6pZO1aFLlL
z4qGqy4M/K3fGMV91oEH/vzHz6ya9mzzBedzShPToqISv7EJprGNagdl6udXP7OpsE///Z9NReNb
qLnC0NkXeJ9vsGkjYjsJ0vKM4eYDil19/jtn7mJe/9CmU72/tvJDnfkLMOG4J+G/5K9fuvo8W6Nh
9bUUBY996aAvVkF9m5rGN9ov9oUt9pk/fx6v0VUTFlIbPxXpXxuZBKtSYHZv06vP//4zG2xntjPK
QtMOp7HEs6X6vVCj2jZNgmYYJKAhTWhUmCaE5lhf/LnZVmkK87bL44o2lSYpgwzua6yBDLNktDcS
54Anb5uI9sL3e24rM9soRXahu6T+MKJzm6Evpx0A+/vPn9uZa89DL1SeyXyKY1qXcG02uodrqzWo
aH7t6qe39c/YAC3Wse4ZI/KmZkvmOeax6msP5T8CkVGfzHwcqDcmwPh1zHFQxhEEfv6Hn6aGD3Z3
cjao+9rpa5nShsygdSo8mibqeL/FFkeQsMmS//nP6OdOa3O1CPoNWYuY2SMbQeTFel6v2LSNKzNr
TGDDowXUow3WUwkKaalJXObuiIgwblt7S5MckowTmq8xoiAC2PGRd3oCDBzF/7oUebi0saButYwo
m7jCwKxFtr8OGuRqgCCi6cia3C2sPj+lBxDgaVVFxJHOqnbI3OFEO1F+XUtZY7v0/KfJd7tjNpbl
ViDBfWrxvD+MRk0ea+yCoPAQ7WWF8iD6U/YSThktZQcfLKw1APBa9NN3jAZJZx7vWFX5jisPrBBZ
K+uGCvch5di3GasaQovSpnVi1Pme/UxCksWgLSO4g891npOYkpbDRmF9unKy1t/pdCl30neSnRZk
XLXKneQ2DlG9tqkX/GwmN/YWBWKTP02iJzsL3SPOMP78xnRcGOS+CjeRsogqcrIB2saUPgt8PJus
bQX4FU68LQkA7DET8YQNPVg5YWbfh7VRPwQ4PdZJV3gw96r8pZXeu6YjqTZOzhoNEz2tN4jLuJ7g
0p3cyo3XC3gyubm0RZDtRreQL9HoVD9KX4TPjtuxIMcBm5RRHMP0VD+Ex7RJ7RZTex3/AXyjb9Ow
z7a55Q27PKshE5tufpcY0QgcqxlXVW3qazEY4yMcLN63PqJljtglAi+nmfb5R3tmypjXyZsp0duJ
FjpYCL7WMLTd5WD3/ZfaH/a8TB5RVaB32TNl6Md8usmmX5//1WfWHzFbIPCwVCh8zPxgmU+u/0CR
cHAudGTPTBZithjAkM78Mk3lnirSG5l/KXZPklM4ryEvjP4kkXZhVvr4Hoz5ZOGgWSM6XqNzXnHE
CDPr2Z6KpxCq/4VFWhd/U8b/O/MZ8vTW/5myc0th/bEzcWiVbq7jqGzuxWh6Pp2K0PmuHBe0KRvk
bNqgRxg2IQqKdOmEEmW7qbBhL8wGQXFMiDxE+Dznf0pVYP4r820MK5jg2OpxKqnUIn/WDrCKYW6n
TXKQIUbkxkEO2xOLQnoEVKo2Ce96z7eXjovuMyKatE0ruS6wSl4XoEBwC+SUn5r6ieP3Q1NqwJer
cOOXxZ3ttr+9yjZWZQtFtWFHBpkOrTpQT/209Xg1gDUshLDTVcn0B1kORg6dSKSYsNqsiWPXAKu3
DJ/iUH8WyagtQsvsFmGt75IQlKhpy9+AnJCjJ9ENngB9N7XAXjPMgQul4dVvW3XoI/xgXhqtI41C
QZ64W6tz1JXU04cYetyya6adXzCOS7/7lecT8vtufNBLtPlYTfBbj0OH/bF3dxYwBHiGXc1JaPRX
chrMVW+VAak0YYks17qaqupOtc7vtoAXnljBrzb23vsJy5jZZm8V4KWryIERkepwWHXovouqVx20
0gYfnJVkS6Nox7VNUshSm5DmWs2ByHaJOz6wtmVuHvIiuEupBm6mcVLIXjl7mmNiLwj1wP+TqF/I
y1/bpILKzSZsHaX8U967N2ZC5o6Tj+TKetZNFsUHIbsbH3zFguP2gKM61FaqY8mChu9zz2BDVZtq
q7Kh6mhmRFKlNXAKb1CPiR9vWgtrmZcj0S01XgQdTShizjDgIi9skncxVhHpkmz0DpYJdYDX2i5+
61P/kpnkIoGKbIr41meF0GHN0EUsd3EZPRCbgklFdO9BBSAODQ6fbywfRdf89LrxugUNuIhd9220
mnu2YUdjoHIVY7wF9iM4AJ/wyA2hp62mYWU1gWlG/QNAJ2J62j1RJDuZhA8UWLtlb2FKGtWj13ev
wATUMsiCcY3+Xy6LKHtGBAe/qy1WY9DiTZY/qyi+B0K2hfaHndEGzVYWqJ7h7bxi2z4VEQKxi6h1
wAXTY6gbo7Fx0nAnJu9bGtTVyosIFgrN+thy53QDEXTbE0L30A6OhuZdixr0ZgxDTkz6VYH+cqE3
BATohA21UXUoNdCbQ8fzdlztMatHsReR0S5YyChOGZNHDHtXANHjbNzE2oaqVbxL0qi7IrxT4SJE
mU79BRKdIYotwXdIIc3cW6KNV2sc6MkqCDg1Q7FjNYl9ZyOtIAathBgj9pqfrFy/+gp/gqHSfK0a
Atkj7/uogIC5dIJ96jtACuzfQ2orSFTd3iiTl9AZ70kB2Ac1kLooy44Gf8radmqP/ta4i5JoG6vp
ASTEteX234lN0BeZ61/XtayWRhcfOanfYDffdaNrcBJu2w0CObHBV+Uu2oY8Bo3KOkaVGC3McAdj
AyQ/uq4rFdbPfsRqmAws22nbg7bnUWcAJIA39rASSrFAxX60O3M36eyyCmxF1PiwSLlhAF/DQS0E
x4O9W0pYtVMNxwof7WIkmwXfJfhUA+xKaro3Lk5DtlgnK2Qpui07+Wc+xfpqQjsjVO6tak8XG9+n
XFNHoDTGWAtQl1nGfnAt8mHSFBDTpG61yY5fk7EiR23wn3KLVwuNf1NZurbuwJivXRBGiUKYD0j6
0Lmutsrsun+Sib6DyXLXyPrR1TBlCbz2jtVgnG+DF38w8iX39m3U3QePKh+HSgWWKJiOqaEDILDt
m8yUb3pmPOpp/nvQwmv2bmzjaovcCWafSMifBR6YNXMdn1zvtjs79l+FI0gFoBC4NYoOXHNgGlA+
Qpdwhxa/EvHGG6uHDFJX9a0RFvnKCtVPipNg9ZvkMSF3CiI3QmLYFO8lxtkFX9tjnLZqUyWot4zM
eDYzUkxSy8d873yfOsDKqMoWcVUdnbonP60a3gFtIfLyoj8YkZxNNmLhVbiYj/GJCB/3oDjw8lDq
qbyj4ZLk0miIwwZqgnkUaSvLze3VpGXs3mHi+bK+NqvR29s1GGh4sTCqnWHnR+F1rKvnyVNHEaDv
TuT4J6mHP5rV/ZyG+tHG8gY5Jd43bvxziDQw9iGlrN5318YUjJR9zDutT390SfZWSNyyGtaHRvRX
eY3XPDZ+d1NzS+n4pSHIVQ/B7BawRkzR0uuZzGapK13je6SgTCzWogWaucJH/TzENsFS4DXsiFIi
8v9T6PzkQdxSr6HLXGHXTDNjY9x6LF/rqs4jgB4sq1087E0dBAUsiG6ZR62F/w0LPtvkJxlY90oJ
0CAR4AghLIm/mDCgZGQ1s6f4gdL0t9KQ2EWNAKm7ieKUUY/dLTqE4/QclVCte2l8SwZrD9ngvted
xyGQ7LpVZmNzzEPii0S99JqAKllXUWcuNQxa+oANHiVfMWj6EmNvTqNsOppD+QAWotvwvXhXWgTt
wXTT3xB50yVIOoOmHU0dh3S8Hfh+DHs4T9Hksl5FzB6Q6RMwWJWrHcKetTJShH4FtmLnwXa9HCgU
JnBzFr2XH/CqsWBm4S7iMlWf3Tu+7W3qEugOVqEMUjVGwiGXv1iUX0w9u3MijWjCgdU3jDzqyMML
BpRvYUtUHJ4wf+V0xv2kVfisp+RO74tfowAoo0gxBT3ajMuW3urBDk1SHEg3XzicAe8ycOrbjh0E
5X5T3CVV7C8zVxV7o4ffSV7SDfOXWPR1dGsE/UOUlN8sFG5Q5IdiAbHY2rsMzVWA62QFngMCR5iN
sMzls++6PXvhVBcHQU77XQXBaEdq3ngX9dCPHVz+wyJtcTV5fv2QCbDqiQjpwOZW+yvJtW1eY/gN
Y2WwUymIH4Y4+Sd3LC9eNFpsbSojapdqgt5ghBQx+7CrbrS6Hl+o0JRkjyX6seg1ispd4L1IXXvu
tH66kz7ZFcSMGVBlIIPtzHBk9ZTAFxy1xQdDUtyQeJt4MAx8mqrfnMjT1GYFGTMewkofH+JG1dAQ
Q44+j62edWwjJeR/qpgnzek93aF4CVvyeVCZIoFlGOGgwV4YtUjfho0NLN9xW9i61qn/qCKyxarH
oWisGz239W3fuX9iFzpL1U4/qggGUuORftmUAB/MRm9BczXf0MzHfEiFvwEfHa2tUsCOr1uaR1oP
snVyJ0oWIl/m7J43ZIHYm7zUqURHVbNXaJJvNEhKK1+d0HzB5K9Gxz6ll40seJ1k4BZIcWpNi1bw
zCtUzEp/K8reu5ZGJ5aWRh6GYwbpdS57KAg1uXhWSGE/tXX71hkwUSMiDlel4aY/stQ7RXVUbfGi
lzZ1MstxFmXRee95w36msuTIkNbfUzPHvJ/4xcHzgT402N2XDWoXcDW4qHTH8jckekAV7EEM+076
J+xLYxlgMt/HrvxpJT2m1jBDaWK19e84SrSj2VRXrdm9qszcplW6H9Ro2gufD09RbqjqtZ+W8dXg
ZyzSml6wbR0gHYDe2cYAH1eeGuhmWDknbeXAq57MZSSLlIiMVINXbpsrhTvsxouJh3NB/fA/mNZQ
l/aLxAgdkL2AdXxLK9ddVsFeKkfmZWFXa0PJeDPV9avtRfAiwIKRfcVuNoWE77EV35A5E5GW2v9w
Wq1cBdNwV3HawYjb3FklY4ApapcMCL79GkJFG0BesbOM+ohqV/haHhPBcQbWLow+QFvXpl2C3fKq
Bxk56iYYQChNhv3Lik1vTTzIsMrdIFwTH87kWvQ0hnztVWQVJFj+YtD3TzowrIUTZ5z5prIFzZSQ
whC4w8oWHue1zv+jQjpBEojKUqZYAuuR/XZLR28tfH4bQex3qOgKf3bwnoEL2XAr4KHsFBN+ra2b
htJHUuLrJNNAv8d9hj2WKE0aqAA5nA6c45K4wHw1gt3DDm6csrk5D7nGEN97/glcnoySr5bgwHGK
EZZqbnmsJCFZLhPpzeAX6AVPlEWlzGbdTKW9tVyT/BzDqu6YsMFf1D2GcqYqT2LTigOCIOrY7yBU
xsmadGBBiJQhNrg3r0XQJmtbaeYm6ob33LRsDpNhs67k3xyM6oU9S3UlvSDbqLHwbh2UFgvXttpF
1GS/i1yl2wlX4IIiEjfTNY9D2bsFGBIaUqFnvVGqHo6drXO8nTgL2NzgS9uljyWRAwTEDcSq6TmT
SEaglfROqRhpDyuGTi6hL8AeiwCWbUifA7k9L5RUGESrUPO8HOxiDvdS72rjLgxYmBD73tkGs7LD
QdUYcO63ZsJmP2qeS8+/7yf/0TwJSKDtPDmO/UNmnPfg5iEPzoV6yCfjBC3DVEyGFDyPovsJtFot
hwKclsnqu0Ay4Cz5iCUMP+LBYlMT+yIh2ylJYhbtVnsv2/LtVL+/ahyO530obuoGi0mVV++DaG+g
u/7McQlAm1Pk6mHM/O14DoBonjjtuCS7LQwC/FQW814rsppG9v+E/Qo8v3bQrW1hWVTkaPJ2FqXP
vGIH4ZBQs+lIFDvmGJIXwWi8tVVRrsheVPj4TcT0Ijh9RPGzqN2yoH95wriJ0P7RBmm0jYw03tQV
0YtJw9FVmyB/19IkGIre67ZKp4HvUX+m+eC+VEkfP1p02bZSAoPxXBf1D7vRKy1gI5pKK7zJhqFk
a88SprNmbQpT1N9yuKMO/MgkW8DaTjd+keHoFY5/oyinvJkCZCdbGQ+sRaV8wpLC4acFOPubnXr9
0iHlmfSIIISdNKjhtQIptzF4jI86hVSYD129gdcUoVyOo+tEVPKh1CL3UFfVeCX8yX6gWB9ep1A5
tnTki/eKaOJp2QAOXtqTl+2JUYqWeexaK71ueC05DD639oqr0mjd9ZQw8YYZ9YsuyAqq9FEHwjWU
9M6VY27DFtSGTgDYPg7rHLknigZwS40LWoWtxKQvR6+3vtTkMOSs9jeB6CFmFi1IT6luKye/5nSD
zfrzyuKZ3qYhZ/U/fwAOKIaGE0vfvgSOhJfnYPtX0U8oXcsybp70JD/qDVQLNrYXio7naoHm/9bp
Op/YFbRzxl5IkezGogD0AYxuSUxMfcFJ83Gh15CzvlNbEnBDRAr99MTZNFF0l2fZ4+fP7Mxfb5+i
5f+pMrp2aul+iRgXsuaP0fFes6I41cvt8MJLMU7v9oM6pj1rPYFy8hFL1Rx2u+x+ipz4NWuxhRPw
QMCYnhVwJaBLLDq9iLYkroz7vBtBXMIbP6WgRmvTHoerpuRgyXSYmgdrShUFrwDNB+sfYR2D5wLr
LxXTgcZxWod68/mzOfPY/9OuFrBloVQ0h7zKvwknIFKKEt3Xrj3ra6mJiG4L8tGBE+vKcElGHsWF
XtbpEh898NOr/ueVJrGFBR8b6oGK69KNKshEtXEsHSKJpvCSg+HjUrthz6rTI90fTQ6pse/ITuun
VZQfnRhDKiApCn1fe0azkYXPPbUUBQHaYdpbpBu/Gtu9MKI+7lIb9ulj/ecZtQFn6MGtjH0pbsrs
LuT4COO+4Q5Q8cANHS68i3PDazYjJbowaj8i4CWvKJxbY/CKcvBQe8Sgff6Mzr3s2dSg+w3BQ6mc
DrbBLrSkOmcm1iMT4UoboVF86Ues2SQxxmbkg4ZpDpo2QEnTrhOrfaTa/EaH7cfnP3Hme7Jms0QS
F1lpFig2p7g0KPZp+U6owH+RdaQ2NajFNSpa48Kkd2ZgW6c/4p+3H08FkB6sbYcQ7qfFoXn0td+f
38fpkXww+KzZuDbE5KeEMLp721PWpi8I742muqVYEnKm6MajExSbiD3lAjJxekEEeeYr+yuN/Od+
KkuEIBqkTupjAkTWynYkDd1iTvv++U2du/5ssNsTR5WginleVX7VT2G3lLnxq2zqt69dfzbQybam
oZtKXLquBgSgauMHp3Dzk86vv/vaT8wGfG011lifxFjsCOKdRljZxii1lmJSX2w//4kzZlQ6Tf/7
WSlsuhxokL1VudgOFBomAewQMH4K3sfz6uVIkoNfiRvdHhJK7+2FSebc5zybA9y40XtviMi958Cy
i9yw5Ngv4vvPb+vMDGPOBr8ItZSNY1MdoEWtOeAcfJhNuVhLypyf/8JfR/AHg8acDf5qALltdIPY
E12Sb+00k8guhnITdJW1loMV3yobzD8VTqoptZXuDD9Lr1RHtrwYtGJlpVoMpjjPbnKziZ5rQBlP
n/9p525+9krHEzOsB6Z2QBXJ7ivfOQGaNcpuu960L0wZZ0bXnB+RRaHrk1Al9lE63QjVrWAXHX3N
ufBZnrv8bLIDbG1Z0J7UYbSKh1b23/us2Gph/8XPYzbhjXYCj9qODDo8WbSZ+u4p7Go6D071ribt
1+ev4cwXbp7u7Z8JrqehYEvRGXvdIHxGBpRK6jCOLliXzszZc7iKa6RT7AeKaoNyxWPt1zmQcsih
pJnYer+rhDs+5m5VT8ty6CHn1uTGfG3oztkrgfp/zs5kSU5cC8NPRIRAgMQ2x0qyXGN73BDt2zaT
GCRACJ7+/ulVtTpJInKbZQvQcCSd4f9EEUE9jcR6QNY0b9VP3PRXzjgLWyq1TB58aJ4Gnpbg4E3O
BVJ3wWiBVPgBt2Ykrq8M/0Lf2eIkAYcYloQMSQxVb3jz0uopj+pPaYHgtN8/VJ3zKi+l+IE37W9P
hYWv8ixbEQW8a7mGVnHugdkCrgHaRqTLCcipUQj0wBW1loSxMOtsrRLctTVqCCDHgRxs3P79Y8S8
w+2vWGraWjUq1QMDtJzHUCcEh7wBfM1hul9pfWHJ21olHpRXm7lFrRw27g0IvZu2/XUpV7z97kut
X77pw2Js68gJohqVfn2inzXvvsEpBV2QOVyZUksjbJ0GymYiqTfjNGOm0GwCGn3PgNqadHLUOIEI
uAfv+w5rfcgozxAElVHsGervIpd3p6pHGXY+ht3KZF0aZmv7gGp+aNrJd+MCTExvSKERzNYu1pcJ
f2XTtKUvQKMX6SCx8toh+t7X3rFpBtRS4HtAM+u3Agn7CdAvK511mZhXnmZrXYAOrQVClxDaKNVn
41dHRJdOHOKUvb+7PRwLffUfoRON9ASENkjMsxlkjvSABK6VLXDp5a0tMG1p1SDaSOLSTXcobzhF
BfyGgHbPAV05Xy494vL7h0URQBnRYZfRyH3oZEgBPp4Kkv4wBwNSPlzirmTlLSw+WzHDTbETEiTs
x14KXKpr9gHoDEUjVybsUvPW2paap3Cr1diPZiTUINXhj6DwNzLPdz7AWtwRlUUQ8BE5i3KILylK
jMAbDS/QfZPIWtMenLcVRC5xE3Kd5jTw4rIXIXh7X+vWcm56FI5OcKfHOEohtqyLN5RjrnTM0vS3
DvHtxLtGTwWJm5F+kYohTuPVa7WoC8NqS2V0yEVGqiiOGd7Itlwj3E/S3UDnlVPMwuS3lTLClKRB
1CGhC9phu0L6h8r5xd3qoSzWyu4X9gRbMCNQWQJVVBiHvBdfc6EvkmTnCMRWRDtPk54/3zXAxFrF
FYJGFEjrC+YxghTn3P5A1kC/YkIXRtiuG9G1nHpEbFFSW4hdCEJJ1Xr3TUw7EzgtQ51L3IewbFE0
VJm4RB7D7S5ZmjrWgpV6akpRQWVlGlh9KIOueHDDuviMRL9m5aD6Z8u6srnYKcETiN4aEAIeI/L/
l85psilVFnxyZUp/RQ4pv84kUs+gSUcoc4zkfiiAsIEQGaiMwjMxmSFcLf1meCGsRHZcaC48aUHC
V9+fEVdDys9Xh5I1b9j1cXQjywpEkakrr0Pyb5UZ+aPn2nsamh4syHs63I0sQ1DB7QXdbMh7cunE
YCN94wXEkvt5Zaq4F1N4rbOt1685NEUhcerGdaXfoGAFvovZT8jIeBgMA3Qp13LbNW1/EFojupxT
7wVZWhyJoblaCZlc70HvT8rzh82ScQZR1G5040B1fxHP2yOoflc1CnhX/96HC7dyqKxycgZGIMzO
ZO2ec30ZuLaoyDDCLJjcTGAsB8Cde/lrMwUoE5308b5ht84oQratw4eMnD1sLVHw4CFMTcKVFXbd
QLuRZde4DKMEYkzFea4BjQU30R2T3Uyhf6x/3X79pSdc+u3DkA5jGflM+sWZo1KkgHtbZSi8Lwcg
w97ve8JlMn14Qo5oN2opEkhDAKVIADFi4ANxBirb2n1vaYwtUzd7AFtlKGeKiz4/qhS1wchj5I6z
sksuNW+dTfyZDqDaXwrhA/9ReCCPIy3vy2yC37c76OqqckM70IZSzoZ0lctOl/rlRD0X2dfbDV99
cTRsTU06pUmWS8IgRonE29k94GB7rJy1GMnSe1uTMyg6t+C6DU7AWjq7CNUaR8jdrrz71XmJd7fm
ZQjXRDaqkZ0C+ibd55zLXZQCfrEmzHvV/4H2rVk5hxB5zgUrY0SUg8dEmYsWB+b+V0IAcEL8vftd
jq6A4jgg2UiRmPjr7UFZ+jBrsppSoWA5wYeVE5TH+/aRZPQVIIZ9ONaH249YGndrwo6hKUXPZnYC
FUDqn/klk2JtNbuX9/zPNoSOs7ahkvt1rbgsY/D5AsB4mwCcDlT7pUceSuh/A2Wm1VbgaoCVHhg2
bBosyRxA8rD8VWZjuXdGWQLcM7T+ygJdmIi2GxrFdCJF+kqBkotGXLDSet+kfG1fv6yWKx9MrVUU
MgASqEGSMGSp2r3whPgLSSAmRrkhSmYIq18zbSBjftfY2aLHU5j1EFYJCtCzpvDZ4FLxG0lM3ZkR
xld28aXpYR1UfBGWCaMTO6EO/+92ApRMqZ9RmK54ZReat4OO4P16UO9tZEyQKX8gKB08ZiDfbT3U
Aa2soaVHcGtL6UcWBjMRcQVezK6Bo3eDy292AOG0vW9O2aFGJ+jYMPImONWoPtinSTgeu7ErVioA
lz7AMp0sBU0dBTVVPCTIjnNDJFA2Qwo5GoYszbsmkh1bdC9xGezn7ISk3Mx5jQazMzJZsTALa8K3
rKfuoaE6uGkVww/nvlMk1+0hMoGMbVmITyGIJQBIjfrz7S9ZWN6+ZTF93mtkiBfshByU4rFNWwgm
N6jout36gj32LWOJiTpkA0XrouZIHn1OcN9wkEiIxX37AUtjbRlMnfgsA0xHxNkYoC6qgUwU0oTB
n5pWRnqpf6z13M8IoEHwtYrDFOiBLBnMI6It48rBfOH17TAiYvsIU8u5jecxOJpxALF+gOSFKfma
yVuYTNRaDHCeFHndUqBZptkFOkMjnR5wEKhpEYkztdtX5KHyQ3m8PR5/ZJKvGfTLl344kILTS+a6
7dmpEsg5Q+5omCN6A+bwGKrwFZVh3Suc/BV8vy3S0CtGiktCundOgR44mSaokUaLemkoAilAMksV
PkKkr9hWIKnc2efW8sqjaazh0hDxVHtgTZnRy07IqOFPHCLXKw7JpV63VpX0UEIw1X4by5T4UHZS
+RGIn+ZnC2meb3C79rCmLVm5xyxNImuRlVk2I9PVE3E6hfmR9R7qOvxkOIapx+4z2HY01q/SWQjM
JZhUD3VeKSEP7aWo6fakWfgAO1wGqmYZ0CmvY06gSpSnIJYVJ7jn7lvCdnBMaeonNcrvYi7AcEx8
4EKgsjav7DYLBsKOh01DUfAKSoaxcSv3pBOpYiqgi3S7a5Zat5YviqUgRlX0uAZIL0fFBuq02tFr
Vk4TS61bi3XqfOawUFcxuOH1fgyZ2hfMqVcmzdKwXp76wRRIEIn8jEBTCsjg7GWCZEHMCs8/yW6e
VvaXpQ+w1hn23FkkntPE41TOT4ZnyaahWfv5ducvrOI/yZsfPoBkReV2FWvizrCnmaa/XTfJdn1Z
oNq6K9l2Qgx8xW4ufYi9j81BA72GukAhYcAOAxThN4aaNYbCUuvWJpZCw3GoJh2ehih6Bhvw3Ej5
cruPFnZ4OwQGaaEgVS2DpXPAKi/GOdj1U4IITNj+jeqqw31Psc6kPiEoTIQm2akcoSVBh59G9l8i
Wr37Su9vP2Khj/5saB8GGyKzaeeRso6hAie2qLuudvOIspX7WrfW8RS0F029pIpbxUGB0oXzEKRR
sfLuS4NwWYEf3j0HlZghpbWJcwnWNyMomYIKnQY+NfI2YK6uXJ8uvX1lb7dl4z0FWNQITkQsSpm8
geOc7DX8FGfAIpzjBPJtj5p3E4FE2Oi/b/fb5QuuPdJa4BKTy6MjgM95nuydVu11UD/Qytvdbv56
kpULUsm/e05D+cdF+VMb06Yzz3PHwbAghW5D0EU9gxLxpHoXmTs8jRJaUyDVNuDVZ+k/DkR32bYj
AZmPRZqL195pxr/z0ffC3Th44ZoNXfCk2Hr0LgHqMCmDOkbVQQpBugrlaAGoeaMIqk+osJVPGpAi
yFOibHIDNOaaMPKSJ+JPNcGHKeXmyDEF/a1BRZqnvwFI4j4GBQrqNikEdNpN74HGh+SjMPa7bnxy
CHDIBMXVh2Dm9St33OmdtfO4ssf+mWFXpoEdqhsQ9BgdftlKWB9KkNpL9jqbBgLoI/CfhOQS2Fxq
9lEzGKCH4QftLlCG1oQSwkOX3Qfskq2G5vDKzrmw4uzg3oDzioaPLo1ROLSp60MIAPLoQ45o5YuX
2r9sSR+63wE6F2IiSRp3joT+YDnN6muIk8vR79z60YUy7niX7QhsJVIULdYcl9kyLgrqHsgMoYaI
sP5ZIGvz1JeAM95eaktfdPn9wxf1NMH3qDaNSXBO1aOnkfmJDJlm/HK7/QVLYQcS21BpXg1NGoO8
vCkzaEYkpxwozNutL+wOdiwxoHCwaQetA739KSPm1Mi1Jb7UtGXiVM9KXYx1GpvyB7IYNnpcY70t
tWwZNwiEpHUXSXS5Y5DdK1AzWr3d7o+l3rbPK+4oRuAs0zhyf4nkNWq+uP6dU986rFTVJCKqMVEg
fSIlsqu/FsABJsGP229+vVP+I7SfK9JOKsRIGuzBkFg5CtSJ3de0dUqhI8qABwNiIiiZu6hAwX6+
pn58vb8Bn/v36qEoKEwdiaaBTNyMQDX5zfes/nnfe1tLE6fNCkVuIo09P+13YV5Az1MM97765ZM+
LPyGc2SfGF/E/ui/YEt5HFN1GnL5+fbLX7cr/5HYz/lYVoyOKbI4ASP1oOugJpQk0jlvtwP2xt3t
xyxsiEFkLVNUCpPe1I5zUiMdYgOSbqwzTzyrpjYH2bkIDVdc7JMwAju1UdmuKBrnRGXWPkwigdRP
UEUr9+WFU0sQWQt7hgRN0qYZOOg0DX9xCLc9Qq4OR49CgeSHKip+Ao8t3wEGc4F2swg5u5Bec/Ia
ulhwpeAmWYL+hE6ahrco6/RJ09Zb2Rr/7Bz/3awDOxWAdhBJh2REFSsOSYdtAhoNtKTaOvgnzCWw
tpXiB0mS9FinAmzAIjLl/yLqQuMgc3P+KXegUVR2BEXeYOk+UMf3H1RL1dcAREEF1S4lztxh4AqJ
Se8Zl+JHKULx2He4nT0J4G+/+mOGAncBDYuyr/khAmP3JJGQuaMUGowM/26foxDxO/jO+t34HFFH
KOixEiIpKoC8vgP/VN7RZz/su5+MXWo/hSLqxOBN2xmINDXYty5iEsoxO2EU+dHqimKbjnTzwoYh
OujmsSmV68Wq5El5dKc/Sl4oUy4Q4wGAxnhHSGA72QaEtAQKHIH40hMBrYha67OmcP/JekrOQ13V
zyBo58ehS1BeP0aFsy3C0X8D6Y4dC69y/prAIQHpTqUnms7Dzk/DCWjiCgoUfj+cSa28/91eAkuW
0zLMIeoSjYvk7Hg04ZFE1UPm0pUZvbCIbahCOwtnaqZCxMQHLDcpP9XR9FUV/pHVd2WdovbUMs4o
uc6xz8JLFgQonpqLOfkxN7Jauacs9A237DOJUGWmawphspS91N78t870yn54aeLKcrKJCXWdVuWY
ZbCfPUrtmeTyWPtThICDgXA5S9ROpXTND3F1n/H4f/T1Kg/KxrmPOcj+Qb1IV//Ixr/umD5o2jKg
LnQ4VMOpPncM9WzP3LmzXcsYsrRGrEej3eoiZ179BmX+9gsv9YV1xoEKC2Q+qKfP81TsofywR2X/
3vGc/X3NW8uJ6tTtyhTNK6o2yvusy1Myepu7GrcrmHGU5yBlovEhea+nR6ioj8WKu3lBFJbbKRVg
R6Wt6ID/xsUcOiyCuS85hGBevMzNvoSt7/8oYeT2Y5RVL2Jy2JZkrX4iSDt9UH405xskckKXr82c
LbIv6yPCXP27clsFgHXiPyS4aj9xHIlPKptgzyBz02/y5E69bW4nbswcoHHIYumzjEAEkMh9Ds+h
Pxzu63jrLNW7FMQ+k+lzVLwF07wNoweGq87txi+26j+mAPXPl5n64Sg1IS4bKmj/n0WXyk05CIge
tY2zYfC/5aLuNh5Nxo00enf7eQsrILCWbEV9pVAsA5J2CpkkyN09Qcodoj65XImTLH2QtXZdrR2o
AtQocIWy3SuPQnNUnXEzJCmz/gdY9PNLay6UiZa3/Nd9H2Uta5Rl8XQq2iQWBKcJH5wVXBizcM1J
dnUrwxhZy1p1rhuNkQT8sI1IhvyMXOwZapzjMCymIzJFxcpMW3iQnQpgpKwzOO/BQJ0UoGRuhIqW
niA4nBTfOs1WPOwLI2SXIAedwPLzp/k8DW7yKe8j/pj2XH7LTVo0W4C3q32Y6azeJqYL1y5SS59m
7aZRZjpJlS/OOMcEB+jtzHvRCfHqgD1/wEVFroQCr26tHrfrkpFYrmjut9O5dPtj5EDCpapTB7zH
5GfIYaiaxLlP2gDab/9eusOcVk7XC6DQQRF/0aiG3pkoH1fmwsJCtVMGkJg9OtJMmHQo390FA/e2
SiXh98Lt3Xu/wDIGFDeqPmDorNT0fuy6WXucm4kd71qVdqYAttpCOpMazlUy9tCkSspx2w1O8mn2
q+n99jOu3+Ew3tbSv9QputxwB3Lm3Rk6bAc9Q8mSQKIxF+0OasJwCkDU0tNHitXkZiG2oJcO1Jnb
z796SMTjLdNgmiSrRxREx5UPacIhzz2In/n7243/2b+ubA52LoGhYORVKjdnd5xpvtFQ49xK4bKd
EIZ+C4TLd/0MiIXIlbd3gxFagbyf6APUE9O9pCOB0tMXVCuCLQYdqEvUdCt+FxNALm4CMk07SYgz
BTzP9h5y1LZaV+wgUmGOXhSSN2h7Q5EXHOG9QVQgMfppTOf6mPWi/1kmwwz4jYaLWDnQ0yqRtw1d
pWHY1kjw/Zbmvvt9gA74a4ot7zEsHf+kirH8auDzfsyCuQQrFSH7I6iFHeRPhg5avFKRx7AzEdtg
6xheK0jMn7SbglfZhuAN9xAeOvQFd57nBspaK328YC/sXLjBLYEiMVKgTic5iwGC+4IMD6CkgQID
ZTJEqYKVnX5hqth5cU6iGum5WGzhEIDxItvwmKE64vftubLU+sXufjhHdEnYTAMNndgNh3zD3BDa
++5wXykkt+uSo7SbVSsCaBZUnxV7V2Sfj//c9+KXD/rw4mDG0ATeBXOeeaCPhQrqU+aG6s7WLQvX
OpRWY5qn5wHyM0yyLcTFVs7jSz1uHXQ8Tk3KBHHiyOH7kIZn/LIyKZeatoyagnZs6+dZem51v2+D
cSeSu6IceCPLYCmINBpTMP9sEvLd9NULclridATmI7gzQ8njdvaHM8996dAE+lR9AQoWoBEGIrUK
ol0byprXOW1Wdvs/KRlXLKSdCDJ2EpVqNFXnsOvHfTM0PgxhxqFdWzAviVG8o74waqLfokmmHz5k
yfalo9lbZqAFqrJuOCBtZN5LGUEEmY0lID1OLuVvaerpmaiS/ko8n0JVX0LROhrL/rlKcp9A6zdv
UUdfQXkymyKsM1oyrbfwGCTkvvn15672YWG4gSbTDNmOM46beh8iDrKrcl/sbi+7heOFnQjB9KUw
xYxRrNlDm7yW5n0Ovt5uemH22ukzc6bI3Nbofd9DoW5e6afAydactkvvbdk5LhKZ8wj6jKYKkx0U
2iFID0XifW2mcuUGs/T+l0d/6PiwyV3NBlWeK8pjRIqfKvgiVwZ16fUvz/zQthKN0hLu0LhOJ2R6
Nz1UuKOgqN+Yn0E6+PYALOxpnmU+QJ3rE6erUMPTpBA3JxxKfnlavDeimuOqHcsHDrjsw+2HLX2R
ZVDCUQHboKLxLJGp04tPhtYbAFVW+mvhrmLnogS+DGsyhBhuyCJvkMgkNr6JHpkCrNmh5mcOLRqI
u65RFheG3q7NHnI2aj9k4zlPh1/QzT4XXdKvjMpS25fR+jD0EjKtJh0hbicM+IKs3fv+mh9uYQz+
BBU+NG2oI+Chb8tzBqSlgqJtpP5XQf/+9ggvTCe7FDutI5QlUIY56zXvqZP949T6LWFf8nzAmc8b
9rcfs9Q/1tJwaRgh6UgmsZHsSJHq4vT31RzzP5eHD/2TtFECyUsVxYNX+1vUOuw9B9qct997qfO9
f4+ryEeQ9xw4H/x23rqZ3LnuRR/+7/tat9ayU46omPYuwmplu6VIrU2rYaern/e1bi9eeFpb1ekk
ViF/BJn8F5Tbj3ClNStTZ2FM7SSPuUXlvr4Yh9yUSNuIQhRPOAyL+PbrLzV/sRofx9U4nIHBAeoC
BPpE6W57RGhvN70wqnYhdhk6qAjOTRInKLup9LgXzXso15Sgllq3drGSO55CnbETN+0/DnyhhJ/I
qlTeUq9cHvqhV8Bq0rD0ojzTDBBmsEpaw4+3e2Wp6cvvH5pOKR8AsUf1Y5iafdGEL1Rnr/c1bZ3U
B5bLCSwtJwZRw/vkRlB+bVJ3zUJeOvbKOdGuvC6dvCz7YkpiRr600++oDLcAzmaJWZmJ3p9A7bUn
WAsVmRl10nRJcXYHiCy29dTtGp7QbSHG9BUEgzc+TWQDsd/PCeTXtw086PtOABjqeW1yjIAlAxZF
QZvZCdrioZ67r5CIp6CoOF8M2Gwn2rJwI0ry6NcQO4HCZYVDKFZSQiGsnSb+b1nIYRP46rVJaXMq
QgEFM8ij70bZIWNQBqgC6ejfWSFQT1Fr6PamahsUUfCN9qTdlbIX2xFKx1DcRmBzKOoGWVC9wv9H
XXMGfK8X7vGP2BaS8TXEdvivGZhUslE5pGQaHrXQnHfrLS6KwA5PkdlCpG3aY//uNvUETR6cfPJY
AExwLBz1uyKDAGiOZwfQGpJDQLtqm7Kp3HgkCqEfiAzmbQYIRrUh2oxvVdQFbwZR5GqreVLrzVgi
ORH01pE+BFVTBiA2RNPnruyqbjt040RBFwW5HQcSCS1zqZ3gWSUOvRC4A/gaVFiMf/l5GonNTAP2
vZwgK7wZgpx9a1jvbrOijL459SThsBDhD9X3Q7mJhnwEeEJvQLrvTiVQQCB5wHvZeJQdEhwUdmPf
DX/xhoSbqL3kuWQJ2VZVbzgqnFnTgR+TU7YbunT8Xg6ADomCSGjOV+CyyzDJv3V5ANE8vw/PSuA0
VRQTmOFT6qrdLLPxfwMb1dHpIvPgByGqxOQEAJ7ns4dCgF2lI9LtnAB5QXMn5lMHBCvQy03yhLQJ
km4GWYD6EXTuRcqGQiNeUe0cqoS0m5JN0ytuGe1m4Lk5IHugOeigo1uvo18pFJu3QcXBIA4QWYlS
mYBNOEeATyTqMRGR3A1B6W3B8u5wA8v1sEc0xiHHINcqfMh5OGZbhVKQaaehXN/tI9dlxaFuiwjE
JNCAqu0AaNdjMtH5NGuC9L7JbcKvbKyzI0i4zRvcAxC+7YdoD7VHiJUXGSjxIg/pzy5k9UOUQeQr
mJsGf0ep96kCPlmjniofoZ3WJSBXIKcpKRR9DwfTvw7a8KcBMNrt4An6oHRUqQ2QTrWzET116Rd3
qvxXAMc8AcXzIDtLLB3QD4ot/PEVmEjg8YQRj94CSPr/z5XDoHfhxICv6IP/XdCWj6xvxWkkmL6b
1Bv0c4J6wWPSIZMkY14E0GCV7VuRl19cpst5S+qkgLQ1LQ44HPK/zEXEW+F6+Z3pCXyurtQhgPdI
3dt3VLUnmvj0mKGE3my8RMxfeFU3n3zptNsKSB9/54DPu/Unr9xCq6f5NJrhlc/I5FIurSBODnYe
8rzA6Bq83E33Y1XRLwrH6od5zvIYnpcWWuYjjHtZ/kh59wDY8pMZEVYZoeqBdBOnjbnv9Me8HwuE
OMG2aUzWnTyHBdtAMr51wwb54hC4QKcCFVeyHCPgQEJ+Kj8lo58cQXlAgVBSf46g3h9nSSC3WVO9
yXHojy6w1+CJ5Dji5OIrOmX8XDpNELtYuzvDpm9Z2tBNNYxAnBj+VUS4YJqhID+HRpIvked9gh9M
Q2KsyYFTQ+EbQWbFxsCkHsYaFV8gB6S4kUoX6IQ83OpCSsjNa/WblxP+ysr0kc1FCEs5lN9u72vX
dx5mCzVUBuHlqcTOI3DRJo+VA/aF++z14crOc/0owWzBhijqiT/kF8dfB2TGBXYTud3/2sD8dfv9
l9q3ri10BHuszILyLJHGt2Vj5IMqoJIH0qxGtq9fMJit2tDLKkDBk+fEcvjZh+CZgwMF0jYk8uGx
b9fuFwuypSyyzkXQys9E1QX5OWA8OfLB84Bl5wTVizVuTbkLuA026/wzQIDZo6GdPjpZEu20UuPb
7b5cOj7Zx+2Ldgui5bhJ5e73NqHQ1SgcfteJ1bUvORDL8gCP8LOz0fVXOTsPjeM9gOpz1z0fd5h/
H/16knmOw7zsXITytczzh7Knz0mbvNzTNa6dFe85pCOQQb0omYQdMAdQp44AcFjxE15fhK6d+g4f
QsrKBsbcG4D3GH6I+qlANKq9U//atS86dPD9vJONiZUIvuSlEpupzr+bEDGo2/3zh4v93/Ola6en
I7FMRF7eZ2fA2cR7HtRttUXtVXYkpaQPqOYbDh1un0iDyoNfnJjk0AIUdYxKfKdyA+evztfqIa1a
94GoTj57UurPEAPkL8WAE8oWXvjhJdIZpECiJM2wg2Y+JNfcxuP7aSrZJgRxCSzocgAPQxe7MS3L
l3Tw5j1TSOcLCKKJcMlo7ygmXj7muUZcl5cs9s1IN/kwVAc/nNszuHjkUxUqkN4jWY57nA8AsvR3
nDm7LvWqp8Jx0/McsPyBz6bcAQGhgZAsxofJS81hqODsEyYtcRbuDHKVw+al0Jl/8I2AmEKuv+Mw
lD/4NGm+JYVojiPNmm0BXspJGVQ0VGNd7VKfNnE0EL0jjsuhsQ/QTG+G9DlLhcKZlePsrpFC4ADh
AiZvvnZLuO7NIpF1faKDCltAAOozEEBAM5bPful8yd16X6kyngEshfj4iqm5brZd+/4qQDLGSdxk
55H4f48s3Y1wA25IDx3R2xPyahmL59oSYuAx+pVDZHYWPNuKPolBtnkZe3NsZPmKrOl9naqjTMK7
/CCuXQtw0U332nSG+akzDX7xIN/z1gNvvZuzw+0vWjASdkEAJCwzgItgJFzHqTfCwc5DMJk2c0GC
OOzD8eft51yfBa4NHBZmxJCD8XVmrn/KkMCIS0n6RqrusSbl51qTR6Gc6b5dwb74epniLQNyLR79
v+YuQyXZM0QhVxq/vp9B3PHfewKuVcjVrtG4iRwYEH+TTWs1LEtNW1tlPk9hkbiOjr0KUn6B3/AD
T3G4uT0E11sHK+/fL54y6ZYOzEssUdB4GnNk4PPKz/f3te5ZrWOzEU7VTDGDdhaSpdmhbYa1NMCl
V7f6PCmAefVAf4mTXIGpo/bGT1d2yaWmrT6v+ZxlODzWZxSGk0Mm9D9NhMvy7U754y7+7wZG7ITg
iVd0CMBhPfc6qw6I4kASJxsBQYsY34AC6P4eULFJt0jNBJM5QcEZIBUQdSG7avK8b71J/BOljYvj
m/S/eb6v1vSwri98wu3xkjTPm6yU5whypk8wA/0ZzDfnsUvMqydQZHO7B66bZMKtkfOBcyWiTJuz
Ii++eMn7Ft4Ss9K9C2PHrbGbpmx2u6g2ECued60D2qVoVpq+fjxHacG/p3MdkNEtcWk6N25+vlR7
T2x8Q/XxMzjTO0ch3e52/yx8ArvYyw/ORb9h3tQHVXt2/xCfsuyHX2drGa5LH2FdY1rwo5zeR+eT
1/b03LTbZ0p2p7DZPoOOCA7zuTqFIJMNG+gUbbbur/fw63v5/l4ck5VeXLh+EHaZfR8+D8elvO9C
vMEwUKjwpA4B50jV9T4lAApDkR1kMqemj9ARz7ZtUWTPA3Dm/8CtIFbKOJYmoNXBgUAxA0XwHWfs
fkeLN+nPB2l+3TV6drp8OLVz5fuuiUeXvOreP1YF6VZmxtKLW103OaFT6RwvzmsACl5Y/5j6K8mQ
S2v/8sgPo5KbEGjWCTbPb9nvOstRa1MOLw7qDpF1Wa30zcLk45cZ/+EhaR6AujkELfKT39M8hwfC
QTaE2OTkUQu2vz0AS51k7WnQR0qYGUx9pspt/olKkX2lE+nyDfw5a+I/S0vU6i1sCVEA8mNzhm9u
Gk65Xrn9Lbw7szqoliFRjQ7r88XoM8BL6qfKXyv0XGrc6hiA4ssga5SJawHU/JjCTdmVvNx5vXtf
rgZh1g5SokYw09Spz5FsnmUzfiVudrxrWJm1a0yF6qo5g2EfjPfW0eEbV0hUq8Lft5tfGlFr30hg
knyS4l42T81zJ+Ga60tE8G83fv2kS0Jr52jpMHvhULTnekA90/zL54/SrZDN9F6O/dYkd0kxeCS0
DBsIEJE3QG3j3Kux201qTneO8NeUKha6KLS2jggZieIiaXkOde6d2hxMmLTx7wuRktCybU025C2S
ltF6mpebNoHHv6yStRFYendrwXLPG5ssc9tzEnhf8kZ/B8FkZTdZavry+wej5hne9jOFvSFCPuMa
9p72QF3enjgLVtkuLIqyWmQMPPcz9/6aIPlYlg8aYSYoEazcXJZmprVggSLpRT228uyYrtgg1tLK
7Yw0qyrDGMybFKUq932JtXwzwH+LrG2x55ay+c1Zw5/6NO+f/abXcGQ7a9LkC0bORiem4wWSkND2
jNyrt6imzz30HRE5ebvrM+ziI555nisa0ZxN/V1HzhPtu81Q/hgRIbv9gIXZZFcgcYi0V7TA/g6H
1bDtci12E9KZbzd+XcLMI3aBUI/cvBbCBw3yEJDsgCyZCgEAqCCitiZ7YiwjmyQKnZ0Shu+mvtgC
uuMchlKm+wh5tQ9OQsSumRtInvImeizB63vyM7/b3X69hdkeWCbA7Q2sl5HtuY8+Febgjv52Ch6b
oFpZTQtzw64xSv109LthRg7JRXeNufTzVKHeNaucuzLmiC0OW49dk6eOac9DBiZ37R1qMR3u6xtr
8x7CCISDgbXnVv4liu9V8ZTB9JJmLc9jqe8tQzC08CuBToxLhyyDv5EaSh6CHLsrfK3FzptX5eWX
5rdlB4zoW11qfMcE9u88IXy6mkyycLq0y5NyxqmAXhwuFlDgfYWwawlJHYf+r0awI56LFJCnWv6f
s+vakVTXol+EZMDG+BUqddFxevILmojJyQTz9XfVPPXxbQqpXkY6LR2Xcdi2915hi6+2spZMilIM
9tAC4+QqYi05WbBk3NtdB9dxp9u6rq2MlElPWoTVgYlYtFFbzS+L2957qE5fX0xrTRsnOZ0sz4E1
Oiah1ge36AKnuknywyEm7yhdShtgJz1Emcph6DbIX4NOy40AsTbol7+/OWpZPMLQOfVximfIRQMx
gZpmOcOOPGdbN9iVfWDSjeKE+02VgQE6u26UkvTeEdZ9C/dAC+ry10d/ZZ2auqRLD5fbbMmqyEHN
v6rV3iX1S+c2UMZXHzSNf13/mRV3ZGLyjuAN6SKh14NSmQ4vQtJz7OJtLZS/K6buDlmoO03nQ+6W
H8Z465hfW1nG9rbcHunwVCOMIEe9H6oWvofU4rcFQZNllHVE+plVTudiYNPTyBeki/NcwxfH8j/F
InVuW2cm32iqgOgp86aKEuXuoY5x4hcjwtS9Lb9ocm36mvEMr7Ehcnvth52G3AJwDLeBPInJr5GQ
WejyZSnB0gQ1qQIrKtnKgK3Mrqm4SmLq5L5KK/Ax5J2b2nsgZG6795jMGlpKWAlCkjAaCnX0M+fA
F7qR8/rH6Xgn42r6/VmpOxNVYVEudjbsciC/QiGxvb0qncNusOx72GJMJ861ewY3xj3lE2tPfpYD
Uw8L+n0rOnWE+PiyB4fG+ikH4gQJdOsf6ASiV4FS3CupnOHLaGXZybU5DzoeEyhMxcW+9mBu3WYz
2TPJmwNErhG45tT7wDipbgvnpqngUMCUrSsEZryYd1417edsi1iyEnFNT0EI4ZVjudhTtFgfHSGB
bbvLHXfjPnZ5/r43L0awyFN79mRBMOewYDtMi7+Lm38c7+I+WWAkOHKopcSy3sOD7LbkKjdLjxRy
JcR3K3GuFmtH+zNftopA7w8VN2spBWqu/pyLNhrw/Gt5i0O1D6vk9Xo0f/+hxk1dHD2LhXZiiM+L
+CHUq9P7L47n4FouArtIXqqebkzK2g8Zk5LUTg1uxnR5HSA1AW/1hD0C2+6BkD+qX2m/8T3vhxJu
ut4AZjaUg8RogWibo+gN+6Xa+3R9rFbaNissdtP7jRMvKhqBgqSsBV9I3HQycFNqpSCQ/VHTBBt3
5clDPjDxkYD87KBM2m2c2ysTYCaQnaSgZTcXsCmM/RpP42rewdTih4ZGt1qSo5exT6Xqt9h77993
uCnBYo3M55R6NKoKC2DZ4VNa0PMEXw6ilm/Xp2PtJ4xbG2hQqY0UCajJ4lGL+zGH5FD6UhU/rze/
su/MpDKkG2vXb7Azusb9qnvyknres6+sZGNDrLXv/vfSqSDcUfm5UhHMlj8nUO8IpBIXRJ3eSCCt
jY/z3x8YIBxTU4LxIctTT77Stj2O2R+WsY1b09p2MHZ0A+ZB0lsiPqPa3jwu/bTsLaK22O1rrRuJ
U68C9lT4mThb3Aakt7jz5/TD9ZldGRiz4OY0ZKKdr3JAKzTkb2hAUDMoYabWFsPG5DqXQf7/M4ib
xTZIi4yehPJHhLtx/ABr7SEOxqYkQb3I5egOnt5B/Tf+tADSXOzcgQDJrET61FlsvOuqcdmryiu/
VikEcOsaoN3Md60jchZwfxlIU965kOb8MMNg65gVgwyV8Jyv14fn/eOTm8UClTAvE4DmnGsKeQpS
Q4ps0Lx/IqwX3Y5n9fxgiQqA3L7t1Y5eUh3Xf3hlyrmxIxCBQB1iHEwf5kCdZeLLTrolPV5vfWW/
mTUE2NguWeP1MYBJ1n2qAUmAHFwfFNLd+IG17hv7AXe7aUogRRktvKC70fZmmPl0W9pHa61fXn1v
3qh9Arc1ejmoEyCNgZUul10HcYzw+uBcWnlvuV62ypvWa9jmkczHnLPlGUcE98pgqj5R8b2gWzS3
tfG//P3tT8hqiPH49c+tRabdxDJQMUSSBETaW66ja2NkxAwfyD0sSmQgcTs+uvb8HOvy4/UBWum9
WWrpUlfFaT0hx8fnHaT2wqz542ZbOZmV4TcLLJTC/7oRiTgvblEF05w9LrkMlIsUWQvlhrLZ+IqV
yGeWWtxyzmRcY4JhZvpBW84DtfR9zKsvmb2VhVj7CWMlydarqUx9/wy1k2zX4w0xBF6+WFmAZJYM
Bwka2fUpWZltz1hQUN5cVOZw/5z3nx3nXrobeZS1di9/f7NQcTHiqcOxUIGRKsO4Zs4LUU56ut7r
tak2glwfp7nDs55GFuDJRP3Ox4dq+FHJr7m39f5Z+4DLmfTmA+B0CX0SgoOZV/4DmT2gsJbbQrRn
xDiI+4N6MMJvnDuqC6zB/jq66s/1kVnrtrF7HX+2Yps7NAKu0g0nVdZf4sz2f19v3V/ZwWaJJXHt
yrGwvSLBZ/cx7afmkxpZt1dgiYO3tEzFORa6PSEZkXxMbXjCFrE1hB0ECvAWr927fIAzveXN077K
++KJ5VbxkNii4zvIxjWQ1CacBLM/Td9AhXIOeZMp69gDtZwEXM32o+Vr6yNosst9I+zu0ZfgdIms
SyKi+XLocfEP6azmA227/NFZYv1aTnXeh2Lh+VFyQvZ0mL4onTuv4zCl+56RIYLKWPt1gcWnCABD
8LNghq86SCNg1tw7STs/xQwWZ4NqyX6eLXHuFzH/nD1N01C4zL5vlkSEuZuRILHoN5/23kmUEBBm
A/HOYoErKh8AoaglHoKDn5B92RN9B0OY9G5y6waq6nUc4oqgdpLo5LTYSXVs7am5S3tA5C0o7OC1
x4dmj8exd089V500HIiQ4bG7e4oUUhmkdj9CfbabMB6ly5YjLfz4kNDcefA141tVoJXlZZrZ67hl
cdPUAgAaJ0xyH2DKreTu2tK6PLnebDg4NlV0aa08gocrC3XVWzuPsr85ZFFvElbkZoFtnBPb91yb
Rr6cTo4n91SOR8W3np8rY2NWyLJ+sRss3zmaHfB/KtVDum6aboMXwUzqv8NDMsl9pRBQa/1d6c9u
Cd4gfb2+rdd6fvn7m6FHtnPomIzjcyqGr7qdo2Z2NtKpa7NqROox74U9pxPchOMvhI1htjS7JN8S
vVtr3QjSg2QlE4mmEcjnP0jZTcGi2HMsxXDb8WgaI0KwAwLCFkJ1WxYPg+f8zPJ5I/O5NuhGpK5S
VSWkLn2IXQws4HElgCFVN+4mswSmGtuFTC46nmZ3Wf21Kv4smwY7Kz03i19119n51M7+OYPRQVDT
adoR0W7JOK21btzRUaGCPxCJ/bPoG3CRs/k79C66jflcWTBmBaxuaT/WEBs5+xdBSToCqOvEwx7E
j483bSVTb08tzBaW1+FmQpflQXpdeZ8mif/jeuv/ND7eeWKYFTA+QZQ5AzsUHKE+PSL8izvtUf2x
YL3cy0R1IRJ3/QGqwNW9XzD70BTUOtgXlw6oB5VHgXzxAW61Lqi1YJCcoDxVggThjGB4VuCrXO/m
2igbm75rq4vaKUT18CQvA+qTKmhZWQZN5j9f/4WV57VZPutEBeJoP5cR/M7kjsWxfC0cR/7yoKtx
JAWZP4jM657rpfEflnqqbsxQO5dF+yZSzuPopiJbBJ54PrjPzd6qeL6xNlcu/aZKoDU1TFGbxeeh
sA8x7+UhJv3B6/svAlYs++sDtzY1RtQpwFSnkO7yz2P8U8OvpIOvWpFvBPuVa7lZmksykkJEsaFR
TMYgt4uX3tcPtRCHSU93QMocrn/DSoQwS3SeopbE0x2bWMVjWPgLiOTAA27cEtZaN+IPyN4MJsX4
CMjTHYq5PNrLbQw/bpboPCgvj4uHM9zXoFoQx3qscWcIXdmO4HxNt8EfuFmuy9u01yAxDBFEomZI
dTdJUDrF78rSf65PwMpKNWt2uNbXkGFFFHUGPIr6FNA0VLhYAB3EP3HKdtd/ZaVGzs3SWRzTDPi3
0T97dXFqekjLC2WlgRovQprtESm2kMBGPQFfIajarYzvyg4xq2qJXsZ5cHBjSTLnyS3Ekxund4Tn
GxtwbXkZj79sUU1eiQpXFqfa+RqXdkzVVjp8rXFjd3tJMTg17X3YAzFANJ0y8FpIUl2fj5XGTcG8
RA0zhrvDhSUWe4+OLyKb7643vTLmpkIeX8gEm0eMOW0xHt29VTyS6ddtbRv7WTocTsWDwnw66rgI
KIzVzanX020FAsdI1bi56spkpuLsARK0q4luQshxLHtWuglECZpiKyGxNkbGoZrNMEFbZjc+O8rF
q9Q+wfBix9iy8R1rs2tcpcH9QjGFYwqGCrYdfn/M6G3IEG5KvTkkne1cZj5cFkj8wfOT5dzy2IVz
BuBZfjbFu+szvfYJxuoX3VQNPlQ/zqVfho0GIkDYG7t2JeL9n8SbmDXTMcgwdPwEUjZEdLOw8B5r
FCRu6rsp6gblr2HpMgc/0DUHeLbuya1vGNNhcARl3W9RwD/7rIWEk0z1q4TY4cbW/ReN37mSmrpu
XF5cu3MNuaWiJh98JKcfkklCpsAu5D0bLH7Xt5UI9EQlkB2NhxObtCqAVeyyl6PNdtih9Mgsi5yy
rGjuBslLlCKR3INIXBUqh9uRLodPfsf0Dty7ZjdabRVIgDmDscI+YDDDCwvQuCFATT0gclX+CBGD
+FSnsfieDwnUfdK+hLHLTVNlUnALj7VLroV/7uTs3zmplV6kjfTGHWplEZvE2xrP2RKSUuJcl/rD
YsuHPrsxQWHSbFmepaR3ocAHZ9f5rrKa5DRDe3YjgLwfn4gp2lq32QA3eLeEqYF7RK5sn43OJ8jp
b6R83x8XYp4+urKKjgmJN0W7+K9gKjkFmHB1vNF72JjjCv//65iYZxCid5uPtd1FXTaUr53reY8T
xMEbUKw0ZgLyamPgdMo99q0NoaWunvpD5TjiWzvHzqti9tLc480xniECRJ5q6qYfoMcf052da/dH
4pG62Q10SSAUIElOQ9uCXMDUts6nmuWkCn3bbx+npV1CVXXza9NTrXZiTNouEE6j+rDpifRCYH6G
U9G0HjQ5SzZ+cFmZvDSCV2HGh0UHpIU9LIjCwoOGkoQaUNDC0+gACDFgkrTCbRPSsN+Bj/W/I9tT
fh4r1n8p8OW/Y9HUnzvA/T93qKCgMDaPQzBC1eqwIK8Fbj4Ud2QCjyKXWe29PwMnTHTGHvnS0HuU
dUo/cJwhm3flPHLoMShWBXABEgqnlICqdz8xH72xO+9vy9z83LO6CCs99veo8rWQhKnKPAtSUSv8
aud+8mNJPqSDxOsWZ8rO6fz0BE2jry4fW0gr5eOfCuWRh1pRceyYMz+X+fLKC+/LBJPEM3djEcyd
0EEl6z4iiWvtnGS4IwLsiWGJnV0MiFkYYyDwn4UFdxDpBZ1w3UMu0gIJ42o8lMBqFYR9rdmSBEDm
vizQIN97YvpAJIeHd0m6A08y9wEg12pnixp+yVWza5Eh2UHQjkPZDvLnxCYXKH/8He7fzq7N7HQf
F5Yb+MDrBbov6z1UyVAI0A0GeHG/4E1ZI5OskD4Awdca/eKihvW4UNj+VlkaB2UJ/bLEFTqci0xD
Yq3jIf6fMSDJNOwgTTEdhhYOCZ3l/wa0jkF+iP37QOvPoqo0sC1Ow0mk53Sm/Gs3S9ii9Lgw1lyC
k4t8fh3oDqS8KWfpoyO5e+el/nPRQug5rq346PlQk5ap/Rs6ieX3jMMRDDTb4tiUEA+FqNnsP6WW
vQAIhamZaw+lYizTx6Wi9eni8nMkJPmTlZQcE5U9gjP9BMFX2B4I60UqqHikFE6yRFPoziWs2ymW
5MekhSqEx0uOagBel36FdeM7TBQhfC/8NMiYN56bgRR7KsoZXS8/uL33gOnoofym6weIg0MhF01/
qW3r1YNt50nDG+GZ56QIhEzo2aqHpgtnEv/KYXl30OLigOlb+sdI5q+9JZs7XfjOJ8CooTFCZRZU
5Sz2ttvW+Hk+0DAb8JoT0Ih/sZgLgX94jITKG8WuHwsAIyCrc5LUgoaXoNDht8HN0FTh8TrPLHCk
96XKi2wXp6MbLOPy2a2hH6tdnXzQJbf2rmiXs+vpcudC0O3YiQvLvF3sXcuKL/04WUcHhCSci3Xx
miEEQRDSwz++hCY0QkcA1aA/NfxzLQGRN6fx03AoMiQetY/qSJXUoc2az0jwf/Py1jvFnT0EMyit
Yef0kABiDX/QOq7u3HxOMDftvO86msJdhLfkqJayDUXOIIKQsf5+bm36GXG6PXg1gBnVbJUXwT8K
47Js2VcxR3Ec7iGHyraDiunkWXl91gZlgxCS13S8rH6In+TtmD74dZdBudynPyeZY122Yx5SuEBA
xqXu9smiq4fBTacfVdPAZK7Ii7OEJBeSGtRZHiCTlr30FO+5sPQKbw5UYg/Y8457rPQgdiD0tCeL
T38vUtshcfDNAJaWIcI4Dx062Qd/xJ2pGzvrl/ZF8VQ0Vb7XHcTQpi4DB4fOrMvDTKfslU5dUZ1Y
7I+PaaGhIo7kU/M0FSp7nW2nyaEhkNeQJPPjndss8rOC4Nhe1oUK9YiQh2ikjopiPl1vtv70o2XX
4bBMsg/axiEfy8VJA4s47mlk3PrRe3JWgJQ47seyY40XjHTGBavqfXVyPbto9tKH5wssAa3qvu49
cqA4PqtQgP6Mf5Lx2VVeAklw7vEkrJ2syQIgzTU2PRj6HVR7EvdJylJ8R0XD/nnLzYmYt2hIw9EF
dmhlNLWPi0oDyPFs3MnezzwR8/qcdaq2lz6foilRIZ/LnZQQzLO/xw6URemX27pvvCSttIPZSRwX
kKuBZE/Z63BEaL8p+0fMa/SQlkK1Mh0imJHwYzlZ08c2Fc3ezgd5SuuhvSl5Rkyh5HwugAirZBll
CYTzKvGNXQqH1wfo/VcSMY265ZQnYPFAHEE50y83p5+npjvzYvy6yC2q1co10BQQEyzOM21f5kCr
exkrKFmOv6/3fq1p57+5Xc+afMJ7u4isBWJVnQt5mzaFv/L11leux6bg/NywUnOkLSPHTnbdEp+6
WD401o3TaqYhrExmoq8ucG2OVxIbnoinbypUEbPm66MwMNIxQdONdbRG+5TDeOS2QblMxZt0etrP
FiI40vh5l70qwu9hv/basezlevMrM2q6E+S8KCEJXg4RQu19zLIDJDWP15teWer/IItvep4sBDGT
9VMkku9zZ0HM8rmFhmjtORvxYG29GHlCaM3xYUymMhoJ/euBkR5A8/33xIcP1z9grX0jWaInbuMi
5avIZXULBU6df4z7PI7gQZ/f9mQz5fIah2vwcuCw0Wv3ODUcepnzp+u9X5lZUyvPFqJSbBSAeveZ
DCpUx3HTSbbkKleegqZQXiJorJYpndD6zzj96wzuRzgI4rKtn7pm3F3qWapf9tc/ZWUiTM08Wcet
EGWClTR3cei4ld6XqGAdJrg537aDTZ01B0ibeQDoIZJ0DryhDXqysYpW5sEUWLOHuNAaCkkRkA5B
AmEGx71thk0tNb/OLCQUXAR6Oqiwt1srnGun2Rj0lfuCmcOhjq29GvavEYkhtq8Ie02SLIqd/NVK
5WPV4+V7fXbXBsjI2oIwTosxbUC5FCnZAcYk8XTItlwf11p3/hs/4RxXZH3C4UFK+zCWBSqhcne9
42vL0og/eUM6IHvhyMpg1+B1/tEhcQDP4o3wttZzI/wkNWQnhdIqajJ3AT6sS/DMA47phs4jGFw2
9pvoDLXcJi4ztO55r3HyqY8P6bJV3H438qNtA6fUKR1zVWNGWaZfp8J+6h3nINvib+Vb3653f+0n
jItm6lrt1CXZGMkZtTtrcJ8dSk5l7407O9mqBL87A/iOy4+/GaPUAsQ0b6cxspdsT9w5qhPv+Xr/
L0Pxf6k0NH1ZU2+bHuw+hWK8ima7f1UZOcBy6EOfLMcFaQzL5shEJzfZK+C3Lp/35rf8HKJOncZv
jc4zCNn7vhs2jvi1ATK2biHcKZeARkSp0yMfjzh9aNpuS+7hH2TgvUEy9m5uTV4+LV0fNbj5PzC4
EEJVfSxIOCIF9mVOOQmH4WUmaZPvNGSHGhih+t1T0iqWBwQZP7hAVQkw5nkOVmZSwdR7BlfP2TXj
lP9Icc9/GgmkygLIldcyxDZD5sFrvfRMy77kSBGy+nB9vtfWqxEreu0JT+feGIHT3EGXmn5dpvjH
OMK2uCs3fmNtNoyAAXdW2P5iB0QseeTVWWa/r/d9pV2Tj7akXmG7XI8RsuMA7f31rC0xwXcjqC1M
OpoDA3qYFzIY/qp7hnmK58hzf9zWayNC+KibJK2NXk/tn9n51m95T6+NhhEUgG4rGsimjBFsBSCx
+0VZn693eGWJ/AMUv9mmNiedD6eGLoIcMBCvHHYLDdyV4docpLz3AIKru9tWisk5ozwReLwNmNH5
RzP+7vUWBHNtcIyA0Hbw751dNNxYD1mdhxKivddHZ61lIxaIrkMhBiJvEW3x/hnTPXG6W+5+WIXG
3nSl43eEoWmtfs32iz9vTOhal439KNI4jocU7Q72U2N/iom+7ew2iWUybVq4dXdwsh5E/EnkJY90
01sn6FrdRLqzId353zNDwQKcDykiezG1O2V/I/HP6/O4suW5sS37grva1lURpWJJTtJKkZ21JPkJ
Byr7JnwkOn/ZYW92UkWlNUFvBnc+AYZ0bB+lbu6ud39lk/6T9X7TtFswHCN0hDV8/t0pP6dKhyk/
juWH683/y/O9c+SZpLjUFZU3dthAdjnw0wj9wiMkO/P9Anc81HwSeJCggDjtU2DHQlp0OHD1mO4Y
LZs7215QwnCaardAxSegFdFVEDelFcoZ8vSQsqSPvdL6xqEw9rpT1dMCtX9cYSofxiR+MVf7umED
UEGdfC2Hhr1cH5SVfWQy6uxqKmGjicdH0cfLibiTc77QmHfXW1+bUWP31xmthLsgnnd5rAMPaNDA
blt6ylSKSg+EFjae+is3Pm5EAxanGmzMDBbDS3YcpRUH0G8/z2N7v1TVElTzTINpzjfuxwJL/Z11
9H88stylALyC6N0ldXZIbLDJlD263xI3rR8VGKDnNlGThHQl1B8sL7Y2FvDKaJoMM0h8SmTo8ZVV
Wh07okNIjj/JjJ9QMdxfn7CVCGKSy2YJlSTXgZPFMMgZVWYaN0efDeXD1NP++/XfWFlyppqfN8OZ
pywXnDYq2aP+eEDJ67aDzKST2TpLS8AiELxpsYQxdtEp7sdxY3DWOn75+5v4VIthIQQez5Fwpo+p
0Pe1PX68Pib2P5jte4vK2PFlC0xVTpGAjxs4PAAcEd+7Mfa6mhOG+2yyRBWsnu5QjERkpIR+rrqu
/+kXPI1R8aYN/J6yEsKIgiXDQ+z6ULNPvPi+beH52sp5Bsm3zY9c9340iBz19F4mR8IXewww/v79
qOC2FsxJ3zx7qBLtM9W2vzLc8ZrQIuN0N8c+7gUczj4Tseb7TGnrvtKde0jyOnm250696KHkz8vA
yPcKAlvjrk05z4MZAjw7pmr9Tdaie4YAItuDUDV9lo7NLVR6a/9LDTRn2CwzOS7LBM1qC85Mp2RK
sgRkLFHuae/Mjy00Ak8S9rQ/4Bk1vCLzJqIK6vrP0P+Uu6lcZiQIAMgs4qR6irXyUdyDE5XV6/ih
dpDcStpx7oE0d3nQDKjzVlWWH8uWpaHU3Y8qafqXtJrsPQQImx90bNt9nLmwjFhQMS8cFR+rOhfP
kHS0otlv1almPb0bRrcJMd49cEV2fpjVQr/IViY/kCNE6S4BtQxuFOCn10186EcAt+wp7g66QxEH
Vdp6B1LQdEhSOwsB4cO6gllfWHcwj3IyivmcHJHtJ2fR+3iCmrnDG7bP4qZ4BYG8hAYekWGCujR+
2MruhuySiAFDIhxLJ/0kY7uG55XrPIuUQzYnhnQfLAfsPYT7G0hLjV8z+OAd3dqtd3MpgfySXv9M
APU7Z7PMnia7FHsfhNwdjOnbnZ8N3yd/Uk/QGe8RyGv3t9/VxVeI2bS/QchvYdkEg21UGoetZ+pa
PDIOECfNk4z7yBI0SfdiM3FsKvmxLbyNHf2vbvPerjMOjlF72ksJQR5oInBIoxYkfSZI3YE2N/Gj
XUIAGxcGeUj8oXrk9pg9O5CWOgrgEF66jPkPQJ0Nn6/HgLXw7vw3vKAiDJ5ii7g49s6rQ2bwtyzx
IGX/OOotBse74+kwzwhhSd4Af9NnSzRxChXbj/Xghtr+dP0D3o2PaNwIYUk6MFSuKT+Dsl0+2GW6
3OWutA7XW1/rujE8gEYVYwEIT9QBrGLz78oGrYP8ut74WteNdeblFcTWGsuO+ljcqdQ5ww5ko9/v
3hYwKsYSq5nrFwPqTFEjulNjzxEMTY5lRe6rwX1s+2E36W5v5XrjKrQyTCZFFjlZ0k8JBJ+yNgnz
gocLVBLscss3ea154+2COGxx3WAWpt7dC5DGYGmSBkOib7OdYP9HNESRErdQv44aHjfnnKp0PwCL
trtpnk0VTu7nXT4iqxZZCOCHHo9egEl0uvHYXRscYwM0vUiHGPCvSDHc/uwx7L2/Q7FlwbCyRpmx
ATK76WjR8DLinqd22iJWmHQdDa+PzL966v+FQpjcGVvAni5oWIguRNOssgPNIF7Qcsihde2Qf86b
MfkLmMkf0Xn2OZmle279wt1b4xjv6pzPIY5FetKNJyAlaKWPLGn8O4/JdJdC3/p3icM1GO2CB/C4
0M9Mp3Rf+nEeIj2QXPBJ4uP1z1iZApMARwkZfGsG79lu/Qeuis9ZbB31mN/EzmEmAU4pr2s4q3QE
MMkBWsI/5iL9fVvPjcUDPalcAHwM46MEQKH6u5QwpUr/3ta4sXZsXqOWSwrUmBr102rs+Nw7zIJm
DbtNt4OZ9DHV9bByTXw7AlGcAMWj/6AEIjYW59rSN2JoQxPP8ydfR/HiAWw539VLvrttZC5h+82l
npQOPLX7y7KPn4fiUdCvafX1tqaNWGlpgO/sLC6B6AAnOLQKFw5A1gLLh2pp7JfbfsTI+XRdAown
DMCiqfCCHo9dCcSdR7dKWSsjbzJWxxxavKVVdxF1i4u8FU31fSvL/PV679eaNyYWUsJLrkaho2KY
2EG6zD+olm3lNVeCgUkIzMeR0aqMdeShZO6pKhjTLvC33DzWWjemVycUToKXvjcehGzHIKa//fi2
wi1zjWldnCJOhTe2Eco0+tAA5b8nQAVs7KdLF9+J9SYTsMScFlAH1SCuw7Xrl+r7A57NQa8+dnAL
tdJf12f33Rutw0wmYLF4tXI1tq2DB0GcQg9T1eFEfzDny/UfWOHoMZMKCA1yyL2mVEdVx9Wuwal1
YLqfD7hXFWGaAmsNufJiL6YyhcSMLQ+4laYbZ8HKxc7kBxZgE3V2o8FzpHhOW2TflKiAuyc3rw6Z
K/YalwBtf7j+pWuLzQjgrGBVTjlro6riSTAypkJlTfc1jrbbAqFrnP+tBngaxnveeZkhmQKc8Hz0
+wYsBPhbbfzEym43ORqigO+N5RddhBTTt4Ho7+WwhZlZWWomP8PnnR3H8AaK+PTqA5OTpxy4WB5c
gLXXZ2Cl8/9H0Kj8sVgSlLpcCM7IBF67YquAubKSTHCeYplSZSG7CA7Z2avm3NsLK2eHmokgWSB3
78lWneds5se6aez7mz6IGLF30a4EkJ9WUQ7zyRm4fNJvbMu177lM0psztYeiHdcQ14x672tqkcCv
5QMDnncEIHjRu6qp913+86avMOGB1B1mxuWEC1+ePFai+CKrfgtrsbLpTLq9jAcUvuOOn/n8qvjD
GH9JtjAWa027/x0iACw67k1Zh2O7eZZ5/Axj1895chsek5n4QFdSaP5B1ujs8l8zecm26qhr3TaC
hOfRNIe1MYeT8p2vnqbkkdym7cccYznqonSyZJh0lDQ64G0L0FUVts7GMlmJDyb2u0Dur2+50kCR
Pvb8ueoTvES+S//z9VW4Mi4mADwpRAoM46CjGpps05NOK3AWNih5lyP/ncPaJFBCkhqkKGfUUTl/
yhwkVMffxVRCJ/WV+FvWuSvBzYR/23Ap8PAw7iKV6D8dbf+KKj/cNjSXIXsTDFw/hp2sKr2zk/LT
4FY/7aV4zOstv4K1kb980ZvmUazt4beLpHzqevxO5lP9LBjTYGTy9sdtX2DsVfipiw7nvI5gjR6k
oIg3ApXCYkscem3sjaMdMuy2A3Mj76zq/iPw/WfwDJ+v93xt1RvbtWtslQOchEAM5saubUDg4yxO
doVdVTvebE3x2heYW7erYC7lpVj9Un8mXH5aGNlf/4KVpk0sbF3ag5sJjH3qy8eJOAnkQuwmuN74
ytoxsa8tmL9V7SEoJNWfevyeF2NQbb24V4beBL2WGpTiqvkfZ2fWIyfPbeFfhATGYPsWqLnHJN3p
5AZltA2YGQz8+rPqvcrh6+qSSspVpcVgPO699rPKEKQTk0ZKzn+pZ79kxUii0Gn2t73A+eb/dP5w
aGen8VV4rPswQKVhLbZF5vdxA3p68vEt3v8AdK1l9FjddikJg2Nf1GpTlgD2oFiHXfkC77cSXasZ
hzBjngQtAmx9+AvlMnHzO1Sidc61ie39T0zF6hwVDPkwexyTZ09CVO3lEZtkMqE28+PWuXT51QfQ
KKqTC/VgwiUeRPCSyh9dcNOsQ9cqRpPa3u1yXLpAMdv4VM2fs/bl46e+9E3Pv//TbcQwZK1FLfyx
zdhT5eVffOB4Pr70pQZZzZUZym1UK1xsKkHcLH8W9QOZXz++dEjweP+7ENI1576rB4aEoplPohyC
b4VLUD/WOeFzbqyOgZnJkgzI6ceAZl3SZnWayIU9LgAQoCRrmeCjEYyA4mtvByvCIA4HCBLHiTSb
YAzyxBu0fPTbvv4xmhT/4Zf4D90C08uJ/l6FnB6WMG+3KPSEVr6qyrgjjpOYlvRRNuYSZX0ofHYX
5A7CsghiB8RnlAvmfCO7tnu2Qg4bpusaoA7FIh/AoJjNLYlhOqV2+Avx4jsKltpuH+5brSCnxBmv
BCOQdnChcqGar9tBocTZn5ZI8OqJ+u1zYeZfaejZ72XqTr9r5nn2rO/2N0MB96cGQMDYpV17LTZ/
6eOulpOUGQk5KGyHgIvjkahThlyfrzeZf82D9lLPXK0kFQ6EBA444bEM0ipGxtpGjoCx2Mc96MLV
12JLn48a/xTme1U/5DR48TLny22XXgWD0qrzkMvApZt8IpvJLap9rpdrzIcLDb/m/vfl2ZuiaatT
o8NHAhmnqJq7jga/Pn74S5dfzWJe4Oie9kWIngugnvjril8KkcTbLn6+6T+TDbS+EnVt49n16exT
DUHxqQsKEc9pRnYf3+LSdz3//s8t6oZjV2a8CtVDyjzyPJ2yqEu95cqc9n60jPLVnBaW7uI1tK9O
BuLRrZy9blsN0wCezDj9ngYHO6uZ6UMB/d3v217oPAP+80KzIO2SC5hZyRFWaMhNLhEAOVfOE5da
azWKc39OEalP4ZRViM8DbR78ubsSUriwnK8dtsVUFfBXREfSSM7O8uvS6sSbn3V/ZT/7/lGIrsWZ
EkrymVUwCZ5CYkGj5ihYH11it2Kg8sD4PD94bt2Ot3XdtVAzB3oNmpuqQUqG3VEz75qq7qMpmK58
5gvjbq3XtIKPys187H5CdSgJUDXB+Nrr+cqwuNRa62Hdwumk1Q49ql638GzJ2oRXOBo1zlgB2DDS
Dcm67PPHXfbSu6yGOeAGpXY6vMsC4/DJe4EgHRVZ185Il66+GuFzU5CBauwTfVkBqRFY8UhIPz5m
gTddCedeGBZr5wIrTDssS0CP4SKPw+zuC/8mWRqha5Fl2Ip2CUsWHDXqFCJHWmjPy+m24bw2PxZ9
SIUsu+pEUVAD47vaieCzdxvxn66VlRYv0wxN5514NfzIYWldwi83mssbp+61ljKXnNeVZBSIaltt
R0fJKLC1k9zUKdeKyaldApt5WDd5/tXSIKr5WzffpIQmKH/9/5O0meawkYvNTiqv2a8+lYsBIRDU
nNuefTV6NSgDzaSxqDWgaG9SGMdve810TIl/6y1WY3aAl50fWvTLYQGglbVRO/4Mrx69Lgyotdao
HjpVkABXX5DQK8pjK69thy5debUg554OhsEl9IgqpmTiU2zba4YEFyaa/84e/6y8gEcNGegIwRHl
1FmsEeDMmL4rXXLNBPPSDVarbwl9KplZU52gII7KsI9qHyBGfS2kcalpVhvoQvdTH3BKjx1tYWA3
Zx7OKem1gs9313dPrMVFXqvac2TZnsogi3Kk2Kx+gBgk4fkVBc27j48brLbRCwNGoEBx+ylLabdn
DiVxqZxr3o2XHn81YqHCgrepgJqwWwB5ych4mJFhJcv0Qw7j4eNhe+kNVsO2ZJ5mwGHZk9s8GPnX
594tmxE0zWqwzrYdUwkmzanr7waQqko4HqCT3nj18+v80+9rDwRt4qGexh3qdMdQiaUR4myCIFrE
UF6bMt/t/HiH1cAtR4CORAdsAYXGZVR3Hrg0Qf7745b3zrvj/4kP4Orn3/95h8aiZIMqnp9MsRwL
v/fuRsf2353As/dtJt56OPzWyVKzqAeV1IINDOTJlfa79NlXwzrtW1QUez1q9ptPdPgiIJv++K0u
NdlqQLv+UlsgkyA6d+DwPrSoXCXBNBzSpv3z8R0uPPqa1d72wCmFHR7dVZ9D949Q1zKmFx59DWoH
9ckbIWmuTlb7gLo5P7ge3rTpN7c992o0p6NCxCWEYXlvsg0qHfeA8V/ZzF5qktUgTmtRlKHiAr5x
CCoZvW+9mywsPLEWqBWzmMxC0Sh1WsSwI0HsR13Zwf7HCH5nAKzVadwH/Tqbxx4qrzSjUdB1BkGm
QWIJsEGsIN5PxrJniQ1LGJrkpe52UsHAHXnHDBzM2tsLCVgdEcGSOKNIgZrqg6MdnPRLMwQILQEV
HecuafDHRh64KtifqS04dDW12aahLw5LGrB7VEnUu67w9eNQ5945+E2QYIYeVQXixk67nklED11t
1vWngJd+pCX9M0431qGt6e6F34i0QxgdSl3yCjubREzuwQMujuTiij/RpaGxmi5ax+cabjb9qQmx
+mNnmqsz7PDayLvUf1eThtF5DxJz0WNItzsgaXezuYbFvnDptaaqaHtvsV2O4idBxMY27rCHF8CQ
fDymL7TLmq2OvuSiQiXt8Fm7bQpfJYRMX5H8vBKfuPTwqykD6hbUHrl4eDYXcMRrW3OQRKsrs8b5
Ku8Mv7WqSvlNCYlI2Z+ssInM/vbjX1s/+8TBHk9eWQ4uvcG54f5Z4yoAMj3Sm/5E6Lch8KCnuHZI
/U/I8t7jn2/5z6X9OW86TB7g5WyWbXsYD/pUHeGEbO/hZ2ZeeNIk4LxtusP4MH+eXsYX+tPF9vWP
fHQO6eb19eMe8K52xBNrVZUFMi0nDrouy+5I9geco8SpP8OTL0qB4/Xct3m46RiBW632C5YECNrC
DeuknGJbiHkzWrv5+C0ufabV+B6KAOhUD1PIMrGk0OawQG5+26VXYxvVSEvOZIvSUEnhfOUa81T6
jX/bCFnrqJDwwN4VSYiT39d75DregtRciwST4PyM73SxtYYKmYkGxgAAozSG7v1FJKK4G4jZBnSO
GuBQTbnx1F3ZfENSIS1+1QuArHrawBor8oFKBFSZatRtGdStJDD62vn8Cyy7d2b6mutqM0EOMTZf
s1Edher2PsXaGtzZ8XMK3mWYJ4x3UVv8UM2xDsFaTXe1WycgVHiq34Iw9pQ2U1yaGjLIJkrPAUwf
ruAPI93rJhpGFxhIKO+aNspRKFy3Xyv4faKiKkpfQXjmNKmav5n7ULseLv0MJ53OmO1Ct0t5nMiy
h4MXC/apYk98/GLl36Banpm3xIFEmQZMt0CPWropysVd2tfb0f6t+dab7DZDnbFLf1f0rxmXQ2oB
SwHMU8yoqcPK2rwYY1/B04ssS6bpm3CTXN/rZo6oSGqLmrd6U/IdfNEmEBVK+uouyEt8yasmtvJb
86qcBG0s6wQH0MrvIqdtkzAE66iAXD9Dqnoa9k5aRzO4n+G4M3xPkYlaKLwTl83gwvWkQCAfGTDz
u/GTGm5cTQqN5WfZ8ngO7lxzX5LPxPsSOPgb2O7CtVvbFhrf+7SqT9Bsxu70g2TeFluQyKmfaw5L
OiT5Tcbw1bYq3BdVLG3kExS8TnEjTzo8VFDX4G7jkOgq0cwmRb8Jwaz16ntmQTIdY1QkzqMXmdxF
CWuzaX03GgoTN3QDVX2UIZru/eyC+zYMtw5sZwzU5BbGEYMpY9W5WwDEIy97qesviCXHJrBJDbiR
t0CPBJfZgWFT9Y2arS4dVCaOcesei+YO1N3I2Lt0+u7Af0uVnxqyqQSL6LKdZnyf4sWqEws+g9uG
6J+NjPvQDHDojFK1bRnefvrO7VPgBmCHejG3DDArG4WZjTpk/Krlvgeyt7ivf9NiV+SRevOHqBR/
a+ePp/+4WWyDUwojDzCwr8xh/3ET3xutq9UyK1rBioBhQfCHZtN73H2b5AA6egnOueME2aafMyQ/
/IBtCtXMSZWmTlKeMdBw2FteJi/TO6+rrvm7XNgcrCGDnpQ5nKjBYJmaGqbaWcTqCghUcuUIF5x3
9++972pt5Ry4bCfECduZLGInNKebRYOwaX2/8rBD81GjOeYeDDDTvtz2S8W2mvj6pwZT8WCURXB0
qmHtuwTFZ1mnInF85u0NFIRxa0f5PCEaiZTj0m9sOPb31WA8FHlKeHiHjX/oGSgT9ezXD8od2kcC
LsxrKpWaEjV55d8Aro1gPYXZvq/seG8WkeMkyB1wdFtWJ+m5L3uV9qNA9QkxXzNXWJHIfgQUOifN
1l/87o7Mkz2MaaV0VJR+CEapu5jX7Jy/LawqdznY3xEHGmtjpATaeKy6J6nd4RF+Vc019talz7ja
Zywu0ePAGuwgw0k/y2pkJ7kQchp0zW/RxXhiTV4MleiUK3ForjSQytUy+hsvvSvPlYM3LcJrfSV6
hN82tQAAR7kaYz509lNw1WzvwkZy7VhhsrJH2QUW4bkM06hZqLoXXes8NkFptqEEX5ooc5PAB221
3k+QSbgBDnqAv5B043UuJA8pvyaQufAqa91lpdrZTx3sV/0qn+6Zh4Iysegp7lnexjlmkk22dMWP
j7/KhZ61VmHmhWfKcgS7xWvZkzuD59aEzXEM+mvxqwvburUUs4P/Oq9Hhf3LYLO9atw0CVGSd1uv
XYswUSghq76cxJGT595/6dmb4185mlx68NXUFrqO0MvZ1qEgT5y9puJancqFOXPN3A0Ucu8VzbBG
DOADUNOnnwOpPFhuOd88t7sx1rPm7rLcd8QCu/Sj7z34kFqNV3wXLrXL6ggA8FYufYIP6vdkb9r2
3g2m8rY5Ys0frfoBabIazyzqbxP4ssHX23r5asBWPLewzESo1smHYxs22yo1T1l3zQzpwhddKy5t
SkFtPscOpnbPtYpa7JCb6WvhzpuPn//9oh1PrGWXfS0JRFVOdxrToTmUCMvuZh4ucZaNHezOBjgG
zotKCEIuD8uAUwLiC37y8c0vfPC1LJNLaARkhjV+RHVOCqqdtn9uu/K5Pf85Pmfj2Pap0T24X9gh
WpgfQGvo3HjuX/NIsQZzOUkJpCTpoBmb47Yqb2ySc1P98+CU8SxNZ+AeuVG7HAwOoeWVZMiFw/za
TSYHgj7UqKw/CT8dYgA/iih3hNrnhZ8jAN//FiNqdWAN4EfQ291ULYr+tRrUVTs6egjRVg1/myXq
2dK/H3/id4VAuPDqVO80bcOcSY2nEMGQaLCbZdksG/2Y31REixushrbXtLYeOzx5bdyoB4DHu40z
yNcyXmwkDBJI6PdFOHJYHcCMrCGVufKd3194+VrGq8MQiq4CDYOprrGHat52/PvHbX7p0qtDiFWL
A7QJgmolqaCzeq4nFju3tspqzIZzEEyCMhC6B5UAa7N33enKqLr03Off/xlVhBD4c/vnQB3/HDoP
NvgprpU8XDiYcbEasa1rmqyvAjiHo1Y8Ns5gMVOL/q70u+4AhssYsyaTqB6XHA6brH50/cHfwpSj
SeahGDcuZEBfGkHNTUFJLvz//64skBxwItGdNLXdvixGu+Wdc81P8v0Fia9lvyEFrDHF/IGP1EYo
mYqo/tUEXhxO45Vv9d/+7X9PflysBjYJ67kjjMPdiQ4qDmiVJxkcUA9+gwShG4z11usmd9OLXn7p
2ZDuloGWT0xD6ulKBZZc0U1xYYmJF48um3FQdqsdWf68aQyskZJDj0kn7BZ58lX7rZLzPp9KANlF
8+Xj65/7zTuvvxY4OtOseUqwbwZ2CVvzxcxIjs/OTfsgzlfTsbNoVZT8vDDO6Q+wlB5psFxJo7w/
IfP/oUviGN27Lh6cqU+N6aPCy5MhXyJfPnLeJqW+llC50AfXwsZmGJuqE1gjizEY7kqi4LxLi01N
sjHGyfrKAeDCdxCr6X9wWeBrXsNBsH2qW5PIgW8+/sIXZqO18llagkJ+jtlIiTNTkB1hVP6WZubK
wevSAFrDZuFa082kxzdGEpAm7rQMD9Uc1JuR5OWRgOl114m22xm2GABXQuC6oGLeZm45xYjLD5EP
HdLXnC/uacLZetcHPXmcpLkGxbnQsGv9dOirrIV1X39COCABR2zrTvzKCeJSy66WEIIpmMGQDAac
CzxsaNVtgEP5uXThlT5xqYuv1pGuh31leRZmII87xDbLaALMzC4I6BNcrbyYhvZHzZy/H/eT9xsq
WHNyeZ1OqWvhjlZoVClkfpglPqKKV9aJ99sKMqT/v050vDAyDabsSHsyPncj++Yujn/IK59uP37+
98cpjMT//x2mDF69tB+KY+nKsogq1Y9bsEN+z3zy7rIAuIOP73PhDBOsJzVDU8tLnuFGg85V7LVe
AVwYS59KICgT2IAXPCbwijkuPtM/wxkxtNbVN2G8vGA979ml4p4JXXXkBj7sQ8jGJZqmWm8pCr9u
kpLhJqvZCG51HRkRFjyyAIRklg1Z4pQZSz5uwQt9YS3lTkGVHClMM47GIUEkbfc88/G1wdHzpmUn
WIu3gcdPy3Bp1BG82vwwo+MlwzA1t3XlNQYXQR8bIIAqjzZ9MNUnBPNF9nRby6xGPM0cxJi7Di1D
6h9QxyJDYNNvrSXXlGQXBvmag8uULjtR4Nknx9kaGuyq6Zod6/sHvmAtoiYe62po6bIjCnzBHQtb
zz11tmOfC+mnL/UAegwwieYVyMDyWXXcXNENXupNqz0G83odwHwMvmgIzMIdRWYmYiEvEx925G8f
f5cLc8taaM0rN5PwRpTHGUgpGco0Qn/6iRPDw9B2y5VhcWliWQuua+6Ay1in+lirXBzVMiAXNbAR
mU1fyPvUdYNNrSDrhItikI1RaM95J7Zk4ZWj3PsB22AtyCaND3dM6qAlZeA1EYIz9QHuwDDI1I1r
9vkYIpbe1P5NwayAro53Y5ilxcjg5McN2vRrLfyNVOWN73JeU/85g+GwXgCzPUoAy87JjHHjuT/g
nBObvNyI/lqVyIXhtNaBwwPTaQDdk8dyrO5EmP709dzfNomtWbn10JOsEZU85tzqPYN9YyJRibT5
uEe/v7cI1rjc1nj97E+wZOh8Ut9VTq8i3wESf2nbPOld7kQubP4iuFpmt02b4eqgxXMNDj/B5yaM
bcZ52FpMQam+yVfH+x/WYt1hTVmQqzpWONsK9ouUTsRtExMH4SZ2LeZ9YbL5HxX01I5VXuIuQf3N
D9CzkCwf2DWv7wtM0mCtga5HZMg8uM0eU5SHesX3rCB3PB9i6BCj1M+/m/4LyOCAWtdxPw8bhw7w
vs5v+0DBajyWRPiTUkQfVWf2c448M8wrPc+90p8vNd15bv1nRE6enrXqGwz3It2kut3SJUicTOw/
7tAXhuJaIw2GcQqfYHSvLtRYd8xWutdoT5cuff79nyfnOnSKALWpx7Bps5hZpuI8BA/i4we/1C6r
fSuI637KW19jDnH2XrVsjQtncliTfnz5S6tKsFof24B2TAQY6Yr85sRNBAqboRyJPd/bKmnuBTTL
ygwQTnz7+I6Xmms10BkjTM+80MeRT8vnYekgFaN6ca/M7P8lUf43ZBH8pzD653OEJk0BMAv0UZDf
woMn6zzuK3gfa5lvpqaKGAOzGfB+6rg//aW9cti78FZrqbRNR9MwNusjVCt9+9UC5XdTc62l0syc
HSEydNxc0ofKn2NFxyv1Yfh056/8TmOtK3EYKqDyLlj8I/YM4pvopvmTa63+VBCLtIsb5OYX80LZ
RqRBKi8GoQvG8qIa2zijbj1sndL19J62ffOCBGW7xAoqhgQTxfKMfV0A5qCfBXedJPlBDnkNc27u
dZGhKNOJjGTdZ912IcrSGDO/DMn7zVTAKDuC5onsp2pMdyojy0/T1+bRlHxA8a6nyy0VteriXixV
4jepsomwDvjdI/Ffe7/ONqYk8sX6ckzQWM2WBGenpw4OiGWp+l3XVwiDoq/vwgLAbzFl7XZpCf/N
sFhvsMsqEyA67AgL2lTfdag6OQk2221fWNmhcAYDpB4sORAajF8WsLZ3eQnD2mWAOy3H6eWouV/+
alVt7mS7uN8DNw/vdCvZpyHtwj8pDSWyxGMG2VY97hFbJJC/195mESOP2ywbNmVtrIdIbdVsfJWG
S+SJLn1EwCTNYj8NpR8VOPLft7wBkj1kOGWC5S7+0NEjD6Xx/uY1raOJQFU16ECiljP0H+GF1MZL
PY4R7R1oJgkPvK8pz/xfA/emMU5JMT3xhYx/KuR9jgNUj4cW6sEtcP9ihD8x9MIt6OsHSgP1kNfS
JrNbjUOcw4JZxhY6sOcUFF2sqF34SU9V/wySQf2dBlW5TT3J3iY79EXC3Ax6u6Y0+wy2jj8FVwwC
MAkWQaTz1vfhSg+BXd6DE+OGNYl73xpIoGxtnklYjnEN9/YktHmJio1WdfhxrqElckeeR3O6DC+o
KxheqhK9ovXn4oBe2g1A7lY+fJyhUIYPF3IFfZmZJ5RFqt8ac/XBrYR1Y5JWNsZWp/MSwIUhFlvQ
p9/0nNlYzkitwtbKCx+9Ip0OvVd1R+7kxUNgqz7EWliiw+D8hG9uNNSEfo85B6ovV+kz23D40XXg
qSuRiSbywg5s/WLuskfAV/WXWTY5Cr1sk0dcoU2jarAtBptlMMAmcMYow9bep0KdsYGo+Fcb6O6N
v0knZefNBBZ5zD1OsR3rcraH9Gn4suTF9LOekIUKZN/+abH2nT3v0WyRqAK5ZxmUaBDKFzUg33LE
/7kjvOhSlm7kgCoutQTZFyM4u5N50T5l8NFCctGUrd7OwMH/6GsGyaOBmPxv0A4unNs5c7dBHtIj
xal9I7w6Bal8kYcczP3vWtpxn5Xet6wry8d+NOM+x6L5PFcOfWplqh6Bq3H3fjv5m6nv/EPdFdVW
YVglZZ/BoSD3g/1YkWpH6448aqPcQ+7AKYSYXu3gOTNDKVWGD9MY7EbrwKQyNWXwoN2x/c3zEqWA
XpB+rqkLPK+FloXwZdnhOfm3JdXVNuiMvjcE2sil5BCOIeWDQwAA1u0R5ePV0aswZCI6iH6X+iM4
vCErFfSAExzU/dGKe1cMiGi63uemRhVOkQI2ySE/3HKspAkMByiL67N8OQJFxNm4mR02XHcPk9bD
n8rjwV6S+m8jcICSsL2ANUWjm43DiX9oJmr3lpWwVvPGkj+rgZMHAyrX3yad8p2zqOnQtKjEjeeO
9Xd2kPUfwQL7ymd/OFGVmZNm9bIDIBKiPAFbIVHMCOJVTY3aRevdl7VfoHvD3g2VXtBX9jQkj2Wa
11sHIbN9ALzuJ5/O7hca+O6eZmbB39S9eXOg00wAFXe2tS2Wc7aDsm2aiiAJXY4SMbjoRBxW8cfM
J/SkTedsYE4jSURbZrLtZFFBE82Y/b95unBfxDTl90oTtZs4cHoeuioI9wN467JqHup55selwao6
pI2T8GGW21669cYYlT/UTtnETcfoBl9Yv9U8c49zCIOGFJ6id0sgwybKsymMew7swDyQELVedXEn
+07DpN3F3OOmnv88EjHvw1w1OxiqQMJXs+Xg9HmWDF7WgVrgVz9wTygywfPO70tVBN+FcvLngEqG
bjNP86b1muwLLUAei0JVoZIga5wjL5vhc5V5zQGVNnJrUhcw0lCyuKKdeIWJsfnUYNp4drpJ7Bxc
fMtgtX4/o5TmpDvrRNh4ZyDAMNZ/RW1TlsWTHmAXQVn3a2bEOXpBxr/Cp8hs6ZDJr9YWGWAELt1M
csruu9CmJy9n1d66Y7af3GV8AXHTPMgegKjSqZo/YDPoB0Ir/Y3WVX7EAkGwikpvN+eBd0Coz4/A
uej34Viah0Fl848yaKZtG8L8QcFeZMcdN/juI/nYb516npooqN30vufD8F01DqxibOZUcEhK2Z9M
s3avofGOTeFlD1NetiqCHKB69qZePLQVdMceSr9fXa48Z98WPf+EEOZ0KhYWfB/ouLxak2Ma1YjZ
GRWKV6KROEq0q6xNdMOyoyRF9sb6xdukARJuIOO4QNKbbpPDrGvjQqF6AJxD7VLlSAV9LXW3IsyX
xHLyOxt1E7dGOoeWiwbB+875BRdQm1g2LzaaOp3HWTiYLQPyJgkhUkmUU/G4UzWm/RrSMrsU5PMC
re+2lFOPgJestxL2FF9p4fOjgffPQZU2S2aoxrYBI+2O+j6EvcQ026yCfLrGbuZxmdCW3A5tXLZV
dW/hUTxsVRfkTzogdcIxTx/nXvmnQbUN4hcjbKgK4JqyuMHxeUHl1VhHAkYfdzMWq43VHWi7tKqr
KB28DvrH8zqL3cT86HXnYmnkWeIJDKxPk+R9kg7CQ8OATwCBuzfv6yF37+c+t78qJ4VjgQciIJGQ
IU9tWN/3WnqfiIstJICT6VO/ZIJg8NmO/DK6W3Y8q6ddCGbsflZN+EhdmBsoh3f7tm/ZQc60wPQi
sU8PPV4kLRu934PMu0eAyTE2iaViA7OWEos56gQbpIDOMai82HSIh7ko/SjknXJDtsWGI/vERmWK
zTS1Fd02OeuSmaAEgJxtuZYUK4+Z4CwdVYGaTjVwjDQeQai3cHm19dtI8xK4MUxeAMUGlf/Uzdhk
BgFQ9/FieyyauqmW31AnyQcDv7OY9TWq3CzwwmWEKOO0KQqtHwT4wvWGp57ZYYvVmiirwkZHvTNb
caqpip1Bx02RkqRXTRAXXc73RV3KCsZNKKBLTD76E6IfNpDbusauKlqqQclkCVEIluYs3/nTiALr
JhQ/NPxvf5u5qBKWn7FTxB+eIcN393z2lm21uACT1P5MHqvA0/c+xTEIxdTjV9L3YEJNwK4WkSJy
fqSTcbzYxaz/VmaWf/bcVhxLUrRfJDQFM1ohgwoIPJukBxvmCQ/NToNrBXiBqWavLnGWalOXo35b
dIqTZBg4ZiPgGXaYWbs88mKp/9DBRX4anD7vTw+E6sOcjtX5/QfnzvMz7NDbjCK2SDuAgKJCQYyY
sQV2ODMyGs3o+Bsf/mo74SrgfMWsEoXpMOlNjnxHg0UpEhKGbQQlH49hOE1VnHkW+6KO2glYTBhY
/alNn98VOv8ifInCDOl5j47fQQrkc5AxeDfQF6mQEz2hQnXEDrAYkLT0iXmcuO/sqhYnCUU90kb1
zLINYlb0pW8B1CqHo5q5u296R7w5MDXIo7rJlmc51eytaMIpdj3m79qxKGME7vUnyJyrkyvU9G3C
7rOKrNKom1Bifg35QstIT/PyGzujaYxcnAa+09yW3yYny8LIxyr8CGa8f+f23vzJdLbcqcAjnxDf
cI/KBFmT5GE644kU9s4UIpy447lzH6RN9uCPHJ+pnfZ+oHbM7yoY3zr8QYi82zkDTcFR7Fr/U9Yz
maiQ9J+azqnuQW9bvqIz0I3EONnCyKHfL0MzA7syhgn21CV8HtpuW0Mgv+lwYLsbpi5N6DSzVzsO
81PBc/dJUzoeCmElvHNQVeGUOfgPBM5yDtPyoSLAZBtXQJ+C40Qs4KodAyo2b83i+rDmFCHdS0zy
L60t5ENuFvMJh2KRkImC/3/GqGHiVdumnKtoydPlFbWn5ITOnp7ycBBviF3KI2IdIsHuojkKmrXP
YNfbXTWG6TETFUXtwgQWedMsBwVVxbf/4+xKluTUte0XESEhGjEFsq++s6smhMuNECBEJxD6+rfy
jnzyuVwRnt7rQ5FCzdbaq4lLb3zs2xZ+ctCjqf3kcCseEdWyS8KBvsdlJ+CjlvhTnPFRD08z5Buw
sPbnW1RDUZLCgNHQNFhHqFkW3ESbiPXZvJ4ZgMSLUd3aso7qrO7MvCvloG7bqqFXXsdJDxmNorcc
jicbgvXzEtoy2CJ+efw+tUy8m6nFbcCYVb90EIweiVdBhstKGxvoMdbyypJB30pbtXsE7RSoPCms
zjcFfM4W3OvP11s69+VOjZgFMpntit68mLK2h4RmoMy8V6LTL5HxO1Rs3KCYa6kcKtRfsF3YDLiW
/YBTvH0IVNtUuzFWrkdho9kL5p97sXGo4cGXDLbIYmzEPS7cpoC/EESEIOGVMFwsh4NNQoPdd+l2
nsU/9M0E66Z5dvoYdfF66FuxYANQiXc1rt2ar1z7WQJ/qi+qa/3Uj/uBwVufDMe1RfJTVtaV/jY3
lKYcW3omIzhZ+XGEVCwcM2M6RcbdNYGjdw1JWGagJNoa4MDQ7Mj51lbybIvBWr3Beeq+FdpUiAmp
gj2as8EtoZR/G7F7omFszE2zzFMHtQecaRI4X0AztsLfb8OVhxusogyBCL6oKIo+QiGMNrEH7L+2
Gqi2PJOH4Aq38aWLwQRt8Y0yk1j3FjXcrshCGeZtmIyuzmbALSQliKbsUz/SNxaXimxxvDnMog9T
E3U12lol2c26UvuuDtZv6GvzFNc1BSse5hBWGVfdFv7kam/acf3OLItFauHCfULaV7MJLZw1reP9
djA02TFsAtsyHtevhUUBhH0SALZIev+qAblpIymcFlPfmWhPhItwRFbjeIuiVWdlRH3I6CqMaxnX
d21keIkrCRw6MjYiDaXELM1Q1epsWoLiUAVxf2i8nru0InV51aDXs6e1bPYwbzQPbO3tkS011OWu
gYPiEkTthujoK7el3sVqrLZsiWkeQ+CxAzBNi4x4ajyU5QBkb6rrAGKqnmI2z3LbFmK4Q26m3BHZ
yJcqVMGpq+tqr4UwL8A3RaZi7NJ6Bf40zRPaD8uyHjtiG8R5hoHMcT2UV6Lz+RZX7j5X1RRC+jN1
v5LYl1D+lYXc1qZgaL2NuGVYUdRACGY4WXSQ7VwHoyT3tpvZjURfcMzKZu1fUT7P9751DMLDqVSg
5M2QcDVmzpWEfNrg2n5ABBvQpKkVh0GOdQ6LwiDTuE2BsJfod2P4olMlq/ipL0J2J/USPMdV3AIS
CLGHjhqyelWFeRsY9zMoACBniIYbrhT3xB7llQ9zNK/eY3XbvLPQxMiamS9lLaPHtmQKNVLF4ryP
Hcn5FOuTnGx5U41xBGkijx/DftUHoFP8C9iS/U1UC3GkZpD3EUJl3uBlRb+4MI72FvLEn8DheN4N
gRemgN7c1rTn2rck5QZJM3OPO/MqXmJomI+dV6nnsvbV07AE3buLfXuIZ1vvwRaTm74KwhNMiehD
2KBB0Cx8OLT9qvak6sJsNppeMTBgbga4NORsMuUtFb07+cpi00r65obDjbvMdSOaNyzp4mZFRyUH
Y6LVkIQMuI4nMWxCGGyPVtZAaQ5DyA3idyyAOme2sBHEPSTUP5FYWqQeYMMb0Vq2C+o4yBtf9q8J
7tJbb9DjrzrEudsPXr+tl0ri0s7NsarW5pZVw5r3Rpp3MJ7NfTPE/EQivu5LUqAYc2sA7CRMgItj
vZAHeJryW9Z48jjQNYZQNRnKbSO8+EW6BK2YeI0eetOGmVoUcL+STOivK+s0ycrKFI8a16pfsmzV
g6f65g5X7jJb6qB7iZHhvgdC6WeLovOmBv62LeYJZKy+KmhKYFFxDOQAnwZbdsUpaDRscXBPrTM5
u/46ErTaxcht3/thjYFDHuNja1WXK4G13vUKt76mLaAQF1O0iaqQPLs5GCh2RoBcWawYv2O0bm8R
gEhPilB2JIQtGW553gGM8GHLaJfsOwsbDKRc4LpKV3xjFw3tIZJ2vl6LOELNY8WcYhtHHp8mOIPg
+QipMKqdAbS2w7yQKl0iRl712hVZKHuIQhsBUaqOSZdOrg6eeR/xTQsgJ5/Gqb1rVyfuAEKReteQ
Thz9cfK2xEBvdQZcacqsQRRK5S8uJ2FFc9hBxV8Ko7traquzinWavKw5JztScRYr+Em5Xg0Rj/wU
KEizWTknO9LLedfNUAbK3uNr1lm0OrESXerPfHwDvar9ssBB8soi/vOtUKV5knCKBRLnddfG0PP2
LorNzCN63VWzecTpVuKmHzeHBVDMFRioZz2y7tsJoKJtUZi1/n4KdXdYFoGbOzz/tglLii04RLj9
2Xp4J3OD4sdAE1W0Sp68pU4eirgrH0GmBF+Y+7V5RLCnJTds6PrdlIA0ZQpE0YBqRvWrDeL2yXpY
13DPUVectmh8A4W4C40tnzz0q287L0gOYezJrQ3ZvFEyBOzd1i0+Sdveu7pbdv0IO++m6eiuSxb6
MADEfWlrQzKufPNFeQ6f3GOBA2Nwrn/6Hkpp3Hn5HljNeDVC757FpmTPVejWe6DUUMKCbJW7oi6u
cZeTO5/PbtsMgdkhedh/r3nhdsbAGFKvvDvYcShy3Liqh2ruxZXwUJay3ktyHN7eS7X49k5Kr91a
fO8SInMVNVvQxLFBmk6jZO1w0bsOCWZsNVAZbVDgxu9cFzDECicTvSoSx+QuUBjgrPXb4oUuLUxz
dVB/BQKzijMA2YW7BgdgtGU4Z76GK4s6LOQ5CTJa8/krLeoIWaDhQLIJDIN3II7hN3w+8cxJC5O8
s/fKrZ8Ys8e8CJ4rGgR9yruSvZAAZvgdlARl2jLyUrgZV7EuSqMIlR6bO673IyTySP0g7rqsW2/L
uto/rIWvEFZHohOCZhqZ+7IYD6Njk0ixjtk+qdfoSfPQPmp7pg7Z2vsyG6KeR+Qq1GkQReyeR/Wy
j1Zb/xBkVkvaOe5Qs4JGhmcgFHQjukHeJd1iXgPt11CiL/RXKJIlQ3ZQ/AkF8INW6mUKpUMBDLdI
dB7pSI7GLvdEjj+j2f1bizm66KS6kqs+AJ58nCJsejEPi9sBoOQnbdPkz526y7itRFI2hsYD524Y
TRYRF115Vq7HdaQgZYNeJV+BoETPYPWrKPVqWfybGUZ46UsUwvOOoMZCh9gGW7SBtgn9jDz9Udf0
onWuxtjMUB6fu/LDQUXDHUNl9fe+6QcfO7jom3ucjVVcoyvf+XdnsDREdwU37X+bSpdGQOjxw3PN
oN1L4yqNAm/f9HeQ9H0ykz5gWl0m5g00Jv00LOI44caazg2zmV0BcXnLNTajMWdYwp8M00fT6oLK
6SVep0s6gHZTJ+oRIHEVYmNqxnEDZFDeudKDin5om/5LwmL1kzVEfUYo+eDjX/oFCeLPSHAAoQSa
JJdzKH5zD7YCn/ywj55+Zjb9RgPAFTfqqgp8khohC7rqWBYu1n7y8A8+0GUGW9kOddLG54cnjzJ8
VFofmAES9z7of2P8gzF68f6G8QpsTCyNYPoReRXyCWiV/31tfDQ25zXz29h0gIldueCjj9Qiwxtx
Up33ych8sOwuY9eSxGPdiq7nUfU/3EQzat7x3p88/KP3Zv9970VOnor6Th5bzvKzB0UeEsAOfx+U
j978YvuWEYEcvMGbJ0ArQNx1w48m/sws9/zV/sCzuIxQE41sEI2BNzdFdwXRywGduG9nzzRl0cn4
tx9wsZRlh1sGV648RuiYJoPZ0fmhGrpP7H/O6+YPv+DS/ocj2FtCDVoeAz+6aiWBymjq36jQ35Gq
fmdpeWPUZzK2D5bXpRlQXdsB4V0CjCoD3W/AEv48IuPs1MH5At3y2ML9pG3pw9/H7YNZ5V8Q286x
vL0Grnj0cI302iEf+PzJnPro0ReLWPfwSZIAcY9aBe+imUSG7PdPmFsfzNfLeDOkSoHhMazl0U8I
fJ2jGz59rVAx/31QPnr6+Rf9tkVUZbtKpMoDAyqQPnQt4JNkg8/UHh8Ny8U6bqHb7FeGh3c8SgkP
NiudP6F/ffTeF6u4MwGdgwqjEnQCtBIOXPbJ1OsnG9BHE/OCu+a3FZqdQFePY7X3AREYt+QhfS4A
IfVJufu3ob9Yx0uk1QKOSXns1JuQ7b5vAPyST3Rx9Pyqf1jHl7YbLIoDo1vMdjRi+L7EPffGrNY7
GfQscJ/FXo1OgMsYwrzzuATW2ugE5UfIh83ff94HH//SigNMhmjWXHoHU4fDQUK/Ccf55jP5zQff
/9KHw4oV2bpVIo7FgmvfzOfhaAF67WIasE8UPh9Mgkszjm4VIVuW3jvQKoHwpTbdPULaa9CBOMJw
V2UexRqRT0rB/yWi/ul7nX/obwvRanB0jGXiCIM//5hw+cv3wg6gZtcdF//cqQ3iHQhuAm1OqBpQ
Un0DqwbOVm0Lz7Clu/VIDDJn8rCWDrHRRtA0BGAkx+Gqk81G++w4Dt2htEOQBjGDhlaFDzWvvoZu
PoKcBWstGVz1lfypIpuvtEVmNgPBxxGX8in8TCjsnxfon37nxYajeVDNzll2XJqVNBkpAo6Og1nh
mhSKfo9b+5rpQlZXBdQ7B5UM6lrGItxTVY7PNYGLqQeyx1GTxtzZubU5Fiu8RSNxzlpHwK/ny/du
KuqtYlV5Wpep/sf5fLGZJRXyOHpHvYNroePCmMzVLVup/OQI+d+6+NPAXOxokYfce9zD2ZGDT3e7
mrU++DpEaxu03dvJYSGNALgzdHBU7mzDcFVYIZ/rwVNL6Zm3RL2a7a2/TiehfXJYIsCNtUVjLa2S
MvqE//pBgfO/7ea3aQqJo0jWUXsHHc3LQxT0oJSC6CHTRJV+3pB2+WRBfHBh+R+P+bc/5CbDlKNo
TtSUHagg3hnwRI0J4lnCXtGi3w/rsvOB2v59u/pgQ7k0PbG9FwIs8opDMb036Efr/pa4739/9gc7
yaXdieROhEDIi4MKbHQMF6bvwbzp90IHYr+gvZM2/cw+ORn/XMAFlxJidCdAjFxcAf7uHKJRHj8T
Fn6DiOjdaf+Oxjjh66T7p+KEX9ZUIlGEAOtGV3WcXU7RZcrWSPyMlR/kn4zd/yT4/39hcP+iuGJD
AHe+SSVHBC5Sjsv9lDzqukdnc9J+f2dAFD05tM12+JewXnQWuvV18g18s6gvTjBk8V/RaGXmGltP
pFMQmutxr5JubFMBTuSarj7cC0kYQeIUIUsL/4kf3mhKwE0gYbseR5RIczqbod3X+ux0FJZwAETA
MLp6IEYpN7FH6kltUzSU3BFB9R5QzU6moXLmwEE3vmFFEBwWha67DtpxC5LuCtIC2zX9EN6ruoDz
pfHtFwZuzXZdWHszJNX0VAvJvxb92YmtC2FJvUf+1gLVQajzAakHX+DSvuQjWo9I/mO3UVA+zHNg
M2weDyPah9ksmbcZ47Lc4Gd6W9sl8FrRC4dHI4gejg7FHqMATNTC9zAp1bjtReHSdW7gxlkyEHpq
n2yR2AwTSw8uQF7oleCLqSQPNed7L8YBtTbH0jTNg+TmZ8gQ/RKK9WbyQBmCke+cWXSJMtcC5Q6q
F2+xCGaTA7wnwTHe+U35lsCQP10S2ILTgh9wibcZXUp0oZEnk7LBgDjQR48UChjAUhW87bS9AvZ1
DZwHNOyamzSGMc62K+hhBgEKIrlBbcqJPPOWvHkVXqNdDeoCcGkWH4wcovEDJeHxRgVgpJdRU239
sX+qrPgBr+pfyaCv/DB6IhWOQF6SKzOLZ7WsO5DZvbQK1w68DMsyHMlXVRFGMKUdSD7ZAkFuVbF1
U9ceq6aBISi6xu6JSA+zIoT1HGtZRtFV1AnYMjOMPkEmfQJle8PrIQe98ODJ5Efoy3vVBjNoIeeO
rBRebkbepS7kGUzapmwGCRsUvXK7FN0ezPoiK1t2hAsj3HGT5W5aoaJbmvaxd4G5AfAC+r2Hum4g
5jUB52zPY7BsmDt6pOLbthZrWsdgXhhkzjUieVvi+prVmqegw39NpvYUJNEbUsxeRYOs0N6VNUxC
0e+Mp7HNkRPQ5OCT3yhLId0vXoiqjqBXbTRAuU2VFLsoGGFeiRbxNmxaFJvKiHyshiiPfRVnk+y3
knpF7o2g1EU+Uj0RiOzn4cy+1Tb51ajwVfi9zrxy+MK75hACLIEp6XA9TfoK3NlrxOSdk3ajVDX2
0LX2NM/sYZTJyTXs7Ev+7nMhDqw7u0VG0wPvyVUTVLd+0PywzfCK3tsVxvCok6DLIK0L865i7mAK
85iAmZWiyqzRciquwk5/i3R8w1wkci31d/Cm6D4ORnw9nrR7xYYa+F3xBSmBODoceEPkTBapY7Qb
uyR4la1/rGoHrQGogWlXC5UFcI3zJdkUJpw2nvDfiYoeh9qCPI4Gj4lugMVeFVXRfldobm2iTiEb
ky3fB9l226oH4aci5BqCVIXZg3rOtwx/i5IIjtD8SbXe2f2ieu0aTCQtQx+kuIHlchrRhJVwNJ/Z
W4k8UjCad8UIElrFT5IAluM8TNCs9ZZDA57oJkHSBGb2BAmG6WwuVLg5U0umEdkoMf8yBp5Gt6Zl
aTKEBUxwk+fQJfDfGIrqm5G6zBoHBcY8V9hbNWZ3Xet6c7YES1lFkwx5rpsgoScdLjCzpJWPGTHW
u6QQLwYde/RJop/z4N8t4KbmiOISm7GZsLGK6HaNLZDEWn3p1HhtrCpT55ci65b4OSyD78iNbXNV
JCAmiDje0gCUujVOgnyZmx8FWw4hsN2NK9ByCiLUl657mjwNo05XJHcU5NbNIshttS7fAIW2AFpA
QpnqrkQv0Xk5LeLjFICeFXePcVXRDQtHnYZLAKs0Q846imZTq9pA0eCTDDYA12C2dmk7QocISqxO
m3n66nnDC6n6B7CW7jofvM42gVllpc7EX4V86rjqn1DshjsSs++dXV8EiCqYlQ2cYSXPvXB6q0Cl
0kEXgLWHluUw8MeJDVu0DoaTLMcruNlcA1J+qFt9xZNQQEgerXmkg9fA2C/tCquOpWPHPuQmSyb6
iiYxysUe/1BX4dNaJG9tv7wV8XQICkjdJs+HsED6r7IA19euy5sTtNvAk3g88/nnAwPNBI3nIwVR
W7h5w6LxOJCx2RYrkKTJ4UfpMLrVTN8iyq3PIlDXUq9PbifwwXDY1ofOwTiY8FrlK/MUjmbcXeY4
hsF/u2y4tT950nUbH76kqYPLSB7CQGDtpjcQ35fUWPkLBw6Mm81ympMuQOk7k8wmvULDDMyB67Uz
RT5OAZhpoCfsemtOa83RLx5PHg7bDEH1t55XR1v0depU+GaLluKvsKw2g0Hh3fbxHhGVMsMkz4oW
LvWMPEXnbr2z/hEHAyxGccFSTH9dnSu3UWBA7ynA1YiGUO/J6qFB6AfeZkLhsCtVW2WeF5ydvnCG
66GdMud574An4bI+GgXYEMkAQY8KsXMWCaMlnKFZSO5bwZCkqAfImtrovjhfgQYy5CiIxA5R2wzz
epxyHNTyLXAgliPt1YImET42ExhDNlJgbuv6PDEaV9/YZTJ3rCPByZsw+jq29W2FqEYcU+O+qsYb
N9gS00LaJzuv114HYpcKoyF3xv81jcVDIM4aBNldk0Xf9g6UEqOnQ8jP+oBoAme6iN7hNmsPfki7
a/z/FHOBgRcvYsRNgje38QpZ5wOlOJv90WyTJfDvOxBtb6uO1ht/IUUG5rj+Ygb1vwNM5P18XDSk
N0GTtx70OKWXzPm04haig+d++qVADo578CzaCdYYOC2hNL83OkyRRUlTMRTecakF+tALDnOm32pg
kFnS45NOfu7q8R7pb0+gp8KbG45IxfTDcLCCa3vTdv2mJ3bnIwghVQbn0xKfpWLTjaxBSnLlJuyq
JzFcLShRG7LsiNdGmSvARuJs11KdgV3wDu7nvnEUKrXqjo31sW79TWf5cQXltRi8DfUXkLGGXQVe
KwF24mBlF4BuuazDW80QQT7hosxjZPn5IHAilxw/UqxlNkTeLokdRxEnrn0PjHQussYbvoCJvg20
2KNAycH7uNNE5SGs1ZFS+yqX6F7x7yO2MKQX3TUryHK2I6lw9fUszJXzQy/VRZ2FJrrXVQ0qHYNh
n0GETxA9GwMiU0iiPKocaJ9oHXeiu667JF899kaB0mWeHBmqzJ+lAAkuhOfP6pOThOW4x8A9RrRK
D4fltJrIG+JtMoWjafQ3svOn3Hj9oy+jrZBqH/RFnwfI+U1D+Ngt3XqEMqtMk8I9QaSTL+MITU97
mlBchYzdw9S4SEOucSIhQhcetCBKBOcKQup9MH8Jhy/+TK6CGTShkiWbqWkAsPor+OOgqQFiCKkG
fyPc9lXfbLsebQje+wcLdcsu6gnfmXGku2T0rkxbl78KAW9uFbHmqGeoppNKXZsqFtuQGredi3kf
+T62ibmH0qEY8xIcGZEi1aDOCupBwDDZEYLA5nmI5y2M17EudPutTuDWPPZBKit+7YpyswQlgegM
IzfN9Giw34OaCltw27wuDEElhfK/MTim01UOuaYYEREwWHeDIQdVQE+3K4MnORzLEzaAoSHk/UJW
hsJCNVk5hTEOdWzCPUOwgD9qnZNyCsBu0yirukC8cr2MTz1b4ywCNyxVQzd9a0HvvSXE5++YlxpY
L36S6z1xKI1yt6xuq6sKlhZXsiqrnUgQ6+EK1zPYaU9MZqPtxH1SoqK1Khq34J7j80JrINiehnG4
KUU94J62JDj1WRt2xQHUuu5b3cG2L/XHtroZ6dpuTe83uO1OVF7VDXHTXQ0m27xZyOA+k5b/GSHA
Pfm/CB30NxjOHve7ZlrSELcIb8FuFbP07xfdP+OlcXABB4PiOyc0GvxjKZudMKisE/UJGPzBm192
YGOXRIshJUWzDn13bBgMpfh0X+jgk6bRn8EaftmjwGHsuFjteBIgdKdtX5xcPVz5pHsEdnrEbqBT
2GJshfgsg+bPv4j7FyjiDEfpNYzxB8vwJwj26Vqelurp7x/io2dfAH0MqhrIT9x4giIS+xuc/Onb
BNno35/+0VBdwHxLxeZQe2aEPOSnGNVuAHFTFWsK2UfWijqL4Iu60ue//7E/zyl+aSO+jhbbStsW
x6gEIXNVIK2CUvWZechHT7+YsWvNrI50MZwKHCOkI8dOfmZB/MGjL7sXsu9j5KMG/AjuuUNQOwTB
Sc3+TWsPzex/VzJo+qDQBkV/GoeXUD4t9tc/DfdlU0IDdp2COelP0JWfE32vIWD/BB7+M6rHyXmy
/gaHLpGUQugQ9tco0MA/AswGIuoEH3j/10yRMbCMn/ylM6z2B7iNnD/Jb39JEOVzGyDivdHt3dzj
kFF2A8zsq7P0/u/j9MEKuzQFLlzi45YHQlwUq0wW4S70cAmDXePfH/9nuJWTiyUWUCU92L/0UCBk
6zUsVCSIgSD2zpu/P/+DyUkuDgIxq2iacCydzgCJF8BmoviMP/DRyFwsqZbXmDZLgmAUVGsLDj5X
IoLFPf7Li8eXFsAOag5gO2LA05Otrmwm5umTbe3PYxJf+v/WlYdb00L7U0gbms5IxU3Ryfmk6fDR
w88f+rcpCfhcSJRL/clBjO50kZe8/GSufPTo8yr47dEUAdx8nPHeUDaF+QCVBc5f3Ez+PuB//pxo
1Pz36dBDUQ1fD0z0BTVD368mp03VoffW/FsXGfjFf/9ECSuFcCwRYtr7CW5b5XgCWHlFxL/NyPjS
2VfUrZv4hAR0RBHDOEAepBed4kV/0q3481qFjuO/r6/MRCpAA3h88ThBKBUUP3X1EHgSl7qHf/sI
F8vVjbNoi6jE1GTVTZSMu3qsniJu/6kFAlHDf3+BCKTyk8LvTh4w32p8RBWbtvLH39/9g+l5afNo
nHXlWRR3qoXLPLHtZfnJJkY/mJuX5o6QZBnlR01xWCkN9jA6gJQ9aBR7ILRsblDAA88oICXp+xbq
eN0vuLNF81Y3vX0ZBnjuwkTazF8kMe65APqR//0Xf/Bal95XYER4DQ0SH/6j62aUUKhE6drx9N+e
frGTTGtgAziQ+kfKpw1MDPKiIntQCf7x5S92E1PLWQ7U99FQh1te42dumlIBVeDf3/7PR3McXmwn
xLBGBMQiKl29jQFCPenPNRnTJfjs5PxguoXn//233bCpYsjNJf7ARAD4FH29r6b19e8vD2uwjxb7
xek2mH4R0JIW8PTw/K9eoujGBzP1UNlZ7ERXhjn8UDRkfD78eac4sSkwy+mg215tyQJdO8SN642X
QGSUSQBZ9/WwzukyW3eaQ7hvqpGSrUfrKR8RMbOZYb3wGtaxuYEyQUEj5ZHrUvPqwfpwiI5mBiSm
9pejH8pgO0y4nXttc1sjNjgP/HmFtcHqdmhulvtxTZqs6oMYKWOcI/h6aWI/7eeA/lSgxX+HUElu
h2SE9NtN0MPJqb/tFMLoWs5x2WpqZxDL1rr5aY5m/86jQ/1UEN7TNA70+hYgPggIKDdxLiRIg8US
x0cIO9ZvkwrqrCs5eW/RK0Cxp+dtwWz8k/gOKPkawc/Dt223T+JJ7BO4bW79xlcH0mLyAQw7txlG
56em1u5mKZN2g07R8MinxORkBQHSjbHG6oYzs4k8ewMEJ34P1nXIenTgtz3w2w13nsnbyOtRjcyA
O71Vyh8wzqg2Nfx5rpOqc69B3AwHDlKdSEeQBq8mPy4o3nSqRFoO8HPRZujvyj4u8sFvjYGUXBQ3
5SoTDDCtHtYGeOY4QsKcyimubmMoF9/GXkXXcdgMbz0DLk4TaAuSBFtSHC7ju+Pl/N1PGrXz66HM
e3AintYkWZHSJhLAcFF/DXOi8K4uS5dh/NUuSRb2XDaD2wxkmsc8VHixcHECs4mMjOZ1ByNqYmCO
Y70CasGKQwXMAdtzikIe9hYYFi7JM4NWI116WdwULcL7BupFmzA+dzOIar9ClSkzf4Buq8Skyi3i
KqHoZIPO0cWedxCqDwBu0J7jEP/v5o4FqV1islsn4Z+mlkKBD1Eq1FOu2K4aCpyUgXle5Kj6y2+G
kCSDToZ/7eBpncpx5LswEcByxqHd9LJ6aRGH8WJbdGt5a56sL2GAVFSg80wwYOIhmuOD8Nh1DZvi
DdbF7TxUK1yJpibzhnOHygMN56qjA1CZQdncTegKBvwuqc07RmE6LmpAI2oN2B4WBN526ZX3EvqT
vdXxirCBpC3SGGv5GTMQQY7eConsXHtKZ7FcSItgshG6MggCIBhR4SN05MmNnFlwGkUtTkE0l5tp
kE1a+EGSjjNazdwfgOkSAzskH23qCn8CCp2YnWyUINJQ+N7yBs8wIMAJlENFnyRQr2mOUkJWWw7a
55cJVis3MwOKCgdFcQsdfb8BImLSSBiE85io3aElU16RCLSFxNlqZ2toy6WDccLat/FtU7OqgU1G
p15oKbzH2AuaAILwwjXbkPHodoGDacpGY796ZBqyOB7YjR3oDOcO3eQ9ptdpTNALhJG3hncL+tBG
A2DnZxmpZ+caiJ8cYVcHW5+UFrBIP0sJd3oJpx1c29eNWRcfWnOlfrG2KDPoucKjAFEX2xaSSBbL
261f23JT8QWOIlBVomkAQGH12m4XdXTdoJsxZElLF9Bs22ajkl5uCcxYN3XBySb2+i5rvSiEhUM4
bZ0lPBdQBu9YD1/beAGfwcJIee8mMrz7lV/nzlfr64iL9OvCK/NAxP9xdh67kSNLFP0iAky6JLfl
q+Sl7pa6N4Ta0XvPr3+HvdLwiVVAbWYwAibJSqaNuHGuAe2rCtNbR237R+ruo1PQkenzY/FKEWH9
KIHO7V2FNNIKOwcy5roX3OTEBFcoOV2wZKQJxhJ9hxvbf8tosN9FkNUY/AkfEgM3IanHzl7rw0Pn
GDcGufCbUgc30Se6BfVIKNt/iFpylvbeL6qSUnOJkx0fkjLp9NWfUpQ+ao9NorRMaCqzVgkr3m/P
AHTEa6A/g1h4S2Eplfx6bg9fR2OI31FlqWSiUKrZRUG6MZfVLrXy4FiOZXFkK6oOBBLgSvTEposV
lDv72XEj+0+mm93aJh3xrmaRsk9jyghN2Ko7Tx/To6QMcRWUpdhHRTyu3cBWv0RlRimzUaE5NajW
2AARm5YVw1yrjekeOjDZrKix8VYjPds1ANK+g6cztnlbt18j33W/pa2gUtdHxhKWkb4zG6FUq7zJ
WHPILLVAvDcjmdiDCPRwo3XspYVGOgI5ntj3nUg2KNYjKh4rbwNiggBnOnSrKEpvXZW/j754CMMk
PXgteYKi9fV9VomGvBoxPxhevzQsOjaJ0eXboSo1FlknuBEqCc+xabqV4KDwyLwZyACSVUHuiElo
M1hTVve1tP03TbFBDFZAhtIa6ozgU65KXRFAvcb4dzkk3b7G0m8VxvJ30U0VcHHWr3OKvFZuaxW3
fslLwhEEnqZG5oqEEkt41lMZ6AdQazLjF6qLRy8vDg1Z35UJrR8hLKdevwW+UdqDdrS5Q+0plGip
MW3TNXX33nbItHSrlSKDI1sq+0rlzuw3GSqZJi4R3o/WzvBUezod4/kc9SP7gVMxkbxmk6fWvnc0
9c6CTLAO9GoPxQ6Sj4xeHCUa78vKUbZhYkERiKgAgmaPV6FSv3UJub+6rx99l7QptYXxysHp1nOT
fOvY+rvT4tmYwRMqjJ8pAvoVaxg7r45PqqaNf1JpgQNR7NdwIF8MOgVhRd1CrxuxY0si6ex6tmqS
tfXPqPZ/my3UlK5ioolA07aeq/+N9O5JOpLqekcejBh2T6fd2UJjF4pcZl7CG3Ge+ZaVqn0gWSIO
mUMPOY4G4yCOKXvGwRl5DpQ0i2DP11hTXgs8nYFrQRAp3SFDxQSHmSwIDI+Cm2s7Vj+6GiBBSQlP
zSa5tWpHQmAKHjzFeiMF9L1v7ddey9+EJZKDa7bDNkgGlkDKPbF+LdQ/hVX5G0u3vrgZq5jD0nuf
G73zHlkaCbWMZJhsrcegg6HjG8WzZblveHrmG1g5bEcKpl0hq9QOqRb8x8mvx1SzfSTt30OD5fSY
5QkZh+rBAV+8SkPgiiBVfw86Q5EVJyHDpLJgGR2/MqV0oY7EAJOfJJkbFRLmTGCuzNR8DJLgTxvC
6VMkOrS+6MWmHPN7nESaja6E7dos7R7VklasqITPjsyI6MFXqJQFnECaXvh/48H9a4cYBqcOSATe
pF015TglCuVXv0sPdm5RtzG6r0Ybv1jQYlDNacXRnJKPmsCsiiH3njcx5oUYB0wCjGdfVPGmQ9aw
dqqmXqHI+lOMtr72vYGTbqZY6yBHL6X3aCPbvDM2fRn5Kz9rv4Hb67aiQRASBlp5UPyoOLBecBYO
tb9m4Iwnl4+X9J66Q446EujrM+6b7rdEhTYiu7LfKor3dVB5dkM8YGUpdQAuZHJzUdUO4p8bbgRa
JlDI5Q9IJeqUYRhRR8g7L+6bfUu57JYXlrwO9CXiN++9ToIzsetVOfYvhi5/KqVNIh1aCZ7FHJLt
AWFZV7Kt9LF4FOT5Tzk6hXWMidLKCkJr3TkagfisV1b4Dv5UxqTZig7oEDq8guN18DemOg+UgPee
IdTm8cjYtHYM1xYrCdSgqt9KNwGFZjnhCqHYd9L2yVoZ2PoG1pttX3GDCNTBBJpZZH/8wPG2kArV
qWqoO2hsHLtc4LXghNpLZbbFhpREsGm0uvuTdRrHBFmR70bGZ+68JK6+UMRxm+VgO8oEPVpmpiMe
mM2rHYz3YezV8KyC6K5odOUlkX720imR8lLZDPQgNlxsc+wXaWj+vUQggDBwCECQIXX2TO3WnVKp
URbA/7MhjSLk2oETi3ek5PjtjXIIRpLBVVj9LPys3MRF/ZKHlrU1RPiEq6s95ZruPNALG6g22tGT
5Nndtv1WTASXPmx/BGRcVqREBP+v69yocirjJM1tG/l9l5HKy6KHMYSgEXU1y7/pPaUpYDFYKskx
6tyfqNct9gH0CIUXsh9yU1pHlfLV1tIXLfLZcBrmH9hWDMLhJ6ysJIPal1Q/OebERyF7iQFd/DPP
ITUmCidKF1yFqpTpLqhdXMqV2tsodvaCj/FN3/bYajsGNtFmN6A3QOAG5+c28G13q4TqDx1pzA7s
0sNQQexWXAzv8CWoDk4hvF3FUQ/wS8dyCw5mjV4VuWSd3JXAcHbpKG4aXfePJmyytWfCOTKq5Lcz
5v4aClCyzqJQY1UU6a71XGvDdSZddWXmrvI8atdphz6lTUeDJYhtX9HU2xwWHp7oxO8dfcyP0nUB
irlNgJ+wxUIyutqqCvQ38BYdmWiTH6A5qI6migKr4PiS2AWIvi7iPmy4772bPo51htwHsy9Ye8ND
aHTaWqnqYW0osYJ4TwketdZEjSp1++DVIRtTZ/4Aq9LchFY1rOtGTDQEXihpfXnydX2coJzFOk4a
ew9pq15RvxGDZ5LfPb+gljNM3uqsd9CTaCwH3FUbZHr73iyAeZQIbkXOBaxK4PIJQ3h7iVHOui/s
O6Rn4IWt2Fs5kUMI3WfRjFIot0EerwGq1PwjdtaVY5RPWPZ8l21ZPaRZE3yPgyTcmy68OD/Kkkdi
FkBz9Sx+yVoDmyLOeas2Q1ynFUBM82QYN7Gwgv2QS+PYosfdA7pqtmhB+21jD87WGkrCKcQFo5K1
1Uy/uyOUrBoiDmQ0ThGcOY5Sbd+wdHmxe3QIXVuqj0mODXoF5Hhdlkq58uO436ZVqBzMNG+fdR+F
bF4pbJI2YooY33qkDcQ9jGpU9kPGndHKq+67q43qLusC9i1O80y2JERkJVUkinm914XZw9IddvXQ
DTf4UP9Om67bwoBIqTupozvgCs43gwDwMef+hRUh7Iou7JGrwiVeRVQaOIYVbMy4/tZlhrYSmVc8
gfANX9RO2khi1BdQiuHGzTl865GC12aJpUCgDP0BMQAk4EG2MAvYGNNgxF9eRD/DPvxu6Xqzqmoh
v7Zl91iWTb3Oe11gNl59SxpB3l8jGOHGKADiMKPBGtRQN5ivo52PG0pesWyTQbKDv6Xdik6VKAcK
IHKZl8IYClwvO8S2qRgrNZzEhHngtqsxqRDKeLktuGsa4iXoa/2RksHxNs577SFUu/oO0iebLDfY
tOB+Khl0ap0Z/qmHO9luml7pvwatDN5UiwrDMG1TiGYiuFdLwJdpvq3DfaCor1LNmV9R2tz2NmUc
aW/FewCqjP8I0GDc19GDAyf2NgWstlPMMbsRWo3jO7vJLuwjax/YZrZ3/A7FuwqDV8VVadOGsoTt
Ftbc22KwcvEQk/QyLHsnFE/fNFbHSschYmeX08bW4eCIDsaX+7zItKeuVnXUO1VKDCD3UC2NWnij
JKn+gOd4tStVSNEuC8QxVuEwck2e9mKl3rRQ9g5SoSzFsUauMdWQ3IRDHr0qceQy92F4Wz7iHVca
lEwx5je5mfmHJNHzvQm8cteOcbs3HJ/AWughVLVtig81L9Y3bFDNJgrU/Nn20cKvstpOwY2lAXGY
YIQ6Etv3I0cjiBJttC7CCnBgOjrPdj3oJwXuLddbL3tl/4EtAc+D1aD0/fdei8VDZiAsc52iQ8JI
XXqbphJRbldZ+MYk2qHQg/pogT0CfCXb4m5M4/TJSJ1sk2q29Sw42N0GELVWorGAsdmwOu81RdP5
77A+tQ3X48H0xJ+wHbKnUCFgZVGvC4MLGb3JtNwGqgOdywngo1h1aH93A3fYs5AnyFkJVhk5TC3A
YOlp0IMYFX9owMNJ2hrOXuZcqqBbcASQc0c4wM7SaV07v5GJc+/6cDrkPTwJ7nP9Y9r9ps7nr4ch
Uxp+Ox8AXgguzx3iWvAhjhfDahOBhJjqoEKrd9c1PQvrt07cO7LwCpAm4UtgQUDUxrfzTS/kI+xZ
SD8Dl4L3pJLfGNEYbkfdFqtcK6MHkLjahaTEUsfMwvp653Buakj6pr764IOJhZB/Qfmz1PQsoN8U
ft03Hk335QOWQtsySg/X9Yv+31QBhsyxilN8fjMGz4V87LyEyOl1KbW5M1hUldxZR5HfZPm9YulE
ColntX/Ov/hCl8xdweyUWw0x4PzGxucm5EJNWeT2fNMLY0XOhmEkvUqxgFEgJX6eKjw6dNRtf6Ec
danx2UD00gzjXshjN53yGkJyAw7K/vnrujefHvoh8SMLo6T8hLVAJFzjsmgvJw2h8ud869Mr/r+k
RMrZKESKZ1WkxZyjOo7q3rCygLh0OXIUNgrt6zDo9YXJ+k8f9NmTZqMyVV3uGHYBeLCsSnjekfAO
vW5k0I3xf8iJMjBWTdUGnggXI7qjVKPlDuF0zwN7JYjZQVJGQKYIObMybm2UR785Vw6rUkru5LWl
rvyqcy9M/IV+MWdvi6uxLocpXVghWc/D71Vwb8vfVPae7/aFkT63fOnq3KgUEGKnMlL3sDp+BbEe
Xnj1hdFozpLqkWM31MTRNl6/KzJCBFN/6uDSzr/5UuuzRCE+ZxKr2MY4OYLCFUdLzHWPlmo9qMQx
zz9ioXPmRi4eRpeDYYvxlLrvSWdxHbjO7VbOnVzCEVFqBED2VFjJA0mXZ/wjtudfeqFf5l5pphiy
zIFrf6q1flV2QBX4tyKvswWUc/ZUWLl1l08VjMTPXyxooCK/pIRZSP1K7b8LDHXrwkRn4xyjsktf
y8JRsBUJ7JcKgiu+MERsCanVMr1OMTR36suF4DypBHTUdIqsqq+wCF7Of4OlXzIbm6qm95SOhNRz
yXFvjfpuHJx9lZKmjvPVYOkXfsE/zMAnS9nchm+oBvKs9mgfAyTUMZRbIj1K7OVATAlNm1E9LdZp
/9b0AyX6InGb34FuBkxGSkszz8/uCAPD4owEMN/Sy7aVqQQXJs/SOJz+/mG76H0uv3lYaScTLBZE
v0b/g13shcm/sCoas92CVDqAFsfUTqpw613kE+wFc9s+iLYzQQm63GHPf8mlJWC2/MqGAkNSU9pJ
CkGdAUfySld+n297qYdm4z3ozDTJtQKAPQqQRvlmeO99Fl948YXGrUkk+qH7x2F08maIx9Poxivb
zddd+1J2F0Ug00j+bOTNjjGVnjZtaVTymCsRpZ5Gq598z+1vBZ6hj+SNtSdwsz01oggeDmlGBZql
YetJnUIndu3QQVGWXQVMVBEHjKcEVb2pc0PSPtoQg+tvzdTqX1Iv6e5rruR/Osj6lJVC7btPvSl7
6uZYDei5hqGDrYSbHPukcs2NlZwLOAP7YLp4J3l1bQAVxvNp36dk9Nom97jYBfqxxJy73Ym4jY4O
VsAB76m4Fw4YSz0/O4RFqkesoYLWm1JAZZDvnm6OZnxplVwY+nM7xkLTcge8hzih9a2PpdkR6lYt
scUTwj3Zg3lpoZ8GymdfeDbF3HTE88N1xYmoOeuLdd94yhfSQVizUmfVWXf+oFzaDpe6bDbLqOlU
+yhuwI8Qcpd6vfKxD4NzceVcmE20Qk/Kqgg79TR6448Y95cVVb57vCsurRJL7z876RjQLOF2Su00
JZopzSRxaO3JtmzOLxRLn3y2naBM1EMgSdqpcF/t7lliQFOpL0H0dL75hTVu7lSp4wnkiZjmgaav
S+0+o7Dnqpb12SLk9FIbBSKP00A4m5jMqvYv7LALXTKn7nm1JltZUq5i2vFvrQZgYvnJ70GRB0A8
V779bCLbXlobSovM0EHitJKl+SDS3rmwPS4YeMp/kJ8PCzS8BmkPEmeGfgjvveChIhC7gvS+TV1z
Z5T4FyGXEtp4p6Hm15qSdNs7VIoLj18YsXM2n5sq2OI4FbMbuRiGKta7SeJbKlLur/v0syldJTnh
PdJ+p6SX9xaB7ry4tAIujFd9Np25YUWO79O0HabNNmOX29Z9dwlxutQzs7nstTklmFmmnkJbv9Hd
7sWHIGWAIL+uX2ZzuavQOdip3p/Q2G/SHkOLzLkQyFk4dc6xfFaSdilzuT8pqX/b+jjPjWbwjDQ4
Xole/VPl9aVz58LuP4fytbYRlRX76ikjS9a6XvUD+Yl3q8gOIMdQeumzY8ImHeOwBA8VJf5zZyHN
uKoH5zyZOmlIa9bYelEKi8lZAtfjUvnev+H/yaY358hAH8e/m8TxqQRFvUYYhPNXXehIbKQ7bkJf
4XKv1U3/PCDUn35Zs3GaVvkyKlWyE6PlEulGhDEaoUr1puEPmAJlCCyNsdxPCvNv0s7EXVb7xjEr
TeuvVaTRgSJ8cYdPzHCXlIoP0SRR6oc6jK2flqvKrwK3pnd+K+TXKLSdr50t2z2YBOeXN+q4kZzv
1YVhP6+mQoMmCumE7VQv2qzcyv3h+dFb7tnXhabm5X9DE7ZpZCrjSfdbdYOvFIucl1E67lTZhYHx
r2Tts683LRgfltSoaFwlckr3WEsDGgb5yWe9z7V85Y5rbkoFHj1jfWP0SsZF0oz/ui43ZNM6NMP4
aLTPReWIgyUs6ysyQPWLNPRx1QG5/VoPTnkfJLlL8W04XphEC+ereYFZ1Uoc8EJbOVV10P2wh9zZ
m1CBfjp63Tw1PYJXk3L1fN3mtX/dyVSbrcmO0Ih7RV53sm3gRhSHWbVxlzvqdfvlP5zbh+7v0lzg
JpG3J+E0mEel5iRtKePD+QG6AD+T80JFEl9xrJgZJDqviu7iIYlAfw6ttRv8rvnbUle8qbW0fk6j
XH9zR2t4NcHIbEFVRtSnSfvQCLPd+VgZbAn/U5/uI8LwpBJRtpLov8+/5cI00mbLOyGvpkpwuYAX
0wxry2hhRkR1RNqyKC9s3UsDZ1r+P3Qz8ofEH3s8R1vBKKeU+g369HPt1M9DR+5XKdp1MIIBOv+D
/g2OTybVHHEoWjIPuut7N+4kp4LYUVSUmJvh8NeG4tCtXYh6f2EKeXLlhSL6zso5hfqz/EuD4PNg
+cLeUzSuIsYY0EeSZjXKP0EdNAebIPtTFzjdnWaE1XdtwJTPtgvjV2PJ8VdWWOhGzv+IhRPDHNyG
+gq/H1UrTxS663iOTrqzMc5/nW99KUs2Z7cVY4pbQ8PAr6NhckWiRL72+t9cAm9gj++0tjIP/aic
dNP+VevptwuPnU4kn3yZfyUUHwaCb4GbaTCRPSE0/oUrx7or1F1HRllvtF+ji85HHUkjoyj3V0Wi
1VvsDPPN+YcvnL/V2dm4tXz8MRW1OcnKXIUjQKHgAVdN8BzNhScsnGbm1axmzg1d9cr21Ib602DJ
rzlWRYemxIgniKiHaHt/d/63LD1pGjUf+jEph9iJXLc4+Vbu7ws2VeDnSGCzXmPf0EjiJnrfXihx
+bzjrDl6b4jrqqxNozg1bbB2J/0aKnHde0BFcf7XfL4CWfOUbVmheUsyvTxxfSjGr2OC9Vh+6bN/
3rj8Vyj2oasGbcRcyyybkyudbeF6xdZNJF0WX7qqf949oBr/+y0qBZaeirnBKUJKjOtwm2PPqin3
Q0HtihV0V+ZT/93KPvwQ5JPYIgNfObXQ6NKqOOH+8nz+Ayz9hNn1JIBG47eYGZwsC6UZChg6SGB/
3oyYR/vUrn09/5ypSz6Z/nPMJiadiQr5qTlhfmTtylSmDwIC6oXLxNKXnm1kiFUSM4it8oTpcrMf
Sj3beFPJZSMzeWFVXnjEvMQ764dAGE1Zn1CSPEq/xpTFQdBY/T7fPwv75LzEu2uKiJMzSxRVU8eS
LO46C0rEmW787Jrqz950nkdsmM4/7HNkg5zXewssfGxdDeqTXY/ELIFDP9bZCL1o1IZbf7CKPRUB
5V+9NsovKF0uXVgWxoA6+0qunWAcaqrVya/adqONZCFddubzv+nzDrTmpeCY3nCYqb3yFChNvskg
nK2y1Hgs0gyKVfDTscAxRc4lWvfS06a/f5iRYkgKJVMlTB1QR+skIN0JP+ZurIZvmP1+H9vxNgnL
h/M/7fOhZzmzM5Qa6WKIBT9N6s43pD+gzT3y8Ka1ua79aW348GMgisWCQsPyZFHd5HCLwDkuwcVj
o0d6VF64sn2+b1nzynG4X15X4LR5qnOqeipzzxVr7wTGNh6eRUkRxfnf8vkYs+bV40kZm1al2AX2
nkpJQRNGPJWnPV7X+OxKIvC+StSGD2EBtbrXc8t/tszRvrAUL33m2VKclhN1Bs+jE9VBsPBa9Xep
C309xJfCaEt9MwsWwbMj8VyrbB9x61EEFdrr2PMvjaKF1udqKDyPmtZBOXcSfXdEPbszLXlhvVpq
ejYBsNqxTCoxCiLuxQP+z19KK7uu0+dqKDtq3Y7FsDgNBVFZRLOrMVZfE6e/dAhZWCns6Wt/mFxD
7EudeHVJCtq+sYPq3u0clM+tswtU/1hE/UttXNoGl/pp+vuHZ6FAVdJx5IxdNv53ULpH2XnRdRPL
no39Ks8dZRR8A+CdqLRN5FHCzZwrW5+N/dbPAxWTqBKMq7NK+3oTR5d2nYVpNScOqLjgNSIDp187
JbxJ/d1LwqcE5fiFO+fnJyhrjh0gYiyKpkvLk1o2DwXJxSOq4Zs0E/ouhPW1Ob/0LAyjuYKs8fDo
wuSIuTvgrrPCKFp5HIZc+RtoOl59psCkuM+UzN2lRVpe2FMXum6uLIO0ig9i5JbIeZ4K69UR35P4
y/nfs9T0bErnOadBg6JczoOVOOAeTUFY6FUbWQbB9vwjFmaDnG9rePKSSubtG9wiM2d8HOPsz3VN
T7/qw0QTXY/IGCe7kzM2h7Cx4V0ST71uLszFZSH+iGHoVwxYmXUrmUTKSnPwgjr/6ksdP5vHQ2Ik
rQhZj9SoeCejfTd5T2aUK17Z/mwmUx6NNNphuiHqeNJkjDQ7TJ/NwLowJhfOEXMhjNW5kcD4vDwZ
XgHnGyVCK5MdTFA5edWv+sq+7tQlZ6fVuit02WlxfVJCYAlAL8C1Op4iqKEqtberPsZcEtOgcQlr
g0PRQC5kHyaDAUk7EDtU0t4Fkt3C8jSXVmCPgd8UkFGgEMB9e7uaHD1tSluSd6/ulQsnI2vpMbP5
rKiBV2ilUZ40S08PMHbtQzFq2KkiLmqi3UBhjb7lDkURxei2vwR23lvPd7vbGg/HHypOlafIy6i5
ScNQ+22btvpU2Hq67jWKx7re0J+MJPFuMIPPfoGx6JG2yBzXiqLWKfoZq76hLsQLKDfOFHcV2hZg
+jLOyztdGsNaJ7F7iISGqUQpwurQVWrwxzCC+CbIjPAt8wNw47JqMZnIqHui3taq9oFbIsiw+Ppf
RNQNv8B36ESKG2u88W1hHa3MjJD6CyWm4KLqviZUXoOVmGyY7ZyCtFxQnKsOwNHxQt9YXlKCzwYl
qQOwOKVKUVMRFE42PC4eAEFMABqNZ/7VIpZE2Yuo1rUU6o0hLOPCLXlhQbRmIzoIkDn5eVieQh/P
ykizoy3e2tqFQ9rCxJwn5gdVwIrWGMsWosa9QfXPVrX67msQNuEtdFoD28yh252fOAsP+zcMPyzA
Xt21elpZ8Sls7WznDWH0ayBJoq4djRp9K7T7m1HUl5J4C2vmXMWiDlqe9LWUx6DwVrl1crK/6ZUh
Nmv6WB9+iU59W9sNEDQsKzYfeqkMb7lQEiLKUX0AMCH253vsX1Dq/yMweJf+90FV12rGEFnySBnp
rgf9P0HCujjZwi494Aw1+v1jyfwkeFkF0XPnjrugeWniSy5vS59stjFI6XU6NfmMviyKf2bpUD+4
2KZuTIUaH98prG92Biz1wjYkpmY/+7mzyw46DsOOqig5hQVhWS/CeFcOWb1OxtZ9CN06eGgzZE8N
pTOHrm37m0pxyj3iZX9X2L3cnO/1z6ecOY96m1oy1L7WKUfDj/4Ir38L1Pg6TTE44v9+0CxG4Zv1
qntslZHyysxuX4owQ6vW9O5V08ych7VzLIdC4eLz4kfNi+9x5h8wC910Qf9TDfQT4vRLhnOfh6TM
OaSRGLBSunbsnXStfA6SyepD05/UoXxUtfA9SsZHT+/eDYFK7fyX+XxOm/N4nhFEQIhM6R6lHv4I
LfdXB0ytRzd/XfPTsPwwrSsKUkupUcWXYsIwlSAb/eSyrF+YzZ9vt+Y8gtdhshKXGfVrfXkYXWqB
8x968oqD0YVLzdK4nW0VFO8ZIxY07jHH4VSLxM1gJVf1jDEP1DleAw4n1+iZODiCe8oQQ3nfZeFs
r+l5Yw5urByrdYU1lfZFNk5nuL6OfnpC6fl+vv3Pu8aYR+M0nACCNrHdI/z6cEURVbRNRje9sGB8
/mExI/nvuCGFJDpQ30Dsyp+l9cflcKOJx4wC0PNv//mwN+ZhONlSP4/u1D2K4YWUCNGOo38dl9CY
x94iOYa13kUYv2BOs8mEn0OtAmZC8b288HE/vwZjjPXf7pGqIwAsMa2iKASRUSVfkqi968fwRrT+
c8ruXGfDhWctddVsClMAFo4UKLBC9C+OOqyc4ncgfl73GWa7U5gXieNhpXMsA/MYjSUaE+fJCZzj
+eYXxug8rRYQjjCziulb9u5eLYZ1lF3iiy4M0HmYb4TPMKHFkK0g6LWr4s3XRmOdBkDkDLe9lPFa
6Ht7OkR8WD5rVWVznn5AW6V3dtB5a1gtT21sXBfOMuZxv7x3nbqtU++EDG3bacNTkxsXOn/p3ae/
f3j31EgzcFmZh4XYW5zgqBBVt3EvX677tNMn/9C6ExcqvCgmGbCDvRoCyxDO9+uank0uD0p4BBoC
f0hhbHU72ZYyuNAnS6NmNpdaEfVh5NAntv3iZ289KL7UetHdeHv+1RfWhXmQLwwCE44A60Jdhve+
Xv6K4vpBJPqdrqR7ze1eI0BE5x+1NLdmW2MYhaQxR1botNEwcGq3QWhcuEItND0P8nH0SUP8nZwj
zi7VsdBCEOfKeEkcs/AN5tG8MTVrk/gnYIG4W6cGvKP1IIp11l06NCwM/Hm1qJ44uqMPNruuPOok
F6BYUBB5nfeuMQ/nxZloTR3lw9EWw8Ho1a0+dteNHjmbsZHAECwypH10y9sKtwbgChsCcCtH7ddG
omxKOEnnB8/SN5jNXiwmHGswTPuY45uoKcO+S6is7Z0ns1J35x+xNIhms3gYrYBSk4qjm5reD6TY
ER5fmMVLH3g2i3uZZ9aQsvZr2RB/6U0FqB7udK/uyHp0/u2XHjHbGA11nPZ4BmkyaqjyxtUIZMPm
W1zX/HzyurqdF4LOgfAPCC5Yo2tfBcElm+WFt5/H82TUY+kDEeSYedaPwkRUJ4eCMoUsv6R8Xfi6
83BeYBg4veMweOx07TkhbGCq8YU7xVLTsz3XKDrsuQg8niqv1HZqExp3oxqXF9a2hZE/j9jUMZy1
0eC26tkQXst3B7hLpN1r4ZfzX3ap/dkcFk2iF3JETms0yh526KoxHrO4g44lLgzNpSdM/fZh5w06
PGtd8BtHJM3aOuTNwwqpgaJ7fO7iwkOWRtBs9sZGOyZAlLi9JFoJ+mwcXz0TMskqlIFz3Q3Gmk3j
oayddIzYjDPN99em3Ya/PKuzvp3/EEvDaDaDW8Mf7dLg2Jy1dbQKEmzuYhfu2nWtzyZwbdtqoUGP
xewupXKpaM1VOfS/zje+0PnzECZ2fiBqisE+Wm1wcKpX2zHWVuxszre+MH7mIHDHHgVmihmHcu2P
lM/aFPD1HrT+qkC/Yc6mL9NVVfPCVI6pmvzU6tQ+QAsuHwLXin64Y3YporXUR9Ov+zAL7Hyw1RBm
6zHJ7s34SyyeZPf9fActNT39/UPTalcWiprTtGI8C+tOzb/U5v35phcG5ZwD3uTCTYLRUo5O69wn
yPhXlVL6143JOfUA8DOqd3B5x84s4k1fA6cz+upSueHSsJnN1igRqZZqoXJM0GDCetr49c8CPqQS
Xhj1S30zm7AFxDRXaxrlmHuWf9KHIFqVYTM8ne/5pdefTdieA6Hvmby+i30wpbXQzV/y6msKqfD8
AxYC28YcfGClmK2AXnKPqltCKul0/VYLYAVrkoruVRIAKPTw6v3VJB1Mujjxt4NdYQnmK8XTOJVg
B6C69hCQ8wvFEgvjeM5LCCItw0edn9zEALyeNPeu6P9c+LE6c+H/w9rGHJjQG8roVwGLSBJNxqtp
7ShPJcXluGh2dv5YZa5x9A1Lvmap3YGbFZF1Y40q4BDbeU2kZr0YhdleODEsfNs5XsHLnAjGJz1v
GeN9HAPXitVvqU3Bj18ezv/gpb6crQlu2xctHtcczUG6+iNowJh0H2XE55tfGPvz0vwA2yQL+1mu
vKQKNpk1dic3iqwLKeSl1qeP+GFBkxhQWzaEqGNeQp9J+14FnAVG5/y7L3XNbGGIE3wgR8lQCDvl
SfXbHzHO2yDXr1uN/88drvZkMMZEA3QIOr0K85NCpMiRV779bF2QhutnQ+BzTBis4yQNBtio/8lt
87qxObeIqyEftIlMlCOOqDUV+JRXGVknTqlXNG+yGosLz1n4CvOqYZwxIZjUXEtr6VcrU4Q3NYqv
lW3IH1d95nnxsCY7U/Ukg6jKQOniYQUdGmbHqogQCZ9/xMI81qe/fxinljoSLqQc+ShcY+2CMXRE
u1IjfBKVb+efsDAT5vXDlkE2RIkB2et4cCWeSUzmUjxm6QNMj/zw8jFQ2iqwbHnEw2lbCqC1fXMQ
ALCve/PZHHYcnHZrhv1Rr+u3oK03dTJcsm1bsKwx5sXBLQUEBlhw55i30j1Edio2fhfrSJdzx3zA
NAGcusSlE6O4wIHcWxVmcUjV/1F3bstt42ravpVVfc4egCRIcGp6HZAUJVmyLMtuJ/EJK3E73AEE
N+D26v8XSs+sjmdl+Z9UzcF0dadjS6JAAPwAfJv3KfUYwcfOsb0WJnPHkXS+rdfZe8fo/mg+vNkR
aJWRekAu2X6oA/A0wdp4EoPngTzWkIu/Ev/8U337tv5sbnrbmgEh2QfInIAmcJJ58+ZfX/qafvdP
Fsq3JaIpXxkSnWx/r6G4flwsd4h8rMnR6imIu7c8fx2shSTcnfm20ilyPv3eTgbRWMiSodljhqz4
KvTRvL2d96B0uylABBYyQLTl5viRVgmxRgfJBxQZ4H7lXPp6Lj6WQ51edEr9Q1vPJu6bN6fKLwAX
QgF7LDyQLXhPSGxBLySB2C54cWVdAJqeVh+05uSmokGw69uWnLOuzR7nahxAci383egEkLBfIfAS
KoJTOni2N33Bvb0sKvKBNYDZQ7Fuap+hMZuryB2z4CJ6Zzl5vSihKS3922VtUbzQEfsRCbooFyIy
O5UIrlYxzTkEJR1IyEGwv4TLq56seFrbdof+Q9FJOnZjUnRgdIQSuOjz4g/QDHX4Ajlr3aJSgcl8
etYUqAC8wXUTaNxSG6KaYj0uvtL3BR/n09SBDJHPpPv4r0f5BxP1bdSY8krMcmAQduH0WNkyHLw+
VlV+8HL+c8eqt3FiBZW3rraIv6/YfMkX/ZFySEmDdh2KoHnHxvzoNt6s5INmo6uzxd9Pub6Hbh2S
pp6XgB5F//lf99OPbOSbxdZz4HhEqRLfS3C1tf/qZWmkluyd5v/AuL8t5c8JeEarg1HAsR9Ic3vk
oa1QsPuv2/6jqxuX/1/sO4gc5RAIHwyUEdxsPe+BLnnH/vygW94W548+QEk9nbG5ZB7o71ljSOKe
sx0Jf8/haFr5T8zQ2xp9sXpZ22LvjYd+apHaXFrukZbYmctAWbHb9VBZd9oKJbhTnf+cD+lt9boI
RFmzvOP7jHh70UH/d5xvW4cmPzcgbxbcmudOXTNsybO+nVHPzEXo9tPP1dS5b8u+qbf2qpkFri6c
OZxddqjq7n5shmhq8nd8kcYl8s8G5c3z5gW80kgKD/YoB/aT1sv7HWlL6C5xNUQOcFRJLrv55zaI
byvBvQpIJVB/UNU1Ts4d80R3doYGTu1SvZfi/gN5FvdteX61Qkt5taS/zxElwRG7414MozLfEa/A
6Wzq7EMzQFc7LZb8zh9nZPBD26oeQmhEp08QGoBy6Mh59Y7N/MEj+xYbuzgLJKaVxrreaFAGat6f
GHXkO0/tj65urOhfDAJWxRRchprvWSNuaglCkVO+Yyd/YIjfVoym9lJNYDjwvQ94T0ZL4BPuRHMq
hurnJsPbilHaebRLgxrmwCuCj4gW9BePu9Aetz3ZvP7U8/m2WhTEXq8bW9xE5QPe0JD7VUzvDOwP
Hpxrst1ful5D7Tx37AKWHlvBj6tYNNw6aohF0GUvChmXW6lE+U666g+s838rGfUca0CVNiwBrXEs
z0QwhmyE+hwyvz3+ztr1oxF/szLmiIqmYJPz/Vqt98wDbM334DMdknR+N+fmBxP2bUF/hgKRuuYF
309lcK6H7o6049NPjfXbYv5y6ZHExnNM2AYFac68h3bB5ucubebAX8Y6m0CFh060v5d6uRt1tlH2
e9o/P7JXb1MXPUDfQFbJ+L5cF3AJBIdInpiWcjdkGpAvz6uOfk0A3ekITegAwXWSawewUAqGU9pX
MRI6fk4EA5yt7+9zkeA76BHnx1GTA5ZO8KIyyL8CR/n12pH/9jL/e/aqEEwChK3u//4f+PlFNUtX
ZLl+8+PfH5XEv/9hPvNf7/n+E3/fvqrTZ/nav33Td5/Bdf/83viz/vzdD5taFxr5Kq/dcnntB6Gv
10cLzTv/f1/82+v1Ko9L8/rbLy9qqLW5Wlao+pc/X9r/8dsvLhbOf/vr5f98zbT/t18euuJvx891
Bdv77Wr/+ZHXz73+7RdOf+XQaIe2Pnp8ejW/8oNf4QkIOLE581yXOTh41qrT+W+/BL9yx/N9gpRM
D0ha2+zVejWYl9ivgW0zFgDBQVlAQXH65T/b9N2g/GOQ/lYP8qyKWve//fJGOgTqtswhgUeITXAe
xzx6s98UsmOMgHywCRQ59BM8mfYIBaQeUMIQMgg0xO7BaA7ljzxdeDzOWSz8CSlQ1ehtKitIqrYK
tnNffYWqCju4zV2r8k/m5wGFI1EHPfSbHhAV22reWxC/N8vXplPH9j0vAFCC2G+9mZVnLVChdgEj
CRChXDIIVY7DXYbqNOwxWzuqUaIQ5gxKgmvvHsp24DEgLk8NA0GyGpp2i3qXx67KgKUL6jH0PDXs
SEMaINfwuzR9bXKw8KDyX2+nlW+v92+DfwoeFErVa9nGqs943FVgu3BUV6DuAtTv0bMBwaxUk3jC
R5c+pGsNeWUGlOQkGx5La35GbccDhPE+oXARaCTT3w4DQ0NOZ9p7PkrDtP2Or+u68/7H5u/PzoLi
BKEOxSz0MNf+at/6HnCF0h7mTT/0DoiO/oNTpuV+6vTj5JEZLPTpYLEAejCZsqMmKE5IE0vB10VT
JqWc0L52ae7/nnnL12A2gDNrsAH6wRuotr4q/imjrrub1uFFV54XjZKy2J/FeyTr6wHr7a0EaAr+
oTwI3ob+qhLyQhZSLzclMhYPq38D+T99GYkMtqu0MFA2H0M5qCxei3JH0t7f1o0c7zsBAS9LsrNT
bzyrBgRRFFBFaQEScVsQTtamv5+hcSrzct+Ixd4BchMSJWCNQVGkVpUlcx9sRt8fD/mQvpej+kYp
+DpEjs0oBx4ZBTX46/dDZFc993SXThuvgUylnOIKjobrrMuBRaG9Y4eTC1HndqmOVoZZvhSN2kL2
bAcQERiTZjiAFhy3JX8vT53CwuDbv+t1z7P9gLowWTBY9tt0V1qWc+/Zpdqk9eIlTA43EE1e9kUN
tEjnbfspE+B7rDvuNTQu+/I5r9ISjD/Z7jNH0C+AG1a7tihuXTDPASkCDbLrCh+iluVt7QY3fQuC
T1+yw7wofueBeALdGvbU9ZrHrBnWmFT5RZYjnqspu5HpGeSg8TQ0zpG5U38v4ChmdnbnMMuP2waI
OO2nKgYHOEjg7Mlu/OlDI6cvtefxSHalu2cqtXc9m6DeSBdrl02IMvq8KE4OnwEd7OSrZGMdUmdc
QRwcP/ZeG2yBo5Str06eEpGg8stYgNAnREBvVvq1G3wHfKzlAGGGBYCpud8gPQkL/owkkNxxJ2Dr
OifB2cSJXAR4St2A56ftfgPpOXDLRLNAR4XquLVWP6zt7Es2eDHixMFWSRe8M4Qn6s6VsaZAvaxz
vYHHqjkPdPgsfPvcC6vYWY18hQfB2voFl8nY3Ze5GGNe1/IW/joZQfUmwl6DHUYAmqJWph8zSMzv
Mks+5O267GYX1M3BZzAIdoIFiMAWOAdvaII7Jxi/DQBK+B5s0gMm1F8YyGzxKKa7iaOtJQPZwIOK
W2iNMI2YSvkNLoKSzqrZewDxRCh84HHqecfC0xfFlbvV8FZuqzW4q5G9mw88BaYUVU5tB23qqunH
aHQtAjZy0EI/m3QhDqzFLW2mCziUm8V33WPp5vzGRXJ9OM1g2TSAMbFuPEkNXejr/Mna05R9HAa4
d+lY37KJp4d5f320YPPqqNWNjGWKwM8KUd2FTcFmBqMRJMHHtYCOoD+OQL20uLI9n6diCLZI7RGh
bGAg9DTLbe4MBjz1GdFZ8Dhr8NCu/WK1t9d3k4KcBs8tT6WfIYu+oDu/mZBsl1npfdV0WxshzKOs
nPbb4+4X4KmBJYsFRTe7voFPo+s8Ky6QHnmwrG4rgK0KS2u1kLPqv6Jca90ufAEUmGVbOLLJF6Qs
75ho1RGuHdSmupN4KnOuYygmjQcreEk7Nd1Uba9jRwK/Q9dpOnozOF1BVuotpJ06QOvIVxcgCatY
9ssAh1QqEYt09dAlxcqhWjlUGxzv65OkJBRTijBBAV3JRq/zrWxaHi5i7BKUGoUFAdFlaHo/WTrk
YhaNBq16AA1pGqtyW426SSrXXUKMrnVsueVsXFlmwGB5RwzsfLZl9txICiAe2PLh4i+fXQlHCfC0
j0tWfIKmpbu3BvTZCg4ksnw0C5ULYhlt5bGoKY9KFGhGvYOgW5kvmP5s/DCX1pRwzIBwHnh9t0IR
TAMHxx17XxDg6OxyebnOV1zuMXAHHV9nS7EY+2PmMdi5HKQpVFhqHUSpwtzAugkbgacC9ffhAO50
MmzG3KN7FWDJVThkx9k6gfLY9Y9FiUZnE38pJ+SITVzd+WWgIuTzwgsECFrIyZKdJw5ijQtytil7
0vKeNnzdAin9SEaHHvQc3CiU4R9Vmh/WpntkKL3cQmRsiMqMyM21xWs2WMmoWBdWkD0aph4E6Fw9
uUPQ3hVBcwcesg+YHrJzFj3/TjyW33r+WWAm7bEzekHLvMhjChTXYeJRMdfu3renNk61fGiw4Ulo
B8wnI+V4mOw+khjm29wbEl1bzRZ/yBCw234p2Z0Lalsygm64UYT+PuHk4bST/ZzaZVIx0h6AinD2
VV09d5DpwNo8cTBumyaZzMJeTiZ5tIUio+l3AVLopggCTDcmQghULzc57ZGlZrZd4AawaMi82+sQ
IBKqEiLTkx7aJplRdLAdaV8myFT365HHJE1PlSN4DLW2D1Wq6A4HWGAtg9TdSITtwKozAJvhIzjy
LuLm3b3VOEsI+q61sYhzf+1kuAleUqO9B7+whLnHNm9Zc/+IVTQIRxwLwkll2IL6414LEEzsnl5K
qR0MkQq2eeMBFxjQMIMX6aSUAqh9yO0wY8jRuOofFNY8xw2oFNFK/Tqqnc7euSptI6vIuk0zxXId
siQFcmq3KrCfqaOiDMGCUzbXX7RAzGwAevtzWvzBKBDSSGqVoD6WOkLivhf2lSBJOkBkCwIOd1S7
xUfliD3gWC2kazJImyDf5GTLATYnpRu7F8vDCojwQ9oivIFYAZ3q5SLJMiLxH/zCSiKXVQbDRWi/
uUHS2qWy8p3GBv6OlqMGek22WxH0OQQL2bwFv/0PgHOHo786IJnnKHaGstj1ISvqagoLXlhPtT3d
GomPDhi+R4HIEQwQkPPDik09nfAjcPLD0VnGDzmK7z9VRX5LCmTMuW33h5J6CCthbS3bmz/0udw4
Yp0eJz1BhcFqP0PprHjCOAIHCLINQgcF+IHLdNd3Vh3N3cpPEB8ikfCe7QVpSHWh2ihQVTRNa3+q
e1RSWKwtoSmO/vLnxkmgJPWpmJl8KaW8LVsQDYdRPqJ2iu7sLq23PAs+22vFDl0LIKwmXvAELp2Y
8ezLKquePNYhcqfkbYMC/INdF9nOBmVjoID+5XVdbQOsEHEPA4ejint0NfRJ+25owMjELJNFEYKM
guiQZOk9uJA5/J5dk2CYfSQC2xSPe6cOOdZfraW1S1e2HTJVnHTbjvsM5F5FwE8dJeBN6yfo3NBD
2tcQLM5wk3Pd4Khoz1PkSa9LXHc8D2K4KZxIdJU8Xp/V2R4+a8TZNl6gnd2oSxg4C3Gqet3PBbIT
inWxIsSCYQ47iCZwuNUUR6UjxvIeC1eiqhYvTRBN7Fz/oHWB4ygE1JZyhKXKYcqxCjOwx60zdVMn
nKw+gu1qEmFDS6/Km6duZdi/sOG2y5o40DiLuFYebAn3n1vHs6Kgyk+ThSK2rEk/aHdy9hZKziKr
7G+um61asovqVL1vB1fiqWybyzAuCG5indL+fd1NEpBP4eNMafbkldqwyhkeJtZ/sQIFbCcrL6kP
jSynYw9iW+XeAcps6z3AwyoCobTbzOsEhUE+JRNs+30tKd20rfiqlrY4GWueNSwZ8PA+qJzdcTBb
Y0nAPr/aN7YQ4HTAq7wd5uqTB+xoInK0LQBZ9J633V1tLg6Mn4cRpS0IXPjWMS/DBVGM31mp7Lhi
PEWQs3bDwF/Gu6Fft6kGK8bBXnCb0u7OG9c6Ub5cI6RJs3DVwMCqvgARvQZzXuXSDR26lXBS7Gva
sYOn5hsvLaadGNM2bOdOX0TJutgKUE3AoUjgt6hobddk9kVUWTLq+vEs1Mqi1E+fBjLVd5V2bxbt
nTKjBeqJXAHep/p4cetxMyz9H9h+tFt/hW1ZafthXRR9rJR+nUhw6djs3gAjKKAFnRVbqObC8tJP
AixSVLNBrkTYxN/gEUo3hLM9ItNZnHnA2C6o9dxD7tS6V4UTp272hJw6mBB3+EhcZYcN4dYZq87R
qVidCGZlN3OOoizEbOotg37FzlYqJu5iFOCxsqR0XMJqTRFRmV0SqTYrNrNebwOLiN+lHVpZuslb
kt3OQNBFGsfknWsy/tce6mZ2jQ+LlK2J701jCdaCwzARyG1veIIorA1LF3O3s1zsMHPApUe6bxHv
Citzn3BHbGp487EnjwjDafb6EGSFl+06PtJwNKcIYUFhyykKhcsM2Z0X1Hs3rbqHUokdEir8bdZI
CxTqao4Bj5Qbqm3gHbl1X/e6Pbj8ixrlDoXk/YOj09ulIvKs7VtRNGvYmrOPG6QhCabyhrki2/We
A3UEBpByPXwpbFGcZqis9Xzy9zX0S5oKeGCi3KRDmvPWKh5118stN4vyWLHfXW7Q5GjZja2SwnNA
0ETYcg+cDAoB/A8EUKB5bkuQD7u4EcUr9gtsY8vxsRApuZdr8bFb86++U4lb2pYr6N7uurlegqVC
hoEq1kPm53U4OszZ+QLoHVMXbY0raiTc/q5zuH+cgq9czRQlDbNI1ODwPRSCPiGxf7iRuo15kKdb
PXdQ/54Ay716fa5HSMX9CFmsZDcylNmDQ4sdCWI4t3i2toN3g3qJ+mMrSgf0PSe0yCoiRoPmy6hA
ISfcgVBg6j1MeXGfQT92I0Zslkc3yI8AohVRQV466s6fxsLKw66mcxjIYEkCxqwNTAl4skHtRxDp
hLOJYNMzqbkB1truIimb56sfB0Vcm9Xl/W0gABbKm/xuBPzLyzV2KtR2jhQr5PHqFIGc3HymyLUp
+pUfKSYxlpwWVltF6cqhfTLzT+0gSNzP7AkBtw4OFZfsKqefIqjTzQkOowjCwyMDppaXKF3P21IH
90S4FyZr/27wNh2q5aAAx/VmbGkTpe3Sb/JKF6fBxXMAKT1xdEdEjlvqFBu3gvwgtjApppt27u2l
7XYuuIgRgGAx5el4XuxyA+qtG/OqwUYavHbkIZpzfYvthRiqqE+ld9PjWImF0vXpBorq9wIioxu6
FvYexVZjOE1B4trwUUwMiFvKRXNjt/knXCxRcC8l9ow9B9PYQrG2Oi8W9qnBjC29l7u3qQuJh5X0
O25pEfuuTTfX3awqiymE+jKg8WnbfErN+4Wm+1o3w6Zas7OWtb2vCFZoxvVD13VnLofg5roVQlVf
kxCdXdIWuT2Qs5ziGYGFECISv183un71yUZK8823DakS7WbK7vMU3NpKpewAMAMAr2vAwtQD9ZnA
nxOCezxhbzIFIRvKr7OVHq6n1cajHzy4J+9gR55kRWV03fsCiASrQl2wa5e03+Agi0ErCXsgNYgw
fVWtG9tePhM/CGe+1rEotA+0Lzs2ZGgSmetE6lHt4f2RoQO4eIj7pzs9l0eaBRWERt0vzRhMSUAg
j4i02gNupwnbrPMPYz6+tsG3/XuOnNiVIDVz3U156WyA/XiZ7bLetsODteRtbEm7jSm82uE3O+qZ
tV9yq36w+s479G0znERbkq3UfYKMsg/rUM0XH0H9C5KG2rjJcWQEnPlgaw97fwcO+60ucEASeTBs
6rIYo2CYkGcECUOcDiS84yiNPzuKyi3Nc2Tk1UMfKerjiDIt1W1m/uilUCCIQBR8yFl5mHp3wWqO
xDbPtrB5zUqQfQlSMqLV7q2o6hyA5LOcHiErFVeeQ24l3ABnwoDfcbXa1pNqQ1a16YnbJD3lpVpj
1DMFEVGrSODf0QZM3e261HuUcy1BRmhacKw8Zw/ZtOGg+3WjeptvC3Nsug7Q6BZy06dM3IKHVGw8
5Z3Hfn2dBpGesbUYtqUNBDXyAwPYinFHfaaP05SkVl6cfAqjDQFiPxKtRL6QeXZrry43lt9HV4Mz
z7UdRftq5nfpjMU85a/wJX51kD0T9/C3IwUwB/LXDeBJhyLR9dbc6ZxmTH4VjrNrnLE+E5HBBxMg
PsZxFnZHsHXnoLdDkiGRUxJ4d2vhBecB3t4oy11xLOeozfQYMxcGbO6L5kEVbMcb6m9VCRwGSwPr
zFWT3eN8GbeovYZeycnKZucePvh8iw3KqZrQuqVvSDRPcLBmln1GLGWOrgt+vbABGYr+DTw4FkzB
UqMOEbMd9C1rmy3iVa3TQQw+TXAumnhLH93BL+Ems6xY2M4OW840Kd1qiZbK9ULmW80n4Z2mmdS3
Vd5d1NhLsKA50goA+YYIqqbJ9QvAIJhRtNzORyT+3n9beNLhJi+w7xfGu9kMwbGFeOEO9mIOcwon
i7DKr30j8sS1mnvWsDpuAK/eZX2B7pcQCEfq8GtJRZaUqQUuXO9UN4sLdB2jORxTiG30cEDE1doG
kUXrCLdygolHyGB2hy2wBS4TTVJqtS9pvXyAD5KNREdmh5Ow2Yb9zZtDxss0nKshR9Jf725buOej
vnGyuMnWcZMvuTrZ/qfrOR2HlrPdlX+gUsYJy0CkG4c4aUSGnseOcSLnCNDHna9x8En97g5elkNW
jnJTmPlXpf4nguydmJRYGNJ0TKMMQnDb1R8zbCHTqAzgJ/hfiXneFi+d6tVX/Tbo+V2c9P9QZDT4
l5HRLYKzdf+6/DUwaj7xLTBq2b9SxlErzZFuCcCDbXLKvwVI8ZKHsAjCoNQ1QSuEPP8rQuoGv2ID
DNA2vHEQBSMmmvJnhBQvOQH+8cH9QzQFL/+PIqTfBz6Y67sg3lJqE2x8HMiqB9+HZcbOV9hfgaQH
2F1UemXo2y9NIeIiOK9uH9YoKgc8ppqOg3PG7A6D9GyzLyNCkm3QhU5xX3YQi1jOcM6g4D30EBXp
yBPQv9r/n6Xd/bemvpU8A75Y51UDFX5vfO5R3L0+w2KEpeOG1nCkKGj4S4D7z2Dyd8HjaxHfP4JC
f36hiyAcpIdZYL/NJhBLKhtovs7YOpfwhGMn5lvXvwuJh8w+1keCA0O3K7oqdOuXrrmfNQ4s4xF7
2V580Op+aV9kg8xuH4cgGqLRsqQhrOOCc+TTVHyYJiw69jEt4F7GRWr7yUb2BPreavPNPD8tVhst
+Qe/OMrppcI7KHuZuhcvu2/BHkyLNQ6wn8LXTbQK17GNzFWG5snOo1UeW/GhUF3EhypEQ8X8MksQ
3w+mKGxd4/yh1UlXxKv3gsKcCONuD0+cZRvPfqm98zQ/qeV67RW506AFhXM6JTp9Qeuq+SVLz2hI
J/soRySjQKTOukUfCOdJwlNVHVfWh06f4WiebxpoBM5lSHAd4TZRQSnc+4dmtUKhnjz+ZBf3XFgb
OZdxVbxY2XHA75wQk84np/Qr009Yrq31iBextQn5NMdl85QjGKO9g3HNl8ULR+wEv/Q9K2TFhsij
qNsI89KFrV+mp2zuwyw71hgMxychR7gjzY66PXbIDh3hraXWk9UnYDq1Ezaoosd69oXqcmveKWdr
I+DDqg8iPcB1PjVH82yYfhxxiM13+Eaf9CE0aTvxwXzCTZ/SfGehZxyyqFDb9OhWG58uh9ktAmxS
nxZ6Tq14bI4C6jq+DHtAs3A3wPyAlrrD/Zoec9CORpXYr7cRTcstPKPRLOeYVaDC4b+WPPGgDBt+
6PQLy+/NE2jaT7wvYFoWeKKt4EzQTHxhS58gEQk3SRfS8h5fD68fLozucl4692we/wZvUfcY+254
MV+de01UuU8FZr9pF941ZbhkizFLQ684ovW4B8xMTBzdHIn3AiNRCBoiKg6FuhC/rtJDPd23JGxg
LXDxsn+0rzMGzwJGDb+xpzLsDzVOiq73bl7A91la355gjjQKSijK4ey3OW6OVXDh93rGYUDGBbwr
y+92cEztZwsBFVejCTWeL1i78ghPXEhFHY3IZ2glCv77EO7MnUNkjJEoHcyK+pjy50o8u+N7tsZY
2beWJoDqGxQmbY8Eb2tHchuhXz3CtI0eCiv7Z/w764sxbdqPYO7c/L08A+9Nncq3vkGageu6WJts
JOp8b/m1bosJ0T0gKckNjoBhWoPYvCDxYdqiBjZE4cEusNEnCDjJpsYqICPm1pHFL5pdqI+sD8NC
QXJVilMXIHjLUMBtVoSDfvb7LXZpsVou5lP4qegPcJn4WuJ0incXDKG4OkLEFWilWOMcOUFVbc11
6CwOsvYwAj32+BYL/QHhLtRVoCoyLFtkkfTPBSidkK2OevGwenAs20elaOQ3z1OKy6/Pczz7VpQv
LDbFG/oZwlLgbDzjDSJ9hoitaZZFcJ8IW3OOG/RcbJVJJG0Z5YEbLhkLORz5FZfRnH02t2T6I3Mu
phjYqRloQw/4Hp9eOvGZFWgNt3BiKELGjgwdUrq4aEsjDy8t5HlsIGSqj6vK92kOXA3BmjVfMMKm
d7v1Ot7oyhK3xdFBZBAxLN+E3EgMPF7Iyzomw7P5hWkW+p/itmV7ZP4FL3cWbtyOKbkU3TPGDoNj
Oow3z6pFoBbtIZokptnYiiRpl+3HDiOZ/8HpZgCteCEibnCictAuiFLvVwxjMSMFCGSnaTuu16Gu
3QtGETqqpje8IGqy2Ax9VbHQdAqah05tcS94V+Ddlji/DTOqYa5PnOIsZJjAQnQbH4XDUFxD/Aa9
oOooT4vrXeUTC4dMxqZHsRRYax3h3ky/O6jS6XzEpLYOCmNN29GY6wQluCShOE4i6II3ItUg6pHt
Yhpkfm9+nlsL9TbDtl6ewbF7zMeIWZ8DxUJvfUmbmy7f1n9MpN1gnM2odRSXm45tbpv/DRZJTP+Z
O8F4m+8xU3CCUm1s/mLevWKy5AHuC/PUTIEeXJ28REBmOmKEcX4wf0MnYtSKqgwVOprXiEhXoXkB
/jJbPZu+MduXCmsKwdNW1hTZEDLCLMEgzN6zJ1ys0hc8WGZyyBJzF02qKJy6CxqMBEfHLOa77pSW
z1j6xnbbNFsHSRdyNI7fIIRPFnPEXPhq4jCoH9z+2TQYhCgMzhDmBNhu/+JzzD7xvLoyQrZMqBwW
zng0YYxMC9FYFEwhv6qO8CYTisZvTLNRnVTbdpxjZGv4ncxwEB4R3CYCesZ4mZkm8Aybq8xDu1Fw
SBp/Mc1L82TVPaZVjxOViI3hNe9qZIGYCXq/wLCiV3kDkjOeKDNz4EqN0VjROcYcweWCiNzRmvAB
DMciMPuxmjptlkySoNDp2eLPmY0Bg1Exd4Xsl1hxJ8azTmApMC6Wm4aC36ElFYLmCHA7w8U0wFyz
IQLAsD50C0RzsU/DyDME3zqkcgzGY9Gh+ysKMgXkAtBtNR6+kSHpqnhG5+DJMDeBiDM2kFuz3FQ0
vT4F5l6QIXu9RykwhTGU+AztIs/ywgncV3MlY5TMpLYo7OByUa5GAB3GGfYqzb4IEMg9GpnONK1F
880LHbnl9lcC1Jh5waxrmEYOcY3ZWeUDWpW3Mh7aOuq6o1nujIXC5Oqti7KwqcAAYB6ZrrTs50Cg
SM6PILqAR8eJzbMzrJcZRoOP3cY006xStU+iCs+c6d00aDbcl8gHJIkZGlgiGyY4ax5MT5jxwlMR
YF0w32BWWnmdQmbMO9AUjEFFu1DCjS1puyGJVw2x6fjqOPlVaMbRwTKN7CkohmwxC3BzjeuG3O63
PPhcWufC6TZZilQ3NMp8cJi2As+I+fYSgRCch+BmeoQ7ebKpWRkC3Ijpa7OAuRkq55CtSIQTm5tc
sSC2i4Q00kVwhJbQ22a9MHPMrB82doZ4yVjF1Tu7aVxbmKX+mkAhOrLW26z/2LboAkUSM4/N3DVd
hCEwrVnwRcYIBjDrpueLtMccvRgbCflcOI2QuwN++fX5qZwYPbM1y+f/Y+9MkuRG0ix9lbwAQjAq
gK0BNvtEH+hO30DodBLzDCiG6/SqF32KvFh/asyqJJlRjMptSYlEUEh3MwNMofqP772fC14eBwul
HAJeoqN9osyecl3fncZIuKqcskN5X/mZi33lZ8pVzjM+lrOrvFHSvXLulL/GmPFWrQAQ6bDohnKd
EcChhDPBUcb4Lf2VsoEUkQL10fwinl/5k33pqm40/6ufNw6/614XTnlscYuxFTKcNdSJTVcUsz+y
fRwuVF+pvYT3UldWYQJgFgovmBRctPoiyq7lox3a2DHlw7mYejo8MJPlVobj9/nen6V7niBONIHZ
K7zwLwhF6pMranzxvKkieAlAHZRLUIEI31HHO/Y5AdJ4cdsqTFN7Cmer/sr68Y3B3fEEHlb7Srkv
dZ7VQy6XQjlnztd3d+oDf+l5XurtgO/A/uA1sB1t/Nl3zqWWhxxTb2q2Dl8Ws6Z2oTL3bdltlb91
BKcGT1tgMzrs4lS9UqvkPWpV1A9bjhe7KB7YqixStxbh7xdKIbd/jVY9MLYe4FRDt4xfiQpmYlY2
NPZpUybxTn1/HBx7RzndIUv3svtEtx6/5axXGF/8oPKiyg4JXLba/+rvkAC+2yYWGGvrp+amzLyN
ciHqQCqjp0IM1tVdTaAQ97//EsYF+/1LzM238ICgCwc6uf3L4zblbI1S2BMt8Ff1tLnV1PhUeXvX
Za/ramcn416tKAGH+pYgb6hhvi7YXxW28BLl9XkZkUrzrrn3I+i3y3Yw7pW/czuCEOy3CmjIHbiM
uVBON1/VCXF662Jc1vih6pOdJfs9MYZ6+SRe1XOeSp4za6P+VxZTxX9cyJzt0F0IwzlpRBDK06rf
KA/J/lImdeIuVJyBabTZK+pHys9cbDDGs8gfaQrN+pv6hAovWLvaVkUGKggcUa6rIuybuFex6OVb
8zIVTBLNsOv4G+ENCUK3VZtQuRvlG5UPvazU98OpwhTT7al0YCK/BziWuDHpKWGzlMNUG1c5yaEE
7smTVn5EOQDlNyhJbYb8vaMs2zqvGCKVNuAkUtZcxesD30+ZNKTGL//77jajsyjIk6UfMXPhXn0y
9kUFJpF+pSw8lkaZbYbzqvsxVBIAtdm9U+fEulc+UNnfBvfDrwl26szelNaVsuK8HQ71Vtfv8Urq
OzqsPj/U0gflidWznLz8oL6V8pxcHsOpHr+ylbzl99v2Z+rpJWnzdNNXe9ZkYqivqE8/EHlyBAVk
NFKSwuRgi/hPeTjlMbiqcgG/v5z5Jwm0p1vCsdG4oEb4a2Jqt0nsyfT79dQ+AyWjdjxbTT0C0hoV
Qw6Vj09OwrZHcehQd9hulh7UH4EUIY1K9VhlnuSC+//G2v3+Jv9sTVxdOPAkXB2rZP68Jkk0WnYe
WZM6pypOH2LI/AU9uzLg8bMul8v9g4Lzj8LgL1yfX/7536H+/I8rg1Mf/uG5KALSzwyhv/+f+m/w
of7+f//2uXr/21339/9XfUkVz/GfhKHLR3wvjLt/2AIFUV8IVQTXYQr9R11c8BuTx8jPLWIxW/Eq
/0EcMv6gWq5T/vYA6+N8lDrXP8rimv6HIn8wK5DhYRbv9Czq6f8Gd+i7G/ung3Bpt/jse48OtqV7
Oji1n/eV5YlVVD1geZceu9MVJxLQs77Wdy1YUg9TPshU0lBv240rlzu4UclGVMnjklFhXFoLUVZD
/wAwPt4CktqbGPI5cxkw0tG2BiNRbc1cfrFBwmlFUm27tWXkTabQnbZ1Givvvmn6G5p/63bJaQcZ
/qGmN7dpZmfrTf4HcXL6qDpqDL3fAoq6h4gKyuCQy+mVGYYgvsVpYBpFWK1NtImplm6AnydBVjdY
jmjvQNfbdGYLYC52n4uK5lZtN/gUcpqZal8Va3Q4HTJ5DEO885LuqYhLLWiqegkbGfIMH5olghek
V0toocTmiztmEA1B3ixL0Gbtl1bNvruQpcZ2Z4mZ6LYyto3GfChvycImX4Fo5cVXO3aHsHP84zzO
ch93Q7uxO+PBa9sn2WQnsAEMtAZIi/LdrShbrL++r6HthKbIPzuK3AIygiYehNZgjTyAnyntxLaP
b6MqQS2rRT5+pC9HOJci+rGhHXoadIALP+z3P2kYGBfV3Z92jA21hE3LBvSEqXvKmv5gnZe8rxrh
fhJl/nGpswr3RkKbap67LQtrxwyBaRPFy7c6G+aQ0ZxB1rlOcIE0zHlDY7wchsBbtI+N5mX7siD+
Uzjhy6J2uWkHaEVLBtLQ1GZC+11he1SwgRRqgDeg8wxPxQq2kE7wsV5M5A+qFN6MMQ5bWCDttJXL
u9+Uz7nbXDnOpO3iqLWYkz4e6l6NJoTUVumVRpN7iDaVhHGiRwtR+QzTgZBo2yXGJ9sW10vRgVhe
8yg0vZfa9ouAerw7gY1pGe4XmJjfoaeLsQ7FqUwAChYpG7RsLJhf7hmg24HiGOXGqQWaP5wz+2qp
Ujt0rOSKmam0L2K3Dqd5plI/NVAqTBlGc/S1lM1tbUw+k0D7DFipeWz7Re41gy04gkulKiG/RM6M
NFxzrtbqnOjDUXTt65gmmyVn2wx9H6EWoz54cG+Twrv2InyE6cUUAaz4czPVZdCk1quVL9+aOJv3
7rgTq2mdkpEzPrYM05Z2swOCsYQyGe95JM3GGJcdJX9/azXvcx/555IZOfANnc8R8nZkiSm8B2tc
eODxEgJf/QZfYabQabzKXtZh46oUKB7Jgdi5TCTY1o3FEcynG+51DEizqUaZ8ouucwwmWXjbJqVk
baXGiyE42ikta9R1681ln4xtV5PiWvTy7CQY0kIL3GK+ZyJ4GHl9e9T65eyVVQcnpvc3elU+Z9TG
D9ZMvR9g41cT8ZKwqNS5HsFVOcI4jOUo95As33u9cTYXglPu0Co3+vFeDtrZNwq6z9ME2VZj5uKY
1ORIQD5aDfh6EiWSvtbsb73YfBFT9ReyDxfm+D/PnKe7pmuBxCREAUTuwS37+cxZ0pNF7H2ay+o6
zohQPM19toR7rQ9WaC11s7EL7QFDwUxymXy7HJ7/jQf+O4Rhh4bBf00YDuoSEHH/o/dXb/ju/G37
DwdyNk8OR03e9b0hblt/kHvTbHXUE4U9hcP9h+PXDOMPHjH6PLare9AI1ayL//D8hvmHbeqCHaiC
P5098O/4fdP+mXlLu0hYngNjGbSsR4jy6xQnWeLjqcFZ1EWjNJAdGj5l9jygntxP9bZZ/RvDxOd0
o5AczAyY+pqfDT365CfA8yZCX+BzIMpF/uYkya7QCzKTwn9cPYLn1Yl3MY49NJYvo58kGw3IT5Cs
pUVmlt/GOqkEqBrGePdh1KMVFif8USwfU4vznEYr+Kxq+dCu9tnWvTcOeRa0I4lHFbsycHNujKlZ
bzmSz5vU5tXNrD/HwrxKcq6jjdQo6mF9iHznerBz5YVI09RPZ+S11DvhguV+Ym6FzXUvv+aI135y
LpE9AEnDR85mj2GD7YiVmndmRgfP1QSgfo/hNbm1NZvyhK0npYOQFWRe+TZU3U3vtrdz1HNbbbWb
5+XGjJi7Vrg36gUrXmeT8EPPGIbt5bvMAiSMvYIumwHpXb4QfjcO+uXT6vG5s+dI0Dt9DCDPfVcf
cvn0spAYMTOsshjFjAj8giYhP+ULN55BOanL/m6Oizfh4v2qFpwUUdomKrVHtxQYTFCHQJLSQM+S
N39t3n2RPbRJ+taLRX7nRc0OLnU0krdMastO9UxA/d46w7y15/hNCBZTmAq70+rMMUyLA+DUnspg
c2/Bewr9Rpco0SMfGSUD2T7fcnT8IBvtjgo8N1VP80szAXztO/9xzKQMEtDrqxzrED0bHlcst7Pm
5JtcMYRbw1uuNbD6m6KZhm1TToyWTpNA7EZYxGC1Qm22IJ2pvdz3xdvlEu0U306d/pipbQLr7cpT
5Ri7CdUlYZvtTEMQaLCVp9ngOebiq+e7+1LABkuK7G1hcdqeLny5r33rVGbRoxbHYLuXJKb3lcD2
Zrl7vYYLq4mbtnGeldJeGrGwpefcJFr6Fqldp37r06A2KVddQFLw2tU7Vzb+pBGU0LC/LNjoN9dx
zNPikHlh1c1+IPv8Udo3wGALQnGbrhE0PDgm8k0MEdXdcbomvD9dHJYj1XZkzIyTDS+FWNljPmBI
iAaKL7qtxmF3+eDLckNj/VZM10m7XvkNC5uXqhqv7isHJ7bpl+pWt28VpCvQao7yKuii+sbu8pKI
uWR2l/bbIeofHTn/VUquMvwf/B3WCU9nm7ZuugLv5/6S7bqiaSPIKg71E4wMWN+jGsMOT8R7vFz/
B6P9JzHtz41pZQu5GghMg8qooVMl+9m7ghvCBhmUn4yFkwsL+i0+F7npBkMz7fTau9ak+6g2ze8v
izX/1y/5w2XV738IpOd86XszowqmtDxY87c0onwMTvUv1RrJGP/1SmCtmDrN//8Ssk9llbfpQHfU
tLBEMnrMnZSDHT0utZsGdQKHuVg5/T7HYLLtmzKWAeWGxyr2j7//zhdhp1+frDBsx/FIf8W/TDGb
mr5DY4AQK438oxTD0c7aExrX0F24H0T96LW01ZVhxN+K/Cjz/gjN8lndXRmlhy6DVcYm9/v5Y6l3
fzVazVBwgN/d3S87Yc4zkKM6+67MWxo+2m3e0K64uLI2c5BH9h9j5cWyZtnb5lz/RSWKnPtPboBS
ARGnQf6PssfPe8Jf3cbSaeszQUIc+w7Sqcyhp8/9gqdUxzRT1oWH+Y4G1iaS/lXve++9NmGyFEgN
7WqwyJX1zaq8RwcKA8SyT5kxYKKyB0eYj8bgPaYRmYS2wM7SMwZKWHjs3MCRzNqnfk3b7ZivVzp6
GxaeslJuQnn5TCDmPTa3U7LeaOVobeLKQpR84u7KFgStqM95Km4qt7A2qUu9Tof0k9DqSOPp7kL5
NPwasqY6YsrVGBmcxn76VDe8dkkxoqvC3/RwWePRvrWrvgp9PwqUFZ3UGqi/jPnnwaaErb5qppyd
74gbIyE5KYzPjX1zcR1d87UwxH1JS1ymcbRxlbPKZ/m4OsVtYYtHxK3NyGo2xYhjGCmnLpAz8mk4
UsHZZqV2k3E89LiAJWd8BEvEYinXs7r5ultW/gnNm0+EoAYaKKnFTWSzJy6XUZv4ElFpjEplxGEL
/D2KQxVzuGrjJmrpJ8d7FP5utHHDfi8PA6ble3jjSHyo+Tx1jkEWn2IRWP2LbU99LglTkXfHNEp9
J/j+LnyIaB8ur/v9Sf2OG/rlMHBIMY2eCzqQCXQ/70Uvatd1Rt2GCIeAC/4jI2yt+MPq8a8mR9s9
s8Byx9wSJKuj8LI3d3LhK9QvrfJcainSdf0a9SgZLGwYtQiUmu7sKn1YLLEeZEpw2Qke/eXs38a9
/tI7USD9fDtFo9xELhRdQel+WdK3QVO2YWClB728sXmrppZdvVUFnlO5nHWtOdRpunNS4ybOiUDq
lCdc2QdRZi4PLH2TZfE2rBryZWV6jiRPdWjZW44zvzI7Z7u0caheUqjVVp88uoDu7b6504mAZtzP
JWLsWnxlGqmt37MJY+l9KKvipZRs5W4iDqoL/b6o+zMmMA0um3uZxbZJkpdp3lmJQbTD0/WU2dPi
lj6hs+uYn9t23eNlrzvNV3S+V0D0yX7SvftLTDL7VMhacQ9JkoMOjz2off8RKuGjrh6JijI6i91Z
gBvo4Lg4N5fL+zgv18n4pnByW3e8smPl5ayx2l8Oo2nFb8paTJS8fDF8mLiTjVUScyw8Wm360liM
3bsc+aZjWSCRvzJzIrj8o2GAHgCM+bHqktPlJ97Cxh+6PUj5s2w0SOuu+aasjqHq5SqizP34HS4B
ogLaZ2t9ST3/oao4cLyGebuw8iiviaWHD4fWi62KIb4pgwrNEM4hg43Khmt20sYu+cltNVF/L9CG
vUQx5ORQ2eeXAQGI4HJMKScuG5foqzG0O8S60ItuszdYpzTblW3LbfXHAMN26qgzqAM3p9LeJMPt
0A0L2QT1u0uOorKIviY49Dq5jXXjq7A0ngzuuunF4+Vkp9Z81dXr1yGZrhiHUiF3z8YdeVTodH3s
Ouuhc5O3omZXivrktdRiMmWEyumj29afJ4OE6LIOM+ROOCeXgFZmmNSIPpsmICt1hruL2BfoK/Mw
Lmf+f6v+fyUL9vss/3P5Vr+nn39M8+3/TPMN3f0DWR3XELq4KIARq35P9Q3d/IPuFbaTns1FN+w/
U33D/kMg+OYryDXARE/8UxzM0P8AQw/FynEo9KMg9m+Jg11E7/9pxF30lYA+gu4GaO/qFpHuz0Yc
nEG2ZrMcDmVLHS7NI7qo7ePswtkaO7s+jhNcSSOSOrT9oj8y65ScTaljSL0+dK3jHSg+UtH1pnI7
Mn0g9Ps43jVzeefA+aMIENWbKJr5oLVvgRcVcp+O/RLU1fpSz/nwNDrkb77hbxd79s9Trgr59Kt5
AbCONgNHnNXiaNHd29tGRCMic4q9Db9v6yfD89jVhypy/koJ1vk5zrosC+U0mh/UWf5EgGqU/lim
LTKqg+7cdLZoDylvggesI05ujURFGn353rYp+MJKPV/WqlaiOwaT4Pd52r5IRlDHenPrGom2qde4
AIxXP6eYIzLQ7tSkMwkpitIzg8ZvBmkNoe746S4yEn0758aHZIjK69iz6FagB7+/cKzqwXRhfFpw
1hq6JWU9pXtLLm9L5807csUX6WvFla/LK2aZHQkfIfunDvj4Od8N8ddVS/dITNTH0kqeQOjkV8P8
V4NMzZ8rR9+XziF4Z0ebgHidX3IznkirZ7ELUcBHY8hEpXWrtyTMQ7WhENYEVgwNijJvfVyqRe7W
sYTcS99SMz9bRQpUrZLXhjswZCyWT340xTeeYnaROXOOdDTc+M6VApRoWlUH/OFtNQZwb0gbDEAi
9V8hPX7O/tT3oQHGybANi3qd5fzSbS6oDphzYvQHuIbpXszpoRWdFupmne670vhYxpWSHCsOJaNu
/2K6zy/p0OXijiMUd8blvJN8/nw8B8bYDDDGhkMPGW2jz6UJK7l4rNSDv2ycZX2RmbWGVYK0hAnp
Fx/m52ie1O0BzY5vggdwzM15p2mavK5aZsdUIyoVvw8GfylAf79PYdGQp+9oeJdG5o+5apTNTkyP
bTiwUICnJm09JqMWJnTzimiNzgkE8I2LuDq4w7rfGWX5sNh6Gvz+NiyanSzIz/bMt1EKFK7pGa5F
EfXnBRNNYVc+XNwD5a0T8wKRTJw3GkzvcGTkx5ZdeBcJswV/iZyBQcSRrN3XTjpwNQ3nRnOGhzin
NUfjwLwWqyFoJUZha0JHFVn3UrnHzC52lgsiuQaCarSNizjxtCtd/Vhr8oVhPbdw/q+kBkwvVbXO
0Q1KYZqnYkkmoBB2cjVXT/oKX7dpCnnsG7Er6wEVoIKBnsXMpMmEQV1CZnGYrqjkJHH21KZ+t8uy
AdHYLp9OifobY6UQYPLafuuMIAgpyXYQMDS3uRnLPOzjgcpTWR/bpp3CzEWiyPLqNrSQoHo2nWVX
xwhbZVPj7hczKcCxaGgeWGZ1WxdgZdK4zwPUcOIzODi5a5Yk30UARJayP5MMZB/8ZYo/1gjZUQZB
9MkX6A2M3rVch2+WbT7YIrlbsfNQne0Pi4jvrHEtt+YIzyTTm09lBxOhSueXQo+dnfOGJmUeLkRR
GIciB4aiaVTItGWzGloSZrVGMJg4djDAjT8kmQDPO5JONnYL6bKSNIxyiEKRRrhtXXtJc1wX8MkZ
ckiQYhWAvo90hKH8hFAdenvseA9lZ36zSW0JHuMPnUKrDDraJy5t15Q2KUMJISU51ltW75NybrcS
RnWE0gEnS/uQ8u1s92GJ/A+abz641jLsmfuNkI20zJAmJI4iX64Hrq8VhkXiEggi2m0tAcv4Uf+8
ZFV0yKbuq96On3vXn0NZjEfIEW1gNhQ/kg7Q0KASiMqIb2q9TsNW2M9pu7fMxb/JEHFAv6hFP8/s
kHBpmi0yLw/QhpEk6DbxsvrYWuPJNPqntXGu5qI5RMNbZDqfS59eJTIzSRgn5tmM5E3nI7mT3KIP
hZQBOUU5rNSMx15s18neorl2XhLk2LK5+uxZCEhEunhFQgHrTb96WK6M1bqj/3edaN2n1feHQNcU
J2iqnpxmglMcb7UquQIiVMDHRJ+m6F/HpXlEjkbDi/lDOOf2/SDGLJiQFd+KZu2DuHWTXbUOQS3X
6Jo/6rNbwWrNtFd9auJAN01G4CR9ciezxN5HlkMabxXNxvc74xQxuGGSfX2bJThpkQmmKFT6IU4N
k1B9eV1SS+60uGaREq/eMJX2rh2Xs2u8S/woeENt5UC411MyIdqC6CkEZ1LCkdkPyMMY3SEvGDdg
06CMvd65jbup2C6JS3W7RZoyMW4QTRuu9AFSVaujWUYSvZHm8lHVzCmi1NcRk89QdIjRTF1N2O6t
+2xLxEgwPZMCwkK2c+6qScgbUfpnfS7i6xZMeiLd2yjWrGBEIiTQx/lYVwN6NFO767PGAHcJAi1B
yi0+lsscOHHN3II06g7AHozZ+ZgsebqzZfMlS+qvfRbPD9S0r4oE/lOnry/OXD/b6VCiIZJPQSMU
QPUo+vqQ99F4rJbWCc24Qw/KNj7Nhk77Ns4+5n7xzUnQf5G2jtoxFGGxrMZpqp2RmyLD8RRSNoq6
51zvXpJMmuEMeV8vS7H3anmteV1gJUiZpZ6hBYOfNjf+un6a6w6pgXV6H9oEFb5a/yCquiblhpSc
2+OzpDcAtjhnjHZvXkcrvRHPyQ9u1l11HfuG+nZlJWEKrm4XpShtYc9NnqAEyaHFemBJmwS+zl8z
wljmHicfzOLGXwx5ZhTAdqYUinq2rnfFtmwR4VpMWW6WlSywy5N5B7f4MLhZHSwVvG6rl+8o8nFy
dH1f1O7rXDKWwnrpFzSRFl+vQ6qdm35IywM09NSq7t1ae3KN9KZPv8aFgGuA4J9MLWcbJ11gSotW
gN59WBYGkixOtN5NaArxsy5tkFdC7Mwru2L3WBcSyRsIQ9tBKQIUjsGyfiH09ICdoV85QCcbh64K
mKY1VNqKQC/6gDIzDp2Wt9B60LfQOve6WPx1F4Ee1J2lAUoDg9rQs3OP/gKYc5tT6o/IGtbxFm0v
/CCc/MyfnDBRSrheGla5Y4edFz/PPgiBNG5f4q0uu/m0bCNXkSJlpwdakxzytctPEfqAgyBW0eOn
zARJOBYfqfA/uE30UPrR57a7Qd83Q7MKCCiahGjLF3f4hm0vexqGMfINQ4fYCuPtwuQ2RUkOrufy
DjMCxstQfgJS/BmyWxSg4+dvGKVibvLEG3dG5X9lzpC9NbRxY9oI4Pd1nB8NdFdHq7gqZ689IAQ0
ogvgsdnkyZnAEgPGAKJjf9QAFh/8uLi1XB9AesNkFqQ/Hh0xXCcRzEl9il4QDYXXYl0j8aafwYqs
ZrNti8rZF1iAnYbwh9E6j4NW2mERIy/gTgCXpPtgWwuSGHl9l0MYbjT3hUE/6Jw42sFMUaVNwBhS
dn23MkaduObawHRPrlMxdzvPTe5rpJhAlYYoA847p6+QyqmMKRizZNw5nLCgc9BaodI+B8zAWhv/
NWGY7N6m4wN0CGa/MXWnbufXlnkVw3OY52R9kj21Hid7dhtG8NAb6Y5oBpTXtT+7oU90F7IBkPQy
4DP2otx3c22ilOXDEo2FMqJIFIKyrbPCC6QxXs9rFl9NEmlHZxQ8WlpDO8TmUCidAIqPS/WKvlB6
lQgZXRVNv2/yqdyPixbBSTTzkGryEbv+xU+c17H2on2ps2Or2BNImBI1TXPzBXXULVOJUPPN0Yc0
vmkMbQ0yDbALCmPHRZ/r684bn7xJ2oHntuhIrZFSfs1jeGXOGMAwPbQ5sC9ntejIZb2LKs23bMbB
oXT8amWo5TGEkYETE1CWsu+3flF9cAuvvm7AV3ECyZCb6dvSGnceklFImMAXcF8R0bwpNe08xrQE
upEuOFKEMTo38b4wcudUeUv/EaL7a0/TkIBLu0pR/byrAXTsx4mwYmbyUJM9CD//7MeoywjS5I0l
kqfOlBo8E/294fRMjjlu1+Zeixdgd0312mmUp8uZArJtHpr57FJxtOd+OjjRnFDPjD/5s3XyO3D1
evRYFmtYjMuICClHEqQJA6AqTwToJFanOD2uFyYhU4829Wh+jEkBAs9IPiCcxFFaXjIClWXgYTTf
PGk9d2JM6AW4V3q3dohcGZtSGHet3t4mnvmaTf6n1qsf6/Q998evCLx9GnxrwmVRcl/1tD21jf6+
rjXZg0XeCKiHWr+9m7uXSOh5YEZMYs/NSt92Mvqmld0XfRw+5QnDVS4+YkmGEwNpps2QLKhBIU4V
ieVsjCuF2nm6AWVhb6dWLkHnEay2ya1fJl+j9VYzptuyGt9Qb4tCbdS8rVFnKA7PFazXyVZDyZj8
W2UfW/+cyOppyJC1sBH7d+riCzn/4jGssFg1Eg2qb3kBcluwsXrKO8Rq/rnuNqah6ccIcoWbO3tf
p0iqib46OgpiPldtf3ZWJHlalI2nuqMp0O2zprsfFCjcyceHNs3Z0ub7KtuwcKaTL8YnfYleUGTU
N2QUDdEiUuhABXYOIQZ9QwQ68ni+c7x1xwhmHClSDGjEGOextrGbjDFJY//O8Mty4zDogulrzl0S
rWc5u1dLu7xFurVNZ/2hsKc33TVOUunO+f58QlWYZEM4J4MUGKQ9lecikVOYLgUhzmxlgaHraMWM
xJlj9mko5x3avFfIP1wbmXUnfCg80HCiA2fgGzHpvGnG9joX9p0mmKO9ajZPPb8afdgQFdLDqCRi
Bzz3k7OQ9mSN12/N1HGD2syX3aBByFlqLiXNp9Fu822vo21POx1itmQ66yqakQVuODwEl0lfPfbF
UG9XktX70Z6uabIYcDX6NpAD9EiTQRktms1B2lvJwZ/yg+ix1kW+83KbjGFx0dka7NCwC6S6qhJ9
TaMat77/pYgn61C9L1F6lp0EWqZnX5tcJ02aBJNERtR1PQSnW6npYceQC8cczm3Rz9eLXzChDGly
SyAtj9vrM2ZNC4au0s8xzxSpC4yYdxr43S5bXGgJjQxWZ90mTF5LUMOZY8/bek4kdvaUO0EHY3Rk
3zdt2e9K2/1WuC0NjRzhs7nIUKLT7vWmWQ8d6QGagA9L3D7nTXKTYV83zOO5HdzqxVwe7a5q6Z4N
J1MSGOl19p4irS+y9zZSk6qdRN8MDawuhPr2nuO04A/Ga8Bw/Qlc8b6OZHFVWD7UubQJefcJJvbJ
j80sqIub2DcbqDnwBnM7S6iRrW81F6Buul8m/SEeIwBExnTGNG4Nb+Wzc+EEAi77tnK867FCSWzS
849DurR0KKOV+iJou0rI4zJNy841sztvXp8Hz/DAs+hNOMl7PW/Wu/IkqIL5Hf2V2I2bU5U3+BtR
b6SxrVsLvdN1WDbe4BAug7RoMF9AIOlQUfCvxvlGa2vtJBeieFvA4kDQG61wqORo6hVnqy3fEaSx
0cnJj8KK9zEcFfRDnxwH6+8/WE7dIFRzDVm/D2mlH7F5/CKheIpytd6hNWTQRwD5eUeqjcwkVLoU
IewCSNgDs+ti6DPxGEpVe0iZWHVfAS28t1dwGDTdVlkV8BJAV7ae0x/pqVL6K2aEF+os8GPsSqd3
CDyXojkjYNWQAHc93XytOjQFjayZ6Tf04KMTfY9zb2mnqZm0rQf0LEw9PbRsJ7nLJ1VUWAHtlOgI
eityX93SmChnzacIScmDlrifY5T/dtlMnkWPet53qKKgdk2fz8JNX402/m20BFJqBMetnJuDNyLC
UGA3cyVl5BnddakP/SEZy2tY7eUesTwZlFF+j2h/s+tQTsYVx1a3nlwKC2S+pnkLrOixqF+AakUf
SgZNb8Y0m05rOT/YXXRD4VYPhbXEYU4ldJo9GNymdKEu6shoqyrbUOzTxbk2LTEHY4rQQ+VOh3FS
cmp+7AcuRY7tyuBACjUFnS5C4WYxnsWM/ZtxQCOlQdQXkYeJqHEPvrGnVr6gEIMgvZYetZJH5qRm
zOOPaGFSTPYbBl/b3TsKU1FYDh1sUe2qNNr9Ms9f3EogpdmP1HkyL3wUiw6VrXAHfGE97jyzizk+
3+xOXHUpKlLSot9p4VI2ywIp2IafFFtE7EWlvZp6+4GKNFwyRvdSJ8nm0GdUTcDZejTjA829nkwQ
MqRYT5EajotczgNai9EuHUukprqOajNo/rhtnhLTrfZdC68ObuSDq2UmXiaCgNmFE6CFk5m6AUO4
P3Ei140ViTG0JrOiRtale12ThyR1nrpymsJVlzFx9PI4uOJMJoM1HaiU9QTebST8Td/ofmC7WrcV
2YRyrhqghrEnjKVQvGGS5Y4BBQPJHHg7jQTXl7YJEx3q8FCN9TYZaWck2oSUcRaWTn6dSkZ7rJLw
inQNd2IdCz0vEPwcaiQxVyTnAXS3hcvIyKm9rSoN+Jfyvcy33Ed1BDnUKG7y7msJAv7gUVMyE25h
MSjWp3dZT/Umnlx3E63NZ+uLrbM7imw6rn51mlMAGqvOgGtba8f/z96ZLMetbOv5XTyHAz2QA0+q
gOqLPSlSEwQpSkCiSfRAAk9/v9K5jjjn2L4Ozz3ae0vcElmFylzrb5kiKjPKOv8jc9buZKXFz8lu
5k1QaxYbsJmMpefIqGpsKaUcjqNWcOtFGNs8DBekhuMhS9EK9tkUG01L8E6TYHhPqv3gMneqWp4C
Scxn1ny0oii2tYkCvT6NjZnESoEKlFWyJVZGjCWcjM3Aa3fr5zikDKYkb3KB90fOBgTYbkC4nBEN
6fQpy6qIIQ4gaZ1S8HGb6g2Jl39sI8ekNzmPFZtQBFg24cMWv/CHjBsv87HghtjqdRPulpt8Qj9N
Vveekq9JyMbylq0Oh8RTtVBiOhm2F6WtPLrBXBOCZr+SVG2hunJ/Vab9rMreje1E/fHqc50sD+mi
r7OTLlv3Jk5pjerQT6u9mZjy4tAQd62/PA+lP5DK450cs1FRbYPEcf/Sro6puilFNGfpiU/vXWa1
wWWoza+wm1kIyjRCYFhvMKBxaDJkREtO4PZMF2jGItgO4Y3+JkgS2TmY6sKsigQzn8aNnK0sbqvq
F4meYucbSbPJ1ODuBLPEZu2Qx91G2HLblj4hkW1wNdbhZul/WeG4N6pOuP4OSRYyYDdcI6oBFJ6W
bufVsPO2F4tGk+7dPg6ZZwJL8Aw2hv3Sesmz3br3ei1+D0vLUWDw29ZTYo6Cjg1SMYvOpi92lrE1
Bi+uWwAHV8FhnTO6VPqvHoGBb4v3IPOSg2nvqp79eMhLgOF5HRGk4FldfTLZFjjwdg1fXXKKMSOL
YIsR9m51eJuVMMgNXPKvOQB87YmTOqCAKvhLl49CZztzcjvgs+qxXMtHDRJEcU951pTJ+ua8pVwP
ZyMN9puEv1Vx/FIguwBbCQ3OQ4OzF2QvnuMxhyz5XVhNBm5DNKuKWEQ7VQcjdHqGp3RkBuB9M9iU
iluCtxiIzegzY9mGg/nBs+NBcyYpJwyo3CEkO/bQUGhrF3prWgJXBAF3W6py072l0M5TfwK3X2NM
5pox8J+XYEWbGt3spg7y4JGipGvtURa/LuNMBSHbJboibAg8rNssVU/TbFRx0C4k6/Vptu2h6pXf
T9E6l59pRvqyNyQXUACSoWr3phZ4tdnaYgYNcP2MGFAlgohuE6O+zaN+yJF+k13YfcAIY6aQDz5b
gkz2jUFINrBCv53hqqSX27f2lidlLbggnN90+t4hGL4YOttXE1vKYDw6KwZQtU7Pg0r97egQem+1
xa8lPc2oX7yDJCp6mfF9Dll+53vDb5CFmhjbZWSj7JunkRLG2yq/kgrI48HTOYY5Gw9DreBb2gTE
H1+ArxCc5MQB88pUw6kYVzKibffb91I8KD1/Jya3rZwm7C/BdFks55WI518imHZVEWLu1Qc3POpO
1CBwRO26JjtOWRMq2CUhYbrjdmSiAdQvf/skyBJ3+xvtC9xc1mOx2vid+xT2OITdzCLLw9R25CHM
Hh6nGskEyoxIWn4RTWMIMOCofVOZNZcuNpPOfKztZTrq1SckKsxX0h5Qjzhrc+zH3Nj7nQkiGTxa
yfJkdDKLkrlGn1mM+tDyRC7ztO8IR41myMVonFnFl/mQutPOGcNzPcp9yhNoExx9ztd90OrlOpKH
LD3ztfZaPDHG0MROYm0Ccv5xSVkl3RLPqQuoZChGFWO6lb7keWzDXqzwhDFnqabQJO6bPEoLRjt7
5NEt8ulg+t2jI1lrbLtZjrZ6AraFWyhaRNQ8TVMYcEx1PPmJ6Mh+GBwqWfLxpevQNWMoWyFP2Bcl
32+rS3pSFsKz1tWjGMt/tGTwuxvs+zpEmidn/yPvyK0c5ungOPNpUCXAfkLu1VJ6EZXRPywkSokr
fyQ+4JQOz6uY8rPuFta6YTwufmMfQt0+5SllBD0Yu8SVfNejFiRQp49kYtVR2JFpbJvVtGWmH7u+
I1SBvY1PxrAz1hTduk3TRm6AaQb48upgqs5ZXjBb9ZH2AEVAs+DItBTbqm1fS2uMRP7tFaGIqDRt
aH/EwrNQVgJrV+FWx7ywnWZpkEZDnPmyJNjGKLc9wC/8nES+PCOoptS8OSDF0XFHcdi2pKHUL5hL
um55I+Twnoe82XgdZ7Pv08cyljCkVVlu6PkpNgMfnG3Z4JabAvvK9YCKVRwai7HS5RRMsEZsyo7T
30/MIw6D3WQlA46vgNHK5QmuqjBWtn/EGvJgZuFvphA0j0shKPFQC9wgTd1GaI/4ABl+LR/dp+YF
bwzJwRoinsJ6wLeUv2CoGiLJpuC05RwHdEhAaaF9NO9H6011UC8o5uhdy61oTfLxJMYpclsXwIUH
ISDyetDfpUWQem1kP1QxPjRj9UfrzvwxqJlM+yR9W+tb6IpCHMvzQc9N157KwnqmlfoxV++Ji1as
qkVc9v5pDCfzZIJ+U29joBtJX2orj7yx/c0o7G76IG4DtybrBALMkPyJ4D6g/OMCyDGjyOe9IV2+
8mMk+e/BvJ4KYRgHougbQiuKfDcHBAaZa1gCqOlj1QCDGMKhyKktoo79Zatk+No5Rwex4XbOnkNd
TrupqAN+5nKvrfkZqUOkRP/Yg1pK+qwY8TzkCKAE1lo/4rwDsYXzs4YAZLLybEpD9E5mxUumAyJ9
GKGXwJt3mWWDvIY8zIjQXLp0u86cyEK483TX78guNC5pawMzt+CvCRbbpAburHIa1VkkOmtPcFXy
BpZ07vnBt9KhAWtwD5VJboEwluJo5/anaS3XpS7ffaf/MU0902swbwPfhhhofAJwGfK2SVnVfP98
3wUJRVjjVP3jNtHZCTfePHbX5MFr+IEymcVTqV5pRrj5HF5IT0r2rWyf5xSCCB5sI3AGxWRbv5T9
jKcjHwhCVzGfOT4o9TxuFUF/A803jckNYllUDc0apRt81U9VKY9PL5iNMsFvp6X+MLIPUVbkD4ni
vSxIQa4CZITUbF2FSL096bjQaJ5NA7xdIkQysvewWX/VA7iWrljAqDj3G+uNypI5omyEYrX3eQzh
VObu2yRs0VaEPqwMIZh7ph2ztXGebOSrUCORL47pbbOWM2OxbepdBQC/cwwbYUG4+lszXcvDkDxT
2f4HsLM5ieXessCbVUNSuLMSSOE7RC+kc+T25I67k3PNqndplKd0WayIVMWEjDEQwsn5shWuUGkD
c8D2bJtwPki6aKFQU3sb5uLITe1EuS0+sMx8YcONkE7/cAFIzMEAtfImYo+RY9aWfhML3pHGZDNF
YkaSmzynQJBLkkAkdj/cilOsnK714MJj2uSESVo4wdLX6aB7YDdj5JkdV5saMljmPSnW6davx3ix
EvN+8adL6s/1lTYfJvXlvva45JlvjQAljKVQsK7DU2sL7Nf+woPugoF59ZObzP4hqAt354fFOz6j
ctOlQ3EQNJVgntyPDG40MxnPbWBssVvMG49A4hi+ZEtrDB+fCuM3WUQ4ZCd9TwXzECfmuygmjEJG
MYFrJekWHeUHnjTK4ceSYhCnZ7/MUUJkzTYICB31W8Y7B8Aky5zT2jPQjfaCFtPIM+hn2P/YhSE7
g9tNcSI+qzngZCeiJnaNChET4L5OqjAKenpb7VqFm8Tqd25BxhFGdSCKQJ7AbIddY03O3h003T8Z
alSdmr8zQJPtWM2kYki6Ns2k/dDJXbfkH80cnnuT4KMQ9NhuEZ4QUE/UW7ZlDFS4o24ZV0mx9di+
wMuwMjsScXcu+M/VsnaBHj9Xky+smR1G1OWRJSwzTl1VbNt6k2Xgo5Y/lXHmVRz8+pFQAnFa/Ql2
vJIfPAXO1gtm9OglTvZJEaM8hj9IKwFEce2+fExBelnZnEvqxdLtHlWR/fCzX+VQGMdMQoMa1Use
1u9Z4p9S0uDTJPLd29FqFwK2z+AKlbc1djVfK4j17bCG88XM7oRWJqV7NR7Boj+LUDPXpZ8TDAje
vcWOAn95GjNnrxPvUUt+Co0tT1/pSnjLn6ax0U+ZfpVhPyIKFpDXXL8br7G7qOaDtiWLgIwlkhKt
QL8NNiR7SOsbzHGym/OagBPQdqLV+ihrmPIIXijJe8s+V/Xdl5wV88BTL0MmY4GQsSIaoDf4MqnU
JjVcEhcJSGk79dKqQcR+wY/byXU3uHZy8JgQep8wHZCHWNd5iKkf4ZVRIXuajelNZTV23DnxCKdr
71YJQWuywglNwXnZsU2EE1JB1btHabixt3T7RdxuvxYro7YA3bEIyLzM49xWK188GHsrsR7QCv5O
8hJCoYLQkyLbTbP1TdksZEhFlEuS3UJzE4CldUnPytEPRlg//s2prxsIOhaNXS9VlBFPRDUHH3z0
34WX8knJgreVkdeZsMsTgFUzO+I6a0pniixpftXmuLeq3D+Eqj4hgmKhR6DRmAOhBTSEBabQtPyA
OAQq3CmXe6eze9K8UGTUkonDnEcSflmsUjgbB4BxHL7NUSc41FZe19WlAwjqjNWR13NtLmlecwxX
1MTlkF219dD7HVV0oVHT2maevL8Kpzojf2ghbpBIBDaN9meVLadQMRlJTx/GoV5RldQEO+cQBhqA
NnVnKAeeJrrRjH0mgACVfzX8YToXxU88f0zEY0trDgEXe7YG0snNR8PNL6UBQGTPUxa5BcwuolF2
H0LV9PjbmQK160cV3zpBd2lgjTyOI4yX7B8Ml+ec6WEZfeBLVV5L1YlzL5uDLua9qUF9HJQuZyJv
Iq3z41I4wwEHuMe7PT0LfzLY0SvzUq93rrOaW7pxH3wEZ3EQpthf1mLXO+JPCQc8Ses3H8PNuhCB
66QF6cMpSPpAXZqLuhIpwEcacoUStxaXZfqm2DL8zFyIMCR2YWE78Mb8V5g2PpQwN4oiQ670KsKa
eH6Toli4yYoK1pfaXbkwb/a/Sp77vbuOaKl8IoJX7xmVQhkJpYDf2lsgLmEDs/UzoAh7z41EN0mo
QFT89KczNBHXLo6GZIrbEM65t7wPcxE0FGWjGburlyN8EMmjg+5j7lKSTjE3zD3fh63Fq/QRMNku
CRu0rFe+0cRJimNo5UPHs/cqhoXaBdVi2E06JmQ/gNQiRhidomJmM6sPq89+mkX1vSZzf6AUjoLN
O2qhhq3qCb4re+fYZvVLVwX1tvQIPhJZ5R2LAlxSW3/Uct+bykf8C9oaWKhsk2xBF9wN5DxZVXeh
A0dRvJyT0NNQAGoIhB9DfQ9W1m+CUYgo+Gk4EJ2Lay9YpeYXxvcrhIKz+WCIJQWD3VxojwysvH1a
dBUV7bgXtLtFIYAnD5y/KQwOXiUL9ujUGXGp+XFv5PfJqEAqeMG2S2cIWFB0UGOX8PowJxKdb+2L
41zKV+77w9DbzjU34fRqjoUg67gKVH8whqVmXJ1OTeOWsdPbzXboCQUjo2RToYnZtu4v8qT7LdQq
xTn9Ear7M1l0cQrX9MOhQSLyYBjpfjswi4GGr+qtKZEHsBVQEOCgdPX1+wzIgSa6+pUO7KiFVHOk
5s8hsKjSCRgwTGCpuELCmWICpBWGkYDYhxlty6a308+D6bkfDu3ExyLI74GhobMnauLQqdG7jlnE
c/Nft07tPU9zZCJFjG9ak828UIxVSGMmdZoJiGB4Bsoc1sFDfseljRSiCiLIKrwW2Jz48WBAM1V+
smoevTxLDl0pz8akUHH5iJycBXUDbAFoz2vmp/2jngsTJgZlmGtQVWPWybMoZAzTvUYQrOkW8duG
fIxnJrnwitfJCXNnty7UltblB31JeTR73CkcI+OJRTGNb/2H05/SreVWmeYjPapwh574gPKM6ELI
n51KHM2iIx23g/AJ2h/96pc014ZHt2u4+7HiufPfLB/3hTE3QoCyt7AaohXWeYwN5qrC2dnx+lyt
lOj24TbUuGGjESAM8yYL6bqa2+q3nJZPIeojNADS7KD9I+pkQ+jvXvYGNnDfTKLcKd6DxEC6gGYe
1ovz/DdQ63M3J59oQq60UvV7lNDo8pb1Tepk2TeW/MhM6+RXFTqnCjVbYNhxFnjJjvpGJEdu9ho0
7ad2GsJF1u5rruWbSV039WWZjmrHuF/tfavmD9tf6S+vfoxLe9Ga7jGdAdQ43je8IXr1Zt8FFmyu
ybZZ+gTCJj0XLTbVt/DQ96PL56K7I2UE6qV6Kxcr3dUsojxW1smyyaCHudh1xTDsA5r17JqjwL0l
kk69dQjRp0VaDvt5QdNDr+2vxU0vQJj6UKkVJMyTY+xy5/ZL8tWG2t6vnXhvlGduWlGVb4QcJb3O
bwmawUYv+Q8xMQyw6E1xmYTbGZx764QCwjRH0mfwe6PzKXqJsKxuf1ryS7uct1kBCre2J6esnJgi
G+Q5t1h+oY07n1D+YOpfB4wddFlWaheU/h7XBp/VsJBRZYevQxrwvBbrkwt1x1kK4ZEh/eqJTO8O
jur3ZCEyeNistX73Y5a2iscFPg+Hw46Pce5nlLXdEvzoYp+VTUEHHg/cswhnPTZQZ86ruB32uWMW
u7Ed60NmD3vfb+KxpdqqTXqQOWvTSCJ0MIrtvKawj96nvQQmqiTO0lnLzyUA0m0N6s1SW6LLQVaT
eKyRDRUoObVZcTHdBNPZHljNw/CiKWNXMfIhooE7lB8a+yw1KqfJae5HeEMKwLILzZfMxZmkcbYL
t3TUHmYossakUrCuWhU3TfJbriQNmag/hdflu7UB7TXnvIwSKJjNRE8JR9Nib0VS3q8Nl74voOzS
mk2EzIrcNplMex9qixbtjcoQIxlXQJTpbJUhoHgI6y7hRpF1rdxPjH1IjG/VeSc7LX/Zc6k2+V+v
4ZIcE5IB4mA1P3VFBMJkLaT+px+mQ7pAyHdLYQB1kxR3sWMQf2XTr8fUw6LhHgzP4jFSoNgi4Lyn
9ZvedPnUmdlhYmJAS2vAJo3+5+KMb+j6zs78Qh5/fgm9GW0kdTFbP6/wxOxCNVYoNzo/Ri566oWb
RcGYVxwVwE21S9ACMes/TNT0EVRftZkT58QZjf6K+ugL7yY/ZVeqGE0VMjGAwWSVU1wbbrFDeMnh
5KY0/QBHJ1xyspzEfdeiVG5NmnnKnhlsBqVB45WcIcv/0Nf3D+OIaPW9xkKEz7cZ6FZt1hi6ntbu
pEjhEob83KUkjGV7w/Tsx+GaVqN1F8g/5erVdzMJXd5kvxg1tX25Hm9H4IggQNoSMeGxyQQJtKVd
XTuneWklrWJqttv9kFIbTGGN9zJ2dkwPFm/zD2/lYkpDtE+2Qx03JXWKzKDr36/9a3FJIDTPdoaO
CbOhl9Hc1CJYwvtc1EdYkRm1pkd0CTZXa9RoKTIUA8N8tXsU4a3W83ES6VPGs3eh63xf9YFxNIYV
KhCPkqtHYPdxMc8iO5XkPjwRC7T9a8cKkDZs2zXLT00aciBl/bGzlu+UTeJkzGxObkBKm0IYZdAT
ufvr19IZl4mw0x8EDGlYA+3GYgTsqQpQLTTJDOVL0F+qtCVwmQGemxjhubrW6Qv/l7vPEDwy4+Tr
c1ep63uBSeWONktCoAZq/IZB5jdJGD92Ctyq0z3C8Jx2OflUjVLvwTohKsEeke4xyvRV4l7Qtqnt
rXeoXkjuqpF8RjkgKdWh44M1WK/Cd1+DvCr3hj47WvtX6s+aWM85masWVWe22xPPMlXtP0pqm+nd
4oPzgLrS2/Vz/kuH4WVsCRwvi/Wnwf51xhlxNKv8+W8TW0Vqw6Os1ipqh/Kh6Qa5b+gwOhUJWfC3
pvDAAxkhac7dp2Z6FE5fHluVCMhPSutbjOqJXrejMdqMdwVZJ6AnysQz8df3plwUGnz5VdFpLIae
cJBuTd9N1EWWQ/PUwBnU2NalVvzYfuepY0UNqVEv1U6NVhulrsj3NuK6syJDzpjoJ1Zms6FWcN/V
0IYj6n70Q8rYZdR2IGWfqWqBGeHFEw9L1X1qgP9ZAPp1BPtrBp7B7ddjR2T0eaJvnPvIuSPB5uBJ
0z8ZHl0fDn/KztTg6ZYIGIDocS8yT28rxCUb6ST5zsiTHhExcDALZXr2IAk39eD8XluycCvK0I4E
/VXx4kGpDbZ7JBUMMYrh+PEidPPReeh4ZQnH2XJ89sTEIFhHBMzHl9XPI+jEr+Lh9oKOt99bPDp8
lZx+/vV0iZs/0cjTE4kr0AZukj6NXUEZ5SyPrUPTX0cKUxS0Y3PMzQfOS0QxHqdvbZEe5tJG8/cP
1h3gSe3Xel9bNOgOWNiokxDLXiouSZqIfxU+o+SSc0VWDQKwap07OCE+EdJNqshxNPU0AQmFt4as
laS4ln18NFb/UsskmiTsowVqdERxSbWmP+nYa6xT7dX51b3ZI9e8QSO3FBwlXhUeU53EYB1PU87c
3MpPrIvFk2fXROGwbqbJUMY9RvwHFYQXrnI0v273JGrY/r8WxgRqGSCSblHyWwVBuDt982Ym/UBA
830NpB8vmppky87rg9HSfMI9vPWcdjpXwm0B4QTuwtQ7WOiT8wq+zBhzflnq5UI/4W71JQxmWTz5
2PSJ8tPmTSxECk03WXcu+Gid2uOdP0Lfy8K9A+qNrdIPHnmOT+kNxVsmJFZERfI9tfn3WgRWVN2e
rlX0uLOnxI+MphqPQSk+h3J+qHJT3qVWCkhGyT3eIWf392FsNe3rE1lP3yS1redxrKmlxy3uafHk
zQA6gXyjSY4HxMgyEnVbeKZyfAh6z7643QBXjDTGmJEgzunsncq5Pcsc+hFRWr91BU8IAQczySSZ
yVqk76WDymIIK3cXtsuLs/Rf1CazASYfBaz0Pwxx/9+w/X8xbFsmLs3/cy7boVbfY/fZ/7Nj++//
8htrwP/4b2gF/rvluNgHMW+TfBoGuKL/s68spHnMM4MQkyH9h0FoYW/9n8GsxLnCcVGz4xOkjZsa
b+J/xrORzoaPW5gCEzhWa0+4/y/pbO6/WlI9z7OtIACexZvsuEj3b+7lf0oGwq46lhmy9B0a9P04
FDFDWoTgPpv1vtfiQC7PoW8kWSUwhaBb2G/OxEIf3Oo8KnGP0+2xGQsoPXkvJRocCqwWMV0n9Sja
ML6JnuHA7TB/qIolTlf5Y5ynD68ju4tbNinHOKySn421frhCc8t3X3U47oNujdcRnMsmZEq9SW/c
IyiNVYDDryofhZSoh6zdkP3u9PWf3r2Hf9g7/7mlLPxfXhAKfMnf9EKyN/1bcN6/viAy6GebLTZl
P6cOI+uC8rJO6KHNBoGzaX+nuE5uIu6nZTDT61oomiYpdN8WY39n5FaAlDeVz15hiaOe6vtMdW+a
JvgPuk8/yrVGThtgjVjoXnuE/8R36Q323swm7n3Tug8STb6ZB/0NLt89WcUuzcr55GT1xbH+IA+a
jqFlPZT5OJ9tCZRm9e5JL+JF+25y6opF3yHZsp/cUwmJnzXGMfFvSs7eyfedd/NGT8qL62JmH4fU
OZVTGzc5MDchghk7ANWYxQBimU6KbN6OvP1hJGi68gmn83JDXNvEFFeH8Civ8TPS5Sya2Qq0JViF
Ty3Ct1PS04HW0b46rm53F2gUtEmeEhkaTC3EGdg9kqjqfrXWz0z24cX2lyZGPVugbZ2s+2lavz1t
/HSImvskdv09fReKacBoLwYW+eN//W7/W2YBjz8mbN92BWkFpmWThvSv73af0aiRcb3tfNk3W138
rKEjt2NScC2aFeoSgn8XfDEoUeqPEIqPkLjqpxg1Qti54Y5zzaOq++1qzulZKOO5KoNX4P7+Ieux
hQ2DCjZtt/6ebv9Sy3C4w9O/WexePIeziYOoEoDYKXmam9R/kljy9uNCkhrCl1uGS7lDcG4gv1Wg
e7c24YphwjVrj20UMsXHvP6PXA66ItPf9f/m+bf/Lf379ooEHsYFjoXbP/66ov/pQMjC1p5MIVlb
kE0QjJwSE+T06d7w+p0R4s7727Y5iWW4yB6Eg4jJX44ZyDtIXYzFQbmvR8YmQ/URwcWw49qD3/Xs
HmpxsBDrWndJ1b12ZD3ESHHFcQ5/hYuZnLyOJ9nvmui/fotJZ/vXiDfeZJdsDBLeCMEwiWoN/+2M
U30tXL9LHcDLImqc4nkosmovZXuPLRtONbBZjdfawDNy+9dqJeV0CbSO4U9c8mfD8pThpK27YTgZ
Wqfx7OU3LZ7Rx3lJ1bttLUcas3kfh3sTtQquWeSthM3FshaPrmHXhzI1DyMzcOSp+8BOn2efiKPs
ZlBiZX/Kkz+pmRsbuyxfzHXa02lxzDuZxw2J79DJT+hUzdp+tZ1lh7cjPeXla7K02VZbEo0Nw3DT
yHHfzqC8XVqilO1awi7y/iBy+z1dwy/TD56bpMiIr6zx0ef6Ocvn105iqjckqUb+d1OxcVr9e6Iw
w43LJZQJ50T5kgfBFROdjDHmv/a/Vw9tmN/akQw8d9PB9LXke5IrMauDnL8cxrVCpRdePfyjK8Ro
M2VfKfEzW9bGNBI8KDRmf2X9X+sh2n3lPfYg7ZckHR7GLLmGkp7ncEDzJVGUJIb7abZprCc5Hy2n
JKqyQqDpNxLZCXaevGryBxRvS67fWznaX0luUGVQOF/kB/2Z6uDTTwTGBsIa2/W+GaoVygUrZeBM
90Xf3oNkfSZAiaoO0g05xKjwMUlAgYHdOEjGENg7V1+QVGI6+qWZyEEku+RnkyPG1AFdkIbwd0YD
POQOX5473BYkamG6iaSpHjswikESOFdYYPnsVg2jd4IRfu1YXwH1IrMZ7E3uyDrGpB9eWpOCX8JR
JAVU6dZecYqWHNrnwu7OLiDM0GfPCiboVCjLeVihu3eTNq9ZvjyaKMBuwrlTwo412dljm8wryaLG
O4aUpwm7AWQku0Pv7V245yfEUewU5n2VPZq673diUHdhq2kVZ4lwB7Pg52wxioy44AHxFT2W/Oq8
QUvOzuHNuFp5PsybzDccvgfZFvvwVvyVI8AcsY5g+jWCs8eashun0IRzAwVfhiGPcCg9tkGAen1M
l10u89d8KL+Vg4NhSD3rmAztn6RKd0uDib851l3y7pkzWkf93jQ4VRScuG/P+95RtwpqhzJ5JWkS
Kb+mzqNYmq2IsDk8F2u6UPkYtsFWCUb4jKVX0M6ldZDuqkXsR1F8LZOBlIt9cR3EJyzZoy28M0In
icT8wypKdWmQT7o11ECiavOg6N+Cq+GCqxAzZOZjIW0doVIKyh5zQpCJq3c7KL3yl5IKS2NX5vxK
vgt7acEowQ9JC2JSJyQItMUY0LFEjklfX4xyfXRHJHmAeQ921TxYBtJo4iSfp6CG06O35kiw7Kkg
4AwjxU1oUFPMMHfPLbvjeWmseGq7U1ocKmuQ58XGS4Qm2yU71f3GeMVfN1rvkyp8FCCQTimWTNU9
WDM1Ipl9s0rURYCTqHvw51czsVH9LLThJcsjIqXXBlt/GEx32ToTBw/Q7yXlp56BfKit5VNtBru8
RyKzluixljRm8xoPUmC7dCrS/oVnXI3EPY5FR1p+wdrapek1YBLbJY3c1S26ntGz211wE8k7Ov1w
EwAQR9IzRmJDNRVszwOJayyXA5qOu2JwCHfz/U114+8qhNshqKGVp4+Bg/fKD6r6KhfQyESl44Mr
TGtfOsmpIVExFklS7cwGgZ/NpLWZFH54JL/mAX07T3NCJ1KAS544WTgL1J5G6f5cyr3vDj/skW+9
zcfvzFtZgCH0ZzP9ac36uYJz3o84/DZZAIcjwScZ/tEQNtRAMt0xwzVoTlSSxdoMzrZrnyAlZFSn
zSa8FZ+QdE/mABQWxodZRe0Sr658xP3yPfiA4IjpYxEJwjQ28zRTGIXlNDcrQKqeN3rV3Slx8jlO
CE9j6jCviSTpSE1dNCFiiMYh/yPCbo9uhspXhSFlRJ9UrOZzoYcHYwzXfbfSXG5OKFLc2iR6PB9x
lUBo2YJSrzzo4ESzN3iy94xmZoT07bzHXvSZquFi1+Jr1TT/ZAa+4KLKQhytSErpPH0pIRgQ0ro/
Z0q0yUn67hsbOUxyyWl2SRXqJMsHVeZEDDZdIh89LGebdM2PjYeTnMSLq1H8BE2lB5j5NdaRIaNZ
85rabNathbY7vRpVOR890/1jkMQi6HeCz9hi5G+wSYjPUCfEug7X0vS/ipkaVYaR44RKILE5aFOv
cbcdNrcdwyh6wOmD7JMpTe2Tn2WPaQ1vHWT73oPoLEbnVfsXVJ3Itt0WrhFj3g5C8ct1ypfJqaPK
mP84Qf/Cjn+ZPGPkszDflz7MREetehIgzxxt82Gyv2VSGVvXSy+E6nx26RLPffqnk+d2XogIhp/G
JkSYD5RW4bdom/+DvTPpbVwJs+wvYoNkkIzgVvMsS/K8IexMm/M889f3YVYBheoGutH73ggv/XKw
JZLxDfeei/a+Dptdiauenghcz0spGYYNnfZIGojGGNX+Rmke3TqEn1bqLqeeyJzO0F9cqAMEZ5Fg
3Oe/Q2IiBgl7Dk6n5dmbxksMGDjPWLYbRQag3sMz68R/bbRjQZQ+6nEnZPkty+jZSMNDZmLHbQVD
KLjamnTevF+sP5iKmEKsJoVY39WzX12r9gw+PHoHgQyq95h1wKpJiGSAkYWYO4/WnRE3B4wErGpC
/65hiF012YacHuoyB3H7UOfIsbYljdKmqyt7JeLq7Pp/hJt8DI2ZrtmlpuiqreaQDSVYnYiY1b74
dbLoizYc3aXyoPNxBhfxxkXbyeBYR+OPjr5W0UpJvgU5/snHTaG56wY8gtYNTC6d/kNN+Vsdd484
RdNujd5Z6sEbyhxKvjc3YtnNQcheq9Cf4nykgmhQJ+f9OrRxMU4mx4Bp51tbxsEKsS7yaad9C40R
6p7hL/xwREqBq9hCt9WkegfvJDzgvHVXhs7RaTFOXlq189kofqU6Fsx6OD3rI44Nn05An/y3QUMq
01nusTHHYI3mVdMv+PBY0FNUSeBXC6ZjAmFQTM+GsCiPuj3H0N1xpp8ohlkZAVHttXkzXB0Hk3G9
alAlV63prGluvzSkQGQFGs9lDJzKr/39TMo02GAtikp/YaM5cuS2bxiOeHwZcKY1aV7H5K1tcRr7
iAc84d9lbyF8Hgcu9fyu2FDjaz07MUEIDtoCDG24dGiq9l6R7eJw/Hal/eSWU75tE0SptinZP0wP
cEBI2GYNYFb6Ls4Ne9VJHi2V4lQpYXDOH9igsquTm7+1o+8NsnHWfVqRgVf9EUSY7CAccf0NEA30
6J55/XEAOrsIp2Ba9rNCUG+2bCYmo5K4f0aBMRfDr6FSduGZf26s8HlKtZUzmfc6sp/yphbbyCKD
D5fxqmJkuUvRQsaOeQbgTixfIV8dH+iLtwT3hM205Fq0p7kPytZYj4GCBPQdbAebuvlUfr2Z6oiU
5CLgNg/Fd2qijq8SJNnM8j4LuSaAZRmFU7exuyJajrrzZbMAJBHS2gkrgqCXzEtg7dnrMftp3Zve
c6uroQC6JIdH3LC1mnCBhcSgG+UhlMmLltd/aZdeSh9dldeE64zFZrEtK7JM4OsrhsaLfDAWDd4J
5IPmUwEXpWfFwMlTu0tAB9nKSgMGykNz0dTwbc4B93i7qKDD6gcZCGumKZSfoUl9YGxUUf4Qi7rL
IofzsGeRCFasXVR19WTX2m/iGJ/zksgAWOL32Xs7jYiEnZLuf8S/Wb7HVvwL7qsCmFKfGuqmkJye
ReMhTnOL14S2j7u9X0RT8BcODl0xCm7BylCQSBJJJGTBexbVB3zBADllumGrTvZ7w+Y/vYwOPka3
Aiblt21JIPO0jaNd0U64DOYIPbtTXyC6TlEWXrO0uTHjQkvx6SfY0tN2fERIKazukhLLJVvxObnt
1nHbv05gfNaNB3B0didrGwhU5LnNcGXrK5HZz8CPmJbVdWTisk51ijaX/UZWsscgppHFAuCsTqsj
8imNknWxfVMFWWujnC5xgIVsshtrKdzmOCrf2xCL428MNmck3hxqckG2ngzOOkvPhSirp5R9kkGt
Qq658U0USbVN1CvVmkRL6m9HlnPklvOHG2/6HuJ8bcTjFrIDFyWn8lJrzAvJ7PjAglnTx/OELBlY
OdTAExwChTEqmFe9RpCewgDZO7Z3Im1nEzvrI+b+DCygjSgDebMvCmsxFBKGfhP+ku/4lTUosTPa
v9Lo+2Xsyou0sg2jygCpXfwUa3ASkjqiuIw2jaSp6tPiJdeGvTCpMk1c5XaqOasy7n9zVJltGrzR
d586o+RoN/S7YHPSOCbM5SR8VnH+GIS9Vehv6Ib6A6o/tZzI3FmolrQBe8QIUJVMvyKUSwk1f4mV
ZhPiJKvbaiSdz1crzflOUSMsjA748BjfSGPr1ohtgPbYgbkqwBTMDo5M77/+vemdJJldqylK4mth
Ni0SiAZdauL8CS3nFV4rVKeaH4zODOGVOkaShapv8vA0nOSQO8RImcnrkFfQaDX7YrLX1kNEiICt
b6ScPzcGEJgqMfeqsR5AMcI1K/YjUmIwswV3QZpaLyEINuGLy6x3GaV5GBnN0eQJfoo0ep4c58k1
46tnai+65KYj54h2HKnliGGs7rJrQQYiWbSveR7c08n9U+eWsQaOsavLaM9temWI/R2z8cdWheq4
vvpWuld8BHbrHdO06TetOyjEVXQa5bkxHmh0vSWGpG+CAXdTpPyFo9OxZS5kL1vLbmqiuLGHgqSu
+JY9ZOkgTO4ZfWJj7fLhMP97HZcR2tt7n/nfVRACRLLJndaQ0NHkaX7425kkfY+k+1GetG+j6SC1
KEpjWSLIrQTPmKJCBKKA8dBMpyqml/vrz9sXaJn7rpi5PXp2SqPpu0uQQ3EsPXLbIGXKSW/p1Ly2
JV57AwKVMJyHKe1vGICA9v7Ekw96i8iEpRzDX21S63bCjoCp5E8UBx9mPz1jQc53gB5XesRyFvck
WKuXGDfMkKUX21Av/SguSfrViAHfoQp+Sz/YKqiheRDvJRZj26fBCEfrLZiGd294Qc8EpURLblNb
U/OQUC7Zg6f2pq+b06CcQ9zjZzTQJi31n9wsfoNW0sm0/YkJ9gcHPhKUyJLct2k557VSsiGXGYEG
JjlfjrruZFrhOu+5ZoK6wrsaez8dNieEAuWjifpblJoPMYTDqq0Hc22y3HasbyfM/WWQk5YSctSW
ssbrxWh1pGVRfgzwQnznWXHoa/1UWd0ryqc/yBZ57GfxIXz7909ryYB1qlCLVoyY7fqPuOrIOace
GL67DPNlniFl8bunHKw4ML/xtVGCqRQ1bpt078jLDuOIuXnC/x/V4wlDGkHOwbgbCN5Cnc6TP0lP
eB999K4WDgz5o3R+SyriW6CAJIM6y6lb3xHpflSN+hadAhoLBqLvNubY/zIvJ1WbaQkDEsX7BU+h
b8RlTIsem2KGKiblNpRud3M/RijhAGdKEANQDtZZ7jAVJRN87JyVl+E2He36Y5A5gmQKg2I8ARVS
HGSk3BlQn1e6f8NqeLPWiWJm5I0Fg+WBuQoYj42DYmwMefMqX4fk6AcYRnIaPdSbHhJw2bOYL2q0
UbO1rwpDyNsKM/GY7UclNp0VqpXpHbvc8Kk5CI5phLuL9PEJvUvXNtW68I03jCQnxxu+ULy4K1NZ
L4lIT2VsbmtS7HCLGnCJUPlK95pRGKGf9fd+/6nrwtkRwPEKlWRaGFLbuLmm70qHZW2WsGGNwIzi
IBpwUoSvYc0VXDU+UskEQU7sDMWmmSy1zCzjif4N9XiVGSdbD5A0K+vWSscFHCGProRtWNmt9ton
AOD40oPHITlxft4+T+jZY2P8UqhyTyHs4XuqALUMv1i3g0eaTiM3JRFwCZ+KF3MO1AFCJVcw1BmM
6C23rJGJL6retjWiUzHy43oxKksmNe1OtG6yc2a+LnJBes+k1f5O2TwLyAOmcTpzcwLhg+zJj7Za
TD9OwU8dUoryudTLcqWaQN9m5PM9Fygtdi4CEjkA7G5EqX1x7s6CzwjhDBlhrWWxh5b+UdZUyUNx
hq+BYDx0x3vqac6pU9FDrbyEbVNq2+4aNYvB2MS2TxGBOwtZpEQgDv1PTNabh5XLR1IXkSnUjLve
N6LDWLXr0HGLb5cmnQlDo9+ZMKjNwLPsGGAgOnXjyDwz6YMXZc4paVMoTogy+nVwLSO2N72B2UTm
/XRDPzHu8EmVO0HaxS3RiGmWten89ThvtPE/fqdR2f2TMd39ANYdcyptM3la+wog5MqjJf2jK2x2
Q+kdnGpkRCOhXfllfo8DPTnqHuaPssTOQohscbJi2z3UzMoZtSQQGHj5919BWaEaLyURPEwde7+4
9Epn8FpjhrxYRutsdCFxiKZ3kbfpJU775PrvRVq4Pcu+PcI1SXcwBdqFk/bGvWim6ljX0W+IHuse
C+2j9Ukk7oaO59oUoXMiMeiR8nw8G4Hx+Perfy+jHVzdzv8VPYPkiXeS+6Qtj0wWWLaRx7Uo/fml
Lh6VTwiu3qv6GTj7l9kXxcY2QOESyRYvWCF6NyBbwU7G86XNz+LZdv5gBsm6Sg/Iy0vN6KwQ+cIV
dMFmKnwdbdPzXNAVHtdk5I/04LoR5VXcPVFsXqu47dfaqAqiDNBjxz5yim1uPqqM6LwU3+a6jCGk
BT5FGtVctVK9HNaaFa6A76RP+NfM+6STeT+hzchS08W5iUVQRg4BIuRmWBoV52RzGdVlra0NHL7e
VN9LKIFHWZmf7F6QQ0zGmbNRv+JKWAgd22IXDLNKcYh2agRuP0mRr5EAuScvrLyDwZBbxoU62kHv
7mPXprwKki0TqZqzrAwuLRQM1ZSnsWb8WrjM2XLPxDbIgJob+47VswmXKh2JpcGruhh5ZIIF8Q4N
HEhD9jUURp7NQckgerDrJ65Nb5VIubaMID64JIBe7Gnn5vp7oXzn4PiWfWilq3MxBS7mA56XtNUK
vPmILAuXDDt9tR3s4tmoMvFC1bGw3Xq4mBOiZt/XvCXyUe0CRPgY5SLb9b1n7iLs8FOHoXtS7nTR
Leu37QKccEMQbmQeBDj+mKO1/pBf7LT8DfjEFmh7if40sScaUTluhRue9CIOj0Oc7nvyGo922eC0
8MsLSJd0Jf3EWqfUySBAjLtvP/275RD/teeywvzHEM2BHZCkJAkQehil2TpkjQHILLlT/pfboGyn
owxKLL9I37jqguFMtAUos4kIY2W5Bz9Dr1v1GoGPZhadZy/lyAQTJ2F7UI3pfTDMOrghPWmh9XI9
ZlIjsQ1pJXOb7uLmzauqAu0Zu8EP73V+nPr8tXEcm8TYST4JThJAFJz6xXDyC0//dpP2Y5JVfhkk
kihjysiRmCFENRIsrhJm4CpnDunNL2acjMeAdqYdobO5WqrtxjCKb/9eYnwDBic4lrhDIATE4oJb
wOACzgu3OvVOtPYHsGlJ7HBuDfahK5dWOeB7J0cx7admywA9GlyTDb92jSrGtBjdT7aHAa6O0Jl5
SgW7qGJLAq9Tbvu6MJ4CPbqmyJ24K3io9yRDma7eLMGhWBSgPHIx/c7iX9JbQ9E+cXWACEtLJniW
Q0dPnui1Fj2kRPLLksawjmS8JIeicpf9RCSdPTQn7GPeQTcg0yADu4UwBXXr0ptp+OtcHVSLOFA0
ks0LXCkguQ+ll3lQ/jBo0X9tHcN4Dqyp4vSn0vQiz8E7FJD+aRbGln0N/aI32dg7jF+Egn8KhkYb
S/TIk7PQOUSVhUt7EVapeddBmG3p8/d1op1ZPFzjvApWmhetg2jO9YuDaZPvWeA6WzePZnsIdheE
Z4IkshQxARtQi8ttI800v1ihuSlrN7zjvFtaI9gNRxgn8gkZf+QIBDt2CnQPAnyIUyAqIX+kh6Jz
EPlsmx320me8IyubJ1UdblDa+cfJAcPo8rxr/NbcDIFIzkUdfubMK7ZBF5m4ZOsnz0ZtqGu9tYr6
5m548a2dksOh4fJf9ZGBwp9QA05qwLryAXz+WjUlx3rUlIuOIjsKxGqY9dSkvdKZsYDi38dnWp6J
xEORP4+0kKs3bXFINUDISXwQTh+shc4auQvH25TVLMzcNbDJlFJXolvUjz00Qypc2BX+DOwSjIZL
+ycxGVYHKp7V3icTtcaJRvnV0bArVnnH2M10xCmeEla8Vl/chzT9TAbIslXg/tRV9GxFvvvmVjA/
W29g6e2BzUvaodr5+FH7vum2k+kE9xJg3zLywXakOEBXpRXtOquvTnWht5sapNxkwVB2WsJqnJbp
Z+knKwMH6K4hD3aRdFb61sN9X9SqBizkKfsa+folhaD6MxQjZO1yleex95wlgzhGhUsKEG4/9ox1
fbYsIhIstYXRNbLNc8P3iQggX+JEtoz46BvZbxGhXQgxaq7sssdQ1xU//LhvEOSs176x7gVXygxL
mM625TE6ZW5kFK65NUzde5Lk6ixJSB8YRU9nxqywWQXPkyHxoYrV1i70SbKG9sfMoGz6W8MOujFK
1mdDGZ97TTt56TidHcDukxoPFlpl6lyH0LQCNwOf/rp2ZxSvlCut1UAhlvVdSNdc6KoDrImEdVFH
0l85/zIjB/UndeOfOAHCG0TYGrmd96mJl713hw5ppQd2m3Otw8+56KLOOkgC0dCHgt3ptZuDS13B
mC3Krt/w8PZWUA9KIsAg647CfVFDf+3cZltVst25w+z5NilJpdC3PoCgaw6raanRXBgVadMYzQhp
6HAApbEV7kd8lsjD3a8CtrBuCsopQSyvl7CPbhNsIoP4S+T9AZZOsQOnt3Vl+sfRs02VDHtyQx/K
qb/WWpR7tETBHCU2Y1qmYSdNWuoaUj33bwr1gKcwc0E/3XQa+UthUSSb0h/8YzeqYelTX3ETEdho
+Io0wTq6SRCuS6+jQLKG7E6+NXTboCN0AEWlX+krk2gly+3fcNIx5rXwFE6BOMOpANCq5x89c+ld
ZFBuhQWhDVLcnEHEp8LVZtpSBfZ+Cu2NYBDQsAwpDSiLg3B5tKGccjz0tb1+aK0K4GzrnxHdZ5uI
HGI1RFujc4Md+x7yy6cUI+Mw0Owz6/YLCPx69atcO9sxwv40pVkTyoxuAf0AlX1VPhwLXPocgY1e
t0Up9xqD7bOpZxag/8mVLmiMfcaRHNho5/X+pU2aSyoz1iGY0OPU2PBELu6ZaKG/tyzsVNmadxwr
my7ByBCSSrXKavdd6+LxIYNobwWxfqqZmeznOrj/S+7aoYzTucpe+sWYbXh3jlqeeasqZdRgWe0m
cSw0REF0HRnHYUjK64uY0MYSijZdQP2sZJChDFKZA3gs34FuKfnbdkWZ/RksBq66fiXY01ddwZvj
ZOyvVHZwZrH46KjfrgzZF0QCA6ZGs+M/sWKyWPKFDYRi4yk3oW8Qs4ifeN7o6pZ/gDL2+tskBKEW
FswwqwD3kgfQHPuC32a4rJDNmMdQUS/jj7wbt+xN2rzxOGbYLk0jIQMBeGGgNGmA/gq1o8SlurNp
Fpe5HaQrlYS3OmfHWRdtgl1rQLnc2Bm3sf0ZleGHHSI/YHTonYTMXjW9Qb7DPJrhzSKv6T9jXd9b
rNY2wOQ3Xo1Rv+3lb2WGLOJ1+9KThtAyLPCYfJPLwnOo21OBwhWRXrOS4ZOuGFsDOWfelr34dSdQ
E4Y8VvFDAAd8ZrLOqNxM/9YUNFGDgBFb2U16+jyBZnbVCNNZyciFJAaPRHYsoXKT4jhyinvgdbsc
sT6DHEYc+O2Z8flsD/Qg3yse/zLyDer+COcO/ttVbHXsiXMkGC8jWRkL5W6aHI34wNqq9559FKEd
/uxlxx29mve/cWk2QPRwykBRK3MUeNHwmcZnEVYfhVcC6BOzq1fAkiHn6uqIbRV7n8ww30Idz+8o
H2QfDkg50JnrBSZJquJHmeDzi4BUGRQFMJVJwkjbZ0CzyEOG8sMegKNEXrLpW2SRWiTqXRV203Zo
sQvPuyS2rMFOuExdfdqnhPyDF6+BMysAEPWm2W3atPir0FQyzGvyHe/f++y2SUguK7OEjHZcJZzD
IfSVMDgHYW4dJqQRDJDTY9il0aECYYs8wkIXYGtbijqYJzStp6rgIrWNfjw7pgoeU9bfHO9D0wO4
Yc1ySiIeEB3KrNSo0bHzL+rlnguMzYgHbtKZJ1Eap1hOJJryHxp4/n3YNAuz9fZ9AKo1kMmH1bFC
M6yMbWTwV2W7Bpek1QzXzvrr6umtJwB9FcfqrfTeTCALrCpLGwy6dxuxX7IqZNUWBSCBUOxjfzSW
9chWx9KHp3gynthtRussQQyq+8U+q8Uj7zrrKZw/EBgA5io2iGvXlPHR2lDDLWl9xLlfraeIJQjF
4K9O2DPVx174kuKpjpCztWYyS2j9ReJaAF6SYeXYtnNEVea3iNt4fio2qKQcBQ5vK6U8Kw4gNDx2
Dp09zYg/tM6afxf6gAQlzjwyjCFsi6ewiAh8kD7zkmhe35kwYZkwccB38XTkAtlHgtiEoOj2eqmw
94+7KazBebHXtCtZXmBIAasfne7uMs5k0o7xQgWcVy1lIPZSHk/tNzbPjHMLRUYZfbDFUEv4dy/I
bZnyp+VeTu17mVrPUmFi08QfnQGgRnu3ZrV2RqT5g+GFmiemH2Xqxw7L2CTlbBazs4tw7wl2T55E
+nvuoECKQE+IijjoOirR5FY48wxdbAoEbkhyFvCHLrVW99QJ1t7JqIiDyTxkfnd3JmvTF+P7WAcp
lLL3Mff/lBNvj8yNX0ZIn31rmGs5JsnRfdIRo9m5Y74PCjpED6QB5ZUJJ0sT8hzq9aGsbegvk1Vv
9LhlZ5mB7YvZh9ZOvIkDEHGTsHdz+3wyrOml7vOB8lJn2g2Htojrr8KJ9GspNW4SiLx8Zg0tyeQh
0oByqMB83upZncftiJ6ZYRASTW+rC+1Pq1OeO+Q8bkxTR7BXG4idDeOv7M17gR/koiyYHl6ej6eB
QmtllhwWEVaXZRNNxBfH2rWrPHs/hi3VLV4i6SJ1NgyjWWuIb4gtb6qz3zLyCtwbj3+xCzHKPGy3
W9lJxSRUQ1dK1u2+J46Q9wiqWtQM0RVT109ulB+xMC6xiZ5Fx/WmF3QVWm39MUY4sI2qaKw/hOkN
z2zQPfqrrcpCdzWNgMwKHdiEqo1hTayAOGS9LlYc8Q9anPCpzcz32un7vehK1EBhLK+TG98rOy+v
SXhoWYwt9dTBLO/VwE51GxFY0XznQTVt8959G6VunAqzmDa9OdBtokWa9IbkVkuVq8xID1EjvsOZ
tuhruLAlG+cDvqhjWGTaUozue8z9s0GC/cABZG7+JZuyyu1Jki7oeEGGjW+ouZaBmW//z8pf43+T
8lvCsGh8dc5Bguz1/0XcjX/KSSipqMPAwyXxcNRMPgYPQ+g6RguZuqPYTWIuDeDOgkDTt3087GBa
z0zlGZEacTKN7vjOtN84GSxCXZ0cHqNE8P3vW/3/5pr/i7nG/D96axZ5Enb/PQxx/gP/6ayx8cjY
Sidv0LFNQd7bfzlrHPd/OJaOANkh7oBPfxax/6ezRuN/SYevmYYQhlTS+C9rjWbirWF8prtcNUhT
hXD+X7w1Dgl/2Af+K0LMoWA0bLZ/7vxtuhJg8X+3F/A9YEZrlb7GZoMmzvSvBD+ha5MQ87xmCDnj
LZ+5ObKCE4Xq6t9v+ffy7+v//osp2lPPWu7w71dy/kv+47cNubbMDTis//UHrKAvLm46I9PiYyPC
8qUthLyHBKX0mlG8/HtxCRwFdlhQqz4RzPJVJdX4FA1RcicH6lZRCdiJVkKdcU30SDZA2qr6Fr6R
ULtXdxsrLir2eKB/0/AGcIYG7xorY1L0lPyxyBZhj6suVivYETfQTLyyP0G90LeCYo9D6JN+wV6a
YYywqPW1fRtNyanw9WuYqeaUu/26yxgODWFUbrQp2zee2fK+MWVwbG/VZ8feNWtErHb0hKx+qUZX
3E1dgLNhKx25JTExCvdBxDByMRrONlaNj6SviDbZUMWPCb3zSg0jUzIGkcC/EdjF1cWNA+3sayYZ
UXlmnKV3YJailokakRxBNtsVwyOErLTKLGA+IbCi3GrXvj2plRW4zd7X52VVop/N8F8cWqh/Jvql
H7RFQyO6Nqlflj37Q1KdRLVwGmpWbGPmhvL6SeuKGDgS4Q4ViUCxQKJPBTBeG4KGOmljvij3TA1Y
+HSCyeg4IeBMJDPRPjmmVLtOa9p72y1K5j8JmdpkaYSAflDihCkPVutFR524aDO+ubj/RGFSYEBq
1znm7FWlya2F7npRZNVLPcCPiCJYBP6knzJ2A5vG/lO0atfBjkQAU3DZjm99aqBMBS+TIfBn3Xp0
TJrISRXnwYCeB1t13eOHIzmYHF3wvyPESxLEz6aiqDAXlskOOKuYdJVAThY4k1U8LbPYPImJ1DBE
YHtZN8sAMUdDtxqO7trrup+qiSEY9/7ZbYMjEYF/jBJ75iCbX0G2gUC6JHL3k1SHYGmArNQID+do
DkNBuf+eiuyPBUN6OWXxe2me3SL9iWOLmVdvn5qZZQJV2V6wTqBkqJ36YnCSUo7rW1W42yEsNRKI
LCSs2TuXH3iZDkcUk4tsFVmAiTPyurWA8O+2oVmWU8EGRiJ1q/is22gGS5gJMRiufiub8kebPB2s
1bcaarVxBDIEP7XFDOlk8gVJpbcpliFqUop3cieJo1yVafk6tq06xEntI6lqt6N2TNGJbr00u6uY
a70xxQd+dncr/GdbKZgx0UAUhN/uhRbTNM0vgW9i0Q7zN1XOy7jEuYxtjEYptgTMsdmfXHwhuURG
a4OnZNa+rauU5EP8H45eyVcZmkTuSedH28/iYxiI0K9EGp4EEzoYi2xGBixss+r7AGohIjuuPZiW
sa0JiE+wG6F8TzychbPET/wFcTVf6WgULWDufRSfEk98+YyJICU9+raFEyHdv9XcvMiCgsmSNDj1
yO7bNiADG2wgRtYKDfwItD9sJMOz1rF/NNUAmi4Ydk7oIeFweNBKSH9U2o+w6S+53188kbzVVvhn
gtHG4xtZeD7BiOC+LBGHOJ5PZFXGqLlCmN8W9k3XU0QHo0W5NY+cWaTRTwH2DLPkFQqNviCZsucx
Pk8APMfbV5p6j3QWBAMVZ584oMTKGgLPPK9oWrzAcQsJhVwKVvTZqubEWkzxcGg9VW91U+czqYx1
Ok2XwLFa0Apld/j3XwjmWYkMKGDr7hHIxltNhkZqQu890KkqY9TXiTXdg5p8NCMi4HT+k743dgfP
5SUenROHJ83WxC9qZvQ+l3UqvOYQzy/FjG5KwKmGwiwPxSp2Eps2q9e3kTNAFUIGs8Xb04nHQKbW
uWzEfUrk2sbItqzIiV71EyRqHENr9MvvWkHGVeZZL74yDhjgAdt4IdKx2DjGoKL3gwtl2s7D7xpp
O1Uik4m4egOsC9p48vyNI9UmFcBqJsXHDEtbLLsPRL/jNpawKYmnsVLqf/aL/JzuewXkbCnEHeoX
GoIYPX8ypS8GlXur8uAI7RNZH7WeQXgFI6DunhTYiUI7ZFczGyiU+4OUyn/OzmyfvN1kg+MYBu9T
so7hSqxWAJfmNwsGLlfC3Lc8VeSSL+3Sdck9K59YzGIxKxq5TXg310DvPhDyNquiJBOOTRgmt7+u
13y3erj1QrgJJRuIkXg+sgSARVR2+Qg954oRCSeuW1A0hE+i15kwthkxE7ATeODVKeRo4m8r450Q
r7diAIln6foxrvV1VibvAznv3sh8h47nKSizLQtEZ2No7tHnfCr17N30SUkeQqZk6P1JOrg4Fui2
UayNAt7qJHmezn+RC/PMdKJop/UgiWgdA/R+/rWoW6wKifWOW4AUCdW8ZKH/mcJRqtMOjYp/nbJ7
Vfo2kXWcyJGmc8qO/sI9DGRprU0kcwyLEb55+nCWcfyqVRMOIYTUY2Jc6hbqZ9LcHH/bG629tmIY
xyARxzwFcNrqt7HNPjuiZxg1cMaYoTwmWla+eLQomblJNDQNUM9GVlHetk/OcQ9BwSRMEq9vu0Iz
vZ6ghRi9hvWg5cfva8RPRlJcHN2/tt0jlKCv+volNtVvan8m8akf8Uq5Sb0FMqDoJ1G+phhHMIjG
67EcLqW0xxvP9r9T0H05MatAM61+2sjdkEiDi7AbCSgw22fC3OdJuRAr5eJvgvUVVsNnp9KXonLe
ZCM3aO0xnwJWM8d9W/jlwpQYB8yinsDqJAzQEU2RNUJD2CS/bJOnLuAHiITHHKqfEzXwOnCSXCrD
RUYGngMQpVWrXzjn3zFS5gXxlycRRO8WgzaUqTYcORvhorBfYpkcjezTSrCitnYgd6aB37QuywX4
oWtl0YFHPRkbZGZ9dJk1Y7xJmRzxQiA555rJxgvYsXNks4UgaWKdo+kaOpeJoMWl5hqbyOLA5xkC
05BDv2/ki8UObKmZVASkSewMolyExlkmwMBr6qQI0CkMDdJ3iNMw5K1tHXSXDUoHiL7m5wCAK4Y2
FUAaRePMkr5LvMXRar2vhpjrTYt4wLHyGJr4sR7a+upaGhR2yjCrDhiTm8pepuxDIyBc0bNp0pyT
O/CV+/W4Zka9M2dfY2dqahMV3nM/Wt+GKj/GWlwsziYCVs9OMtyysFDgpKJDn660qBs4QNudl5Cp
1gTjwjX4Cnpvxg88wTk7UHmSYOSZZ2JXytX87ZMICxC6ab8RiANPic4kmH1iwIWD5KCFKWxmmvpy
mOofvFFoucYPeANLpCYIn1YFKb0LzNNv+hzoNYBFRylym8yx+p9Mncdy3Eq2Rb8IEfBmWt6wqujd
BEFKIkzCJIBMuK9/C+yO6DepICVdXYpEZR6z99qsWGW2Au49Xhc92Kqp/IOH221fG8QK0c46hT4z
zP3qxHm07i3HJr23foWMwqPuFNu41Y9LKheeVKjg8ML9ElFsV7z1nIRe2pxrjHfV0Beb3NzIwbwk
JKMcnDm5tXb+M7Yxt6i1TywQ2JMF4g+THVQjsDC6ORZ9e3IZ0cjwwZ0muYYuCwUvo0g29D9WwqDC
2LdLW53qPicSN9/ZmSba+JyZDZsfF/G40/s7+BolawOdb4hImLb2QqBC+dVvRkRuQ6Cjo+79FyaE
75L/hsSD6UOr0Vl5gd7rmocrCx8o0s5awi6ltAzFYO2cynzONTKiuN8bk/MUexQu0qNnIgSlm9on
7bUdo1XsIz45f7Wr/vS+dSeKBq6gS8ZNMxJkYVE3eHaMo9d5MCviNuLiLV4ksN6UP3OKPFZjCSgP
POBJGU11KnGQHIgX2GRUDWuvKLwVZEAomBWmsD4Ntk4wCcIOcXinpDkzz7lmZo0EPxub54Jd024h
xV/rwHHOLv/llnvB2wAvL15ds5h2NvqVzB1fp4mg2DAmeyTyOqagXt9t4AP8MQYgwFZ555BQd8RM
Jk+G9OtTEfgPnZ0zNqLBYbDbnPwX1xR0hIr5pa5yuYWL8uNPwHgDyyQJsRwglNXGAuYM8SFzd742
mc0WIXYefQdWd12Wj6MV0tIQTmR1LaxtIfF1dao+scSpTyJzjc3YsScbiQnDI/0rPMEx4mnU6NJ/
8bxQnsYo3jYogTdjnD8PtcAM1tk36jyKnwKg3mwgZwCIx2KPliXAelco4ktNlHNrH4dZMMf16fcF
Lrk8sc/6cuYhhqn+4fh8q72k20KS1adyeWl0iVYAY7cy539zr79no0WpbyEMNeye1UChHwhUzSLk
3X5cPtNT7UBPvtjgqUpp3mavqI6onsbV7HL+ZE3Cvi4uT6UEJDm4et0LE3Bp4N0BgLyD6Ug9mDZ/
eYti/4nk1VHly+Q2WIwm0j2NJ56gaEu4j3NFLN3TT3FmZ0Xwb+wMHB3JDJnPnBjkdvVrAiFpreuE
jKgshGKRU50hm8NsEkzXPsj2wdBMK8qae8MkSMyxnSdtYqxVqj2i5vUXXT9+2h7VWeARxuTMu1aR
7YXMMtw1zKjXURYX95/lwF4nAQoQ48jeptPMRTa3AiYs2vumHe7c2NijLyAljceblQA0w6kwyntn
oWEZCUG1U2LkB3+xrZqs8OlYjyLutlNWGOvGbuJtofNhPZr2uJ/LT9g+BQEZUXSIsqB9aGsCgGvZ
EYmomDXnpLYLGbDhVZnL3ADrgVDigt85p19kyffdp81e4/THCNs49+M02/fM2PWWrQZ62iq6J4qI
/+1kXnRHc8mpRP4fbyzRKcQMAKxXYx5+1R0G9ySyHqLctB+QdvU7oHsZiz/2VQSnbASLqGWDYtEq
eXDDk55Kf9oZhefj+WlSgkanQywp/cbOI0cWkNQD/wx25vMcHCuf7U3pq/4gu2eiTtNz741fXok0
MvafuL7dvS+H94KQ8x1S6JehGIYHh551wifGHGgeT3YQ/HQciGtGvMZe+f/aLrnYrSZzIJXvdmPJ
g+1FPmN9iuWctLSDsMkOWL6OTLb6gTwx04rHo2WorVMm1yrMmn3tsyyJjegQ1lN/ya3r4FXQW2IE
JtiVHm09Wg9DwyFgYXveUGSS6tQ0yWY+kqrM1sku18ak6Z9y/0IyNnnIlY+euuM2ntNrk2TpibvC
OQ1s8Mmph+uNo1HFOBUpG8kTpflCFc8h2sljWb/h2tKUmdafoBX4+7EwnIKK7seT5EZNTf+eauTU
kdtvYN0ALgyS90YKBT05fx0m4zlyom43uFNyKBvEakkEUG15yXvybK3is5Bi/PZ7EwJdAM3Trb2T
vWx4PI14i40zA+yg4tJv9xjH6/ck6PD0sFA3l1DTGLYxw2fXeNIYVh31ktZh9V2bRsdCmGAHIYnQ
KL2UJ7GhjkKIdguiKTj2Ig632WOTPGARDR+DdHj1/MlDnKl3cZXXZxmE+h5cr89dV9qvOiMuuAUB
SjTiNnQL70D6+jdUYiT6fpJjN4I0omziQU3zUsxozMeMt4I2pPXNcKgSRvKniLEkCJt8na7DQTf7
Q4IlFrUF/s1v7PLWXT8HLm1mZ+/Qm3qbeR6hpNv5o1BjwGacYOdU9XjEWMHg86boQl9oGhuEwf69
TZ94r1rcJoKEwCLbDq3jXDA9JUgMWL9MVYWViUkhfmPp7ibeJwx9GRcZIsVBqJLH1m81QejJpR4D
Uhb7UD8L4sYJxAvvQSHffCYGLLXtj9RGFa/KL9C7496W9fc8CeJp5xL9Q68ZjYRESeBN6iWoeCeg
289tZFNNPLIx7PvLXHr9RcKQxIU0hJtEVQCirRiSUZkP5Gy15JNaTVptCFpJN9rJWDPBFN3NUO9w
JOeEEEXWsGE5aa5bt7C2cRw564mkCUS5MBASG2JQ2zsbqcLqqqL5seZHcohbo7tUUDj+86IF8BwL
Rg6y9G+0c+4ejpu6/L6ws4SVPtbPld089H1WHFLUrReEUOqSgrwZV02N4bLsw6eL71bzoVs+dUCI
X3iv6svvp78veObu4VDdtX2a7Joq+O8f+M9HOaR6GDDXYWKDiGALBWJMijsq0rvazuabaNz5lo1L
BlwDLqZAxHFzSu1dR5TpgkWdE0JpZ8kC1Wj5dIoVzInlP2JzfxJzNeMwD+9TQTISo4HWuAb+QfnF
xISltjlpEmRYOC76Uz3Ej9nQGPmWBa69s4TOSKn0ZqyIiYNAAQVzhTb/xnhkw5rfP+a8b84hWvJz
VWFfgkoCfnYQ+hxgFCE/Z/mws5Q+Z1NNaJjr2+umCxSLK8PG6iuc5mwdf3/FAB0A4NOt19zeBFJV
kzr/fvS/lyigtzQ6L2DPaXTnYuJJB5m8l+4kz2aVYh5uog7wCJjnVQJvFdYMxmAaRaodoCkFo62y
mGknUfDUo1Ofi2WJpuZEnn8//X0RKSYpF0kDRnCBC1AJk+iU9oh/xr6F+UM+jtMjUgHgjbP5QkBm
85xHdNf+FdRzdg+kI3rWzb5N/fmlDtDyOdUXsZOFLl5gcWKFHvMRHFTD7V8kjz2lHpjp9MnFlAA+
Ly1ehpIv3KNTP1kgUZiGIaacAmPVTsSMj97s7SICA1Z4xFroDsreGpFGr4ooI1AF1idTXjr3plzm
ZIy+yF+AN4GwKm+PBRwcbOrudJ4bvlkSt+9SySEekPEDjO7i3W1ScdAZ1k/Dh5SpXPPRHWHjpOrm
Ofd2ovdtbDZAuuAU6NK8ZCkqWQUeC2B99OrmXC1j+9ZEiX1tYciuMBuSQBTmV2N6N3gaj5EBg6/0
w11E7ulTz7fvyQRT2HFrv1nGdC3xuOxc/wQsI9tHaQ+U0BSPSoZ66xHmpNI5oP8g18GHxpuyadTk
I9A7iGiH6QHitkBq4CETqO0T62/gQS1YnLCUBwNs8045vNmGJNjWifLXbZswEse9WGeURgrQ07pk
5IXIKYeBRr09WPMZB77GcY/TDLEedOfiGSXC1yz6S5B5FPQi3KRpqw/jEmjLublq2OauEexMp0bh
Evb1aw6fjYg5+KI8Jj9N6r5o3Ufo7DgkPVgGCxKpgIqBmzLvLyEfe1H+wIp55VbdD29/a7c20ItE
YkJxH7HRmnurOiKA/Bq89iBIj1qH2loTTroLSJ6miqx6MjHJYDb9jZ3Of5GbAp5A647Egnxx0T8I
j8gNN8TC2sf1PrQNxnhF1G3dGBB6P8ZPcwv6rHXbNycer6iuf2UDMIH1fu76+wmnFs5z41NEpLAI
VLsrT8FSqghRjHi3xLCF/FpCJJrzfq1kIbaREzuERfT2vpAIX/u+IfpMkIMeCOeP0MUrcZ94WdE7
sbLv9tWUgpIBtj/VRkWc0vwGSeTchvb0hNB5I7D3sPUKuLrILAMrQqNWQvtpYyN8xSTGqYCCDUr9
vS7V8+BNdOUOiPx2QOrVGpmPudM8Yn5oPwAr7NtWO0jGcCEXrjucqf0Bf80MF8sK8B5lHK0PO3cU
NJ9zdw540thK/rEdwsYnw7kvPHO8E9LRGFntHYwfEKapuPYd7akOs+LWNSAOwp7ao+qac2F26euk
4naVjjF3ZORMaMDYJIYDgd8WhGX29jHy+zm3l0A1h3SLgiyJZb2YNIKfKSa9vVdJ+eK0KM370sZE
SoFbD2H9MiIi2OvKdTn0+vrFdsv6iFKVaffyu66dPkpYuPuqQOtZNHb1EtVDe2FT+vP7mUNI+i2e
A3TAEXSWKJsOFpZuzK0pChySIXudTS8ybeEkcfX+fobhuTlECFo4StD2e/X4EpdFgvdi8/uJjkEY
hBzxW+n9AwUH8Qd5m6qtAP2a+556jrHyP1vRpickaIfUDPF8bKBq4DIlxBAGQPaaMpmAl2qRCtR6
L7UiRCGaG1ZZPpley0HDlsJY+5NNsGjVPPpp4G/QIxuL5vSlipHZzNYRBXBELgf8+7SkjvmNcUkC
ZhwlZcnoZxcQCUvGMrGu1QOPSXouYmKkvAhBVR5NsFNCnW9LiZbm91M2rDjnGgZOfifIQyqWANDl
z/3+7ojX/ZhntOu/n5JbTofdR1dFnu1dFw+YuQfUTjPpfvdxc09PL3aYQJKN5afjtknIvyNZpL9X
xfDRW1l7GvxJ37dxpO9tS2xtixEJCxEyJJdft5ZAmJqEoVO4RGN39lMfzbsUKiZ3akY4oXuXWtK/
Zaog2LQnpzFlbafzgkFVXD3nNQIl4hgJu0tbCAFq73mFs+lHxZ1spdNdFH/ixNsh4ZxPOuLoNKWH
VTgZkf332MOvRsRFGhQnTEh3GcYk2BOVsRLOU16yQzbTEqPDDOWCBFRdLDFxC3PwS8b6ceTN2kHV
fhEO1GmG8jSRzRK2sMxe26iGaVfodTRLquZPRhIkly4vwGxQAqN/HCi81mFU9Uc1MQ5lP53famIC
XTrsWOYTJ3xU3tqieZhw4MLKZJbRLwQfR4LfMeHLNbMfMF8h3gR+fNOxYYjRsBxrADdmpsanZMja
FyVuVmc/dIoA04l5JCU0xW4rXj0TNB3hFHdh3ECxKu1TaWekWXO4g5gZIJFV853ZdUifhji4WBwA
Kxwj664c/HM3YS60QnCHI2EU2Ero0kFog/NeYqEy173JOAR3LdOfcBTPFC/ahjusKGhAbs/JfWoP
l9k5sMQmhjt+5U3/lQh+YVBsPqF4MOKFx28wgqxzZzWJ8ci48AVJQgn+HTFwIf5amqLMeCKq+NHz
zWsY2zy3407zYNEuMR0Z5F61ek8tmPvdwEa73PZtSSCBEyV7mKXtALzUy7tn2utr1jDZCaxXHy3j
TvnjK/ihr87KPaJPR7EquyUdOqq+WwPrJkSZmx1MwZ+yCx+4JAeKMZK+k4Tl/kjKkipYdRugmfDS
GMdeOlvXCK8MmQv2eM0fFCbuOz6ucIsIOzsQdwg9R7MaHbBKZJ37GNr9R2Sw+ev529adv7CskneC
kdHOAhdiwIGWOmB8KidNGLSRgUHjWI8EuUVaG8bCHfhTzt2ftvS6rTYVg3KYIDLx3a0w8eGVlbnB
hog5005AM/ffZrlgWfx5QoSCpbUdip3bLusY5zEs53fAyvkGW+DJwaWBEOKjqHHpNn7Istvyby56
3W09Fn8nm13TEPEFjGSzqNZ+jwocN/2AITtD0MwGxv5DcQ3LqfyyKkKzqiG/9ZnLlhkBdYq0JJ1c
rHndBzm0pYw/fInefCLyacBwvRKcadFASJ/LAFR2HsNYm9oXIjvjbCZarXdMYxftouT703MSYnPm
MiZSebxnRIQBMUOTmnrIW0Et2/PNM1S5gQvv8tf+nS3ejLE9c3W5uCljMweBE7wxiTqI9Ni3zPV6
cxwveeluHSFuhhM+Q/ncjXOKcUKkPzJxd+Sl/rEi9wTKCUYYd2zh1et0MAUXkSQIkcbFepuVBX27
UH/wMz9kcfNUOR64LpUdxTL8laVA0VrgRA4syAXgsLCAu+FDRNQkP0madUcWNTTQKKYNdt7FuIhc
zT/mkhuDLuqpndgPpSyaFPYBAC5ESLxh3H3H3tnH/GU1CWGiw9TghyM8O1YCZI0DWcVODb2wtuq3
tDce0ng1QMtxI9j7PbOquJgTMDkA1Vrjzk7jW1AjB4/r9j3OueHZRpkT+pnlC5hl+EoHWvo4uxMZ
9ZSZ3ZNZ1FcHqcLI3JXlFO00E2C/UmvlZY8IZHeM2zwCsUoAqkj4GQ3dewCoDoEydmPDnjYUL35v
tzxK0Fl656d11LVJiwfehpveJZoLvi75F7LeFC02ayWyYyKNa84A4hT1e+UED76cobkVah+LkqEB
ZQde9QsgKx6NReJECmQHoglKxQ1joiDSKfoa1ZNdVdByopSAai7rHkz/ypVUo6AYc5J5tqHFGsLp
XuD/aWaHbbpNYFah5NIbW3t/TT3cD4z80DfYryH6NjpIYmHciCgNCX+CyQmdD/FAfXJxKx7arvOw
Q1C0YVVEOJp8sccn4sFC+kFJOuT/Fg2NZnW1awkVXBFstsR+7GQVbCXU/ap5z8r44HfhR92+pizO
t9FM0JgWQ00Z620KcmtWWHjuptZSL5Dxd2o4E8BFMEgcVShD7H9FukkYt9HhYilXxtRgNpl3hApZ
LDwx0VVPZQ5iU3iSTq4WGyjrf9wEySYbOo6xB9QHGETrJjsD0zkrdv8AN3xjG6KJSMHdrq1CI3Ya
ydXSvUOCNdZIpHuQZapk23HfscXI1mVottvAaYAhyCnfDtSHq4xJPQ63+FwXGilWKj49jwkQ+i2f
/OgL+9Qv0+NowkX2bAv4keGQDziaF7qx3zeI2Klu1DIJX6LdLNfejgaXRhHa4pxyJuzHmvCzuM0v
Of0Sp0HIiSOC5OCAd2i8xiIrW63m1AiPLHvAPdTTlzK9nvroQNVfkHlYUmGl89GwkvbOhYPB2UxH
n9hjcGonPzjlfG8a02IfV/zEhtB39bCSS3/vx9XZbKL4VOnpyMI9xWmMRScv1CnxCIB2PGb/dfRo
mTNs3Jqh4QrFI/aB0SImFbdDNRQGEdjaQPDLR78v3RTGJ21n5sL6GTe2mWIARmhvnH6tr5SVS94A
k/NEdc3Wq3Hn/P6GyVR3zV4dVpVxlzucTEW/7AFtdutRaZzd8J8TYDcyxiKFDuEAevQfqiLKGeR7
CipB7ZxMg6ibGGWWg1kf0dV/X8KZ1VIL8gvhAkan5VgCzK+KQxZmBDNkltOdZkN3pzBs20PnwpVY
FDLu8sJY/r8fGZ1THqOQGDBH7EqSljdYWRnuLhsjECf16fej3BP1KQYHyVVof+dNgdN0nj2WWeIb
ffABufuEdcjdEn2UEozHy+9HQzeXh5h10Zga6dlO6uyMV4GYARKuYwPebuJCWx3khsnZ4qUheC+K
3tMhIU7HTWZeqyE1dk0j3np7rtaqYNqY//720If22XMK5zy7+Cls7d/hZrD+30vtz8Y5c8+O4rAj
cQBcnVTj+T8vFqki//s0a+98fkgn+mCmar+/HnKyneVoi72ow6ffXxK1F57S/vz7W2hg/v/f8Ptr
ZsO0M1Jk+JgZ0rLYn8ebbqmA8M7FJw5riRh8iRpuFHuvqNX3cKcbROwKqUaD5Tg3O+fb6Wa+Z/B5
NKtfJmvc6oaT/Fhd914UqfE+Dh6KoLnzH2VYIwuT/nQZGnIqZYuXPxirI+xMC8nl4G25MIzHnmJ6
jWq8+GDl8+rOPl+kLd07zQ7RkO8Y7Mg2IPyEM4qV6e/L7waVlXx6YukvQup+cJfqUOJJXVcIFC+o
EOZxRQuhLqB6uwsYp70mKvL0+7t569OPFP5xGruJofDyJ+KC3L3E6FK2WwNUpbD5NHydr/2R/iit
LuQvptsQehb/kG5V69k8hXb7HtrIBgJgiyvJDv2Cmr1bMYqizPdDNAklQapCfqduDaGZIxLNbmbz
j83vMVTWMALh5XRwWdzQeglCnJc5CghDmMVBCIQJkmhlzmfWFPbQkCE8yNemOQMJAtEsXrPUP+cu
HgCCfpGlEFvJ1m6TGM6ePODjXFsz03pinLIOr06HE80O7pkHOZQOSVyTAewpWgGZXGMrO0jf+Uk0
CK9MA1HJm+SLjOW1FxsPTi6SNVFl2Yr90VEU0QU7AnPvfNwTwzUDJRvfbShxXhXGZ6aIe800Em12
cghTtR7QtnB9tcPWz8msRN1yYDK+HnPmwHFBclbUsCfx5q1pz3+UrwwMGnaPfFRdqKkAvGKpXbVL
erm3+FF6yclc2pizhPwcLQf/yciuYHQJaOqPiGxecg1hQEXEe3B7PSox38zSOhNy1uaoCWsnYh0T
R3fcMY9GfAYmAVLT/hbIIqWqQI5qJkKpIza4PJeT2v5xawA7+bhBHpVB9iwX0tRDmgxH1WBg8jWa
5na8lVZc8NMbiIsloGcEikN6F1uNvxW8SmvRVBOXAmp+NAHqAlivFN1vT+Huyh6LLJwXN21xqrZN
/xQ0z7Fd3sYJr7sVD5sakhvdTcK3j4tXhx/LP4CvAAOeyfdKJPatzHmOh+nQF6gg51ifhohRcyj2
s+/ceDz4l7viuYzMW2cOj+3CHOphF6+4I44FMjaCVJu3epyd9VI1ErZI2LDnMKwGK0vlKlsknIqe
GgUSlTlr+nOKWyUo5ttE9C+qNSdI7uaU0M4qmv/VjV4Y3QUyTeDd6xbnIANFdcB4vWlszznVnHlm
Z2GtyoNN3If3Lis9zmS8ejZ0bllffZIbRQXuAtwzsKcuvPDF7e3Bv4766rZWAPjL/jbC9pk77YKg
GQr/pqn0kdK7wiBvX9Im/wfR76WlRsGuO1xziwgvc47WjVxG1yQAWe1DkTHhK9IGP2yjN2kZHhrJ
dtLv1r3XgB8w+h0Az+fE/dPNkqyaABKCGf+TrfldW2pcRe70yDiTOHCYHpxnu7T3nRPddUGLofXN
tZpbByyXmCcGR2Z4aWtaOqB3IKXpdUNqWZZOMCWskj4WDI0DS6qi/GxofvwEFFSRpmu7t17mVB1l
jYs6sBCHMpRzFXrSskFx2alVN/TWmrS4RyaK97R1RAJPA0zZFkLIR+ZR/RlhcT9ra5tGPS7RdKCx
hAkts2s/Q/ExGkYPjKXonocTWV3G3xSkmVV+FAxqETQFH/Xs/A1ZK44ZMpUBhCfORQwz/KQT4bc7
+Sag6fZEH600+UrbJM9+pHnBysG6YyYGDt0oidI+Wc/ant9JKNo6U/EirPTmCPTQjoWQHmrrM3q9
AiCNGxwyhmA6SZ6lpxZ1ZQWlHUt0lxOgHlZBhPIrOYjJsm5Zl9cbjE4n7ujiWWsWsdTgrF7qr6zu
3G12cMcs2QidPCsCQqm+YxC7FXJHQOJMN033S47e9+DUz1SiLTDx7lt59oflZbe6uXCEFQdnoLlK
8nOf9DiR/TsxWswrWboQutmv6sn6zIitC1T/Gg/5B7vSVd+T7SPJzMq5zpGYM/PphsdB5jeVwKTw
/nLgdLs2Z0yO8eINe7rFCXLmuwOkh6szqCKS9pqczZPLO0XXrynNyWr5GTYcUHOWuUeWcZ/tFNor
duWntmMt8TbYDPdK3wzX1MZ/J5jsOGPqvY83kKa+5QhEoVIyQZtG8HWA20wcEqn8RlROCoXrv/lW
eGfG6ghflYY65Oou3XNn6wdwJ2AV4/hunsVHbP0TlQNtcCZLClcNAZ0guspFqxYcmVLSn1bktmO4
p9Zk+d8whNbGoXTHUyhTmmGoqrbfk89ngQTPsUoy3sAUWYWPYeD9YKdo1+Mwjisjy+QVXwHrLZzX
TqAfEaL+gzZn7XRRs+WeHvvlh5r2w1ffeTazVFhcNLSUVYrTM+cCxrtFh224F1k9kdWVrDzv3XS0
eeiK4CEwuvumLnGlk7O9rm2Crd360zBLWMgV8QypU5KdkmUvRNxi9/Pren1F/HFHbFa3sSVHsbVI
1/AFj96tL5mBslGdYhvRe2SdvSzFw5nPyTrWrlomV/4W1yGGUy5hrr8QUbXUYGQmzi0Cp+Gjxahz
yCYo+rd6IqZxHBvseBTgFsUZXWdlUr7Xtbthy8nX4zgQQpgY0TXLYVd00zGpGEnEXvDOkcOfiddj
mP1JYwfVCVuTZqieNU8COdeKgnn6QcdGRV+D9cIEAUU/HtFcRxZK+iRMv6KUgtuo8hvxuejr4ycB
qR9JdnaP7CRYjcCGNn7FrWN240VUt9xD/hPjNDfVDzz+t3mqDxPEnFUhKSGtqKNsvZtGffD1ZFPJ
V285+wbQQJ+Nj9DDkK+2ax7KFsURDKY3v6xe2MizbWfcQSmNyoRweDymzGARKDE9GXLprUUARY7V
xF71O7e+k+TWhdUw7ry4hagZm1cbfF8eBukz7m4nIbIg9sQ1Ke9jm1uhSGV9ce13v5nS01jOt8Ds
/3okivD1sTi2A+KOK1TwRhscxxZjtu9MWL81HTh03ZU2useBxdyBcmnk3eaQOHZ14MStQFwOG198
E0Dw1NLKZWzD99jKl+PZvJHjF67BOwcH1+p3plfc8Gns0Z8ZJNhpeEhouX2dtDubk1UUnB+wNtnX
kGx/ZHrPRnnuF/LOZxWWRzMAdBElnjgCHIfkiyyUZ047MRtEMgJb824gGNVoGdpM3oCqO2cEZfhb
Ncn4rMU/7fv6LMnBnaWpDtooAH/1xo8fQKslS4FQXLxjottJhHtoACkSB+KJeOhY6XXNTgnvrUQ3
TkoCzrIcpHbQbkn6ZuYByH5l9QIIDrSNXpn9OYsCZ2148hvOvU9oADJTEzlm7NPlpyM+bQTm7rok
FgZO7SdLQNL82JIajr12cjT/U0E5FQxHA60kW71Ymo+Gb+6sRNzyukZU2ju3qHbaTdJ7AKjzP/Py
vbA9Uq+ntD9Eb10TAyHU5HcyEqxmVo42zA/fYjVg6zsoLBl1HCQHbbT3U63hGPB9zz3516E1XTM+
foTccOoiFqUTm5sVphKxy1gxkVf/xjFpXJo0fOptJtVe8VPFMM7IkDEiGAhafNBlvQn4JGEdfqMo
v5l5zh7WH0mzaMvnZnZ/Jjnnm8gYb52dDpy/3V2bTSUN9EIPagKMz+mA2Ci5EVF1tJARLwnVEyBd
GVyA8jClBvgUt2RljVEFfbz7a7cMsAfV94z7ScnE2uXPIqSTo5zPkmdkfZBR5/5O64tyFGLpHBx3
a7t3c0Oo05LbkSoS171lGBXOPAGl2pWx/glSgyc15VgIXGpKy8RAPda3ugrsjfJ5NhBYrAJEjCpo
Sjg8DZw7rJB807BCTukTF3fI4AOLTv3cJxNi26C6Jk7wpCtmb6qSXzKUj2xWkJ7L4YG5M7L+yHv3
gmErZlmw/U9gHoBcZ+oXz+eBOWdWxACMWzgeShG8MKGfZ6sYoU1u/UMXQbq0On4ichiYWwKMADo0
bq0BmkIUEr0SdSQnpPYEaAT7A8J+Yn0x+1j18JW3MCKDKTdRVhQxLZ31ZFGoYaj5nOIZBDygCOwG
W4ULjcnYhG+tQyMrq09KGJoCmxugFojWdSmhxgR3UdJcSY1BGBcXn5VEbtmN1l0dHGeblA93wKRd
jSDe7fCFPELznAVUd0VOXn158ZYxKb6ejFxfJyBAZdP63CZwrQaGV152x67iLR2oGFu/sY/S07vU
HM6oe4sr+sN1NvXLOBBmTxSNM367WRJnFgZ7mzaQAdvfmkyd3G5hKHkokHWDDBJ7IkG0LKX6GvlN
qbt6FYCiOPkBP1PEmQx2vJcKw4gcNoOf/FOhJpYD4e+ubnn4m+gm3fqhIMuKzBhSj1qIByl2uVXJ
m4oG1bTXndntbXAVW1uro2uSPQmD8tan3tlJQMsM2tyXmAYuFe81fEj8L+Pc3HUWfcnszacscZLv
gP0A7GHI3nW4nUN/WHeucw+BWaAzgUZCsAQ4PybTtaExWemiW6NtY5qOwsiLu3Vucw9GcchgYja/
2fI2uyJjszSZA6J+cy+M9G/OEYqddYZolkW03Is+Gskr1+dkY4SLQBrXm8iqMyQI5X0PCO6U1s64
mVIy8wKQPzx6l7gyflTnz/tFYWSMC+A80YcQkTnfSZ6TfGju5lB/N+PMW3FuRi4zY5ULg72HkUKt
N6zNGBisGzseLcdvBNtVcKgdl7by0mdvlOA8naX6mUGSye6bRq/c+QCFaT6Y4SFJW6FYxYwJPQ98
fXJQwv9UbLDuyCErYEVw+akAs+DslsapKdyfynTvg3b+lm6Ggwa27XpGF+cykVonCZj3LjKfsQWC
xwMG9jRlw2sfNOQqcU1yUhQRDwrifbxy/IclSy6fcfCA2oWsZQqLjunDFJ2rgX+iL+znEUXkCnhj
htBI/Q3LMoGsytcUWfoRVwH+6CB5jWMgMsXofhQkpa59LySw1Ax3bTxy3JBJsQ1b88Mf2mKXz+qB
YMSDMTJPMUS/9SeG9qllfzq++CAFhtG33MXK+VMY5EDQnO8nz67Qd6/SwRa7eqy+hEkoITsPF98S
UqcpprcPV//4fX9HXicUBxHYe6FmopbIagDtxRBZJu0hwzODUcr01l4enXXhO4B4naszqheRxskf
9EDHfmp+Ahc8SD4xJ2189n4JZHb00mQiZ923LDp+TkNEA4El5hyGOYaqSuqdigzKH0RPOOAyixOG
PRpUEXvj5lN6o0LECJuTmjs+t0HunAuZ4dX0iv8j6cyWG0W2KPpFREAyv0pCs2VJnv1C2C6bGRKS
+evvou9jV1d1lyXIPMPea++9DjS804WLLYYL3R8rC3ia85wMCLJyrb3VcUQrO1dM4DWyQoaAv+8B
z0ZzS72YxJHBvbQpwv3MmottQhjspo/pqnrZoKJqqyyAkugxT9FOukCM32o+ORn1t2DgnpmZs3BH
N0kxcPca7slptGrbVEgpy9b7q21H7fx2huj4QQuH8zhCu5ll3RGiFmd83STbHBPHprRQgWBweGcY
i4fQZ+1PqbXtmJIEnkMJOrgAyjwXkDiJl/R9dpQjQXxIQPhvikbtoZLfTNRkq8qFtRYl3wlxnKcm
YcZoslAjlHul1zzcJp4iVAJTAvejPuYgAFZsP9epH6sj4kzg+tC4NgPiIuGbCSYgWr8K19US4h5u
eFZWs54o+mSdPITShKrjitckozKbQDwhTWXxFIl8z7RpP5rRiBlVDGvWfXsnQk1pW/RPbZ4jnTXj
LQn3CKvkT+5CIkqiEVbxjI6kELiUzJ6pe9qIcidSPJgzY+5umN9Fa9+FnrOFK/NLaNW7lFHdOu+j
dIMhVR1iPz3ZPgd/XeGUA3UjV46t7y3NovB02JTHjjYeVTqd8PjHZy+q93PniX1YxvaGT5WpqwZa
drAEAjDCPthz5N/wb7OThdYZxSIVgRc9qAj7gdcD2mDI6h0buZuM7pxa7C2jrMayBFhED23nYE01
UKzGxlQlOR3Ldn6OgF4FArQVnWb1Dpj3wVVp+VihUCftr9hbHlloXeZe6ZvL9dA/e43t3uw6O2o2
6/pkRGI4lu+txrB8yOio2TvmiNKlHqRkF6epcnb6qB3n3l3QNNpabwXGGyc5lz6Srq5jxwlbaGvN
cPU1HoO1O2NoAbiXrfmSf+p0enX6Aa1FxHdY2ivHWtJAoumW60YXZLLvAkcL44OTayvbC4dgdpeg
iIyE1DTeFsbBNOxhV/f3Jif4bFQsGUNqPCqwpGR5u+Ddc/Obv+KHWVPxWPiQ9P6GsuHT66OP0p5J
hnb2dLmmxqS2brq/sKLx4/hDaJRY/drJgjzSnKewydpn3aY88p3K2Tmad/JK+ZBUwtp0RHM3c8gM
uSQqZgCaAL82/GikzvdhRJ/GwpsYbUgDrpxBaidckR1kQ15MimIvPAiL2WLfvzpjRzHnIfarzJ1h
K0prKGQbo7cYwsbFoW0ZctMH04zXeBElT2LfLyK7Jj0USNZWTVJtEbYzXquZpZaRgSfVR7xAXEvh
kWdPHtgaGKHEdTWYW7MI32Jue74KDWRw3d6Nmp1DsXjKkeJzQz37PpJMfE0juTduvoXYB6pqzTTP
fR3NZl+PoC1ZuOiB1tt7Ss9xrVtMI1r4CPUCNJuxraxla791S8T5kLmAdMt0b9gI6/tIJYG3hMXq
kfmqFWN67je+Hxp7PyRWYCxr9NT5+2DN8qyIMpiwCK9Si1NbtxLuHv+9dwRQugxL7aCnGTVdOxO1
YaKEqwtgqSTl6GP1MMrjJKmQe2VGO78p5mCoQWl5XO6MjAFB5Mk3Ir4Mv8o8H4baebab/s0r8vem
UBo3BtPH0fesjYuZ3siLNW+sPKbLgC+xbXuDGaVbd3IoH9yyO43ot/ceS9uTUXmf0QCRTGcBHVgc
zCV54CEQOY896DKppwKSaCD1UL2mnXco/T2PSnNhyg3jQ+2rQpxw1xEagyzCoWDZs28BjzVU4sSa
Bwlsiplbou1cyaKNodSnX8ShUBjAm5S2TTXrM66YFeRj4OXl8B4V4q+okgq1aGgEyvZI9taZh7S6
2wOb07OD1aUkaQ7dG+xJbU/GQ2AuBEMfmGAeO2XQZy7Y6ZiikYxvWBGV32Olm9In4sSvRROeJwwV
z+4gvnQy89hioz20hW/v3B7n2uLbwR3f6/MfianMIjDMMfmRNwNe20Gs0xnUiItTOvZ/tBixhTA4
du1yuvoTJW5nN58pcv4zuhirdx/HQXdOyXiA0LcBx8GAq8ieke5kd3by+k648TWLE7ASBXzjXp/I
LFhOaIqBB3MkGYr2PtxKSvRQF7xdKYIcXEchuYGA47v0IbaHb8cE3OF2lX7odWi9EwrjWFBwWRUJ
Ur3hWJtJu2fUSczKeapGS8074hX+Ab341/jITuuJ+3oMAVOYYbcCDnP2lWft5lqDKqhCalVLwnoG
XtsnTYqgIN3QxVI29ePZuxbjTH6ARsNUDL2+cz37K4H3p0ciRPdR21uMQTMT36hba3EiDhyloXuY
WrIii2UWMrZOh2o/3NFbeu68mAyanK0F5IKmEa9wwmtkKzBF2rr7inRcFIm0t3H7HdV40Edynxyr
edbKNl+LOCHMTju4XR8y0SD1aRTPhfWrO87R6sefvDOjLQRtHqyBgXqjoT/JwERC9GtyD62PT2A1
xRvxsQ5QSQt7cPWdhqQBV+LQEFRT1d5t7P+gPjTMMxCQFtVjSBeMaeFidAanOpmKJAQ2NY9chb3P
X1sVxp0xH9+7tLq0OdIBPWrYDkhhscVq3KBw1K3Fqjgopu2Ihj8ZFNvL5p8U1B7Dux9ktBJ72VF2
9/50Gg3rKUr4cJ3OPcVDGG/1EG/DUFh8FR9wx/I98UsPmDjJjANNvSqaJfCUuD1HMvshuykIFZ+p
kSlW8Z7xF7VFuMJcT6ib6O5FeDcKriaE0gpJt6JM8RUbQrKHkhnuWSjYmU0Mh4oozS7WyEiTiXBr
AWIU+CtXncXBTL4nk7lvMLpEwGbMzogQ+o5NWM5VzsHEV1uP5Q36I45E3dZWHGWAwoceuLPbnucK
1n8XO+aad+BnNrTnyCxLUgGA/CTpLZy0AckqVBbp0rTZSYlhyjkOrjmjrLAf4QNzfMQt4OyecAv6
WCM611Yrt3zwVeDzZNve1phdtU1L+yd3iI6c05lLTNKyYPDOW1lsTNsfttUMsE4lbISIZLqg/f1T
TXSm3KRvKeZ/GfUtuSXYkPzUZKTd1veUv9xWG8UxI62FX2FCaeuKuVgGlCjPKZBN/7XIPf0IP/Fz
0WLyDRLvBhc80qcvq4L9O5YQcvMQ0m9pux+mLzEoesNNJOSl4dWNt3mTZrsUTktDVYnAaMgPzDGi
dabRPyCjRDPYRP+qsY9wZ8wpc7q7j/KhyzlfPJJMNpxs/brT0Uwb4I4HkxUuxD33LaMlXGkFJDq2
umh49lVtxFvKAi+Kf4h9OI1e9T2JrlmN0uLV5GMqVAcIYP4VSPjQFjUBkaf8X+ic+FCe2AoBRWjk
GneSzdJ/5GfFTxzH7i/JA7uRT3ZIx4l6ePxNWsSDBr2fTQG7nQYHpU9LSGRbsh+JaobsFth5ul8P
8vIumcEAV4q/b5XOJHWLo2GPa7BFGCmkYIucxGiJTVTsDvOPjEh0hwfGEmz8YsY1UBBm8iI8u/gq
mvfGLj7HPr5VJlPwHoD4xpfpNyl2JborVipTmMndoEUKP0W7ZQ36HkYNK/8ysXZt/pSR5Acwph72
peHvQUWsgDi4a3gtJYJb88OTHsIM7v/I9H5Jcqk+E8f9Sm1YV34ZFicw6xcS145hVid7Jc33nBDl
Jle85yUoG3I4V6bQnhHwvfbqlZAC8iHd0sNk1CDi99G4+sDpDXs/4qrYOVn3MNfdPxVln/MkgK/E
BitK/dNhq5kOCUnnGmcJ9by1LtmHF2byBv5hoTNWaIszn98LDUbapLEgvhxd2JP9u03CcADB6NTU
Rr0mTLwcDOOY4bCNOCkQz5asGhfUbkRgc0fmRD2PX7EozmnD62hrDN9MIs6KIbOOafYGjOYIefpd
kpYK+gcVoTWgRorvKVCgomVx6rrZtZKlQt8wXTM1mGgVoa72BXTguG33os5G9PoysLgNkWFApJw7
Kky//AvrsDrMtfuqKNE4u3aTGbtHl3FummQ/bb+sEajoAt0tPvpRx+F7FjLOYPGrC5v9j1m2l7E0
w00W2VugruHRjc0Wxzzu69pB0cnkEpuXtTVIGzMzaitTfpR5ujx6jJ89xhaMlt/QaT/x1zqQ1nFN
2FfBm0Sghr4Z9o/a9JXzwJv0rcOnQOHqUrjQS1qtcczj+SPseStNJ7XgFMQNHgOJ/7AntrkaIbi/
z+ytIr6Nlekl8VbJ6d128udFqzv79sPoqWntJPn3gO9mbRXPEumDYabh3iYTcQW+++xwKCsPAHbp
pph40ZuxLPtzBCdbDuqdGRGI5Ki8DTOyBuhV1cEZt8LL+1NcMKVHq7vTmdgiv7BeVQzqQen+a9Jp
4WM+vki34FmmlxJFtiz+tHajPDKreWQ587cd9lYmW+riaSH/qabcxnVHlCr1xKavzdcu7BB3tuAd
pxo1H+k0wDxTPmRiaAc0i1HUjUgmGW/Y8YPt2/WFEOYN0lB3HRs4ZEk2Y6aaKG8lke+tc6sOd72L
K94J2wYhxfw0x+EXHpVs2/j5QyL5N1pOGam3R8xdFYO68U83JHtqcGFBFpuHZCiI1x7o7GWYshyg
DBh17B6Wg2wHeJkv0kOegn8mG2BnxPFbb0BdAZweLeeC4mYdUX3k74gLXKbThI7JmBw9QjWqlVMr
MK4L1YEMXNotFxRMK9xzxou5KZhmOj7KDNMJVGn35LwMBuc3Ulaao+UzY/gKy7+LnPUUWvR2XcVO
HqpuSjxxrcQTT9+LyLsNmwWCqeHZnngb4B+5X1ZLdGsD9jlQj23XUDBHkLBt82OCW7YW3qHK/OHu
KP9SaiZZfP+Zngn9E8X858zEsFcNF3goxN4W/VPFuRUm4yIQpTiZesfZ5u4yWXDR6tkeLJ2+Qu5r
ZOvlRx311uOKSb97rbO2oz9tNM0ZwFJPKoiq+Tozg9kM/i6i8oM2QyfTVfnRG0j2hYvjaQBZZEgG
EKLqirl1hEaMGanng2jXXqzKRW/mSLarYuMAoljJELU0TyPXiSEupY1aJvPIJUmFcyjZDkRoxUzc
AgHAYlYgU/1oG9qnO7G+mmu6Ufx4+toARslXhngKJHO3ReNjAm9fMG8+VzVK3VXPQHZV04ZCoLEO
IxoC5U0lCrO4oKWKEaWJEY/sVNMFOvyApugRH3cl6C8RR4FJusyqQkW71VDOGiV1Q5/KeZPA2Hgk
daz1YCtpC20SNsiwySN05Q14hItQvoeemLRDThUkx13rbeQyjW0QMVWW+CGIHV+kdyYecXlnKXT+
q1zyR6OjPergQ0EsQZxkswFVHWH3JVrUfYJIE8eCxj4xUxdRx8+djLVDiuu2o6XtKTVHw9gihogP
YyoBr5gwVcwRRWUj37kWOLe1TQKUODPANxeW/yqr7tXvyLSu4Ath4D7nFaymME1eRlkyoZ6svVEF
Vq0ekwosRoysPZbi1SLxi/lFwRH0UJqU+lGv77uYXZPWZTzN/gJlxnjGQmgrei3IFuFyotkctUrf
jgL9gEMrUoTmu+UbzkaW5h2qLGgcIc6a7KBV9z9hhMIOVsk5C+OXKs9sYB3Da5UyUsls3kyUDl9x
2t1mhXjb6uS65/HPuiLbZBq7UR7V14pCJcCQ8arF2TnC47nO8uo9XYyVhjhyVt2ExkZqEsaDchRh
yQX5zGSC4VZI+2JXNOVOg5u4isb+7LHJZgwS/5Ta9GiEk9rPWGf63r1XNK6B0Xqn0inIIxi+FTb0
rg0ZNQg38DPlrBPJ+JcHJEVk0J69mZMDOfCj9gXDg1fGROSjW8ZDVnwtVj8ytW+G1J/MCgq3b0qW
l+m8c1on2TNFuMQEtW2qjvhwJtCOUzyIcTiwxuf3JPZ4Jnjy0qnmaIq9ZVd/Qw01iZcJGo8jbjkS
laVVIVCdvS0rrn7nMZVbNTPZRWUDDyh5sxbK+dBedPBvtfZbuSOAFWv2+CpJT1IvAoUjVV9F/2yQ
kzhpD2aDMROKjin5iVCzxOzpQsV0bqrrdeJFv/i3rG1k1bdKE9dloUXoF4tDdMlUdDBpBlQNM6yT
oND0U9nDzrSs/jan1bySxk36TktO6nTqGv/Zp4EBoeg8T/D20SlB7kRkdzOq9mMqNBaiC9O9n8Lk
o0A5vNYBYKK4dsSrrDWKySE9pLPPAn7upiAqywD32ZU0T7xgZqU+VVayu4jHhXs4H6feu/gMZNFQ
VOyWMxIiNcP79hKvPnST4d96XWETE9mHatqQYXyGHnn5rXatbwxCQ9BTdhExUTzaOLTjQCpyXWPN
UU9WM176jmEOwr59DyjtpGPKf/KTiPTtyXoPve5FH+2nSSR3YN9qH7UEDucj1Ho0Dvu4t73nGhnU
OSn8DtFEexyk7NBYQU2atKy8GK2j3900eeJ3Dh9uB7MtbKVYF8puMCPL8sMzvlPwq28Cz+nRwam+
GYylBCtpxhOjaU8opXZ5ETt3RpzXjqDKDznBu0/Bl+xY7FUfNCkbxwrVpfaT95oQkxuKa4Tevvsi
mF5xowgKJdfOUcshsbfa4iOZhL/cO/LkVn72pjPimJb/K6Hd1p6QsWQd1/JsNrZ/Fyyb2B3iGTYm
hpMmnCHGkF8RC3OhOoJhwRVvx8KbX+LRJbFYrw6NiyYMB2b8wu2T7HUy7Db//8e5tY+ejoTqv3/M
m8p/yEz/o2W5cRzdjPQFtzGus+Ue88xrMJxq093kbLC8CmsKAM8d2I52o6u3JDVhYMU4dXxeIxll
7ouf2+mTTNhJNHX5MCXznyLvpdcw9GuLbjpjyDYY1PtmSAIIOEi2AOz3TJgS9I7NYgtIN4DqRpes
JAZTH/aurctyo0VIMyqqCbBxxkrX4qOldRPEyKXyDfOPgkICAMpa9U15L429iBvvMWo+MEgSNyqp
rLLpIcrjHGweCvGBAWKlk0SC/a62Kpw5Dk7IegoQNaNwKND/Dr7xMyK0Fj4jNH86MkN6ES362M7J
fx1j/NTG7BLGPdNmlJ5gHugUiBJvnGHbQjtd1YKQNrQNX3o9odpzTaoF8yYK5y2uq36X4U2CJIVt
yY2Wn0P/bp357KXaNeq1H00bk20pGLOY3Zsez3+VS3RQhh7I6Ou3UK/+skTuu0l/MaasX2eO+W4i
El2PiDxbzbLYpI0A0pCB+x1DHQlbfgUc5CCF/6/T6gn0/Hqol9DViOFFY2VfmsGMkMo4TgjhIBm2
DgRhbAjW3lU3/pR+uKWQXhk2HHfPc5rAQKzMBECtc30sN6VpHDvbYtXae6BxUtgayJA7mO0JkVIY
FHdzW5Ly4MLatMJt6KP9r5BgCP6+ofDOTZv8kEKYaVpDX41jKqrKA1NB+G06u3fTueUsZdcEPbDi
HRNm5gBzEkYW6FMNEFOFNW+BZN88ckLWc/gz+w7tBW6YPL71lLLZTAJ7OgwQe+FURfWjGX8aHpNt
nfATEmN0NG+Ds68obIjyjdZaVnxakbVkGJOmIvN+4xb4SSsTzGDHZB4ZtHawLPis2oNcRuKLysKA
yjMol3jedj8Ps0n4a63TC0QeFnxcrhYc5Xb8YqPVBb3hH7W9QK0M/4vRZlVu+OD5bKfhUKjmXAIu
THHugN/orio31iYFUBdeWYzcfea1gzQ3ehOyL6hCEy95fJsJqFzN2q+ueu6OfKO66ifyHLB6iPnb
7CCmlnJskYtPDkOk5jb4VJRYuR7rGOse3cqTL7RPvMxQ6p3LwChlQHXje/wMhqlvfRXdqil9rgv1
aDHDgDD0nMTGQ4LHehUaWk6Lbj0v36xlosE1bZLAdCSlegmuSkfInqJtgA2+VjYnHQOip9ETB+Zn
b73vXGzfQ9hSfuQIodZFot+TuD44xYiN3r9Ydgl+J322gAyL2n0qVPToKecLcfpT6N5kzW3EMFff
goyaUVKqD8+bLmCqMI1qYjN3XKmQjLkLjRPkxTVnAqmkcxmAVCIQx9YDUEBv0AI8EiITccEIi8JW
zBJumOCni9C6GI5+SEkd6E352mH4s7ShWOszSDS+wZWXpRGiIuNLdxMGqQQHCi8NaHeCATchIbnP
unrKs+q36LsJjZHJoiZ/1GOT905MD37urCLbfzFTCYRC4TikrvEo19ae7fhbb+okiEee507dqPX/
CiUAthkzOY0aO3phk64xZCeefuCl+q/dx8vuYjwk7mNHdtMqYkigYa+Pi8lcoIscLenadZH1zyK+
REoEloCIhMBpTRpbgy2lEuY1hgFDc58cUztlcQWfR0UlkhbzUMRE42hTRWIZcfcQglBWMYMinosA
bAah3bgn5si9F17y3oxc7Q6v0ApYFenjSrJdQHSQauWurZy9OxHQ61TlJ/46xU68Ow8mJFqnZwUm
hbpR/Dar9kWYCOVal6ycjO9smE+2gfGXQ4G1XghjN0xZHs3hiGusLhFNh4jTPFoWwOJYmbHimQR6
ayfXjWA16D7YNY8xTOwbkGsOkMGZYBoT2YUmOw1KMxywWfcic1nuUyAmel7ejdmAkFUOUZDo+Svm
eIJaeu9bgEUdMrKYIpc3bNbK36hpSD2z0aBHis2dmVxwQtYX122Te+96j6rqH4kJwLSeGj901eWx
R4Qd+IAOaAYAXeL0uUYs/8fE2ckQC4kkZCdDv9VDatgQMnJCnAnJykvOC4HkKItcEETtvusJa0at
YrSm6yyLuzwqHlWcH/VhzNfllKxL387u5D6fsdCw9rbZUeHI2sVWcrb9OttomR2CUbTqfVLSg8NQ
kDcX5UPiFCCBS4RnBbM3JjwoJw03o/xIZvQbXhRSx9o73dTWKAMXiIq5xc7rPpRFzLtHdVP1+Kfg
zTzAyDqOo1ZcdJPZ+kwwS2GMv3ooS+StVgA9Az+jhSiWrXRrzYhivfHLtXuak8jtWZAg667lDEIE
+AYtDeyrOLev4Py2DIi/R3NSuwzt50NnIPnIwHtDLWQvAk1rhYdpyUqbPX6MsN5p4aXWbXQV02au
8FO63AUDpXIQWvAl6VPhMQ0tBXUv2HUYT3Yj/V2Vu4+ZDWiE+z+wqoFjPuLkYOyzdgWCNLfwo1VZ
u9Wl7vN/bACTLeTqgybT9IHI7rfC5OJrIzw7dEJrBzPtJmyLbxeTmuo5oYt6I/i48WvLawtWnUgx
OLUixaaQ2xR34YhUaXLYcHtT/lsnPgadEYIabrsHl/f71KqfwsBobSQ+RyyJLjCGkMd9WwgnEMip
P63GE9N5+Usqsu6e5vJcFXF+dYsGuLCfyF1dovkzNf1xbDT9jDOrYUjj3UQzdLdRQwI2ibraj9NO
V0sIHdQnv1D/tAF2dOSSIter4tq64zcQ1eSq1Z99A+9eY4u/iG9gKnZroaf5xrKW4AA8VsHMLw3K
/EtyndK2dmtUkRy+OWtZNBivnGHVFm3N35jTrDv69wizY9GLcVxx35VLhvyMtzOOf6OObLYobB7H
tHkqZ9c9duUCsvKr61xx4ufzDLJTQ6FnEujYDkZgwxtaa1oPWILddI8N1KwllP85vKPJD8Z55I0I
m7dY/hMGy+BGyLvvQvip8WHiq7jPGWSKkriiDW/Ec8H2pAj7NGiYFeoJTnDBtlO1b8ia0MbFqCL8
JnSW6/SlTud3sM6Iv4xuKTQXn5NNmZcRqGPaYp3L6MXs7eimCHGboebUzLE2luZAM2XR2gof0Wxo
CFoxYe6raagwuCFq8MahOZRtMbwjhQ2kPyQvXPH5ZWrtV6hWG1dBay376Fw0VXavXU9eQxRg0nYk
I1v2h26sZ3dhy/zQtxMPBZS8+3+/N8JZzLKADq/NL//9sr78OzOS91QV8/m/P9g4cgDBRoZnNU1c
mLa71RoFhGMyjassKA5Jh0w1ilCj1alLrPzaoaM/0TRewIx89GkMkygerFXpeT+hoylgJ6g/gHua
67DW5RY475ebF5ygl0QvHcbo5BNxWYxv88DmrcF8aDA8zXwR7apRM9aZneVbmzlI54ij7lSIyfpo
Z3CYHButp0OAODblcLfLnmVP6OufAOuAMvXt60DuHmy8dNyOlftY5vcBv7er+ZcscYKqIhLKzaKN
JfXvYvwR1bXuOrmp3MinF6kfPa9zNhxRMJS1IFItKop02TdNDNFd5JGgev2fwruhLAny1MveEwX2
YGBDPWJRJc4g35fcX2EbHyNZGV/8cXKNBqYwvtmdMt0RCK5K7RhBjfPMYaOgAzGU1KhgGDiXYJS6
odbR73fusbdYyrURKMnEBSU2t84dtHx57cZUfzWrfzV6oV0hBrzuVffWx5k8j2m7R7eM6kTqG6sh
NKWOaj+QlX5uBKMI9hhM1IvsnWw5dWoLY7qZpiv5hjnuJTpbz6BW8qcaNolgg+C4ErR/tZ51OBxc
Et9TNHCve/+ET2nqZ3j1q8b4cvKUFRk3ZRa+tXGZAfNrohfD9H5Eqd4kjPygUS6fZ/G1pL+vTHPB
IRWb0Fa0yGWPATUd3p2JPbwvxQqwFJiu2XxQxMw1/lPeE1RtCeySOdG6L6a0mP3zZ9dReBxiLD+1
SOBPFYiJK/xnK2s0KStS+2VAXgOpC7onaM9tF3GieWbVnfvk3UvsP03MJkY+1FBs2wOYImcXuhwc
wx5DZbJD9sHroFL7Ng98MsuqT6u0EYyeXHmGiae6Kq99mcRcUe6z9Cf3tzAWE0eRXwuUZVQh2lXw
nm0xsrybVfzcU6Ghnhw4oVilBa3JrslwjCMarlNiON8jerMVmTD0K336DIvkPZUsSTJ86yu2R1GQ
61xWhlSngSQvRxPMrsl4iXkR8DH8Ex1bGh4kJjhfyNPGi9HrXwk6kLPhi4fWoVSfQXNxaALtsWfc
z+4QMXlN3kntqAnJQRCTsMz153ghgbHNt0A1rZuCDVozP0rKs402u1pAsOsWRAOfK+DRtSFKINxd
sq37eqA2MULcLX6zofXqqYbdo5Gh8ymN+lNXE3HlLIJgLG0zRbdOqppdi5NOUsvZwDPGTOHPYrSJ
8YV1qddY9wzIEK1KybfNVHhl++53/zMj7T9YvQnYr5dBS0gPpr1I7kKUr6vYU3dZK/XmQogZB+eZ
aPknp+59HDz6roIFv5mtyxT1/aGxy/jq6Ai0IzyJ4Okrf2s34hGRFMmfGt8/+Ah2dnA+SlzHhBgm
C3S2cx2bj9IsqQeeQtZSOCXbf5rlhNtSc3Cigp7FOHdyiRxb6032ibqo2QmZn8EnUspaihPIcLCF
+v+slhTvPK+7PcPxPJhMKoWKuTsJ2a3NYw70J0Fqv5V2QSyLz3aedPCblTZN4KgWYSOPZeoRduA2
GBO6vnBAMZGbyUgj85S+F+5DbWDWrshGQTf2NCjNCmY9u4AefC0Shr/s472TMw7JLhri1wy7JQMv
QYuZ4qjJRwlMqMCRilkG0R+HeWp8A/EkzkVKZ5cg3GVJiZU6o1Ngz/UrwtqGFOCw56gQx6FIggho
mV8FxqrRYRrUmvozOIa7iq3nCIsl+hlvn0v3zc5GpMg5U+NxBMrYgEfjNyMICh31oH++4rnNtyJM
tmQwnAxGF3thWbhVQGXUcfsSxuVhbopt7fRffgcukkgJsONddI2i7Bx7HMvUEIY334c+3RXM4epI
7OvaOTVG84C5DmYxlruUNqlRtJjFu2dsUOn6KMzUsYVMs06T5i/WUXH2S+8RxTfbzze9GiEQlsgs
nBq4CWzEgxWaj1PMZnFoNvbipCafMkdloMagb5CMsCMHGx3EBvrp2i1J6wifXVv92IZRbya9fLdy
VX9VU3iYPQIOkxpoLXjHVqGmK9Ph2YE2oOSSl3FtisJGLBMRCVp9TSY2NB8nSahODO3fPU+/sIQ8
hAaRDZ1vfxg9BWZj9ycSz+5e6N470NKNwZPj681n08XPrpN9hZa/5S4Ohm74KtLUPFPj3aFkB+GX
6duv0bTYQ0i8BpQEomWKfkxVLXXvU1gBUBtNiFgQ8fxOvhSy/A21FpcLPlyTxyEdEZcaEEZ8zC30
tuYXGkOGYEUVSN3WoBHz5FVIEtrYPzTSsgKm+HTEtdp6Hs+27G1ziYiAotepY+akV8DlNbuv8BUj
anJmPRsMDMVO+mR7ezdr8daQFRSyqV3rUXIg2edmLnZ2xUO0qW3tsWAoVvrjj6FG6HBvurIRvdc1
04bcDoD2Wnz9FxPd8bqRsC/LogTbOfZfIu2ChZ4GBr36rZv5paakTKPqwUCRu4oAWyi8vqMcHowJ
PHlMgKdHE8SMYm6LJwq4ZD9WOa4iGlqSJf2gZF29ZpE7vFh5jOiUM0fiIoqajpoQE37mFNlamB4S
5wJVcNcgHzYQPlAlRCaLQYQGhCmi4UuWPM5Ojvs8h3L434BsQivI2c7+mkTyqgija9ekM0vVEcUa
0Uxux17PZ1HIKpHrLzJRoqMsFIeZhIUg9rismaL8Wc58LLym/pcvkVBsrurCVm8V+Y6HrFe4vHoW
3sQ77+qIzsCyo6/Ct9sPO4zZoQtfe0YEQW0cS7lL0G6u+sVcQJlDJrTVn8NFTEB1RNwPjw6FJMPF
MItBELh4depWPtn43oMJpegjzIfrf0+O5KaF7/HnV+NrnmN3gbeCvYMKotdZgKNnTK86Rcrlf+yd
WXPkOLbfv4pjns1rkCC4ODx+kDKVydQu1f7CqK6F+77z0/tH3bFHovJmRvWzYyb6Rk/XbSRA4ODg
nP8S9KBu0NzUDesRpwDqX1pp30ijQHUT1efITz4kKmyu0iqjLUmiQ2WqpWwz0a337QixOYeHUIzF
cli3wV2Zukg76c1+KEq87eRlykG5pLUbbCh5o97bqLvQEPpBRE9UbDp0nPLiERFBYzdpXYRITYGU
MmjvjWW3uefOlGUrW3ydUNr9JRxEyNtKx7MG2Ux6hnIXB+bOhJm+mKVR/WzTpybtHwPzk57b+udh
+szJvu5Vjypkren7IVC/89hBOGPeNGYOzg3He5pLP8GWI5roXgHg2Qj3vnL7JyPOzQ1uxRmGOc9B
QRXXn0HbZmhh9pNEXkcbP8U0kmkSwVvJkRFSMcmkfukgBVVUMHXDRU+yjSpz8eC4a5oJM6IGn1tX
Bxpfj9rFYGL/DZehMUwogC6xrAT5TMGCVn1AKUpUiEtocgyu8Bb8jp7LZVM4H8MWan838a7RIba2
SQ57x3EkvYn6sbKoOtEUfTa76EshcIHi9av2XT9fwzMHTufPj0NSfUKY7mnC5RN42G3rIxuhBlT7
3SifUCBDvEhK90t2pTo0Hdop/l4XgLq05iOtZXrgEWB1dtk+B1kxh18mvUpvgeLCijAQN9DsT235
MHeVPKhsItYhudlBGr2yY1jLsJ/TJmgPbh6LQ9Jzcvy6hcFlC/MqpsWKqpPuNUnLpgpAetnx7OwD
d8TrGZLMpewjmn8hkiMJd0SHj/GFnWOO42vfjKyyNiQfxqWyofATyKcAboYdPPEuHw6FVT5A8uyz
rKMKHUIrmsSHDGh45BMN4JvfFWX/Q43Wxw6kHL69bXY5J9gK0kwdXcg2vfgxQQ0Uhf4pr38g0fMp
LSuqHtLclpb/PZhGDPIiRuy6+r4GtTSmyecw3Q08V2WQXQc2yCac5IC2LCC7WN2BkYJDb3afsNhd
ADtQvCUFc5qitdcgL1lV0roUTXaLJPG3TBXXQVcA+plbLPkiBcV1gGmjA9Oqw/YuHHt6wNVN6aun
CidCUwiw/02Ebl5AoxQ1QrRuQZ7RnaAk1nbhgzMbu7DGNiSMAohgN5BODn3sILNthIPn1rN+iDli
gMPr4CCrvNg6dJJu0sbkEVqO1bOOBhzY2wSTB+Xu7ACTdkMCd4HfC40DpIafxRs4zJDwRsHjNbsO
6+kQtZhv0PPRd8YwMQzfQ4/d20iPyZgS3jn5DGnQyQRl4nrY0HfAFaekkxXyHo4KZEXTetoU2gc5
jOjmFemFNZOpSqRYN/asbSe7mDaouVaQjbLLLEAE2o/jlDIZ0ArDJsfoZtYjZIFb58FvkxtYoNZd
X+t7bsBw1zXR5wFI0ziW19FcQ6OlgWXV/dciBO7QS4cWvct0svqh6rksh9m5AQ7AYU1m3EaH9Hl2
sEYK+68vGu1Ag4fLiNkA/7sh5YRx27sX3Yj9pjMXeytL/4KxWqPbGBB5bMz+oNHcupS5naqrccPx
9asmCjAKNqB1tGHAVFFZ4oxrnu839aVddz+cIAYjKFxAdLTHKeT67XaUJWIkVBbxo6wOirPy3BQo
wFFkim8dVgVwJ6Aelri0i98Aeqm16f7nyEo/jzhOo2MQwBOeeTnMOiTZmpgTzKhn9DmwjCDgZYkD
08BCb4YaZ/OsQ2TBtj72UVfvYcomXo1+7pUZdOqzW/aAKxLx12QvBT/HH+8rxylvkkZSXjFm8Zf4
bIVYqDZyUJsWJKNXRCG67e74SS9vgKCMn1EEQwmrDVvOEH8LlQk/UGUmVy9/q0aKDQh1ZzeGb5ne
gFY9OxOUV19/t9pBu/33X0Jh/etv6UcTH6Q17v79v/37z1ljBjZXUJZT6ADOFy//BLqUdtu0fPJ2
+vryvyh8Erx6iLDco11vJUDHrICilJZWDoCAfNlUSPMbGBS++kuM4eCrv13+6cufCxJj0WNBWA6s
BLrdBtKsldzNfbvoOJrAe1GzuazqZPpgjrwIEM8fgNLrIF2bkTqsmdvXxGnf0xNo8okJbGdc9NKH
LzUeSItUtbywjOhDHaRPM9QiZHB0av7D8iIogy+N7FqaIPL3PJcIOMXVdJhnWHQApKbDlC1GgPaw
YN2c7NZsElgYA2XHkm4QpRukVCAGkOOFPJWyEtZRHaI9gM2BLe+AlP4qVfgjRX2P1zEe9rW2mxag
3ZSD1XCcAf0UysyXft/Nt2EYbbtiATtHz1wa9pWBH0NbIILdYZUhmu52LEpqohd2/TEq426TagHd
scr97pf7mro67bnIwG2g/SWi8ZnT8hxm5Yeh0p+zwX0WM8pEJSwtf4i+wDgB44GRXGiQPkukL6Lp
r6ykNKfKX1mBIG+JqlZZPEYWr8yJf4Xf2bRj/TuRkCBkKMA0CB3UoGPJqR2v1fWRNAK1slb7bJnj
LZrFPAOG8Xsb61daLD/FjnuDEnaz7xz1QZfdhR5GcNoUTnToP2+tEG/WFHCIaQHCGEDASLpAbWn9
6hNE6LFAALF45YvIvV5+idOkf1GhBJXQ8fqs46DdwjEHKVNPiAqH6ZMIF36QXu0z8isE/Q7QH7gZ
+m8yZH9MsYFcQ2mhIwE5qqQtqD/oKPRIqra9739vIsjiKTYGW0RYUBX+0qfzM12q6iJzDARsrJJ1
MNxN0pVfKzjXE0nhpnL5N/dy8cIJoXdotboX2vgIiUKyMyE8aNFY3rz8hXxXpps8tPbS0TKvmK3y
plr+4iBRd/j/HuJ5i47Ah6n89c9//Ci6vK2np18B4D1MwF/+kffzn/8wT3qIc7+nv9Z//F8O4pb1
HxJPbku5QtmWbi8G8sOvpv3nPzRduLiLmw56bKaE5iQY5P86iOv2fyjwbZZrWqaug3vB1buhPBPy
/6es/0AORsd43CbAWob6EwPxxZ/+tXu4aTmmQkJYSR2GleGs3MPRO5JBiqfcPtQyM9t2mjlCq5zs
EnmGMvnxsn1+jP8z+IUoQzoBx/hv4HEfkPpum3/+Q197lb+MpoS0mZiuK1fya358f4IlsPzp/17D
8tJpx/n7bBYxBmRt1+AmS3uYrBZCFhdtMiNbFOnRQcwDKasO8eYWB9wkvGmEXTcHNY6j+nj6Z5lH
1sAyDCVpHuv2y1q//lUWSGq2RRygsNryNIyDFJ/vePZOj2KII8PYpmtZ0jSk5SpM4V8PY8ZwT/vc
0vZotCfjNRX8fNwk3LH51pdF/cVwHbwOLzB4Q6HJBMroQnB3NWC3kRvjuyXT8jNGpxkirUEKjl1X
8A4nbCjHaysIpvQaI1C5Q2RCM/CbcWjjWrZtaZvT02BTrjcMG9mykeK2MRuzl0/86hOKxkWH1NVC
5OEaVBezOIKRLEzEYZS17UpX7k6Pd2SDKtsWukntUxqGXG2ZydFznYgXem1T2k+6bsJNy0zzS13x
XD091LF9QOXKkIKiP6dydRZQRxDAe1JtH3Ro49t6hClkZVV/PiHQwFgVGtJebIDstwtI8bDrrMX5
FyNb6Bk8brUv8dQnBqxYuxVn5rT829bn23UlkUdZli7Wn8utyfUh+mv7EAAEj9sSwUrK/pW1n6vf
bTZVNxCpkas6vZL6kb2uhIBWQHxbwt6yi17tEurfvHmcWttTFgVFRYk305OLQdCc16pf9QhbSm95
9TcaDnxJ9Hh6eGLqetJETxxIbI4zoXe1R/HpQw7Z0iNPtgYi29hZUqHBCTs27xFaus7MBQZlP+ZB
sD098JEdxMAOgY39arpqtVn9so8STU7gduitb8DB0I02sRQ6PYq+RIrVR1VCGcJwqaDKdwELoS+9
rzGF81A47EAoIN6XbgPsNAfwRtlooKyTZNhoyX74XWeJetQgztjb1GwoouQzaj2nf9CxaduOdFyd
z61gRL792ooGrkQ0JvIa0cHQgIuPWi9SffPn0+McnThR2uT0ID7BC/ztQLYlnVYz6hArJx1O6Dz/
1CLnLtEEdAkkuIM2v8rgGBuZ3MeWSfOqvD7zC8SxvWVKQrhh6Db/Xe3s3AQKyHM/9LDIBdKWTgq0
69Ai55AnP10gc/e5r+T1OIAqHEmNwSHF1V+trtJvaPwGO2GmNW4VhLULqFbzHvh++AT+P713pkZ7
Qt8A3cN4yMfvWWOKAf4AJXv46/QYozah2ZlWS4m0Tg950bpfRqtICwo2NpoMEFBvmq5soabh2XCV
2VBJtcCtnvmlcFuMnAZhjxvAiOzOHOn3QGCdfRjbPwxcgyhBNqhgDr26UVUOZNVHn98uhvmiXnT3
m7yZNkHDpUBBBTlbu2zRHY1U/bEXFSrWrfEDqXYLz7dG90q/HXfJTHHBR2W5iaiylMh57BIokLsk
B06YgCAArzSByM8C6ydkReR4JjRBoY0H5XM9y+E3fgf9ZspyzGXqybA/qY6CsmnxEL+gCUmqbzX2
tUgq+1AWMtn5Etuz0a0R0s8o6Mtqmm+6Iau2Q6nfYXas/3DimjJmnVnGL2SBp4cwN7sPJmiOq2xy
hmvdTqtNEdaph3dHcdXHjXE7Q7r/S8Z2eDU3dflVmnV2X+laRlMxRIvApo0EC6katMvWEFThxjAA
SUx6hJ7DLOpfhmZ0zd+5gcmfXNeksegYqyCTadCDRUSQWep1vDCf25JHp6zjZ9w1zqRGR0+cAphP
3sLhttTqaOPjq8CTq8gbTYvqNYgNJgsdqQQ7hf9WmWosfHFwTEwXBmtHmHk+c+KOBRf0DSyuZIds
2F5NF/+1sUCDmxYL6TIepC6qOFuzke5GTJltgBowMAxxkqn42JgqutLTBoyUX8CtunSEbps7J4Tl
tMFJO/6W67awL8/8wmOXnVLSojkvdCXsVWIX6dWcSCRbvMpxPR0Z84vc6D5SpH/IXfe+MDRsT3D4
LsoNkgfhmQt++QDru+D14Ku7zjQDu0HcLfIo9vVe4A/Bg2MFWCnbQ3gm/B7JJZTiTiXu2UqacpUf
RckAX6s2I8+2BInyOMIjDRHaem6HkgJ7FmUbR47ncoljCaclDVs4FtBtZaxWN1ZdpWeUfr2od7/X
S0mywkeqXCQDzaad/sZyvh5ttZxU7Ut9AF7pWU05QgJDunwwASnO2dPpXbMs1vq78XpjqZRuWcJd
3SN27JdlXcUxss+VhvSPEZag8zKNFgPkIeqB4TAl9m7W6Ks0Hc6SZ1K0Yx/TcnWdLEKZLg+y1VXK
TQqmoODOHrP7tKKWm+i3JeWR2AR2YWN1fHq+x+5NXqyuazCiRUh5O14S5OCewzHy2jTHHBEn4Lwa
bmbh44jS3IluvgIQeU1rent63KOpKL0Ph4c0L0/DXO2f2o9cKLUi8pxR/ybws7vIsvYxc8J9Mxc0
6OJF0bG5zsLhCSbgmXzhWPCyWV1JurI8Lpev8CoPlgj/txmdJM+3eqQ1uAV560onDs8FoSNhAK4P
GRF9Rh3YzSozAgAGXDKoAtiiKPCjHuNfO5qSN7lT9X8+J4sLQbJ1aKHzMd/OCYcovdfAJHpWPdDr
wBjntg5RID393Y4ce4swY0guM5rr64eLX08NgSgKvMYCjl7axjXswquMggWMwfjMlXp09V4Ntrpj
6tw3RV8lTGkyErDFdnSNQ4m1q0x7PpO8Hx/K4QFtO7rgRLxdPSPDiRtRi8ALKUKCc25b2lbkFgEZ
DLFCnolnR5fRMXj5wf1yobG8HQ6yldmMaRp4hZk+2QKlRn+K913SA9Y0v5z+ZEen9mqs1UlDRSKf
ZckqYqoK+b2jZzNriDLES/Xsf/zv//Vf1pGODkQk4WlpANJfx5Ihx99cuI62t4cqu/Qtt6bsMbn3
kTmIv04PdSRsUZlzgT9gicF/VndeE8Ga6+cw9ByRmuh/1HryMaHuiq7CFLTfpmz28yuJafB8lS/s
zVtHgaX7Gz/CEQKPcIcjx+95+xExAO2rvPfd/ZyrJNo4moY4D6jtGjvhbKi+pDN+dmIcsvoitRo6
6rEVjsb29Eoc20lUMjnyiuKIcldftwiyxp772t3Xush/9uOUVjulJoiccpzBW8qgB3j8N8aUukP8
tBwbbNfbidt2VCNWMLr7ymmvzK4H/Oq2Fz70LITenk6PdWxTOa/GWs1vDrIMr83e3cPV12Hlp/OO
9trsyUjP/kbGuNRdLWEv9V1TXwUBdEUDIzMqd1+28ZWbj9cYOXvIql9FWv+QNhlq3fGjNg1XoXHu
9XCsBms5iu9HEVlZal3lmnUEyZ2BNUUMQyDJioydn6AmGIYdWthD7Hrj1LlAMWDRVgP6JXaCDRk7
rNrjLdrfn171Y9cz58pdqjSOcClVvf3ESEn79diwrQAsUtrsBAJDzdCGm2EhFCbBhIlbWQRXaQme
yskG+WTBPTgTuY4uynI988qgcqOby+Z4dU9DSMmhOrX+3sccG+GshNod7oHzNG3LKAEDluOcuqlG
zXgUEZSvrTai3HdhV/Oc02euSlzbsL/Wrs6szjL7VZa4JE1U7rhwEb5ehZ+6VBFtJdPdj8YwAmdz
bB9gTwHfettRCvmAFlmGApTsKLF1mG5g/BYjm8orX2Ak0wwyvQCVEKTMZazPJQLHTgwfjNyGtJg3
4urElKbvt7bhO/vCdZCSGzPrkLT9eInRuv7n15gtJC0DQboseQ2+/T5QlWJRNbG7509dqwwqwCI8
VmvWUw8+98xgR+bFv8ZUjkVu/L5Ca3R9L8o8dPeWHqgPcWu6v+BCtYcsyaavpz/wKqgSyjn9NEJ4
BpCzvatUanjNG1RDR28c+0+iC3soPepmxNPbbsPqzLyODkaKaNgkAryWV9/LCEJRY8s3Iuy4SCS3
s/lZt2ipFvYi263X/vOfT46nBb0OneDNJnn70doATk4cBZ1XI9lw1/tm+FC0uYN3VtRL4Ekc/elM
IrdusiwLCvuJm4IXoyFour0dE0Rgass6BxcTi8j6HbWwae/MNBDhIyBibcAxNokNrzUaH+UcKIKP
Iu7i3yob7Cu8AtUEOmKYoGGi+i0vIu77YI+Qqy0wu43bL8Uk/B89BmoU2iiqPlruoGveHy8b3UIa
YZQ7dOaxuvSWHi9sIA3HvqCfdy3S9PtxbNJrmSXGj7xWw5ngt9ruL0vm6i5iF9yyEv3Dt0sGYkr2
fCvGq51fE8rUl6FT3Pa68+P0vI6MYwlTUkHgyuMpttoOFexVJxDZiEBoGkFlUc2ucbCSEk5a/Gef
+r9MEF8u0Fdxc5kTXQfeQqZpCKoyqwt21KvMSGfJVp/BD2O+pFSyQ22pz/ERq0qMbahkWtu5xcny
kNQ5uhK9boArcoG1xpfaMKjp4yh4pm4SLi/3UANESDwcGJGJQ8MItR41yFHtTi/RkRPKz6ZVQ+vE
hMey+hR1OThq6rURg+Lc/Q60EBRwYOT7ppvkUwDG9UxEWJf3XtbJ5Xg6lu5K0xKrkND2balBvRg8
UwvASaFakP1Ug/Zd9DVQQ1WbQb5Lzdxyt2pq6280T0tza0Sl9qjZeL9+Pz395TZbfTXKbyT0iBdS
iLNW00+RddNyv2w9d6yb66BPzH2JjyU4ZFw3bguBPjNxCh8SCtzJn586Skw6Vf3lgqGU+PYUZA3s
pLazG89wk9+IYm9aHYfdwO3hvU1+eCZOHZupbkrefyT0xOPVWWhGS/n+NDRepRqquGGZiZ9B2CXf
y1EskMCmupG5W+JWmsVtdXl6mY/sMl7UyjE5g4oO7mqqdTuMssUE1BvcEGoHBaYajHU4huNFIty7
04OtKiDLDrM5gDAPaRDBJV/tMEebq0agJeXhLhLf62iPArhDFfv0KMfWk+6s6yqeaaa5bqpOZOuF
M2Jd15bmCM3N1Xd1aahtkyFnb05Sw8cjQbxAE+XT6ZGPzk+nvGTbkqt8/SVpdUD5KrvGyyW4ah9R
By/L7XONxSVerU+Gsg3ydXrG9KhX8SzGlt7ANwsB30xHDytIOCPAMYCBahl9zfZLmrfTmS+3Topf
Pt1SemFyBjt1HY3CAHBI6jAU8vsaTnahqnQQWrnzFdVd9Ku0uHDEJTd/Zm6k74BnNyY+96b3E/3G
tmnXXObUpMIzwf3IPUIC4y7NT2E79BvfntQcUbpUlhjUaa4xjvDwMvwRZ7tCw8rszdg5ExiOfWAG
Q5QEbhj38iooxdIJhaFxWjIoeVu/g6w1q6Y8s9jHziRtejJ81Mcpea3OZFBg5zdPOaMUySc3BQUt
8S9xjW8GQv9nov6ZsV6eZK8eO7bWxzRystazZPhEugSUD/KTn8uHFLzA1enzcfRr0TPg8JMI4i26
+lr5CERdWrWXxQgY4ihSOdDInRliaJJTSfjz2EZRGzQTOA7uM8BRbx5yzZRIzAo4KLGa5o/wLtWV
kGhijKAVHkSKbcifTo+jQc2LqjY3trNOaupW4XmDP5bX6RB/PmAxOQe3lWnkP4Zx7L6dHuz9h2PH
WzxM6MRZhvVuK5LFkr5iBa3S5L5QuDWN4bxBbvJ+TM8+iZcP8zbkGMt9aCFazrPcWadQNIeHGMjx
5PFuUOlH00cdDh7tPOLxNiHuBlkk1u0nnI+mn+7UJu4mrovwh+ZACOUf8X/O3JnvdxKVbYPatmWb
NATN5aC+2rZjaVSzmxmzF5lo8PDn0BF3YGDMCq2/0wv9/joxwOQRZUzbMIkxq01rYMg0Zq0Qnhpw
bYksxKBqG20e5SZ4Q7jo0QgqEZvMqM+hg16aaKtlpyxjLpvXJg5I4+0sg95BxKhyLU8GMRx00Ynh
OUfpHnmXIjUwQPBNuLPhmJi/wnARhNRD6WyjMUb0jwplj//mULa3nV1WaLy4feNegzsW2k4NNeok
4LFzuuoxOgdysd7r0BwbcA5yRPJgoiFgb/JKr6ONgr+efZsNbFY3AwI2UNfLKRY7xxyL9gZDMX08
MDImZ8GszPgSCRVjD6AdwnSN/hqaxiiWHCqMmHDkjAIEqjq0E//4JoCcvRRHKKoC2loHzcoJ+q7j
ce1VWlVsEdrGww6sbIH7Wz/G+9N7YonA7z4MgWyJLCBQ1q9nxSHhdpssbwAljz6CP9/KpJiYbixu
8rmswLpbPcWZVn8Koro4E7SP7H7SJ0nSZtpYJazb4EYEmipHEcQT+YyWq4B316u2fu4r2zoz1JGZ
ujSSuO4AmJKML2Ho1UGbUWblijVtLzXcCvqrEB/GAeTDRWY4CBFWpjTuVS7KRfspQ4fPjZxPf7zW
S0EJtrWzdCj11S9AgLOHjho6nlUCtMDSwq1+maKFCovINUraS/lS8hgRF3bfYfVWxFGkn2lYvk+5
DBfr3qXkvvT01eogIkFWINYXOZ6j/PHJYEyIshhqPsxBmS0Wqbn/6Cq//PPbeRmXJAA0KinzuuMA
vCebxsSwPRm3CcqxgYbEbmz0kD0NPUoeywlG/+nlfp/iMOQCMnbosxH5VskHnIOQpx5DBmB4HuLC
7vDpc4wzV+XRUZaPSSHPJc1ZLWhTRDb8KczjItuaMXpULiIM5eSdnsuRO9JFnAmsgGtwT6wLQFUZ
xb2btbbnkklfGB3qbH0eFtdTF96PVdyegb69H458AvYlnXyeUnJ9KfVVZqtZH7Eewf71WiNK3Sl9
/s6LOdp36Kuemd37NVyGW4rl7G6gGKs1rMspqGHpOvA6bRjBdPcuoNS6V6fX8P31x+90eAiDMMJB
dI1xg+AWxmPA1tdKxDFaFPDwf4mxGzeBeHSOpSGpq9uXKJyri9MjH5sf6FjKydyAJii/t6FnLPAZ
GzUOflRJFNmtQL+2tVZ9PD3K+1gq6aRSuqa8poMsWo0SGg6oOEyfPbQepdgKLTXxHBBOBR8mSElf
/nw4Ml9CGfcoovmrB4syCgrx+PZR+DLaTW4o9alVNkr+Lu+BM1M78ukImDyFCR7kEGoVOZ1J2o3T
VMrTwMmlcNttyP6wP7tnfIEaDAHtoa+goyStdVVoLo2e03N99wEliAB96ZSSxPDyX83VHXNqOFOQ
wFKETwjDMsfyIWnl+P1vjEPeDQrWoma0vqPyPoW4LJr0EEBcO0wyMe/1oVKb06O8O93LbGiW8eIm
uxDrZn3qxh1Q2jI96ACrEHSs+l3Z6RgWSxxJbVSqzkArjHeXDgNSmFFLK4o+lC7f7v/GLGtE3Ib0
kGKVsVjKar7LCZcozxso/lO3NO36OuXkwYwPhPyiDy42j6TqwoPvhWxgZQjk7Fsf/R6AsZ2oLxAj
Hx1UgDPdvPSdpPyOpLB20yv6jheGkeX3UuXRD0yXEBeZhhgNfHtub7Aqmp8n0SLhFYz2fGZh321T
5kmSS/bGASReL//8VYphU27LQwdJOnRyByRkYvlgYfn0xbZC64FafPJLw0wZC7Y5Lv80hC5DL4Ac
WjuGy2K/Hbqxepx8Qy05YDZa3oVljKRSh6D66Z1zZIIAPHjQGxZKRwz2dpQ0VdqsodyId6AzfapJ
7TYNuprO1pgWXRd2ku9vhmrAEMuJG3N3evQj24gevU3LxaH/8g6QDfZxymQyx4dE6Z308K6PYeza
OKsi54deY0TjJL3U6qB5PD3wkePv8mJ0gGouZI31/u0BqvlxBX3HHxoQzn4a+f1lGpm4XZ0e6NgM
KbzT4+GZxjttlbJUARZI1PuiQ900yVOfFr99KI4cGL/c5E5xN6q4OZO/6McmR2OQy5fmEoXG1Ted
JmRCESBiTJrEVxomOR4+kSVqAwkeHQsZNB8UfhLjNG/7+loLi01jGBe0EpCEGvyPMNDFmQ+9DPnm
UcLsWYOlrspivLvJsH+IK6RuoCXqgWFsKNMhb9TgMYxtg5qD/syqH9nVQDBJrhSvrvdP8Iy3Vs3r
OzyINL3NqItsjdGOr+ouW2z4yuC2rIHgwyren/7ay9d8N01FYZ76Kn9dpwVZQMHRcc3wMNits7M6
9JbQOBGX8WICmHaIrAWISCHmGqCSMaIxcnr4o6tsc3lzkkld1+WAAsC1lo5pdNBadKlydDDuu1L9
jo3GPvM9j1w4gFxpCC+cQU7RaltbvTXKqJvig94OSIoPQbwt3Uzs45kHrgTofSbTOzqeo1PWpNgj
3/V/wlT4IZ2t+GChIHmHoO43nhf6paH1lAMCKMWnF/LYCeJJ9/+GM95GxbZG8lpiZnXAaqf9XOF7
uMXv9lyEf79LAUvpLqSxpadOGvJ2lCQeancGqHUopB1ZCCVmJsZdAnIKu6bSH7sxFUgPo+z1Oe2A
Tp85JO8nyfBc3oReHq/vevoUJYK5DKzkIEXfKS/xHaqOmttb52Lg+1PBQAAHJB8OCLG1/JBXl2gX
hkiXkPoc6BvUB30kMqHEoO1cQQszBSEPoTJNjItEUz5SAXVyZrO+RPO3x3L5AeZCZiRBMtd5dGnP
SdDUU3LIcpxyMytEQKJDVkCfjHoj51RdBALNpVpD/sZJF1NMXhFe7vQ92nOtWgQWzTM77EiQBtRv
WDBz4NdCxlqfoBDebdgXbDFfIfxW9xR9bzWfdHmXBxYE0jZ0njpN6Xeyv4nJTbYa7e+HDpvOr5U1
G9t2rJ80TVrPp7f++xjC7+LNQbWKt9U7GLuDR2ttzHF8mIxhtrDmGMdFtDD9laNzd+YWPnYAOM8W
H4VX3Lt4BZQRCVvMGQ5o0qTBVuEN+4iPcdDuU0uLrxHcqK2t8GfE6FwzFk+nZ3ps/y83JAkAicC7
XpzCoLuvI4OZJsqst1NHRXNbIg78x49F+VLkX2pxpJDkkm/3/zjO81QbBK9B4IZy0RO+MMNou+HM
njq6nGRodJsovQEMejtO3lnoj0EQPuixcLy4yiYMCnyEqcOmQommxuLmp0S1lGJq1J0JJu/zHGrA
CwASgjgHbd3sGtqywEKyjQ9zNvYPZY82fE8ZZaN6LbxAdHLeRiWy5Ke/4NFBAZ/w/kf1/N2tIEKK
OF2J0IGV6njbzpo44C2Pi4lf3hd+UFyLYjjznjt2PCSwUqVM4TggKt6ucWXjO15GFje8k9fbqM06
iovhdK1H/jlQ6bGhqKIqimwur7t12DQpRCkr6RmqbrAzwsbZq2Gm75scj+bTC7lGNxIbOYO6QyWK
RiW8ktW0MFJE3GouwwPmRMEhjv2la5k5e33uPrhhrrgX+DvcZqvbBLMxD6hjc6ZIvgyxDtIL1BOM
HkUx2lRvVzZpB4l0uRse8qbPzH2v8vzeLJ0h3/WZHarr0vaLwUvtWk4XFdbmsJcqrMTOnKEji07v
RoHGISJxlFZnKKBwjnwl3zdy3O62ynJ5rSEXd1HFvb49vehH4g/tOIKPAe8CluhynF9di2DcgyKa
3eSg6M59GFuERRHMcc6MciQogGmglkkbjrDw7qWT+EvJx0wOphU6H/XSd7Z9lpuIAWKAm3W4detG
2l53TWFv/nh+tBzRahBEV27IFT6sSJKC78+zNVFlhIMXci3dXR/YcX5m9x75ZgxEFgOzDbf6NTgI
95+hS+0wPLia2f2G0pxvLLNw7p1xPNPYPDYSKBFWjBsbXsQSkF59sq7CXgDZ6QDhRT339Ngf9pny
ca8Oz6aghnHkPAB3gh2uqC8SXd+OhQ9Fi4og5yFBgguStp/0yHMGY91ht2fl8WdLDIZ1pY9YROxa
QmGN469WHIaWpCZKLMQWsCifzM+urjnfxqnV0O80BfKt/OTylzmEdnlhayQ+mwHuNeJLCG/uKruu
7TO15yNhmhcRVQx2Ar2O9cnu4tSPZ7QkDrOKfSwy0hAVMMePHTjHiXzQyyB8sButPQdGOZZjUWRE
NNTg0WW8ux+weYvRm+cZ2NSqejTJbHFpmesEMcYes4IHoKXO+AEuNCI3uNibCCmW0kU+UYrioc60
8Gs8wTZrtVYrbusisMIfp4/Ikf1EtOGpRh2C3GBdhdRjY+rIw7jA/L7YlGZY4RWhoR9ZT63x4fRY
LzH8VYAVCx4HOjqvQxMEB4iqtxuqK0ocbiYxX3eXOO9snIN1mK/mDdrxF+Flc6ltzYtmU9ygVbpB
p+mi3yLgcRVcwom+dDe6J73Tv2e1K979nFW8H6dMD7URebLpt25MF2UjMRteLAE9J/6zoP6voZb0
y6QnD8nu7czpgfuFKkaUEYtxQgFLaJhtf9WENS0ym739+/TM1rfpf47HQAvonLBrLkf7VZhQuCal
eWDMeHwu6CO1SREytObnkCpAqL4mzgd/+D6PX88Me2xF4aKBk1x6kqTxb4eNcTkJfNrf11jr/nAO
6so5GNvqEV+yfebpv2vrQkcxSvOsM1fM0fm+HngVqmqCem4FDBw/hD/lxvKaK3eHgOxjuDszxdVt
JqDy8WCihwXgnW7nGsYCNEfWghz9YI72JQ56GBDdlqPh2RDGUrEPMbgxRIgI6sEwiyu0TXPeVnrd
gbhyNpH6hsreJVItZ266NTyVzpPjwl0TPOWWt9OaPtn5IDUpgSMsk+8kfp/iXu4MxP/Ty6+iQWp8
S8P/zEosa/rqNLMMBiie5d2+KGzI9UqMJeyKInLaXYB4Hg6Q7nWc1vISTjBe2Gn2qcL805DZTvTt
Lpvd60hLFvnR6WA7XBKnf8xq471gl/lBBHfei8v9+HbjUUTucC3okVKcAtyFmsY3sM4e67jxZNiN
j9lkqpASXFJ2Z7beKoD+axUWQjt9VB4+q5NdV0NaVK3b7szBIjdU6EDqw4/EPtfofzdDAFgvDSOE
NGh6yFUuE9lGP1plNe7/D2fntSM3zrXrKxKgHE5VuTrb7XgiOCrnSF39/6hnA7tLJZTgbzAwBu2x
KaZFcq031E5oPTqx7e9F6PffcsVON7psNb9UrUhWNvQb5nQ+x4CoGNSJe0Em93JcJcvHKoVU5SGq
lAdkT/+mEU+63iw+iCD5jP9QgZ50Vxw4fO8kydr1qByEMvLm1bAduHI1TbtvyuKOtxMQvei+QMpv
4ykewiP6yre+8VzffyuAZPKd8MMnYgM3vmmm3sU8zdTHwfDU9BjF8Z2ih48k/StXVsRrqZUoqwoc
4NHQeJVt7Occo3tycmtyBQ8ffEECKK/jH/ao5ztLTyR2rNa46Iacoqo4NvgEVqbMVi4/9o4pna0S
tRw8b/VH0hgj2IvY++pA+KfQ2/U7zzEe1LiINl5fvCCf2nwo67HF2M0e9pbWfAazxJGWJY+YDN1X
ivNNU7IIUfm8/hAoGSaBMBdjQbAMiv570KVo5bYPpEQ+ot6Bc1bq/25yEK0SfGW5RxK8R8CPdwTm
jYn0JRlw3c7tCHozGCihIbWRKfmLnKXtscpHTgN0U9FWBI1RjeIsjbji2f0xCLCc5ZLC/82tbWWP
THvgamZ4QsKZABx6FZywfvbMHFklnlTIjPpfu2blVqzMd+E096o6Ha82IHGS65dzH9dmaWeJkR6L
UH2WtCg7j0P/IVeiT3FQfeYhnaCZmv60nfABgugHhGm+eEIOd2Ns/9LVON82g/L530ISr0g6q03+
VxPJZh4eHaWWlV622mMWeuHXmLcjWqwN11RXQZCY0xju0oiWYQ/H4nbLs1Q1wRB8Cg8RaAqk9yAz
Xw5GH+ZlV/ttckwMnnW9Woa+azaNnj/IvVy2iLdxF/zXNnmqksACa4j+PPS76ZvebT6zpx6JgQ9u
P4qH1dDQJzYsyNQR8kEBplPvq1qx/jXo89qawNYkfSbJLnMWnETZdoXeV/YRFGnlphXANsX+i10o
HqRS+hrE/vPtgZ2vMkT5LhqcDWwBtS1C7RyV6LRRfiPc6TCuJeaogTZ8vN3U9Fe93zJTU1NaHvwq
CJOrOSxDD6dpk4xHVqvdI6ZzmLCNduZi/WUc8ASp93XZFu5gE9naMMXJ+nb7V8cNdkkMKkVfm9Iv
AJPL+UwHDzc/XzIPQ235Ryj+gBs7BMszLQ6epUq0v7BJ81dKwVfja4ALgk/oGIBp+YDZ+HImaBh+
jfLRjJE+Lr8qDpz1dk3nYnaDm/Ks7AyylPzL7WXOs1BLz+qTRJVZNmKrVPEmDj+PeHPx1N2UTQ0K
YKVbV/txapDIZ6PWPGVaZpfTvs+HSBh0q5RxpMNua5BfHRnuuTTs/3HWZi3NLyNpGg5OREtd8k2T
tmV/KsIvnX2XSM7KhXNhqsDMTHVUyjcWypyX6wNGmZOHsiWORuPb2G444x0AWrzKtS453e7U/PRg
vnRosYwg5duJ63fZFHpBrQiLmqbwpDqim/bUoXK4MnILc8Q9x7RsEh0WJcXZHBklusqoI/XHAUOc
EP9cL4sOkRYeq15fSRZdbS1ucgDgOBTo2VSBuexPZtS1nNhqf6R0rPsHMZbtbzuIxLPn1Dk2PU2B
z5DZQ6y6PY7zZMS08KmxGTCDKUVBkJnm9F2MDoAfe2hrkjHKka4vfRyD3GZEejtvIbZjYoHBykvf
pv7OsYse65ShLZ4R2lRc4nhHqNPTfYGa7sr8TkvlItRNn0Vy5O2xOqV/Lz/Laiw5rhFSPloR3sWe
dm51A2Xo7tDnHYbM3/2hPZaOtEIjWVjALCZeSyDbUA+WZ622atjpAbWmYxmp+V4uE3ydkgiUYG74
zaeVkV/o4kSVRwOGkxEszezyXvtOEA6a3h+lNNG2KhiPLiryfCuasTqpRaZs9DAJH4w8NX6lbcZH
hZV/p2hf087nkClksz+PleMnW/TXsNdyGjw8srja428vf0vRbFs56Sax3ctJMSmpG7BCgKFCoppf
prHlTcy0zNRj4KB83SNi359RUHvBSvtTJ/Vf1U7e1IWzzeL6RdTZfmy1I7J8Luj4fcsDMMDgRVLS
XTh+trzft4fzaq+ixQDVYMKWT4Co+dQZXW21hVkKjonovnSy35WVfMft9Umu18bhapVMsg9ThZwS
ITjreVhQC6VrIhRuj0lnevZGzsrBxCUjkr4EVh/+vN2vxcZIyHNOoHcDgP1yI0SF2sEN08XRDlRM
FWxubUnUbDR0AFei3XJL0ORUDnidXMZlSyVqWjmuo+JYCvlUJmKPleoGP5CViLM0UWAlwFYBida5
Dl8208hepIlUEkcvHl4ybCszILFu0OKTYaUri+Iqqk4z9a6tWZdCf8w9IWGH4GvJq5k6Tzix/g4C
5buNQe4EXbs9V/OMk87pd9HebLKMJh+VNGUITaE8mZIz2bnXe94Ur0Pt36n2eCxGC5/Q9EXPsjX9
3Xm657/WoTZxO6SwcQVoSLG44yblsFRSisUWCAasuGNu2UGjH5u0ityuyuXXbmiHjaLH8iFFMvgk
7Fhbk0q4PlWmgeCBQ4WQyz/ifpeTnKQCgTZnFIg1t1Ra5VqIb7VlVy9pUXxXjLa/C7jeYjpSBC+B
1CrHEN9IrGmV8Ak50nBjBJK4Rwu6WlnjV9e8t++aYruq8BiaPwnRV5JRISFKdHhs7stKTe4i4eMc
QOQTr70ZjkjXq/HWGpz6eHtxLG4vOPXQXDVyQvM0aMrjTMdmSxzjukbZ84W81ZcMouLtVhZ3FxR4
7hDQwK+w51hw5biOmeIo2WN/Mmu1+T1kePZagYRvuBKYKzSPq0f2tOQdCtoqhQLme34mkD8RRoCc
0TGqMHwZpSQdzmPkB/o206PoETJMDm848lAbKf6KsH4qhYN8gYQZHkBd+SMSgfGjT/LYcm1dCO/f
Rx3ROt6CrEfKjHM1iErFcjTt+vEYo0SFLLiowTeWiDg7nK+3h37a3BdXlklhm8cREDuGH6TK5ZqP
hgSZ2hpN2jLGetoVbdvnCC3G/pqG+MJK4px7S+5CBKGIOWvIMisMGSm5Z2VdnJC9/YZpoL/X+i44
3e7SLH6a7N8pof12oCKVPy8EdfgCgvUdkXZP+9h1EiyhTDwQo9E5BIH3EyfZZGX9rrU4u4HlQ9LC
7u9oUe3jjVbafzmwzuzbyFXj4a9Iug+3uziPmv+vj9wYgGaCMJj3MUsawc1c9k/oysPWaKPXui0f
eAe/Wo36SaTJFr2Xg25r24irC1Sf3e0PmM3mf+2Tpofdi6gMimyz2cRmKk4E0oOSKvydXQ4hijJd
vjcHFHJvN7U4uJy4CIho1IDmQEzD6f2wwAzxpFb2N9vXBeZVaYqxq7YfVf1cWcGa6tlS5yZhHmS2
GUPqP5edsxxRYfCNNwBnoOMGAikmv6SspreVurLTZ5HvbRyBZ3D0ASuYpG4vm4JdGBkqmOyT50Th
s6919V0tzOpgdn2/zapxjWq6NJgEPd67KrvRmGNNkdDN0H8Q/gl3WfSH9M882b5F1HNszTsZSvmP
kf2//qlUFChnTIit2ZGKP6hfmKmGyGKfpXsPjpbr1HqJhkEl9jBx/txeK1foxGnvw96dtGYoLIB/
uRxPVN9Tu0yS4BTXqrhXy9raFjWJY5AoOD3bwABDHzM5HKbzg9NHxpF3ZH/Qozi5x0/G39Ymrl63
v2mawncR9r8h4OHPicNBA6jr8pOariqFkaMmGOAK40ZK8MmTuzVuxeI6etfI7M6IkYcvtGxqxCeK
B0jncTA1d37ePuPAu/KkWlxEwJwgDZKgBRt/2aNaL7QEzTTsIETK9UzpnxNFP1SZtusiG6Uu7ePt
EVzqHEFu2iAQOK74dkWdKYM3OP6pE7aZH3LDDPIdeuy+v69SMZ4T/IfXsEtLfYTJAWaMc5EE+GxA
Fc0rxgK7sGOl2Tg3R+mnJmq/9KH8aprms120K1FusY+wxXTSNqQM54Ggs/MUnh+eDb5vK/HOrop6
j5d985HazKGSncJfWZZLQY6bD29BfiGpP9uZJIQKfahyCTH2QNuOIq6O/oAfq2N5h9vTN3uAv20A
sAKAfADcXkOWi9aQEDNWpKPpmXg0BsLE6yjKwaG2hv2B9GVzxm1PgcjQDL8QGJdXgsJ0+s43oA6N
GsVsUgBXEmiS8DJ91BjaDJ8wB4M2H7W6JMJtRpPuMfuFx2FX4jlj3FduIovHNB4oXN3JLWpXVA2p
crCeq2ja6Xvjoz743X3TG120S+W2fOxE679QVxj/lGopd5i/Kt6PCHNlyS2LuCj/hyVGmoFDhpNt
yhVdbltfFWzRFHVdx86/oiZ6UBoMFtvgp99mK3nipSlHwZD3HCpTzpvL0fv8HAilGslESTomvv0b
p2e8F8fkiA/gFiPYeydsdn7OO12xvJWM5NKqpjoH1hoUOOCGWbAtNb1Qx6ThXpSOeKOF2AF7Esp6
iRWJlQ20tGMn0jYDSXWBUvblcIp+7G106BErzu32GHrwvAqj+imsCuRXhW/17V20FJCYPELRJAdw
xZIVKnJHQcqtdqhLbATH6iFpMJe0TN8dmnEjq+HKclk6t6iXAM+lgkGwn6U8zFgEcqlx79ILZFJP
eNP5yn7QuLKs3J4XGoJYBA4F9Q3SYdr0+++SuY2pi8AYR0JtWoX3KhyyrcDiZGW6FsbPVKDF8RKG
NYWYwmUrddSPtTP2Em624rNs5weKmV/7ONzJKXXjdFVwZ2ELXLQ32215M9Z64LXSMawR3MmKA0mx
EznQU6CkT2E8nOJS/yzacXd7mcyzOVO0vWh3+q53o5li8p3k0hRychu3jhSncZLhwNYNyQ00Y9dp
4SmS8kc9aM+y3+xvN7+w/3gMcGkGMe8gaTdbNFqBWDBe7+FJkJRzY8UUbmyFsmsiJPw/TCgcfCgH
XCup7GmXHbXQGNPkMcOBQSeJ2TUIkhDIvHMcjuGBWqOxM3p5zQtmaRVxjk0FN9gOV0INcl+NWYa1
+ak39R9KKH0Z63ofqcW+RmdzKjMcbo/n4nSSF5uIflPyVptFGZRgdQyojeCkSlkNGEqr3XHAEB2V
WHvjyxkezqloN7qkSl/aqAx3SZDZf25/xEKkI1/C6cnepKb5hq59t6RktfLNPpR8HDuDtNwmHWog
rqV4Cc7bmJmHbocAUL8SfhZObVIT4A5AXBOB5iLmlYX2a59gdT6C3D22yvSGiJ1nu6xgtCSJtEOJ
SP8AUS78eLu3S+GIBwSvBzJEQG1mGxe1R5F4TRidgtRrn5MxLU44IK3xqJa6B9Rqej5TMLqyc0qz
LPJt2LrE1fqu1J0PwsnvEzn+CxH1t1TGd0mpr0zjUsfeNzmLDGNpVkndiYiHtIFBJqUH4zGLkPFf
iecLMYBcHjh4bpb8xxwlr+thaApHIJ+eOcomr617BVHTXb4eYxdbIqBbFFThPDnT779bmHEOmsDW
2Y0I+TffNdJLf03P+pOV+T+iXqeoym7nJkMj0MjnKdjAViPNKjChCqqOte/LD76CQ5LTJSv47oVJ
ojPQe0mJU02cR7Wqtsoq6uKADJmq3Gt9ZrpVSTby9hpfCGMXrUxf8W7giqrIhiqhlcyP9E2Vp+PG
SosvaqI9Z3IAZmwwj7dbXOwXFGIUo1H54JV+2aIVBWat4YCLrqBdHC0YaKekxlP4disLCwJcNil2
XjSkoufYUTW15AiHp/TUT+CeTee18ge5A8ng1j5jvrLQydLw1bOnBUU7uD7axPu4km4oUOZHDope
6WjpPoSm1H/T9HbYNRTFgdNSea7rBmi8KLdWYFbuZGro9rnzHPTVvaSjzeXrVYGmmBIc6lD7qIyB
fB/K/netSdpDM8TttvSV6Mkqi49R1w376c/Btz8XEXpdZVt+rQyM7mI7AvBXPyqVyRk4PKDrc45q
7yN6Y+bnGrEaXO4zAR827gHvFZ3Yj3o37n2jUClzahX6x8BdwyoEaBGE8gMeWcJV8pwPrjXvt98H
JzND7ArnK2VfFDj65rkcuVrpvfoYNWMOXpxZpLGr6qhl+Jr/HW4C7jJeV7vkvXxXtYB3dt3fwHae
qUoDjrcr5S7T1W1pOY9y3WBcbL+qHhDvohLmrklGHLLL6CcAxOQTmWMTln+cbJzMuFeRr3Y5k5yN
aCKcv/0IbH0ZfsjACwPa/lzlwKjI+rq+2vtuWwx/KhTSuLUg2p43kL8s6euAZ7nb9s5LFop7I6i+
2HF2B67lQy47u7CXdlrbhedOcr51jfzZRj9tp04gJX+kti7H+vNIRWxwxE/0pu8jqd4GifGj6JyH
vMvweCt0c2P6tvmSGUG2F6PduSimNmdiJUlFz3gYy+Eh7ONfomPQQqTS3ADHATeLrGKTjB2woTGF
eKP4zVPQYwWPWdveScZT22uv1uBhBx7ITFhQe3cssgjef/g57qeZyNM7I+9/em37JJUVCqzS+Dx6
fXtuEIc5IBHf7pXccbYmOn+buMScOm8de68NnubmXhdu8bNoSLR0IM/8ot0MzvDdR4Z/a6KKvRNy
5BxMVsbBGi37LnICcV81ESKLGs9JvZDv6jZvH0bDqXB9B0psBEP1ZMi5fswsD61OkaBeV+KzrKix
fJ8EUXI2ZNFtEJDyWXHhyTDGft/71Op1eCLOqD5pifmz8rxfVl3qx9KovomwqzZEx9KtYyHvJaPY
UgOz7yUnS+5COWCejf6T4/SZK3qT0klHwnFALebo2MmDkeZPKBk+Vp36wylT3LFD1UbPIWy+akHS
HDANx9o5VtqvVml98Cy07fAHPwLmOYT+4D+HRt64SmN0rpb39UOkNu2RYcWGLm4lnPs8BbkP7XdF
8cFtfHgxjlfs4d6WR3im8VGMfrSV7dhGgUjJNoGi4lOpyF+1QXv1g0E/TC60z3pRWhs7R2/JzNPn
OrHupDh/UZPa2iFnPWxEmkPxxhfVDdMWKTTN+WYLq8NFXMUVJT+S7UTnxVDoO4uiTIHxy0PTPzUN
P08TfzgDQ8o3VlCMrsY7HUdqudx0kv/LyiNzExkIznqDXG7N2vzYCaC5WRF+ndTEt/4g3VWjZOzy
bvzQ+frRq9FscXR8aXl9HX0v3Akv+iPlycHW0sJVlErf27mkIqTGsEDUcxNFfgkCTN4HJdiEaWK5
iQ4aXEafMC66L2EoPLex0/AgsvIuTIyvThx+47rpuUOZsl8MycB4W/OOULwfizaXtiKIg4c88eQD
r6p240FG3Mp5XexNi0jWROF3r0OItPbjPWSPP5nZvmaFt62RIehCLP1UFV+Twn5pB+ecW3rFpbq8
L1iYW9TibTfX22KjdWxEq89Ht/SSDPPiKHEFRlrH1oyVrSVqUOW+2MRRoO6bUL3jynCH585vPVA/
mhHOvAkKnuxZT6VuYfwpUuM5NusWqe3A+mvJ0t88C4YTOlmfb5+JC7d3mzu0DPXNIn86BwnaVtaO
DkKW8EzHAQpSpufRTgWUJe1k4emEyFwNlJULxsJxT6NTpomMJhje2V1TNsrYRFYrO4kwGjYYmif7
2ACSdLtri8f9u+N3do1JWjG0ZKHSk1fln6LO+KiUwaNwip+3m1kcQRL4XGdtKHdzBKmsxzrwZ4Vm
MqrgQSGFgdsocnpmY1TVyRqicI3mvnBBAzXL2YsgKMCWOQskbVKtD1sjRfMNZnThfdCGDvGV4SFt
zJ0arhlUzdkR0/0W3UH4bAieTI5T87xZ1HMvS3OuZ0L02VHJmoY7Tet9UlJ9eCoTL3elulLOZtAl
v/FC9VhCQ+0ZGz+Lwyfk2pPXwer7YCtUnjsbjL6J1XXLKRxSaa/djiM03ohe85oDAghjvBljYayp
DS6tB9BUqFiSsCctN0sJZHDJ0ehsklPQGCNGnZF6kFNTbJO4XQOLLDaF9DiZRnilQKou77OTvLvd
NkOCfGKgbKQwT05yADWiH/p/NCp7m5upFon4tTHZaqiXTRn9YIFTo1exxJ2grH8VufQdivHa6C08
SSeHkImUMy27uaVlFkZBUMG8Odl1re4lYQavrULQ9fMaOU6TX2yDINrXfrDy6FkaTEq7EyqAf1iL
lz3sY7mOofUlp3ZosSweEb6Vwo+iA4Z0eycvhSVymiSmwHHxGpkt8yqsoBLWZXKCW2Jty0HWHk15
sFe6sziQMAhQxWI4aeayO14oDVLv0R0tU/tDnJofrVxobmM1xl4VMGBUiAWnkhLTCnlksXsmuYvJ
7eU6qVDEku/7I2a2FZbx7mgoL0Om/A9lBLQa/n8js95VdTQmYUIjnh4aL06esbs9KThQITd3Tm+2
Ky/HpVAIfBjYIvJ4OrIzs9EsCLhFkCWnEFqaonVfLCe7y4w+ms5hHwvLZi2BsRTvmTvYCmjv4tcw
O1awL7AQSA6Tk+iN/jRkFglp2/a3Ron/sREKsdbg4vp/1+Csi4qo43EUPgumERmxctzFKbRHvCn+
/cCcEhkgp8ltoaA861mUkHxurJaolWkKVaY0Q3ATPeVD6JXFGrRvWgizx/FFY9PEvksyWE2exx3o
21Pcgy0cq7tQg9TliO+IJ7w4iXIomwzCWWqsJIYXRpPTbJLegEFFxmG2QDspH0gBAN6v84Qn46ho
98DY4ITpRX66HU+WughBeDoBJhTZPKthlAPiRsUYk60p1PykVUU0nio7bZKz7WkJWtqN9C3Bt135
EAu/Vz/1Tpcmu9sfsRBuOBVItYEBl4EuzqKn33ZDJnuYo1S9J2VA36XiIz/JtsWoFsfE8qM730qa
c10X1ko8XdgpwPDhgkDMJl865y1ZeawkkGTjkxbLiGJ3n/RWfSSl8eQF7fPtXi42BTiTIqoCOnNe
r07jKA0Se/LjaYwQV7oo20gJZsR2x6U+qnz57+32lmq3rB3E4FlEIKfnV7BEiE4hHRef4srcdoF1
1kzxGLbyS2N7z14qfjWpr2693tyH4/DQCeXDygdM5/p8/0w0UI3cwOS8Ojv3uwK996akKG14GJk8
ZkYTf7EHvfNcTVj1H1/11Puui0ZvE5S++SutTE/ddChNTkglexJHClVtBSy8cMJwsQEBTRKUJT8/
2qRs0DRhaoRGOLLI4qsjDiB9z1G9srLmUZ9IT86fyxWObAvK6xp3HK2YRFE9ZFj3bVuZx95QExd+
aQM5rrWOne+t7Ob5EntrEyls2CVgIllrlwHLDPq+s800OVu55N1zVUp2slPpaK5H7abCLHhlMK/Q
Sm8NQp9hC8FNuFKtaToFsZCaYFHrfng0IiPfRUMQ7KPEeW00jnAVp79tI+G+4DuytAmsBm32eIg+
q0n1rbStNdHDxVHHQYMkLV/D8+1yBAo7TfMEeB06qXUSunFX2L99i3AN2cWrt1VZlD8Uz0nW1JIX
R366kjHukPHV2QGo5aQKKqVIz/gL5scgKqtT4wjnPvB8HnR50h9u76153J4GHv0KBTb5dETN+1kJ
G9ZHJTHTkYdmB+J0hxjbdmuU0x8Ql39IxSD2tjfqruprzsr1cLFxTqiJ2D2p0s6WGalCJ00Hlhkn
R4UkW9ZuyWFUuyiztD+W0YbbrkAWqiNleyjsxlsJpPPj8a3vALeYYZUPmHNOqmGMQdzHyVnWmuBe
g575koL1b6JmXLltzA8mWuJAgm8PW3rSMphdAMzRU6QxQUm57dvmKMpo3AylgwBUi9aC4zaSip54
FHdHQ9Q/b0/wm1vA++D5X9s6CGoAL9x1Zisql1Jy3Sl2FKlttg+KXzRTQg16/AH3JPYNyZIx34xy
rBYu6p/SzmtwgCdHlft3Msd6cCxKM7TcdpQz3cWeRZPPOcyZELR4X327/bWLAzX5SWGsDQRiftSk
SVXJcoKojx6Wzl2te+Vm7AJkgqXSiO5bQ854gsfDNrELfQWps7Aa2AGgs6ihTRzZ2eWBi1JCNos5
ktvQCN3KbsRPYwxGmjbXIBjX5lLTggDJO6nJTsj72aTIyD8rNVjLc1TV+XcMZMQ2Dh3thJlTtasc
uzvXoNHdwZf7TVMn8c7qkE/eNMV0u7Ax9Lo97AtRh8/BbgEmGwCeOV1v9PPGllL6js1MULjIk2Kq
opjN1rYk41OSR/LKU2Z+er4tyncNzsKrLpwBHb+SDVHn+rMWdB4eg/Hn271aiOFkCxBqmmRzAYjP
3rhYVFatqoXTKWaXD7IqShkxh0yQd/XRvhrtsD9WTrOyhK+AClPfENZAUWZSgmdAL48OlOax4dR8
zrLejAx3jDD2xdwPKmYf6DvbDO8rS6m2hWZ6kdsarfZVyP6aQNvSjAJHx3FyCjpX6mVKTjKm59Z/
Ztsan8JCKb52GeUmame5i2CH9o9PDRhnSHQAAQMlRcSYV2tHVRJaUCYpOnutfYfbsf6U5YH+s0nL
NTzE9UZFM4UJ5dmms2DnbrjA+D3ZQnT5PHq+86cqNP+l8dXOtfNB295eQUtNARDk4gvcYwItX04l
ebkcyxVOx1oK+oPTNNIdhbN4rySB948F22kANW3KPb6hhuYD6Hed2YnCQWJISY2PjhN0T/pkHyQ3
/t/bnbqOsbTE04GHCoeSNkcGGoMiJDxBkjM57+FcV6qEh3PmSjKSGb1v7BynFqcopqx5u92rd8Rb
F8niTngSbh3zU1DOZCWLcSY960Y15K6BwgdMMcXb96jRPOVlSKXNkVCF1NPqZLKJXAOGGVkARGdu
f8p1+GEISN1wFpNou3K3ybohleMqSs9do3lfSq/Niq0e51m4u93O4vohN4p6BuybKwCIGY+pX4x5
eh64QN7Jdfeny7zgRyV5YmVwr/c7sGJ8c1DNoLJxRUNR2q7tG2EztgM1TT0Jef7KQKXDWEpOGLr+
K7xtmkuYcLzIIDNMfj2XO2OMMz9sqpDMf9rbzx28l10d9+rW6ZN4Bcm6NFn6JDZJvlImXzk7K0Sr
womryvRcj3XxqgSyAatcWbOyuz4s6BBiukAGYQ9cRe1gxN8aSVI8GRqSrlYzUNEUVf7UZLKxyQyv
3XBhqVfWhzrdcC8vZ7RKgnQSkYDOOBd+dXwgBLFPq4HWp+WGNA586wyNlc8hFhRfSozNyk0YtcEn
9EFacHW1X9aHXM36fq9IYdJv8X802/usDFX5pFKS/WGHam88AUvUBzfJMzqTjcMT2v0id8Oq8/6G
yFAart6THHNxdi9XLpxXa547DSzat/sm2JM5X0CvpCiiXmiebEmRtnLtI5lplu0jjt7a6+3tdR1R
DPC4vI2nQx4cyzw+d7USOaPuOycp7vvwISnx49tFxJ5qg21PYh+H2C4/RAHJzY1ZSM64qTDMTPfI
WCUW5ilmr+1XPkldmlHyiXAIJ4eGOeYrVs1ChwebnpvMyWW3qcyocNOALB12hSXKJJ1o6gjsSR18
Aqqcm1y6uZO7koMWg2v2Ek5jUlZUK9IIbwoU85U25RFAbrGTOGouNyxHPsBfK8jOltCK2o1jA1iq
Mdj5lyCq1OdBHeTnWBGD5sL2aD76KdqeGypb2nPqdFW0KXo5BDOrNE7tGl2eH2OnlM8jtLzItRvV
/Ko1YfU6kixGBLI0U7EVQ15t+0SrqPBr0vDRG/pcg4Vo6BLYljCPV4Z+KU5wsTCnbcSLdh6SjJad
JwEXOVsBXnhuEKnh1wxO6kppYSHS/kdkwCEWbNpcrVW3Mww95SI759wtz5aZWkTaasBgxKnv7EjX
VmLEVbc4qllJaGFBuEdqYh7+pKwtc3Dhp0ot0hOgoHZjxPo/o6V5ikyQc3ipuC7CZJqtD+FxZCeR
g8Gf2nduX9b4MkuZmbgZPLmDknJCalTFtlWe5HtDR48mj2Ac3d49C30lIe9QMiSphkTd7FRxfJJD
ihFgxdbV3YNkCLGFs7BW3ruaQaIGbFGVJz9aQVdqzGMQaYkA5HiShqjb1nr4O4htFByDqj80dbNG
orw6WeBxA/gAecDsYf8wdfpd9l9Q/XfqsnFOgToUH21TVHgpdR8iL8UVh3LY2SeDv3IduLrj0eak
vI1EAy9+Hv6Xbfae41dMmXOiytbvCHfhD4HW9n2vRp/xLszuewnKT5X0a/qr1zNIwyTxcL+hcULy
ZcNhGOkD6owO5IxMq7ZxwN36kDtJ++f2Srk+Zdh9PG/ghDsweOaRX00xHwRWaJ28KAPDldnDs9Tp
lG96Yy0Be90lnk8TIoB31PSwm+0MTU+6ZED5+TR5sT3KUWF+qMbY81am7HqZ6IwaudS3fMC1VTBq
6UNtDqx9v0h/67nTHyMpjiy3j239tU6T/gkHhbpaaXZpIDmuJ0Uw8hFkmS8nLI1xOUXe1zxZ7aju
1TS2NoPdjnuAqWvC+tf7DsT8RFDgxKap+REUq71wxlRnUSr5Ny/2/G3WdPrW1CrtVFvKWpJloWcI
1kLwIp6RUZ33zFA7VamN0TklHmKubhnYxY8qkKyXpENGbmUYl/pGjg2PAuBFvG5nuQYjhWvlxTQm
+zBnyaBU4ZPfmPejL3vHCETrSntT1L84ztH/nUSfKHAj5k3e/HLamqYVQYnMxSnrhx+tXgSbquij
jcAX6tknF3JCbOgRLeLxE+5Xa2KE19GFxqddR2ndxIVqdiT5pqdrmNk4uLvUDXlE1Wn+NJohmgn6
19cQ4AvjW2+YxbcUasSaUMPSUPOUmlSXiG1cMC673uE1EdoJ8ZQS4LZTwXHWXqwfukCV9mrWvd4O
NAu7nzMC9YRJ9wOy+Gxiq6TQkxG4xqkwjOBbl0rjGWnAbHu7lYU+obMy4eonRAZXx8s+VXVhVmaY
SifIvdamLfHttJJy09hl+CQSX1krMyzsDbjhk6ozGSpoUrNkp+lhYQnMQDpFutQ8VErZQV8eBvWx
pI5Wr6zV62zndJrzTCRpQ/0Q6ull7wyvygpd0pxTq3ooltaN9dTg8HcuvKAku4wElp0k1VOVIEoF
I0NBQJUspC9AEJtQ/f75ksHX8OwnEzEpp81v6HkVaGHVMKPGMORPQF/0TYLp6+72jC7sEbCVRAQQ
RCiXzA+osVXq1EOZAj1/JUHKXwz3pid5O/TqhpfIn/RSxqzYF+g2HW+3vDC3cLIw7508cK7fy5ZA
MVexJOuUQW64azrM/kYnrzbgVeuv/9QUmU64/FwWQfdMoBRNvZzYMsxCR5hkh6VKTZ+USpnuNlat
fUm6cU1Sbtat/9oCjwfEgFclmb/LtsjdC59at3z0RH8/9mq8yUvr6/ivjJCrdqaJfXdd6+3RFoWG
69hQUUX2hZI+RFYyfopgn20DnMjuVL9ey4fPDv+pUVIpE4ePNDwFotkOSbVaGRK03Y8tdb7RzU1t
OIbI930wnDF5UXwZVmbYkNtZ2ZqzuPNfu2zJN+zChBW57Kxm10M/OKEMJLvKnI36f6SdR4/dOLOG
f5EA5bCVTtDp7HYcbwhH5Zz16+8jL+641cIRer7NYGAbzaZIFotVbxDS9K3phQ7oHGnvn3ZQZe+v
b5nlJ/51cf0ZEego5w6kBPobq5kGvIFlPUDTy4iU+jm2x/xr2oS/ZSgcN/OcBydVJcfpFX3YKbBu
DUyswzCQ/hI0s1XICzpllO2mUHwI1+/GIECDueaf/QAnmQQemdeTkkNMMbhZT9envI5/f+Zskfnw
bjSWtHgV3dsGvbLEFIqvRIUYj4aVJnBCGslyDnG18FKlzMjrQyfpknKgkFer8EcSW/YmKckjr2my
qjyUY5bvibn9eayuVoPMiC6J8wcTvaY2x06A7muMbqpaWxIkFz0fmn/KMUoUt5sU5ELSCEqAkqgJ
9g5JFHYH1M/oCHepWfW0o2ZVnLQCFQ9Pk0wnvox1qL7r6jL93sXx9D0sEmlPRWRjy/IQXu7kJfmn
Zf1yy85ziVsKQg5+YRXDQQotRClyqmGWErtt4by7vnYbuwaIDQ3iJZ6i/bXaNfMcZD0tMcWX4nI2
D9qgiP6km4Wuu2UeGyNYqmz61XB1fUCrDl3H68NvTRbYOF3ChW73KmVucxw9E5Og12BiBHVZqVtX
j9GMoHo+ZR7wF7P3rg+5SniWzUrxCkETZFkXFOwquUvtJM21gQgnYb9Ag6qMQPzYVTGoOwfydUAH
2M1xWM4FgWB9eZhmMY7IYFh+MQnxTmlT5dQksnaTBe2eI+zWKnL0NbBLbJ1X2fkkF7UoTcKcsBLn
iyYnOcwWEZFuCCtu7itDH36JtK0POc5Cv65/z9fTXLJGOHVAHPioa2QYdqwlyAcDhy1agLmWe5Cx
vC7cW7a9YVbLhr2dWicRw0jAbWetfUpUx53BrV+fzcbuWFoZoP85fMgUrEJZ0QipT5GL8RMzuqXV
9zOki/32Tf9ijNVNj/hBElQFY1hK4CJSbeSSF0e/5fJ8fS6bn4z9vhQNAUasHxLl4uCokdf4o33B
RcKN9MFLu+H4H0bhpzDQ0qxc3ztmGgZ2Z7SWb4jkgjHmVyWcmVK7A1/YXBg2mi3zBMV2bTkCf6Ut
Di08PUVbwG/7LDwP0hQfRJUXO72YzU8GTItiJLN51WYK6DNEvTOhXVd2N7VwziQttwi7/IdvRs8M
H1gcANDnWuWVWq3QOCOD9zNol7wqecqHnl0HXJKZmqtvfA2xMlBnFizfclCXsu7LbwekpbQnY7T8
eQAdC179tpTpm0hO+eX6Xngdh5ZnEJ8OLwv8gdfSG3ak1Q0zsvzIyJXvtF/rp1Y2ggUHVBXNodHm
/qMkFW1G0ce09goiG5cJZIZ/v+qqkJWYVaa0irAQ9TUPKTJuMt4VPRw+a6/Ss7UZDQQxee+R4b26
Q+Q5K3TYBJAFqU5IEENcTZ2SnTCxkTNDrv//QazVqnVZWcxJaVm+MMv5UNTSbTYO//Tcz/noZG42
5jtwta3Nv4jnU3rBS5CH2stt0qG3ajSjZPmm8kGOxkuTf8iq7HB9i2zP6t9BVudYyULcykkN/bSL
PquKhMqFOf42KOe6KDA8Ysf5P85qdXHAJZ2qIQoxQAj6QwoP4CBL4cc0tYudxGLn863XC6tDJwWo
bPt9hMOSBikUfK4T/bj+/TY3OdSnRbqWe2od1MNejSdZYpMrEUIrUax4o26fAFs5roCn+fbBqHUv
iSGVWxAiL3cEgNVea8H8+UH/cSqfIYt5ZfYJGPjOVt+a1L/jvApQkIuzUG+53IdSvsNM711VtLd9
VR+MuPevT2lrlf4eavU+66waD4xQ5YKPbjLcplB6WEpS1wfZ2uTUuXmJgbokxK8jkYq2WoC0jF/H
uuXOyfCxxcvJi5r6x4CpWZXmOxfK5gck1aTsQzZNEHy5UJUipi6ZSSlUNXyoZ9ujRfzEVfIZlu7p
+ty2PuCijwGuj44acLqXQzkOmgF1kJGIDdX9pEcX0H1nJZfO14dZttbq5cbu/neYVZwIMr5ahsyD
rzbJsbe/S+Z9BJe3s9xc/jjNn+AuXh9we160zRb5DwUk/st5FUk9kiYjW6sKnl3T4OdpeDZMaW+Y
P9XA1czgcCwsjkUL9JUAYCc1uVTXqeknRTM/SUpYu0EWBBfLyrRDiIiklyayTbZWDjda0KIxoYbk
om1qYWadIR43ZMHNVErTJaz67Ksad9NNnlrqhwJI9WksTHFfONNCQBvHj2q+UPozU+fbJUn4I+gn
6R1IZ+W+N5Pu25S36iMCi/1nEZfBKbbl8Ec3NspHtAKGQ8yffYALP3ilTd8XQhhZ5BTJkKLVuJ78
DC7/qcgK09MBBN6icVX7uaRHrsgLy0tDU78fgzr/OZtxfJ6zvjvHgzFTibXD/h+FYswpKErlnd1q
WDsUOLXIQxscoiIAGhUkUXErqqp8HjulxiBZKic34+Md6IiRknfq1D5mTaLflygqPFnjLHK3RRrz
1lAa57mbLO3czdakenmapM9YFTS/q2SM7toCsYhokf3u0jZ/kIWDjaVhVhetTvXnXhXBomdhSO+Q
JUCOoNbPgRUEsOHj1Gsk52eVKMV7jKHGk2ON3X2Ag8j3KZwiQBAJ9HqEj90SHsfDOGrZe2S7Z5hr
og4flSYo/dGyohM2z7aHIEFxVLsJebIptY/URpAHAOJ0i44D/mPhLN2TFmZ3kdGHX1KNfBFwTBni
UGaY33RTKueTrHb1z7Qzw/dt2aiLW5gR3Q5xX/paKkX+nFriGXGC7oPhTNqxM+CEdxpMd6xk5N+D
EUn6Qa3mFvpI4pTnos/mcxEa2Z3InOx50KmXOXHePQ1aq5wTq69+YnbKt0HPOl1wH59AapXHKMOD
MxRVcO6xi4fkX1JUoQ1wj2pY+U7wjz/OcTR4YxO1Z4Hn4S0sI9tTuy65FEblHAqjdI7j7MhHPVB1
r0AC2JdLraHcWimubEpI1apWmx4MW9SXACmgx6pxhO7OKlp/rmnDCiyTwmAPWrKboZfxmSNQI2rB
Zm2rTjr0+qCf0XiXPZNKhMfRDFEcNx2BmJ6VhodGCatzHaiYkTlD6XhhPCSnIe3x3ZIT7Qhme3oa
Aj2e3FBtAuxE4ozqXmg8h02dfEhtcGjuRJ/uLu9tVAusKI6OpjLXd3LllKdOLpbXJIcUZof+KRJ1
8+RIWetHpkZ2RVsHA7PJGKbPkMp6r07TyTU7Wr0iS8t7oVXmu3g2jGM2592lUbPoIGmpcqkUfTo1
1KF9pPKlk10GQeSWYxmRUEFLvTdU6MlmL49e2Q0S9b8ayQEl6LwUMP63uRumLykWKQ81vAXPsJPy
LJW9fir7VrkrolH+Equ1mfqaXjnBGexEe2Y2CEAbePZaIqkWbeZPjRaKY5l109EcA1YM34QPbKnx
EGTRdN/JffwVxZrhdl7k8ztHoUifiucgaftTmM7lsYtmSIFGxcFzKIv21H7M2MOskiafiMdHhbrM
/RCXLMdYGSjdqhWbEj9STKW6Ob9TZ0f5JIvOttxIjOax0pLZz3D8PQe6NKNRbVW4sqiT+q5W+zR0
MTJS3hFTxFEqDP2mHeb2IDWp/a4M5QRpkj5/jttR+mK21IdUSUjf54Y6oA3CCoxz3Y+fjM7ObybI
UT8xEA4eRBO3HyzI0wQkmh5ntNvVG7NQ9aMUzdNDV1TS4BldWl46m5y9krLpTPk2Ohp0i3/IkRD3
cWl8isNoPjkzghxGlMv3wij6Q1ZIyu0YLLUwu7Y7L5u14dDCRfcjdFzcEcjYiZhk0ffgz2Abyq4O
Z+qDpiGTjSdgdU6gN9xqoRycQaLk3GV5/2kMc3GK7CC7DzVLutVaezhNyG5/NoYsu8H8AlsXtpsX
Ir7zOW0z49igafROThLx0OSVlaHyl6Xv+3yGwzqrylM+deaXuqztk9o6/U1rTuKSlLZxGHInfTIL
VDmktJ/ITu1o8oY4Uz2jkKSvajul5wys2LduQJFlnCLlZJmSdhcqqXTKsomHG5btNdI1aKGoc6Zc
uDbm35OJQ6zq9Ik759r4pZPa+DxVhrgoLMhxTK3+q9UJ87OBGPVvgLiW4dq9UT8EiEN70dTUJ7sZ
ei+IRfCALnRwSbI6/NhUUnQMZbs+SdSWjh1gRG8sQvtLhkRcRHhKqiNVWOFGYxsfRT20T3Oth14+
6/UHTYq6z7iEiCNujv1nZHvMs5RKw7nT7fppcCj3yYnQvKQV8UnKtai5ayfKx16R5+GHRlI40kYc
3wSzbX7QqY4ftaKdjn2AwyNqI+o5aVATGsKOTrvKY5p/0fnSNKaPQkMrWYgiyz2HO2J0ASKq/lRa
3UGXnOqYAL48SAly13VjZocJVpdfqWF3q8WBlnhtpRdeFpuGr3EAPIF27jlvtQhHUlm7BOjMeGms
pt7kxK1bJLgkuqxVduDxZOKJKE0nq1QsZH6G5hjVcnSwyoyfkFnToZJhbGZ1rTyHAYD5LBftbazm
NcTnLjl0ADbcPnXCI8KU8lkkWX7f1KbhTpXQvbkw5cIloLYe6Loscs0o1I4ogISPzlSav4qhtO+d
IG5uwtjUvtokJ6qrAbm7yJEtPcxZxe5YbMW4GCop/FDJffEdeKZ+0AriBx3D+DLYI7JKUiEOwk7k
izDr4K40O6KpIvVfBdfvly7mdzGdtrxvuDEPk6QoXlkM00HDPOQ4243DYhrjp85ppd9KoNTnKLHN
93KA+VQTjRVpQACDUyj4X+KDd6iiLj5I1Zy9/YFL/xXFEmiai6bHKlOWEV2f+r7W/XQ2CHdC3CaO
/mkS2pvr2ZA+lraWjYADpYDVy0kxBMCLvtN9tcDDpeiOVlufiznbSfyXPHuVHiPpwY1CsxC/u3Uz
PWDrxbHGMKOifU0y7p2mGL0qHx47yf5t1erO59t4aDg6eTh+gUg42GtJCnuQ5iofI8ZDNOi+Fbmh
HsNaVIaLIgtZV03RMz4kQz5/KuhtZgdBy2Jnzhv1JBpUPOiXlv2i+/vy7dHGdmxYouTo5iL43NWd
dG6aOnv7IxF5hcWWjg4IIIzVKMhuhMRkW/XbQMbtarDKJ4hvpm/kg/EkxW3xH77s0jZf6Cz4ca0d
m5YuWzfOmUqVbIoeOxx+GjKyPG7Ck4bjzujByraEq0qhjHrcYCTGXSkN8t60l/3/ckMtrnUaXtML
yt5e956tEGybRGrpZ05ykkb1a+GYDzjW3WdkIGZeXcyRivVbH5Mvx1wVeHXS+XoUsu6T4GiRBxYs
0A82EOPGdZRJGy7Xh9vocy7PflUGrLQoCa058+MwDVLR4/IZhYqR+nViJt9rwhGQeAcx9FPfUgVD
G9ARvj6iOJaqtpTcW3FEzj8kedd5QZhUD8h4DXclObPuJmwP0togrL+0mBjudTlfn3LEh2yoR0Ab
oXSsm2NOWWlqg+qGPysBQKAqkprCLUVdGscp0Uf7GEhZHp4Du1WqNxdnQAQtWgaLPzQqWUst5a9O
QthggGN1jU6ZeIh+5rMkDcfeQefEbYVOk9hQkp6npmMm5s7Ia+ochXjgZMvy0L+FgrHuLslsAyMy
M8mfjUGufAePZ+sxqCRqQ7k0fjJrHKqRjRz6oHPjzDDbkzxmqNDJmIF1O6fzdcyhVo8CD0cCsBs+
lS8/A78dYFYzcnz0fhQ3kvGMdoJ+z+BocxTox9aCxQKHsfrYsYO0T9PG+KpQTD/JgSgPlJ/HnaLK
69204I7/HWX5+7+WVB2nWQcw6CAsrj9XlfI0gaFzO+E8wDf5ZovyjapdfzoqBFLqe0RS2F5LMenv
AY1YKPas2L6RjH6ltP+gmX47N4tknDzcIq305gti0SNDYxdnXdbKWhcU7bpIeFLavtDb4JHbwjiW
rRHvlPY2FosQgv3GIoYDb2wVtUDlgWeeRnzZjKo5tHqenkMaOu+vB6vXhTbm8tcoq7mItEsH3qyO
X2Uoy7mqBrbUtVO9xiZBBHutmmWDvYz+RMaFDIe2NFCudWVUqYuy08fM8cWSkVeKY5/LsA4fEio4
76NY2yPIvL5tGA/lW/YGeCMaby93Rp+BS+dVYPvUptQvaTnDhQ+hQ5tebRjRF4cI8EHS1Pkx1uAg
vrmOvgxO9w2GFwS2tbBXD7hKlQbH9quc0gjQ52csqL8PqvOxHO2dLbm1jH+PtdosfYg4ntYK3J7b
HvpMJCEGp5g/B3Mv79zalUujDRoePdlXnV+R9co8jY3tD7GQj1Iuy8dAz/ayhK3pLJcRdCuIjMYa
tyWCWR/6KeJE44NLWz6lauUWaUMNqp/SfK/jsRGxEL8AHwIpTwdovEra1aUeUaZ0CEoKxIpPHb0f
AONF6Se8g43Y5SmqfXMkp1V3zvjGHUS/2QSkik0JonbrQy7SwogaWuw+GuHNrxqZ8JuqHz8DSuk9
oS/F6BQv3yQbwI9VevU+BCh1eHsE4CqgfcX0VeLZyzPSoWKTaypbp6S0CzhM3JjoLXhVsscK29o6
gJsgG/CWQHdudS+E6Nc0YzTavkJF1B1MrrdJGbudT7o5isEDDF0FlO3W2HgHVB9vzcn24ynsH4ws
LM6KaPYoL1sbFAg1uwY4jQoi9eVHC4dgnDE3tn0KD18NNfgkUhVF4/zH9bXZ2phwpsGem8SPV2uj
yq0UBQHKyq0SfC+T/sluTD8kWVS1tnYrZ9j5eK+fX4Ag/hpvdRskEdo/MgIG3KLUTpG7fZyV4k6f
yi/c6nfy3MkuxLPnPFU+Xp/o5qrxygSbxNq9yn+CfMQ+w2bggUoq0sBZ4ylhsgOv21o0GCFkfRjT
oz+xOuZIZve5pSe8scY+OQE97+lym62bTINyvD6fraEAZPPUIlKSbK0uHmocQx13penbgwKVHwJ6
WXfPCkLl18fZWjA4GcyHBAFC/2pKekhjYzQYpylqlKRt6SkKoktWlHeRjkeqyO9jXHmGetpjZWzt
TAt4iYzKrAngfDVBM58mtW8y0+9JWN/FIQ6idBra6FGYVvgxhlF0zCSsTXfu1I19giXOn9cCtpmv
2HRCiuwxhNbgl6IYjnaDirtqUVa7/lWX07tOU9D+ktmKPOB4ML883d1gD1EVd6bfGmHyoAay6Ray
VD+Wetx4zmg6O+OtFamWDFZlU1LxAN6uGetigCRqqkSjZGBYZSMAhQ11FdNHiYLMtQTQVl6benWs
+6Q4p5Dv49ssYOMdOkqtk2sPjTq4lS3kb3VR9B+vf4vNKwqIPw7WQIleV5oavN5tuVUNP83USzM7
HggHs8QNpDLJr+c7u0KO1mkQUJyTD9fH3krfiLHykjRSkFmT8YEp8RyaAYAZmnBcGbl53sB1B7ZC
PUZO96M2Gl8yrZ3V2Fh9gP/LaugwN7S1HllQyHmCyK6JdFIk3eT4IGNcKLIvvZIqvtWgmXN9lhux
AlTC0lxHVAE/jdUFjFxC1VMMMMEnBD+BqJY0mjWaSNpYP/9vI63CuzrGoTDqwPKruZQPwGOKD+3c
x77jQGm6PtTG0r2YlP7yCA2DFipmyFARIvRGq/1OusQb5TFylVAc8lh3RyncCYabH5K3EjHeBjS6
DoZRMwxlNUegmdoqOsRNoJ0nUDJHWUnCnYtyI/whDAzAEmgi4WYNgKxreCpphTcPrYqQZpR2wO3p
ORHDt0KhQZ/vObtvjUfGRFoDZnBBdr78nG2pOlUeYyCq1BhNDpC03MqM78e0fUQ/GPjM3qbcHJBk
2FgOHoj05Vv/9aa2x7iVc0OhIyNrx1GIxkNbh/qrjDJ/GkYfIU39vL5jtkekyAx2mmi4Zr5mtOQ0
KR+4rSq7c1ESMdzIzOujYlvNndYhyJhqzZ7R9tZZp9S88CgtprrGn5tpppdxoWOoW0ifk278YZrD
h76tLvH8Pw61RqTVijanjWwHl5wq2lGLle+WnLT3o9Zmx6HVdo76Wq1iuVJgEC/mi9hX8cRYHcBR
QKdPA0fylVDRb5C+o6EojfJBSQhqlPO0S29ifoht+s9orCVXyM6CfRXx+e3LCjKJQ7J0EF7Jwhpq
nQOG0iUfG2/zR4sLynPLozjxzRgLzHurGlXjkEqykHaYd1sRaEFsQmQAHMVBfbmDh7QRE+2jAC5l
9qkT0S/uymfNorCR20cxVIeMVp13fbJb22kBbRIXuDheqUK0lD0mDWzJJVcM7NBQTjDvxgqOzcVq
inhAqyLOw53r489bY5WtLBw13QQoalHJXKViA5jesQ3L8CJZVTK4qpqG8jGL2iS8q/U5tu7xrM5p
+FlGiSOc3R51M343xFxxKM9gGXmhwdSprjSHRX7OyrGNfFmiv3aY0dDI356Dk1gRoJfQudx4L1dl
XO6/vGgxXFVD4wG55IIFqVqlvMGxF9ri9fVYftrrT8Nb0KbSS7K6So+d0CA75pNf5DrvL60NAmSQ
6mJnBbbuHdRO0MjlAU3+trpWjXFK+oZGysWaqO80008hoo+V1O1cbxsbGtI+r3QQcYtq4BJA/wrJ
U20NsS5Y50hk77NAOg2qRG2idE50Cm7NoT22svR0/QNuvC8W7znHpnrGNbcGq9eFnCa9hMFxbjhN
9tGYpP6HPvNCpD/bS5knD3LTHSIj7azTrKTUeemrR8HOB964GpbaLjc6ME1KeauZW2EdTbqK8/HU
5J2b43SAV9cNws6NG2nxvRbIO9PeHtC2KGIvt9G6oiyPXTRqDS54uWkmh3icPzZT6aojXkxBZh46
Ndojx22NuFAFoWzIVBXWxZG4zw0r6SPJ14YW+zZ77NHJ1EawV25vZjJquKPM4R4M0oCdXGZj++K2
zAlZ2p0wElbxY25CCb/cUfIlJGho1SvRE7qwQP9Y4rfHZBoDtJH/tFeh9bzcwqlehBOVUsmXy/Kh
TvvvFZtHtLmbl81N0SSR12d79+6fluIqCCzgbIOUkHSeNsvLQQsUBNATVvGtUZAQ8EYpm9UbDWXG
zAs1uau9vJNgS+GsmPCxQ7mNjjxBo7MAxUVXSA9+J3lqgrXh7vIzNtwdOo746dArm43zrMZKeyh1
s35fV1H1hYph8djoI/CCRNiNduqg5CwgTLnCd6jMi9+p40Tov5v01t0GnaoYJEyE89IcF7zjanyP
fl0/xBu3EpncwuqDqkO3efn7vwKHEacm3qS58OdeTn85xqSqftxDjnU1KhMAbOaplnZuwo0nLQkV
UZdgRQUXvPrLQYeJaxDqYnaJnUEXj4K3GtZlBgUYN6uqMPMK8gH6e1V8GwF3iWUMm45zJpzk6Myi
+mAEap1iS5vj9/fWz7HUlAnUvO74v3WvDRCphTglHiKzXoFPqS9d2z1zHd4Uk7XHLnt9rGGOIpxB
VouIBLHk5VewtEFMqTLEl9zCvelQ1aWgsIvkCfbBSPLqBwdPh/ZYVaIPL9en+fruQ3PAWKQHWHty
3NXQ+lQIU2/j+DIPuX7IrEqczKzd45K/Dh4W6lcWjVsMIV/X1IZeS9pAD5NL2FX5L+oY4d1kjgnU
kb54M+SFoQCho15mIcezTuiSpC60ckhQved4HUetmE5RpwNTyKfw8/Vvt7FsREOU9anfUQRa0ygH
i9jfRAY18UB7Z5UTGDSTKoAUXaIIG8UkePN9g8AI77s/dV6ugNVamVLbjBT/YatoSXMaS7TMcNoC
TT1jGqVrXXMorWFP2vR1WEDhC7oxTRxKK/r6TQl3Ke2ztnZ8mtsXTqcvtXPjtrr41s5iz2tjb7Dl
i/8Vg8AqzqPdN44/FdWHTta/hmH3yDX4Xs/Kf64v3saW5BWp0DWBzGyStLwcKhRTrERKa/thJMm3
oIacT81IeaWXqz2C6tY+QeZukaCCo/UKvWCOwwAumrK1pQyf81hRXDSN7sOsfRpAsrmZlO6kz69z
QN5Q6OAwOzrDJAyruQFzjFGOtv2kBi/oiwHI66Wq59FCgk4pz+XQWvVCSsgDjBy72jm++dvSueEK
WdLBRUPy5fiC9+akgSoF2oIgJHj9rJdPk6XkvQcmPf56fbSNELb0xTjqSw5Kz/3laHVe97hYoWlU
0SL3JBrtX3Sr0nbIrBv7xUYpnccydQdyoNXho2yp4mDdCn8MrEzy8EtT7ZMTqf1327KCN6rB8kyj
kArUZiG70+lYt8CjMK/t3B6EP0yZ/Tue2MkfTGe2252dsrE1UdsBVcNZWFxSVztFaFGVVhZG6DXC
j0eHKgA0/rpuD1o9T0eFFORsWPG4k+Btj7og9yg6YKG2fOu/jjmMV66BapL8qeeehQ1SB6XX2nER
gjEPbPD6yTz80KpQ+3R9q2wtIo2d/x94tTFlu00dxBIl3wijHqGhRjuqjQWyfZD2Uputoeg8kFFS
GHutQ9OVAQ2/mHwy143+n0ou0vKT2SfDk4SUi7WzjK8Ho4zzb4FqDSKAzd80SW5RhyvKT6Emvmux
85QWWHJc/36vF45xeJgjxUDP45XEF011SYtrlXFmB6/KVqtvulA3f1HwC9ND0fakRrIy/r4+6uvZ
8aBjQFrvNK9eWfzZZepkgyxLPnB9/SbEicFzzDxCw1Se395+hku2NMnQEUMhcf1KtzJ8f0PsF30z
xzwGWJgKEtDud9Zr2WcvHxvLKDzQaf0tGd8qmIxJapV6Xkg+rJJ6PhWoh18KycTlc0y/QYAaqjeT
5BkQNM2fkhNoYOXliZNB7iNvqgKpged0yjNE4Ku0U+6btt3bIxuXD80+wGMwc7h/1u+Ijgsm1dWJ
hKHAW7As+zutlE6I3HXuWA6/x75dyAwfr2+RjUImE1zgM8gNoOO9FkUBi1DJdduRObTf55pnUqge
uiFbzIdzNwwiTIHse10dLlVf3SzI0uvjb23Rpe7A9cOKIgD58vuWVdkDh4qEr9ix+IH3i3WDw5uT
HWcjjszD9cG2vjA1L+BRYLqRe11+mb/CZ80dxbvQcXwly2Lk86XTgkvxIi14r0fToR7sRzUYd27Z
rRkCvwR3zVl83VOd5b4qm6kCFTi2hje0hn02hjo6V8OuvOzm/Dh7vEsW6Nw6r6avieKWXAq/yzv7
H8Ph/e3izGU+h3ZIyunk0nAwAeM8GnOl/7r+bTenuSA9wRgo1ElX3zYUhSGVtE19rdet49CF5UFg
9+lyQbxRiX2541lFAzztUnTkBfhyGWWlw6Aalok/R06aYL7QIKYUoHeLBEwLe2Yndm/EHFCPS560
yBGjOfNyOBEPg6UPluPrIag6KbafeydJP+Fe2R1na1fRVn19VzA9Rlza/sB59NV4ZTZitJDyOkrH
LBReFffU8TUTqpyjpUDbrMkS77sxiZTbcgwMjAqhRSLzqwH4o/KeDzkZKkpPfW3LFVStRvuqN0JD
c0AfxCmLMhVymKTW4VJxQ1rEHGervLO1eRi8RlaL8ujU5pze5mgUmzgdR9KzTTfxYxrBRDq/edeg
o8ORpHi8+HOujn+c9mMSJ6HkN2rdHLSmUm9ENKswA809l8CNbJehOB0qVV5KNatIbk5VPQY9/spU
OkuA36CM4Wkp9p7og7JxChHKoPbB4tHQXxdAdKfm1acRUZUhUiE1RsFnSERG6wWKWnZugLwPfu25
ZT93tZI826HRphB1giz347HCOVtMofKo9qYloWpmddo5nYJY9sI+NpVz3E4PU9sNO6X815scUggh
Cg1sQ+UqWB3fLB7qBjyU8B2BmEg/6IeurI4FxFC3DqI3PwkYjEOMPD/WOTzLX56oFGny0nFiyR9q
57s+DKDRy0i7LRqn2ZFK34hKjEJVm04VecO6ODnISi2pQgMAWASaG4aLgWjS6Uc91tT/ECboUKBD
jTAciOLVsdVz7HjnJc4bVhc+G323UBN0LMo5i9AxYmnnMtuaGno6fxShsWNdB/tKrZRcAQjkt8Ae
XJjTt4jwqR6J4M4Z3YpHmAWiz4raFt9xFW4VZ+wVPbYAv1bB997SPupi+Bxp/V2iKHdOCTn7ekzY
qm0C++a9SEDAYWQNNBgGfQL2BI4+qYT1DpX08SLLefpcxsmNbY+KV4+6ekNeNh0cHkIn2QyymwAO
hp9qceWbZbPH09o60iBVcGolUeHJvHyivxIHpP7brjFH4dddrUZePJrVKZH6+K6PLceVjCQ9RBjI
/go7rdhZ5q2wtegNkoJatL/WmrVUunWllQS3j6rErTdUOkEYVy1C+fXP/nogYiLjgIdfMMHrp1BP
Q7cbFMfw5TFp3pVOkHyM0FLYmc7rXbt08oBa0owh8GurmkNfFsko1zVGh/EUnXtURk+9OqhHBD3m
N+/bl0OtogzVWUdqRsS6VCG/s0vtQuL+EMftfanY72sVwuf1D/j6nCzjIRvNUwt8xbp4k1oZYJxE
QejKtN8nVZO6dVq/VwbnkTbTY2KoO8WArQWjsIKsFqeEUsTq7qykgkEQWfDDslYvJp3+UybKYWdW
mwsGbg6FsOVRsqbryTm8mYIHGWBiffIVpYjvqygOTuRK9X8aikt6wVNQh1vuqL9OWWjrgZZZPco4
g6x5dpcYR3kIJw+21p7k9tasgL+rNp+OyLYuYga9NWI3wjY0u6jxwqkIzqlZfiOV/A9Ye0I060Qm
AGJ6/eaAASg7ySKLEGIy76IZNhyUKPoihmlP/X0j8SA6E57wf6Tc/MquBM65JEmdZvh1MD2MInks
FaQL1O6gVe+05l7NpHPRJQ9DHx6pe7gZKYksUsQNIq+DwmtHH0pMocv+zY0FANzUVZfmOi+vtXoy
9VstcSaquGGqCi+y8+lokaV6tdqUOzFsY1l5F/DGYQ+RyKxVvSABGkIX8UJsiMdLpIhfIQzWk2VN
e9X9jcP3YqTlxvhrr/bN4KRylkBSCiU7PMzz0FenzihqZWdKy6Z/WfFYau2LXRL/oXy6unrKQivM
oERDLJHqyM31+YK43TNooK9loe5toc3BoAUtPWToGuse0GAOZCtpZ/vFbPbsimlyurtMSTvJ7fU5
gNBp9XPoX4+bm4tG6omcE2RrHucvPyW9Y4fKFGD/oFLHpYg6omJAB7Nrgj1p9s2hDLhlCnVfXqrL
/P9aNVSYnSld9DurbNS9MKQhrwZKehMV2Z5Q+tZQ9C2w7GNmWE6sovP/UXYey5UjyRL9IphBiy3E
ldSatYGRRRY0EkjIxNe/c99quqasy2bVvekGL0RmRoT78Xwb3A3whQ9aww/eBmd2Hzws9KGf/hUz
96enRv4Zuyrtm4vZ7J+/CgpNME0TBj0JACPy8uxZc+YPNWpHU88+/veHxUbAOoaO4r8lP53td1Kf
Lj/r0gtKbUiHmdd7sSOsv3Vr/rCfcpS2SLBCCUqB+9sdVLVdUjJyqdafL4iROcwDKxkGdVNCQvk7
7Ou/D3m8E4xyGUpe9GzB5ZP/j5cjt8xacfS5TCXn4ZuDbnaodTAY2ySaCyrBP3WtlyfpVv0tr+xP
i8nFNoEimj4YWTn/vLJjNbamBlZIvS3UThbGFutt08X/06NjWyA+Ax8uiFTo/f+lDrFbK9+KNrCP
iOf0z0YFsxa7MEVugTqufyOnmb/dzcvVaOmxCDO4o1nz+6qfGTh9QZLbxy5r6+A9A3bYQ6LBnpo4
amJaoml6K146JeYhsnI1Aa/S0C+EHaWBB/pJrbvNZZtM7KpEEJsVOEI3jUPCwdJG/45C2X3Yli7t
Py7tvuG2BtFAnFUrpzzizJzZ0VyAxI6ErtzmSFW7vQn8PSf+VMfcpUy+rL98G3/4yZYJqgMwBXeZ
j/GfjxFn8+AgI3KPpqPpt3bpzMdJd2ePElBoe9DUhJzbmex/DlrR/s0yhUaN//1/7BSXO36RklmI
ULBW2L/7Zi2o1u7C4n1MGbA/TGlOrO8IvvNu0BZwOlsfEPPbrNY+r9p8PQ+bjvMaapAWT1s1xnlh
X8m8TuOubqarHGxCGYIGu8sn93sZdRnn5Ui2GaA1G1l2uoWAsu3QaZwqnqfxOQXUGVfEsEXbYPUv
ojbSsF9X482r5cQho7DG2J07LykHvw0lh7Lbpau7cLXpiXQsleFYmEOYu9Wym9LeDFOjbg46WhUS
HVKDOnqYZWxCdg7LdsvxrBd5YuZ5GzqTahLQciTcahdFfIFMLoBKENdLt8ReqsGlEoOIAXEOCdOD
IiTTbAt9FfSRoWPSBmiW8YzwQBQuIuwUySsyz/4OrNUci6DPw4yO3DU5D8Fu5rs5rGRuhKUS9t3a
rQ9N5VqncfVVvHhacEX255qgc1oTmKbeqXE6oC7TrEXcf++uSnMjznHoPSMORUBPYBw3UuvuNak+
yHdydkXdyHhMpzwPtar3jpq1bXGxaIh4tE5POmZ7WTUEiRL5dpg5c4YZRMyjG7TBs5nVU+jVo/e+
CedLWTKLSIH7UWyWFaWXPFCtJBQAt4fzWeR5cCxdU+ytFrgPkdx+Ezpg7N95z/qTDKabliCTX1be
aR2WEG+IMt+mqVsO2+cM6uKHJcwpmlynZ7Ea/KNA+HuyTNWGwwBQxJ0ZIhAzXUc4Z8r7PO8VQXmd
fjOlRvluLbVMrDZo9vqkzYcm8yqQR0G5C1C7PPbmYFz1s9GffZAlWVS1Qu43t00jZ2ysaEp1MwFc
fcfX9QhIkJehnQiN1Vszfaybej7DF/na1vprCpS2X7tJ30t38pNZFkEVupXR7/wGn7zmdUOi1Lg+
TIt8svNZnRDxjuHUkh0OT80b4rXdnPdWdF1cNv2rggCdZH7zUabyPQDSs3fGDLaO0XrJvy/Wv20J
l4/5oo+xLpUD+dm/azI14qm6yzDoCIksFxFmt+zZq+1x/UvX6rdN9nIdhGToT6nwEFn8Pn/BQiIz
LQCyaC1GTzq8rdYmNghUfa1VmQU7vXSmJhbErHV/ufJvB6TLldnp6Mrg32PZ/H17d2mr03BS/hHI
lbOXLbS6bZArq3b5tynvH27mJYQObdMF7co//7kwO9KSeVGTojIi9UzKLk8fgm4Sf6nH/3Ar/3GV
35b/WqWmX465f8wvObjtWDXxAIqcI63Xrp/lpk+xD7Tuf7+NzHsuGRgXBz6tlX/+tpQQinkcKv84
W84UmwX8uGaw60e/c/4mL/3DE8NjgOoBYhVytN/t/n1WIvAAuHOcK72JAtkMfELCdF+DtBEP//7+
/2EvxRWjIyoFBMF40vznz3LR15lB5rjHfhUrtnsaUY7K82jLsqupYEUyeS0pEOTdv1/3t7P05a3E
0kAIDgXQhfz0W4VQeUa3LoCCjs7Uj5HnQ/IMB60tj0GHnnRm1v6XAfMfLsgtZdhDH5zzn3t5d//j
1NkTLNZnq6MdRdd2hDaXS/7L7R2PTScXjow1mBH/W0F++Y1ckgAsOorYq383H81Nbzlpa2koM+ft
jI2sOPkAQMOSkvAvLZ0/PEauwjASRgRG2t/77zJnipvjmz1WhlNesYE6NxNregz9woi1KWhjZWvL
oUrr8n8/7fI10AxBTkVH8/fvIivndLWU4R+3bRpvbbf5Wa9ZfQsI0Hv791fmD5+FD8cKGSojV4RO
l3vwH09wbeemNQO++1p64jTarC5Ov+JkdfK/fex/eFl8VjGOmBwyLx2lf14KXmWQ6ktAENWmMhzk
w1ROUe7L4RPuRUokhU5WwF8WmD8sniid+LAtLvnfuOVWny/tMZ/Ar83Pdybpt++B2/1Ni/anm0iw
NkZbGAawS6x//jICV8miGaqUtFCRlWFN8N4YWekiHr0th1L474/sT78JURp9WujEvB2/XW0aZn/L
mZ8fcfhq18FczKcUeuPh36/yp6f1n1f57dMeSbGZsfGyIaQOGHGzzGqBidywJ6J4euNlnI3ib17n
P9zHwAQccvGk0bP9nZyQFjZsj0xybCSw/E22dh+EcwpdMJjL9S/1Dn70P3zfsIh8vlsLyPN/mRsK
BvE5MZPu0R1bO3KGAAd3aTHBCXuyE70ILNg67AclbihtjfPU9mYVtwt9QDtz12i0aoKqQO3udKP7
SqX70HnO3siLNFy8qYiWAn/I0lV5tJbZW+NmJ7NtHqpuXGNZGYhUumW7B7x4LZymvZ11q03kUv5C
7d3GeTB+IBf9cqqmOSzO/G0MzJMgaTZtiQ2D+ZWSlL1GZZU7/KbNGgYgDTEwFPMlyJk/xiBnupnG
cPDTIIIWWuw8MctnW+XZD48Ibj9Kx3Le111XR5eB7z5DzSXjzTLbPfITitjMZ5Td++adSS7mmZGd
HoopeFGyNgnlKoxoEB4idQ+7AxYckRSrevB1dOta1XTVJT8PjihM6vGHZOJw0GWuH5e2G18NUMu4
HioR2PFYtNPNPEyEGeoactHKmaP+QtEc0fjfFk3mxHJUcq8XRR9e1JFvk975z3zqDRXZhMmpctLH
YRIzYoESY8aoPkxj/Ba1K/Z9Pie+W7+Vqi32A3a2O0267YeJUJzgaaExl6qomYqBtQ7xhftRW41F
Sxl8diTBgZ7yeaj2VdWW+3JdmruG8ibk3Kuv+1lM4y5YFnXcMqf8wOex7Sdi4ZKuBFRMwk9wHBUz
B9VOh6VR51UztSuXbzdya1i2ajRtGpK6LBIrXy6R9aBma2OulxC7WBPEyi+yswc683pcRPNuZWZ/
mFYzOyg5pImUGdxxgyqAB/k+tC3QlL5ZgivyN4dHoIjNUfdB0+qpZ//wh8mPyRiqYtNvnWSpG+2a
ssgJR6qcpMNckTSDEG+pRL/uCrG+wCg2D0iMh6h2HHkYl6E/zmvfbOE2GOq2TAcjahdPf/E0DeKH
mL1HxBj3WjqJ/erUfewPQ3BvWmCT5qB9VeYwXlm5pp39astuRg5MMJZokmrVnIelP7aRrrwJGUHh
kjri2F+Da80AOCqz/awrYe9tyOEd/OJmdrBm8oEkqH7LJZEtJfQ21lWyVk1V8nu39DvNIQZbViqe
LECeMkLEY95c1ANflNTVHf9de+43H9q6W5X6ENbzvLxoeubNYUX38OTTmo6MYXVj3ZvmuKzM2U6o
A7zHLe/EtZHa1bGYJNShbQIv0aJePxSWcn8U9FCuN6mrG9tEnsUVptt1gAo3k/b0gxLsXus877Qy
VTs721res+2lv1y99T7aXhYL/jiyQwqqnV1m6+0v1kj7sdvoqjVzTj60O7+v6eJfOaOYrqVVkXsG
ijky1nJ82oDAxnbZUu4AXAUID0R7MIdb05zmkAhkedOyJ19NOYCkBvPHuW43cTRHz42NIW+x+Qv/
U8xZ1Udutq5PJZUt9aMsrns1jbFDRMG7saTVQSuakSWHgYFb+nRJ+CZv4ATfYSx1Pqp8aa5nZ9Tp
hOu0Hsi1tsOAo0zicZKJ1tYmcj3NAdBOmjP+1Hw2fGqs9NiZfb3z+rE9Ll1efwMeaERoK695b7eG
BUKH+jwPGN+iDYKqE9r6nHKCTl30qHCTI36bF/eqGkmNL6fPTKhy7/atFTqF5e6rjCcVbsS1QU5o
OOEQtPfSLGZ+r4Zt2PtaN0brWjp75GXF1doMct8s2aXTo6nqlMJuPlWuWceDZakHI69ZgwfDX+87
MMhQJwrtJstq0L6ePSA5McXqNeTMaGpKCmVk35k1ZA4NQjdFkVQXmJZSEbAyGZk4ibkueSJByopT
l/JxkXq9NydD53eMPY0aXfQXQG2BK/qCdoeXzReJgnx4IpXXQjo2dbypuHj9szJqfqA+IZZLzV+q
U8YXRRefmEFrS4Ye+s9vu9bELXDl6tTo0xzhuGhP8iJXMEqnfp2Z0H8tNMNO+I/mqBo6OiJWD2Q7
rGZkcZG9bvnnojL9moIOEWlBL/pX7UxLpG/oTEH19A+CPyaGrWReq0qa+R5tSenumLtuicOScNm/
lsWMWNzafaup9llzm+y25gsmbWi2g7O5BstPvx9x9Q851hoH1x3CdO8WUrBAwuoU5s7N0s2NVGem
sWFU0P1RVMRL6nCwTLG/DyE7lx9SEc6HaVo2uImlRxNK9s6HnNPy5zp7LjWDiQd+md8CvRHXHZaM
l8opEPSY3vSCpQDWgIFv76ZsneWtDfT2NKfkBwSF/CFnd90PlrvFweWAInp3jhVuyZ0uaAaPdnNU
lvoK7GIKiwI5GGQ5eO+OvId3PsWGzy5tpERGEAKrHbrRyHGSLrDwpb+F69rdcKjdLxNU9IbOWNtM
P5pMfU0Wey2cmyOurkmEiwg+9KW7WTWQbu0M6t2Z9eMUVO+m0H81pt7sK2X6J8cVKloJC0i20vqx
KrvsQpHO4tz0U3rdFTxpYZrixoZjkyPX3UY71scL5LlRh252fg5bFURtatXXVPN51Mwj3Ieymw65
1RsnP18/3XJ76+0yqWma3StY1JcshndlNktMH0jfC1OJZBlZ86sUynoyNPl8lpljhELQrTL6nuYs
G8lPfSVYcK03Y2fXXVmGywoQgYCApAU6tnPH0qKd6MpDZbR5jNDGplKxNUKXYKBCep4TBAe/rIzD
gjOjq9GEHslpXlnACLrzOHzFadDegc+5H910CE0awJ09uE/sNeoQkJydQE8+BrUYMhjS5V6M5ABa
HhbMMjO/G44dT76yl6uhzavIbezsqoSg3dJZFkdDr0nG4IyY+U4eK+F2UQ65P55WxD2pUg+OZi1X
VS74yucuHPrhh6dD1UYfZIN1NWVCL7WLNmeTMZZtOyQa69OCAB4pB6tEMOh0463pprdX8oi78mnx
p0e+ZbHXpvp6MWS574JWRC76yEf8fOqQu/5W84v1PKaOzd8mRz549M+jYTGJpbAnbj35diEzl+pK
ZnoWWxMk5cr106O5pDKu2uFVNtWpAO1/cMaBj6PX64dUq+Ud2m7vAek6Z6ehz+gaD/NOWWvzJsf8
o5aueeh4xRMJkyWiLjRD3nK2k55z1Sg0mkxan0D9vqeJvoWB3CJzlf1rRvN9N2fZTzUEeohYtiBh
cvnoJtMJweTKcNhwwpqpY+9pLjZHL1veNdJEdv1CnCEZAXO0AU+O1sZoE6Hc4shXWR5Fq4lIl6sW
Y2geosXQ9LjK2ysxyZtmK2jlgoPYFdl4rmQtOFp6/VVVmxpd5WGJ0gbUmYvWNCx6k8gyY+nvaMp1
u3w1111vChXC8Q/e0m7wz3YPqzJI2yHJ1myLBqfto8LDrRoyMriSQ56ejX7UrjW9dkM3YGDNTKZI
9NW+oxfehRpPI8osm6Td1Z5+mc52E7SzccsM5M5ZLPUUrKUeGpMwEiOdCDz1g1ut06qQuUzSsnG+
URj2IfxJI+KY5+62SY1nxLcDmR2ielSFV8eTZWkhzTIjttNgCXWsyzSItE/LXe7bLHtDerjPJZEj
eT88Y2BBbb6iFnZLY1cNCjPb6ovqqR1ZQGpGXC9wjGH1t7N+tVR5RmJdwcPLMbRKx2YfJd7wPFub
SbCr7SLdJUHCw3wUdsVqn+xinJl9bc94gXDGeV1N0EZpqyTzDDfGTVNAEpPOrWqGNtH0cfvVd8HC
vcjYATjReVn+7TeLFQfm5dSYyXo3QbKNzCq9l7SurhpJHpZmSHvHsro+knHhMz+fyGqzt1Mp0y9S
rDLqoX4+5/SfrjLN7F9duv5h5m7r7eZyevA1i+gLn1TL7ShGfUiauviAZ+Bfd6N7Dw+Zg8Jc6gQf
8c5rY07ExFjtTF0IPnTC0/BTfrKgF2cvyF7z1nnRlP+SG5m/q4vl26319jBCIInWPK2jzhtvTbce
d9U2FOHCLh71NQ/Ma1vzUChZEe6A+MVdWe/L0jsXfTudbQZnpnS8sCYgJBGpr6Ju9B7sos0YGpWf
ZOz0Z6ANzCq9qn3sBMn1szYuT4U7kGdEmk9Ikdyd9SBDeTNXIJ+rWbzlXZeMjIB4tbxrR1bDk+sM
V6uwUg4z6lGTTZdoztpITPD58riMZnXEIjjGwdqca0iRpeN+oz5/7mz1IDp1ZNWuYgKAKIw9X7a/
rNqa4rLt14Ooige3Mfc1uSnRZlXeTZ+C38v16QczUY41Zt2z8CGbx7k5RaJuugjF8hqOWOSglldh
38KptL3iOetdXIH9avWhLZeHcjauKOKzXaDWIuJY2kXe5vuniXBSdhBM+Bz/nxvpyJB54q0LEbbX
tJNrtndu2aEXk3piZGURrSaeMbTkdSK89Tvzhzq21vZSVN1vtAF2TlvbN/bImpr7lAnCJPCk8H7V
fue+17lthVaX3VU0HqKGKKCzN6daqCadXEKXEtbe1FgxALYMbiluBJE2N8j3bfovyHX6sPXbOTQX
lhKRBs+a77850i8js2Cp9OvsABzseTPHJaLsvPX08tXQupJ6V2YxOTgyzHVDPS4UpwRM1sspz8Zt
J7fF2wk1W7etxlcAIWY4bxMBl4NTmp9dIYZDp2Y38l2p46nxxXOlJu+qLvKTvzj249yTMaGYZUfa
1Ihd50j7bFvix9bYQA2q3g83qz7jCnIpONN41mfuca3/7Nqm2RGO8QiIx0q2DTlL748Ob4Y4lF4/
DzulXA/jnD0c0J7vO5neCNn/slR92zo6+ETlvOB+E9+bYUla3DRBnI7MrjA3SDExalPGIPMiyWYc
jlN+h/rVfl2p+Mdw21wsApqUsbTnbje0iNWx/scmWTSN0S9YWAmbIuDpc5JzlnQcXuNloAbRUH6H
HYL2sALUEdEZX2I+e5hUivfNtDnLUA8++n2TnYmfWhNd85+K2frR4Otk1xp/epnzAN7oWu/sPdqM
CsQkMS1jPo2nDrWX1W3Zvm8sea8tbvVMGfuhMp9xcFp7xHH1T97FSYyXot13U1GGhEGt+yCd6h3a
bpYa16JuGgpOxcxx9nq3ztdTxnya9bkM5VicVpfVQ8vEFROJ+v//xa/7l4IjtEaIbrF61/5SvzNy
elTCgDaPjT5c+/phXA0XX9Nk3Pq9TKuz73LUxirQkPfkLjJq1hKRS+0M5rVTIHEBhN4wJO2Kl7zN
9F3b+/rN6tlnsa3uw1I5EeY+dhfLwUxYDfwbXdqnzfeWXWNTPm3YiXduruqk9HE5MJl6mTLp7DPT
U9jL9JPROOUb6bwX6OEpUOldx9H0YdHT+4wFlW9Iu83paKegZfcriLBow6JgZ0u116V1HwxSxfT3
X5Wj9GS03JON6iHNyitznt59sd03S+0c86wl6UcAxLPr7X7O/SIy9eXL8qs+Vll9n5WZc8X9cghd
2fqYbc2OmEivkd6pPq5UYTwrhxPCaoIImCCYwYihAAra2goJ4FFXQd8TCdQrh2autOkl5D4k0Mwj
Ogqno79WRh0tq6JpkaHfLrWHtjQNflj1pkp92eGnzdnFXS2CDPOI+tQPgzJfn2jiFVFbiGcCm3Dj
eZKTqNmIpCboJg8F0WkxZvGpDPut+iXsUtshUboJRCd2Qy+/xYTEIPfXnxmzu2uSycYkCwp25r6w
Q0EqV8ii0Ry8rPhs6zQ/LkyH9qJfRJLO7m2/9OauH7s7U5QINQcIAtnM+LszURWjZyGvozXvSo9Y
KPSlTZinRLwFPWfaFhJNVCr3tRxLXAEep/g1dcjK5kxqMWXyy/roQB5lxcT/EozWuRzdKtRleZXP
qyS3yw8S+ix+nA2XYLFApNEW+N9Ec73nBjX11M5JX7ucbAwrzCAsnwY6nz3kNV7iumDPya9E4NPC
10H3rcC/NVhN0aDlj7LYjv6Ek4XUga8uGKhKcq0dw8L06zgL4H562WDt28LBH+OQSzAYNDnBUj87
6fJOBuhrzaMhB5T4uCYv9QcnA4vaQp0OIRIIeiXN+ACU6mEjzSrmmB/ses349Mus+iLuPoiXYiYY
bOjrpOj999r0qF705XGC+hxVBvanfhm/CVRKydErsxsGLT/xrnf0ywoRQljcNcq7a1ZCpvKgeTXa
+tOonSrC/cd1eVSx22VGonKdR7Cx7VACkCsWQAXr5wSvw/rtGMW3lhqPlN6XHckmWS/djC/rguNz
l60/iax7miqfkkt6Lofmsg5LctBOG8nxEbej3hlmzemgG76JYnpXmSgPrj3wF5W2dmeo+Uv4rb4z
su125iSC+KIxbjkigXIyyi8C56joA2+7MUzzY1NTf+ONxqvB4aXP5RIJBwkOw8glseSyEpVmvdWV
iplEjrE9G8POX0ctXLflu4GcLwWBSPnQMdVA3XVet56i2CgO9f/zVV17ma9Mtd5TaedBtIH18EJj
XbM7mk5bkpalE2fp+rOe7SHm8JwBUeE2zmYV5elUXVvBeNOVzaeiKOHIiIm5ANOtOHN8uZ569Qf7
DrPada+pQybcpyEQvGVUHuFQp/4NHQW0X1rTvDhN41yVFgtAYxi3VZMaZ0NOj2QS1vd1G3g0/HNt
7/V+wfdHke4wrwwzkh6TDpQ9Rbp235aUUNUSfNaS/nJE43qNmtp5VPq8hpAc3/Jqpc72NbCRZndP
tjAd8dwqQo8bGnMrD9NQW1Dr+D5KWe6Knu1EmI19L/q5iTxX0oL11r1GKk8y+LNPTCugkjG3WKjF
6EVC2nViECwVjeNMhGO9GsduDeRhW/Uby5iZRBjmm3K8n4wg71Ig3RcWjk9fstbvHK2/ON06I6x6
BFFuMfffCBFVNEvgpITRyquZxkFkS8N+0CYsS5bwSY3zW4vzYWV9OqTK7LMRIH0jtk80GvCWF6HS
cPI8O9JbLbvlF1mx59flzWbgYLOnsT4upSkIXawoKpSb0ceuKj/hK1k7OmGdvxsZGvwYC/vbJwyo
Kgr/QY1ze/IbQtmShcf26NAe/Zw8/6tD2RiLbDFOQ9B7HHLgRjT2gN/T7X60HA4nQ85nbRrzSG7d
C/vU9LYQohe3W2tgDTUfqstlpecLaiiVsYZclv7UuTOW/MOvVJmzjujOFdamPhk4kNOiKgnLi0ix
c2hHpg4xVzaZkgOt+UDrhrAtFoBLvWiLHaq89b1t1IZ4UZuNUM/HisEDTcS+xPw6NUX/ikr8uir+
PwVuPDQMcZOckKBQMiGEv2+Oe8RAv8ageaTq5dUf9BOHwiKcS3avwkRVh7yD1SrtDotlfuco6uE8
+Q+Fvh42K50PvLTrsbfq4sHS518DttJ4dJz1h3RmNgvLuW4qhVqp2TTaw2V749Ht2+GxZqzhoeAi
qQHwaDa7IbnlPMlxfbOmdtsROmjGMBi2iN3IP/rpEkS+nb8A9aQm3QhRC+l3vpmkgezK+VJpMcsx
dwLePpmji0sYWzFOZy3TZegO7Y+hnWEp03V9yHgyV9jN3HuxOHe0mBfmbyt9cVUtV21l+ccFgfpr
Jf2CE0NAqGpB+vCBGYoeGVpz6IWuhabV+mzugiY1xW90oexFVtf4b65H78e1OVogCoV6UJHA5Kde
ec0MKQj7pap/Os5IIFpflbueIJr9JtG/lVg3Of03NerDQts52/zRF/mamB2vkabbbjJ5NG8bYl9p
tz+strql+UBcYu+IHUk24jMbW2Q+qTHcF07zavnlO2mR4rhYgNB4aPiq0reLVZmOT97LpKrpywXa
qHZVXrTMCof2BABwpiss+pBIgjWcdVp+QTB81WxM+8YtqXILh9thrN5PzPMXYeGCqm1Y7nWt/q6a
fEoMqcgjVP4SbZxcdvBIz9J23F+FaohTtMj/2TmN8dMVhRFDMel2xqgzPCj7j9muFB0Vt8Ueb3RH
cZHfKT0ddn3XVrGqXCZYVjD9WCZODXKeiqRpBDHjjW/Txm/PSpXfg+58dn6zRrlbnLxyoSgQwRP4
iQ38BZ2hipPBnrRolszcmpPC9bF+ar+WUv/C1d0/1QBTz5Pj0HwzHTsujUAd5Diypdv1tA98DHCd
Cdet8TwRiWYsHv2KMwCnfWuXae1zQASlLctfba17+2rczIeZBKZoJXTySPrwZfLQP9QOctgiJfN4
1lOkFDS+b6pNMiCGG3DfWhTwqdSfanOl+4vwgummcg5GlxElOLZObNis/V6fXWl2EKMHJR4u7Smo
MYYli85YVun8ko0pKcS/fo8OYEzYeIujkw43KriUEjV/SuWToat078eSbzJRk/QSz+YzyNqli8QI
YKar3fZ+bPMtUYFbh5h4xa1liO1myjha5ILTiKbxuVR28USIhkV13zv7gYbVaaZauasG2qnmFJhn
fSKtJXSG5ksrhzfkVwsvfCBpoLe3Q9H8xMqy03S/j1HeP2VO95WTnRkqr9TeaWWonSv08drNhXub
j1m6o2v86TfuTaH1N7492/u5B9VX2Eb6KwfofbZyFujGEvWVGIm9nXt7uBk0hFzCLJ+Krbxnt51Q
79Joy4PhYCnn1FXtvEv9IKMvAzNwE/V4DatBP7f1lh1KR/NjTdZk27rZF9s6Hvd51UJa+odq0Ocw
pS6Hobx+cjOJBOj7x4zXjL2Pzum2pneZ8hO1zPpF0fUEkrjbofoV8bhYHo1N8bYU7Ve7GHO0WNVn
3o1vXbVcr+gpQsuet5NZNswbmT3B45d03csmNoPRR++qktVvmsjt9dcGa0kSjOt7p4l7Yq2/RZEz
ctvGl85ZRyTRLIy2TaQLB4g8JqosWQvE1fpcnFeA7HTMMZiS0Ci68CLaRBfgGU85oBwCylJZvhbV
pSFSwrtLtmWqRGR0cxbmFRpX+um7abON3WKXNZVU+2LINXhaA+S4gM9uNjk+b3mWIjLDGMbUpDog
arjrmnohXdc+VqM9EaM5drHmgsPJFsLO257inoUrABto3K1keBa5Txx3N/rtDs+tERMysrEx1Z+T
INJXea2362yRJrrbTclY5Fm8OenPTidb1pUktE+GgXLg/yg7j+W4kW2LfhEigEzYKVDe0PsJQhQl
eJfw+Pq3qkdXFEOMN+iOju4Wi0ABmSfPWXvvQngr2Dq5T7p69M0Y/0+O3JlfpwSBllXJ76eq297T
771iWPzawGCsn7VVEjdjQFApfpFR+mEwaFBF9RzOVbFJyV4NQhG2O+BnXvdKjYDl4VOoR+6h1Ib5
lJbe1tAqaqCordbNZJG3WNB3plKqeGJ5UxkgJF57a/SXo1Qd/xzxV9549nDNInyo4/5Z90RPy9rF
M1s6FSHlmu1rTWtv9bTFyrS1wpXTLAS7auHW6SC5HYOq0IwdGi1VetvreRxIXMXWbZE6wVDHNI6w
iqTBLMVJs+enxTH725r2GoUlbZZedjdeXBLamzq+jZRiHzPtDljZjJ3Rjs3B62cG5hwqRdK853XV
+wh3skCXdOeBvdOVaufpQF6qWoFy5USam8O1s6QRQeBTuersRV/3tMqDqq6b3IfJd6EodI6mnngh
BQa8PKH4FOOQHsnA/WlL4xdrmc2GRUuW7nUcaAkHcq1IHon/iz7iciqofhmzGTL8LmLtC6QKbvEi
cxKUqERU/ImJRRguW305O/tULtTFTYiBKIPBMpW+V2V1QV9Rm/JvIMavmCoX42S0OTj6/QU5mWaF
8qoB8BP4bfws7dByVpURlj/GkrDS//eHIdfnK8JvGg8JmKo/rzAZM9vu5jbcm1mbH0TbUIRHSXwD
Dy6/+aj/nCj+VIzgeEyyiQCCgwH/T1D6P+QiAHaiFjwzQfuoplaRPmtHJXOUqfMSOgkN1dQyVhZj
hjQgbdgNyailte3XTM3fM+Jd6ZJU3q9Fc61zhkfFTeWlUx/QYGmydZwZcbwpsnFqPQ4E/Ek4eec7
2xnjgjx+vgZu1YUUJreEl+7P+9XEWTcvuSSIOVeaXKeh1/62U9n9HotUP4bseE+lW9MUrSVEhB+1
S06bnV8KhMDNPHpKPGnfUfV/PzHMOHRQTaBzZI2fxX+ZF7U5wGu4R3XAHE3H7ree7YUDIdX7078p
w7+xcz4LABXdHzjvX/LaJJJiVnGj7acIognaHkWMTOdV0UTxOp0ksgfa598AlH9foIUtKUojyGWo
+s/wfpFHDkHkpb1PapnvKK/azdDpchXlqbb/9/X9zWoCKgt6UuJiZoZhyJ9fMM2GgjqAlSTMho4B
uBBrPKy/k2te6O4vnqRLKi2wsItd02fxMIJ0jTSGWNuXLR5Cs1edmYvQl6/FHc0jnfxrrANqsafF
/qpZ41ll6Y1hDMMKNu/JbNUalqUI+NuuEuW+vRiGp+6t5bJAKvfktdpaFOFJ05szxTK5Mrnxy7Xn
n73Q7uOyDiZj/t1jxR1MnXfMiTgFGEW9ZtBb7VrirEvDn0nqZvx41TI4Zf8z2ERo5Q4zLfOall6W
Dw9VPxQM/9tAxdEGWfZ2SL3Zj7z6yfCy7VADyQy1OQZe3zA0ZP6pSJuiOs1yVDbT0bb6e7Mc96pt
z+CWT0NX//JqjjuuWchVmXNcVO7Z0Ruxop57tsJq3Zn5dTokHE+EcZdE1nVUms96rT9NqTwTLr71
UgedgFUcs0If8PhBxleEN8gRN3qLtXPZXsOO/nYsRBPELKGiXgg3Mvs3obPxV3mKgkhYKqgj/dou
Eo5M7NRhgmC3ERQMI1KdgCnbbdFGJ37QOeSQgrgr3jUpZBMz96kfXhT6L5a4NY6sv7sivNVM4xch
6Vt9HKsgj/ozqvSPquROhTRpM2KJGs85cbb7RfXkMh3qXscelVgoxpvQGg1fRs5aFv02nroe60xv
b5Dv0NHOW5pl3xMEkU7qnKVYthlI4MJhbRMjQGJUMXKfaxMwi8FwKsVtPeYk4XQPam6eC3e4Ko24
X2mp80tNrhPg9jMEaSpelZe9TMn4M+vd3xY9Ggqd/IfA4zpQ7bI3ymVbgAzN7nyf60+ctNfmIN8j
GimGhgisYhDi4xj1LpvwvY6rq2ikZ9u2xzmkl6otdD6N/BhaDdCVQyBPVctz0qXXRhoGs7TSgIzR
TRwN79CVW6IJr9KsvGXIDw6U51vE0zv6P1cVhwC/HNPdoIXZZpmZwSdluk6U2fhwwFss7aZg6cGf
UwRaezZsd12O2Z7Zwa4ckhvNiHTyn5S7GjKT+hHaN5JWQKGNgl/cqjB2ggwdhp8sybsXdsfZoWFh
DDJmtiNvwK1+LElSrtnzXkSN4Vlik3aGrGIb4xLTyGZjqmFLO2yVVM47sDI1EK9BVSkeKKpsp44f
a5pYh8KbjriZnoiLj2lyjAdpghbiwQMoBXVS4F6+iOVjUf2aYyRJcaI4a44Nr4zRFRQHt5EWNw7l
ksFqHxV08rRNNVgPejQ1D0JMxyq1blyn+1HZ9BqsVLuv84jnXFM7zUIJt0Rj4Eb10dP7i5PIESzv
jdSxG29pTnFv0XoeXpOOsa60Xw0vfqTxoftkMdR+XZgPLrMves4RDgszc/T2MCJr9hcz/1lW5lvX
pW98N+dKy55TzzkvHkNfrOkehlFbwxx2vhrHQz9AUKpo8Guvv1VZdDW3803qQnGyLKzoNAaoaFd2
SmRdQ8obMJl8xBqYmmG0rkrcyn7KYr7OuuSOIrj37bLeo/E/a7Pxs+rz685w7tJI3bS6WgCmm0Oa
RT8ZbJyZN2f+IMdkZTfJbVWKZ23R3xPGDAnRHn0M1qC1Tu2b+TSuo6GJVtjKCx9t5YUaHIujpRnc
UYs0EEUbFHEE3emomxo/m+JD1vJ2F338UlvAuxO8ea8Wf4SBxVlBnEtTni2jgAJteEiteH7N3OGU
RtV9VBo8tRZwmzmyxs+t4TNFPPa1QZt4Hg6aI8Z1gbP0OhbyHHnLqZZqa1YmRY9Y3oGVdjOOI745
Oc+zbm6EUnngzCy6IOuyih9ZWK7DkBetR/kY86u43XWMFC/EvS20PMzUjdIPa7PzrdB+LM080AYa
05H5XkzhqxqcN16DNe9qGKQW29fQxM6j25FzZrWWt3bH4Vzo2hjY4YAlIP7o9UWRao01U8PqVlW0
deJ85itvb+Oq2S1MljqDlUOmySEypucy1jF7LbElG+ixcnc8m5VpoOEIZlLfdhpvfctZ2OPuiRJc
Z5ZdfduO6Q9dxOSezPKpS4tuTd6aH+NzcehFEdP6MatN5lgfIwrYuU52ttGCUhkVQwZR3AkjJplB
q2Hj2nsmIx7UJ6FQnYlmIxE6RzwShVQV0gWBKxw5/oFhnAcc1eBoKuH3SntHKwpZU23Dogd8CCuW
8OpH2IW4XOKVR+M67ddNV1zPZfOWVLkJyorbM0bPvgf6xeE8e4JCQW+mO2vDVUESNrtmoobse57A
YZ6vZTYyeiq9c60n115XPFRTdaM8JnU5bBv0/04p690z1HWo16AJQA1MDtd96eac2+3TyLhooIsD
RIxtv5dejUQprtxo0X1NTv1qWNwN8SArVbdX3tStazzr/Ayod1tAh89mvOUsNPnUuNfD5Xfinbpj
Jr/vjWlnR/M6bOwjHFFQCzM/uCrbqxCYqZ/5Kegh95qX3xMYlhGI6pzom7xEjNUJK9HW3mCvLlyp
1jCuzHIAiXkwX2x2P3yOoKOG5rnpbBj8mnkOxIDpjxnVf+S9SfYWFhxzi93lHTv4ENAN2Zfa8hDr
zbNTVdbOKgtQ+/ZJlcW+i6MXHOACkPCrpYFpGmvTOZoQXQnS6pLbSVPYXjtGfI5VdR5kvatNdRcT
IBEx3nbZ8ua+3yfoLuaeM8DQXY0yedbM7sbi623FZUwozFOZeEcy+I6w5afUbi9cS8sButtGBIKP
XuLgzBtueCkOnZf/KOvoRAV1mBdyW12m5EUXNIruajp2N6pgOsoS9xFO3bwqDWPdEcbQWGANoOrk
6FZU+21HMPesjACnJhByzvFri3SXvVjmLMgvE4kun/tAZ7qoYUxoTNnzpMziNHWpdjVo7U2TmS7z
o+Wdh3xn9EXt56H104J6FFHx0U35xjbb7Tz0D1ge/sg5i8ukuHRCNf3eDKeEfPnhno7IoabHb4xZ
HZBFu0lDJnFDYe3iWt4hVhWBnmnHeagIAc7kmTBnWO6C572PR91nJz1otAB84hDLNbN482zK5pjl
1dHiz9AfHN7jqdz1brVxBiAnLXThrSM3P0mteKxlsU1aF3nBwqg37LR2Y0z1j6ST9abT9Jskldej
EWtBIbSznsbXk3NhBN32oZPmbRQaW63oHyrSg42ChgO0i7cCgvnQRHet0asJoo6OnEEOaFKAARrj
MTXHD5EvnDa9I8Jqh5rOvmqUOklnYhrn6T8mKHgu1XwL6wYgRddH1N3ZdlTLz64pruk1MwhycDO4
DJppB1aYcQetTH+RVTngXa5uwhBJuccsVLPL4hIlubWN8URr4jxz7qNQT66yrOfr6mUgSvPEdHg1
yvojX5LrmWeYvq91aJuKXTSkcZ5lpt9p6iC65BiLUvluBF9N6QlZ2yGUp3Hlx4NRrLsFC4Kluxrq
htdYyb2ZmNOlbH4NMfyPioF+j11v6DvS31wWesmN2Akz21ruuCtL7Uffdz9AmBmXmr9V2Ty2gtGX
Sr1jncgrMdB7zCI9DKZFPtAaBaOL4s2AZgEfdIh0TA2qodvrPK3AkWgPSyaUZLH+wnLi56Lrezcp
DN9tI+ZLYJHSvKoqLUYqnDb7tu32Thrfaoh3dQRq2ZQdAYg5aZnjG22cG48wXr+b+9clGbdqbn3T
neH1NDGvoKHzgHLkJ7KZBx4B61DZ1grvvbVVp/fp3P8q6MKXMD1+jGHaOunbyrebHP9MJq3jkETB
4NKYBGl71MYGbYj1IVqbV88135VWlRsMuLN1zokZL+5yUwkSu3qaFSIGiZhdvyYfVCJPaJFy0xBx
fyvUgr0c36QQ16WJgSfF7WHEnyEarGuSZoAB460+i+G+Us5dGXGqHCgmm6l/g2Xa9kodIUwb8FPt
LrUmAS3Y3IY55ibh4gSi659BJzgo1UyB+uyY0jgdXJdlVnDG7JKw9kc971fFhPMrw64zE7e3vMG3
QTXXOW1F2GnIndl8jHXrqVpaSiREP/TysJFtsXSkyNPfmQ1GuDpUp2FcXsEVt84ibsyRyJioOcB1
NyuxLD+QJ1NC6UkauAtIB3Y45oYtrl81wgw3xiXezzG62c9wSMRuIotO9cD0KbV22kixFNHS8l1V
7bVckoVD05t01QlRXf7eDvEHE7weuJWVspNM+sqqhWnMZDAKd52NzTa15m1ixh+GXp1JErlWTjEH
IAG07YX1hubmKUvQ5zQ1laGpIxKZLjcHN4EfZHJvi3Qpydp2NmHSlyuvmu8cPDmD1mWCn1bjL7h1
KoL2MmtzGRuk/Gw1UkAmYj66JTy/IShQWnEhqHM8OpK3OQkDXFb2dZK/Cqf4QFdVBM2QPFYOJ0G3
jx+7KXssquidAi1c95N3jFr9GI+05bFU8BMwjVjNJwBeK3AZdM3CPo+g+QBP4eRjbTNsVeGETxER
ZMgPt9nIBNdcklXWt4RT06HXveRqccN+RSfxFTsijYFjvxWA3n6ezptFj6/mxOGw6nqbMHNJqlBX
ZmLVQTPZ72Hb8sol5s+S/VpX4l44Ux2MrfPRLBaCyuaG0+M1E7+9NZS/MFifeaVqjrHLS2sqHlHn
tuHddC7oDW6HdyGrEPFL4uyqCWZMjxgG1NrRLJszWk8X8tYs4TvBMxv46lZfHipAdd+eysNEEuVO
SiY4bke3sZLTfTsnHWqs7EfuGDAUOqf8NirONrKm1ZRnOwKdbt1EXzaLp60niDFYiOjFM7XnqLS2
JD+d8hz0qBidoIimPYxaID3t3mvG2zYt3yIte9UlXPHStCBJRPZY86FrB9/Q2rWAd05DmKCh0jq/
mLS9vLRknPzZ0/MHy7bOprJYFeVOaVMWOFjpqR5fkqbkEcrod7d9D3Aprxl0/apj/bYMtSbQENF1
jnaMs5nAQqP4kYPgb1ST308Rca11Zt1yIHybLi13u3d2zpBjeOK0kc92m66Rq1+rVB3m0TjM0bBf
6rFn/NXrwdBT0g/gyLN519AZA4h5xWfvKc2cfe0u9101HrKlf4yn6pi7gOcIPOzAIJ876e0qcNPy
3jFBfTuVPNu6TQN32qNH27YdJbqOSCiMCxoEHdVPWFf0p9R8MOk+1BEglD3ZLixlSD+qdx6ty5RF
VP3W8aZbV092OO0sq8asX0yyGb1WrNuUHw61qOX9aSSGbdHHbTEN11kbsaIQIbmu0+4jN+vDZcOR
tNt9ZYqtJYjOnKjOfBK2npdwOoBMKp47ySvhwm7WiuYEnjySFSZ5S7LoXjIjW1RbAhxPQR95Nwux
2dA1vHq96dGHBZ6Pu+kar51fVo/1kOdxC2HhWoZfLNhs+wJHmW7oP2jvPuXpmPD2IY3Ro+pGr3BA
SvuwCJSuvVxkn81CZ5C1LGbU5G3jrny3ivRDiu5qySOiponIqbT+skmK+w5tplno2zgHSYgsc5co
482hf4D1krUBA+QdMC+Sxug+nNxHxL8xLHG/pag61qph2RKYWi0l2JTBgsYiaakk2pZ98myIZiM4
dwVxYmQbFbtHXVaPRpq/uQMTJ8V+vaD0QP3ZbUaLWeJCC2Q9Qx6BkQw4M1XWykMJNHGg1rzq3bOI
Zcu0ep02Nc6YSLHBIMFmoppqIizQZrDgj1hO+czr7kJmdH5ReeXO0BAclV6U80p7q3yZ2IqtV20B
z+3xdJqxTARWZLtbkmZfRu2LF039Jk0qpLtRd2J+zS805Se+4Al6hlOPHef3zZgfGjvei9ZYERi9
QRFarRYH0twddBgo79gV7aaUxYE/H7K/CZ+7s2tFx1xqce7mVrl7WdGdanpmBDAATxzPXs35dzkl
rGULS65VvTfLZK47Kglfb5Y4cBvnqR7qnWFNK/RhDMJSbK7Q+1KN3MRxtbF7/Hhde5tH+NzDimGV
XfXxyvNC8zhCDRtlclCVl2wnUxNb4lKxWZqLhyWfoFdKDB1hCZh1XxfmEMH20TcAz0oazqnlRSUU
lcXagfNvq8tuMx6ner4dp3QFHHRmvVEB3qabJV+2me09Sac31nWmX2lp8ZtzxzsCyKfG8PZ4QO3A
azO/z7JTlTgbMYcHmYwHQDhjAxuK1F6jaDOd8ewudA4YLV/1WvO+qIieVffmxVEcZCn/SxjLHymS
SJ4WrSEa0gOwi+1fWeUw+qZGhTlrXwZVP8FkT6uR3DAwVWvTGe7RybXwGKdTwUkWsHysRt8yXdy1
BtIJkY0TxjhWOLOrPSIRcm34y+3X9pKd04QHX+FI5HdJ9NhQa/n5glO6gbgo03pGq+WPuUjP1MCH
3m5OWPS9xkJfLTzpNpZ6fTZc0eh5kqO4ltaw09tlU+PntUZxRf8L2Mmaaw5idEj8kQIgoI2YBaZb
BUURRmuaP6yG03iHvO6359Q7bfBAvZ1fkeXcJvUc5EQOY6n/YkXwfoCgj8usVVTJ+pNB+x73pvc4
ZC5OB/YHhhPvsLA3uRHB1MYJzc+8CsIIkSvlJycAg9WlnvTnVoRPM11wQwyP5bA0weiUZ6LtsnUT
qWt6bvxbBtQLhwgajeq59RKSFNUaiRhnD6PbjibfVDSdNezO1jjC3rIwFT5k+wMB3iO62PAOsqzY
txctk1EVQYtyM5jDpV+VGWONruE5XvLYoqM03rRD6fcAOo1azp5IrkQ2/UJ+sMfc6Bkp1l1FWUUZ
sulSAGjwfvT3NSNm5JWI5bvA7Gdvk4zhLyFqsIkWdaIrta0hiw8xt+QG1y9gL5RwjXFvxA1tcdXx
R4fFCwyrv5kGbW8uCDsX9oK6ch7R+JMixUXqLLI9EZeo45o9ii4aCQXuABhv0lnKmg3r0M4bw3xF
1//QJJyOQ5leOT1Pjd3H+4Wzgx/V6nquvC0iAAd9RnGfRkO+It4XfzzWwspqtE1Y5EfHpqNh9+gx
CrN5kFq10Qc2KbzD0BAphz2rb35m47Ka7fTnEC78p7n9GKPiLu2dyS9TZnNON+9Voj5oLB6QJ9F0
HupbwugeYV6ZqdIJrhf34XJkTLGx2rXOfyeIbYe4tDMFDTqaO+OSHxfdY5TUlivddPZsVtl5Kesr
ifDX57UYOQ/kG8QpITeGby7EqM4nSYJfzfBoiBbFtut4TwzmRPH4UInmV9vj7qXhUKous9qZfIT9
JKOD0oY3A0io96zbDusMiBIzSIrJXYMA/jATpTaRU65Lr3lRiPKN1jxOOk4ESkcOh6sQIFRrPalW
+zBmXpRyee30DuOLyLhLq35ZVwyX63TZjt4IcrOgpKT990O6yz5O3L2q4y3QwUtShb9xcqC13TlX
+mKerMTWkHvz5Aqkbhh1wBzSrrO64UfUiG2msTkSc1mkk7mKkvlq8KzfVQjJFOGNWI3Zu8qQv7vW
cmAUQJljlRuMb7ZLuJx0emIecBPeBW67tnVEP3qdA6xJ9BHjS25MD0XPAcxNWS3kMD44RUU3rAgf
wk4+tr26NiTVlmn+ytz+3WD3xwGF4QaqvhWox+sCAjfIApS5Xldme3BkeJZ250Bu2g/d5PUbMsQf
ess74U95nxINZWnmui6scyq816Vc3uY2vTK98b1QySnUFbMjZ/5IwYhX0bzc5IgiIPC2+lJutbC8
xbvhlu3oQTQtt8yc9oVYQDLhKu3c4VzPCjyg2ArcufMlcgvC0gOjKuliq2SL+HEtI1pTfXk3qvE3
6ciUjTO1zJI819Z4s1T9NUrQn3ThDT8fpzNsEkearPDxbrGDOMrv+66llrHPKVkWOMKsNIwL88J9
cp16S2rqvXfpkDeC1mjp2qslzSe/cu4bu/hopFgJ1RzifqYlMdBzwpgA8R+TmjZaGel4O6H7HbtG
BZmdfOPcY1xc0/6iCoAKHOzAmD5/TrMKE62oBrsI8VDBdyWhA/w7Tvr7bqICsVNh+8OSGCcsamNU
IS3gQz/Q96YG/v8lZdh4asA0ICCwXAcRqvmJBonyPBY9LgEHGYIPMeuKxnxFBBb/nGgTnZF/z9r/
svO5fJzDJeOXJYT9+bITkeuDgl04kIvEMq5yl5gDbXrI1ZhjwTsxuOiK5Y2FvPpmym9cPPj+uON8
NNP3S5y8adBP+zTm19RQVI4eU+hpUQpcxECCeNuXKG459c5ldNJJbzkWGSYXrWa9tzoa4H9f/F9s
0eU3MKFu8EPEjNr7ZAplDzk8c1xlh9YENhN9wrhIeFthRu3ejLTvTH+/utc4XXG3wWkZln0yJUyM
sZNlT6QFrgXTa7Eg3ZiypvLlYnAeTQV2P4QEbWCYjW+4n7/gDS7Uutxs3ZLQVP9Z9/4v9jMoKMG4
Sw9trTF9i5i6tloq+KqJtfj3Pf3yo/Am9MBSLxGTn9wJRw2GRPROeujDmfM8QdKXC0IHYuAt+e+P
+ouDuVzV/3zUJ280Jvp9rcduCjgfv8uuR/3kNss6z5plZauuIcCsHr9x0vuLTbl8Jhdmk5rBI/vZ
LbCSg91ki5Ye3KHs17Xr2Gssy+JvVqOvHkzLvLguSvyuyWHg1fmf74uE57DL9Tk9yIjjjp3YUEsQ
Th7MKu1JZjL4cPz/7yVgj0UnU3d0XXyCqjpFYBFqYZ5NLYXwsGfFqn3x48oR85VFRwnJdP+bD/3q
ZtoYdPJOQKPhd//nZSZWKwvd4v3L7a7adU1Znybr29zmr26mLS5KAB58y/hseIpssu5Uw1dmdPV8
NoEs/Mpb4quEERujMtf75qq+/Dxeb0h123Z5E/68KgtVduURs30AXyqPrSfiszCTO+9SSw0LYrh/
f3NfrSpYLerOJTEXa7ZPz4qBf3lnk02I7zDnEfS2xNPAma/0JcdJK/dMPxk8ZOc00r95/776+ljM
BO+gzX11Pi2fmazStB6S/NAxVmKe3iRDhlQ7Vu3635f41YsO+mmS3QFjxwb95x0Nq0TDRSjLD9HA
AEVV9Zs2KF77zuj2nUXnb6zENxl+f6FhvOcYx0ru6MUx0Pn0kZrXqHz2VH5oYcRu8e5rAhHDIuVD
l3NIHpatjDSJ40ifbKpk+ubTv7qzxKmzZOPPq7Nq/3nBVQiLOUdGdsBALgo4hDI8zrPvOLvLT/m0
AYNR4vEnCO+z4Rb//BQZmaKwYm6kbYZoqy9CDy/3xjfBOX7772/wi9uJT7pgyXT/yyn8tCskcWm4
UBPpYU7mZhePdHljKxerVtdNmkZJdeRpPdbj0ONKo32XC/RfxtBfV0r3/xJJbDp/PalT37QVqAof
z5DG2HjwT68IoGhPZ+1Ea04grzl4SWTERJak87wXWlv9jmDZ+jaYvQlFW9wPlNxa4QjDHyMNACA2
ivY+b1TyVGM28IHVTSy3Yb642F67ZVP6JHHLiI22dbKzwsaFzARb0K7VtegdHa18LfRm/jnaHP79
Gu8oDXynrr6xt/1ieQD2xd/WESyw9FH//JI9k441dWZySNnOXo3CRm9n8lRhW2FDPJgiDSi/4r1Z
fRtv+sVCSKiCzsScdDSGcJ8+OnTCvAzNITlU8QAummNafO+RZOfgIBRKeeOJjgPbvx+0L94cwVpv
GjiLmher6T8vN4e5GioaxQert3t7E2rpkp2ExELj/7/KC8xRmbIL2G28GP/8oDnuPB3QJz0gVkBR
1E1zoAtFg8WsURQY03dZU1+9rFQCrrjsKPjBfvo8JBdaq8kmPeQNRJkah3EPAjzi3Uhs+b/v4Vff
G9av0r7cxksJ8unSpsUctKhnw6QqWMncHFZYllGPmxxN3U58V+18dWkstCRCEg9m8sj8+Xl6pOzM
s6zkIDjsP7lj0n506cjoH3K3/Sb18KtTx6Vug7bnL3ytPl3ciC0X4/8kgwJJonildYuzDz2nf408
52Jimob27ZB5OkZuyzDX2J5k4ztGAeIb73DjqyeVzAgcWy1WRiyT/7zqDASgcTo9O0jd1Htmk0o/
s7Vpx6gUzavulTSkUmN01ro1Jw8kakzwlyPYwMTrem2MaXfCwQR/otSLnW8OoV88ARzKSHZm0b5Y
AH/63eq+TCZB/M8Bh0TBPE4Yl7EmkzU1wEN1Kv7mrf1ig8cE+JJmg804C8anJ6CrNSnlxexVT11m
x1EvOnVUgwmlx+PWP4Vg+9E64j22v3nWv/pkC85cEo/CS/z5k2NGZM3AQfOQiQQO0cY9w9tXqnKM
wO1iuBSSG2zGs3E0fbMlfrEwS6ZsyEz4O2/bp3tsRg7q99qJDjgJlaemMqcH7EfAo228Ky3ml/ib
GggWpZi+udtfvG/SxvScV4AGNIqTP588JYZoYmAQH7RBTwEAPYtRomFuGif5LrISk2p+2KetFwGN
aRNQfDnPuJ92fi0m6YHhRnTQUtOZ1k6kT8+oJa0AKxjzDuke1mvJWO+yrp7WdhMnp0Wa+ZneunHk
dNWxb6XFBpmkPCXajKiwqH7rGl1gH8PV/5h6Bs1xR8XSNK17E3nmfLAHS21rVxk7djXPlzEP7NI6
Gv56qmWOOzJw8y2thIlo4nCdO04tMdmoYIS6tMR3wAqn3WCHqsOIT8qdwZrxs63i5qXKhna+TH5o
KMeNt9e8eTkYUzy9UMoh67SHbpfFAD6hNNhycixrr1xRY0TXui6GgpbVCEJWetvc64Xt6P6YjLOD
HnyWS4BJAg58nmccEz58Z9pzvOptfHV3Jo4LxHlIuoXzXKwkXXZkzqSO0NPFPyYp0jVxp6gCXZqq
pxYW8E5MGlz/bK2YxsfXtApxHGA7bhlwTYBq+Gost2AFyh8SEiwT+q2Hy+Fy8c2hF2sIjmc8vrLD
4jhIvOtGDlu2PHZu/qcNXYMJWzNPdkF9cUDXBzPCAR1llAmB8Ghr6qcDcLFftBoTHnwgN4ULoiGz
Jb2J9QKXUeysKLoa6ZfkFwWzcshkMZkUVk5mB9l4MXok59AMiqxtNhV3gnueRketVG0K3ZHX60l5
pBkxa5R0yAmX+2Z7/++5/PTcXrTol3gfj8X588JQZxksOHasB2vUmnvsbxBjAE9kKwxJsvNkawZy
18W8H/tc3MkBEBEtP7Z+S5kX2zLK5H1XY4naS0FlWYnogHcm8KZk2r8tDTHjXKEzwZ0qXJFA+tY1
Dv5rb1zmc+qlEigJFCbIOq0WCIkAyJhQqmRvduOCH7RCpdDlclNmIVZ2WkH+9zjWkNFNhVN8PROK
MqTVjUcPf3cJYEMvnI6ngkRKDLlr5wp+vzxnWofiNms058B3Ut+SvoLJNlT0qSpRE+G98SxKjJwQ
uoIcxUl6ccWpl/bgRtYU4BQqDohHBkk5H6t1iDVOoEohXLT3sREMJKtuvWoxrzDXyzaN7mT/x9l5
7catbGn4iQgwFcNtRypakiXL8g1hy97MOfPp56MMzKjZRBOemw2cY0DVVaywwh++dH1A605WQAcA
P3809bj4MkZl+1KBiPW3sTs5OXU51GFWH/U3WiDXLq12VC3S8QG5NPgiMvBOoPjaEfq2Em4vRz4L
rwEFMuhAglgEcf/ZneyLJrBVSQ2u6yKmrdx6U0eiw3l8m1by10BHly6VTPPf82iKPXC5SHBJ9ubp
rRJro6h94V8XbYrsnDTqWbu1fKVfq7ecZ2EEq7bJVQRzwT571i2kFRCSZEPWVS5QVlT1Z80NXGdo
xE/ZGMnEvIReaV659BNF8Pvy4p6PbiEdS12EcIfa1ryo1UIxQSeqJqgQWrHvVU+/7/tE2tVyKj/C
6Qn3AlnFAyBGwKQJ1f+VZ09feIlM86MMhHfDWToip65RV4iP8uBa3Y/BtQDIFPWwEmAubCGdTY54
Ex+Th2/23nVl79a2kk0Myyg6khp5t4jWjRu4lPY2jznzsnDF4+WlnQ3K8zpR87CPN/H0OS+k4QaP
8mmIIHEb8x5Iuvwk9eXR9XhPKFAc1TJ4vjzgLED8OyBebwbWeVNZeVrrTwVK37RQ8CXPcrCiuWqb
EoqDtK0lBBJcX/3/TI6wkFSEpgjh8ulYniuB0UEKzXGrRN0knkp7LTH7g5R6w4PaVP6ua3t/f3mC
s7DlY4KKjF2KQmsE5uAsIq3qEdQcnCmHWCN/oAnTInaD61gwYtiVJqAi3dAvjmVpvFweeBac/R1Y
0SiL6ip+yWJWE6VYaYJdyWynGYAgo7iaIbCVdEhwoMV7eajZgTwbarZVNZ+SbyvnttPJ0ouWda+W
yO5iNXmRSxdZUfRUCsB5KG0ZV5cHXp4jO9ZGeUqF1n36Rc2ulvA9i9FqNCE9dmTxdLqHFySp05Vn
fHEkPNotoVGEsOblALfDYDvTKttJLMJE3SrVjTd6N5625pK5tJYqmZpmCA1VfH322dj+kUtPmqjN
S364KbQQKT66sKQlL/5PyctDkguwb8FKFrl08LnJKO6IqXU577ZIgRUjglq5Th0Co9Ab20GGDv2H
5FAV7UM8RP9WTfrYMtSReKp0km8YmqdfLsWPM0h12XVaauobRWucYUJBeQXYT7O+UhPlDlzL93/f
LqqY3OiJgSyKEqeDqgYOfB5qhYi4jgrgVNIAvBACPX/QfE17vzzY7JX4O0PBU4xJDDX1uV35mCN/
yiXq0nVJ0RwaoSiRM0QrT/7S/alyxvGLpZiDYebplHS9N7oBKRJHhEOJ2hq5/+Bq9s6d9H+gtav3
l2e1dA7UqfNHCdAwiWpPx7N11KnLjGhQxlo13fQD3np7REvdP0hRiHHl1M2b6R+LqBPJkO9RcFWs
6ed8eh7QIrJRXdW4xLKQbn5D6vBLbnMANR6Sj99D37PFpMsalkA5ff9nKVB5B0ASRz886rIrbd6l
yUPunvjrdCpwKT39NWjtqEM0GZd4lZfvE992d6rX5jdhmMa7y+u89GzQLUCZgBByMgI+HSrrQEuM
ssHEDasfoOXH+ddOYGlLO1+qW4hJlq8CDTXV36lqRtH+8vBL20pM+gPU9SktzK3Fat830BQOiei8
Pt3qGV0ZRcR4ccb5rlD6lYd5cTSo8wJYLKdlHi1rkdDKAYcvx8tqaysn3W2Y68A+xU+pyVfCqqVj
iRU9LyLHhTbl7A7A5R7Xnj5ynT7zMifNLGSYSq9Y+XxLO4U+COIDDISa0fQrPu1bXEcRFjQINdAW
G7ZaBiS1stDSN0ulWDkjS4v3eajZEaFG4FoNOjQOZLmvZEMvfmGiJl7YD71irTz0S9MiIp0UIyg2
WnOT77JO61puZdMp4cM9VoYXH3PFQ2omyrDeuLwFl14kyzZlRegIqMjzdqTXR7GfEVThjYFsQxHu
lT54EnEPWgn2YyuyNWzD0pGjNSgE8sUCAOzsdBOijkgN+CbEwF67MRLT+KrGg/qla2rrlyg05SlL
O/vFthvPXZnr0je0LZqEvL2IRcz712PvCzT1PcspUlhaCMtN6v1mtC3sBIvcAODx5bVd+o6osZLD
cJmZnPLT7ZlI/JQezQwHilp23aSZ8VJkDdam6HOvPINL8czk0klrQxXAgqapfzoJvo3cByVi0wmb
qgFJMTR9D/YvKd8tdwTmW2PjqO8q2w9/pwNqqpuYftLK8i5M18JQmlIlIA/qpNO/f/oNkmu3MjrL
phP3zb3fS7cCagmEEwptl9d14TtaCr1l1ebFQrxlFry1ca/i+atZkJHzl9Rt780SUXL8flI/e708
1NKckDZBSslEO/cM2ZFU2HjhG2ohxE0y45nCAvyKwRQZRb0yq4WDwUdgNpwN/jNvMNTYeQbTW+XE
MJAauPJV9jwEop4kprL4VwgQAkZ6UBWgmKHprWygpTWln4PcEBHAuV6MomJ/UqPD5ZSYT9+Bqg92
OeqQW4pqGiIdpIuXF3ZptmxTrhyajbTHZhsW2HGfYZGD1MgQ/1aj7ns28PoNsDZjKzjYbfOq2vlK
VLU0R+ro+KvL1FPOKhp230N/puHrIFL9DMeJmmhb3GvmcHBjI1mZ4NLO4VFSLY3lpGg3ewF7C846
mrKWk5gaSuJNb20SCIVHG9VV5/JaLg5FeMq+AX5AnnZ68MrCRCcgJrs3Ext5UbXvAd033bXpWfbK
rJZCRUtHNIuDR8EN9OXpWDgaoMzUsk8CxAZQhIc56Om/rbKFI442CSzk1lYOjZcOuzES5VUiQeK6
PN2lz2gwTzrGlFCAUJ/+BC/NbdpACl3cOEMYtVQlqF6hdhMrY37dUzFamfNHwPmptjyFxxbWrwoJ
AGmGPs/aMk12mzypJCdGViPYt6XawytqJP07Jq0Cqr9SGNEhtvr2fRgrW6LeUSvqC9hT3hXV7bND
qvQojlgC6Y50csFSu0cL1VFzD20Q0K06FAq+Do1tdJh9++4kAW0jTzeowGtdrc33pd2Pv9HdqXXK
C+pIX1epBORkXFK0AyZ01g/+Zu4fTKjLN7qd8wMvL/pCnEBIMnWzOTcyed3pokdNjZuFIHMVKhrJ
dVy+UfG/9XTti1YhHKTnXy+Pt7SnpwENiyyZ4ufs7UR9B+WzlMxVlK16bUlwfgstyZ7dLldXLt6l
qdlc7iodCiSE7dlQSu23mfAkkmQMQDexXx/Ydc8V9c4BSdVtHOnuyo5a2sHcPyBZ8bqedtfpYmpa
I6c2Ag6O3EQl/mCqjOxARP2dgvbXJHT1lY+3EI2DGmLjUrE2pu7I6XgtPgYJsBVYfWX3zjbpb2QR
in+vbdgyeC+LS53A35wtoynh7i5BpHLqMnFAemYbe8hvESi80QN/X9TBWtq6OCvd4lWmdSW4jU5n
1RcYM1ZRLzla33kYHQ0eMrZxubu8ERd2BwkMpXCdC5aC0SzYKCI1hh7kSk6Q9/rWqnyskRB//KaF
OtpcaABeTQbQT5cHXQjngA6j1ADQi8hDn07Hp1BK6zDM01BCdswGM4rOqgxafkOFTwKNpu+DUaqI
PQVvCWHdrrfctbxqcWWJzae6CtVxMdsvDbWUknKB5PRu7B86o5GOWA9pV5cn+WF1O7tXp3MHYo+i
Ioj22TFIg8ZGXEv2roYR5WjMPejIocQBdQgDrCqttmpZe9bRNcICSnceiPYoD/w10i6k8xBV8NAG
84EVyk5e+V21USw3omnbjONvvcrt7tvKD164lHgG6MTQDjGnl/b0s8DrEwaFLNtRpVcby7KJGGbo
OEuZEB25fUcvnTjPGw8NbRfhhBiwag/uuCjKL4USrNwii+sHbFulRgTm8axKhJVSZ40a5QMDvSVR
QsNUckRJaRJi5hog2t8EwUHV36EKXXnRz66AG5W3hxqKR4f9apGtAfc+avvzL0pHju4YNbIJp3+6
QOisZpVp+0ihgG3t9EdbwfEsiX8IL3l0NQsz1D+2+5A27xFCDqPpbYEh/OynXjZyNZc/1uyOhZhh
qwpxCgU7QqOzUqsb4xyoQnC/jlK4hHUUjLsmgWhFQIp4eNeVK0d2cTzaK/iVUkQz59mPbxTDiAZT
dA0WRQc/r+Eah05W07/2eSf9hIVcrhl/T+fj02p/TFGjaoffuIX64rzQmgIUjUrc4LCaM5Hbz1E9
rfk//I1cub+CAX8pEXgY/VFG/3N5cWf309+Rqe6iw0gUZqva6XcGdDlKshon1zLqH9+qpC++KFFv
PvR+ggI2FLrmJtDq9q4seOmQ26/gQ1/+BbMr6u8vMCcaiAX35kxVFAPUGmJ7mBAaRJg5R1KE41St
Hy+PsjRPYdNYRnqVXT0HVqluiRQLZlzXtl28Wwr/C7zFUL1U3I6/7F7gMmg0nvFAwDXKRwkQ2Mrr
szRNgXc3Kp6cb87U6ULHvUlij6XFtTa0yrsSm5iDIZNar0G2Zzfbx3LyH5guFEYmAMXpOGGGGRUa
0pwWUE5HTAWyp6QoX7SxcR8uL+nSSDayq0iikulSLJiN5DYl6vx6AINJVm9Q1kP0BMx2tR8TL3q9
PNZHlDg/IVwD4MUMSj76HBauNTR5lAGikDFSRi8oS6Ia41bpPW4m9VNn+5nT8iOxherQ6Wyqktx6
iIKtjbvlxmrScOXJW/qc3Iyg/+ExkexPl8indz3kFRSWG+BQZVXhUS8wY8flO1gp9C4uMQBxgIqc
UcoXp6NksDthAXQAeVtNOhQULF67QrGulThx16oWC9fehAIk/oJig5XibCzK43GXWBBReINip1ai
FLO1KrzGZyPfRRnM5cufdGEFQV+i/goHzORozjZqHydC9qQ4uvZttXyqQfrflEnp7S+PMv3q2b4B
a0rWAQKdnTM/98ko12GFG8V13kywTh9GtCHn5i5N5XgrtDH/xQWkrmyOhc9GdYJAE9gFXfo538xr
I7elcQZXybKG6x7HFn0rqtT7A/LeDnb/PkMGoiw5FdK4x0/3SKj2PmU0DYpZICMUBDv8TYvgogTB
SNe8zpVd37t/Lo+5tFf4bjwXhg4wwJhFB0RGfpkafXhNc+BNBJJ7O1ZZcu+Xauz0uW6voGLPtgpN
JN4mmoI0kq2zrhZNLVdJBheNbuStvnuJ5UE0TwvM3C5PS/2gJM23Cx1IXLnoEE7SxKeLaVaFmbgV
fD1/BGi2sxONAqH7TcCMLED4bVHbxJ3MyuX4VlErzdiHFrDCpkEKYle6jYvu7KAhEN349fjswu8f
QO/FxX0kZymK6X0Y/AmFmiIFOfS8r23olu+Fp0m/lBZvPgx9YhddObN69ps+e1MiRbTbIpH1BHs2
O8TVsoC9uo1yw4a9iW8HYkoixUYIoKP0daQuQfjYmFqzMW043Kiy4lYJiXik2uCnGWKp+JMjo9+F
YVzvJLCPz12b9n+QxwDxS8A+OQo0Imo2qUB7aoMxQFjsKaZGj3FUVw5RkIXRW+fa33t8hxAJcG01
QU6oJgI0LCAh27xIzBH/0ci+lnh139HXxwqyM/zeuE/xTo2Qm/KHO/KdHLOlIDaRg+miUNqZmoYM
X08mFOwUVPXEBpTuMN6geh2YW2oT9lXn4rFOWaqghTLUmX0Xjjr9rxBbAwI2PLM0nNgQB4L+gWRD
HZq/FD+s3zMtlqxtGfECQ70W7WOgd4O05c0YX0spdlGe043myS8xA7EQ8ZJRxWqqF2TnkeaRrC5/
rmBBvflDZ4mtmXgi3YbB0PwYMrnQjxEmpdIm60PT3OF8qyWbFArjm0DyINx21H3fuTvFnelruiNT
k7kJ0X6/MqM4fhEJktU7QJUBUnzaKG26UZUPdVt14z4wlQGhlaEbcdtDPl3b9EbUHNDHcFWII3L6
Sk0dW5s6SULseIfW+q7Eih6im9a0P+SmBTtnxaZ634YIxh7KzgjU7eShViOD0TTxVter9pXKbfWf
Hsu9sk0ggPGA98JGmM6IqrteRRUV9Q+fDRNWctwfMGdSkNMJlKTYQNDBB1EelCo41oyZ4czjWq+t
FNRfrFHq3ujyGdtaVfpdEcdoLAVRjmQUzSH8vXws9dAizRwXFcQ/Wlib6bYppOpG7knRNwqQuJzN
2yPBC1X4gcsWmU6z7lAgahIayCN3DEophlE+2BA135pOyW8TW8PLVy+q5CVWMYHaKmpYEI2oiI8e
DBwlUA9MdD3YFIpk/8zQp71RI49JoAQEjJV2IzYHqdHk7+ieYXHk1ubwrUAxFhcMy0XUAcq8iUcc
ToXfiwb1h6cx0nss2wIhX9kIVeWOFpv9O9sKFW7TS8w/Y+WKcGempZFhJYn/LgKeaVttmsTvfsto
Hz+FCMekRzWQUUIZdQ+KDs3J4CqsVQ0DM9wvxBaMboOr1dDXv/WxsL8GTQNyOQxiXHX6PAZ87Bke
FO1SrdSfvZUGzwla29G+dZVQ35aGUr3pExJ6coLvH6Re693HWk9NsW37JDf2GgZD/bbOJLSZqwLf
vZVbdek15K3QNIjXGl2RKTT/FCoN+pDj6amE15JeWo9hoTZ4Jclp/gb9BA32y1f42WDTU0EHDKF+
0pkzICk/Ia9at0+uhU81B5cnP5PQrdSV/1B7SeX95dHOsgpGo7Jp8uzy2pMvn06tQva480rEkPBm
SDZl3ngejjVac5TaCDVVr6y2jcB0N7bkEfcms1uZ7dLDyFulkzph1KHPg/2SE+H1aKZc14omX1V1
7b8kJFrHy7M8e+2ZpYnlAQk4dFcytdNZmpKbmLmcJ9da3NL2UIN213P3HYFc1rc4ZoTZSsavLX1F
UkLifYYl5p/+/dOW8XSDiDobkmtTqdpbMzflL4XUG++jG4JUi1LJrm7S1u6qrUD+ttzQLhG3EZLV
+j4DtPdYGb6OjhtPySSq3b6hyyuFx57d8U00YfBQt1gdbOi++hro/gBNMwVYO5KAgz++FH7i39Pg
SWrksjsmF9b1D0OT/KPR9wD41fARpqRRbBO77p9DC2mkPQBX/92ouupxSGL73yAYH4VlCr427TwY
K2dfWaihqyCZkFxXjdHJe8qlOGzrmaz8uvydF1YdoCclX8oQU71wFkl63ohWTCXF174e9AdKAf0u
s4L0NcrTZqWBN+8+TXOiQ4qB+cT1pR44G6usrNTX8imKEUG+jSUVWx+wtPsYye49csQJQjQKOEgY
D0furY4aU+/dE9h2K4u7MGnoRxOVmjyEJt9scxeFRsyliOQ6ydLS25QyrnjclIX2o7eHuFw5sGfp
CNOeem0qSSMopTnOBaLbZJ0WpNeNpUQ7KpN4XdQFwU8QC3pAPYqIWroG1FiYIu18klTSLGgVc0ZF
FTVd3g1xes3jH6IYT7iEtzfAGm7KNUj90oe1uIpIuoC80V2arWeYVr492E1ynSYNuiYeop/W6CJS
zLW9TaPil9t3SHwXeCzBIFeMDTaFk+oYAdjl3fyRsJ7E8vRjFDh0VHeh+4m5/AAeGYMwKr6si8rP
13Bs3jCGQNusQI0QiQcqbDV6Q7YqDoOdw7XJxo5j1fMK+nagO3kq4pskDPGQrJrskAkfOJeSVSs7
4qz0x69k19GW5PuQo84OQpd0qBzFCuuV2zmytjp2DHHdOKQX7V4dRrELUK3BQLSIVt7lhb2I0RJF
R0xfyB7nvST6IR2Qbi7Zwsr6ezsisQBcbuChE+kHeUjab5WWr1wxC08JJU4VYyeyKx7o6Td9utgT
Hn9JbguKDGUm/vNxmAy3I2ohLzYmk88jZO1Vt5kpF51vA10H9wEsCvTsfMhW1+vKlbX4uoE8YxsF
6tWhAZGoruvXEBYalWscDeFAdrtBYqOWJfYvl7fih6LOpd8w648YqR7ZJgUWGDyl/yB8rcOp2PT9
K5bCQzrc1ZPjoMTyY2Cq2T3mBtoX5DTU8RCNhh5REIbW/r2U3fRdh9Pz1GQi1TZm2/XxHzVC3Xnf
A8CgoTxgNYwXm27tYfpn730Wm04AM+8paTE6Jltr1YdK8jQFbDkSxnsujVIHjaa2Jo7jdvEHkzG3
3mZqn9+oiLYFj+OQQqNKu0S/bjHISX5kflVcUaDVuiv892xj65EI3JEowtbUwNN+sTwXEVtX417H
hzaln16ZmnqlF278A7JNhpNZDMl/qzZN+gO+YFgipTZ5czTKCGfQrpUcl4E6833E7SL5hy4GhfS3
g+mG8XC+X/k0C7uDfhXgRkrg52wziVONoaVHuZRgbeORCTh6oXcHU1Tt8+Whlk66oKag0iADFqRr
p3u/bqO271NIQHJfjNvQ6v1DmFS2ssEUU7kyvLI4plVxq/tF/W843I8Agtwf7inQ8YmJdDqy1bsd
KpfUo4ISDocZBx6ceWBXRw4qtL/L01w64sTgwHIo1kzF2tPB1BgLw0CmfaK6aLJ5AXqupR3/rro6
OTSkX6+Xh1t63AgleEstjXbevMFqKmNgymoXXZtDXT3VbizRymjVHQSRNbL04lBcW8TAyDlRkz2d
WVr3Uqi5zKzLRsOJRyV+buhZbnUa/v8+KeakKgB8aRjMW1B9T3YTlB5dmdbqbgsTyJEH/tBpvXKN
i3LOy+cB4oojgUD2BFTIrJZnxG2K0AbiWM2AanqEbt6jJ5CWtWKtvZE7/waBYgRQY01gUTyB5Iux
/P5P052AE9R/wWzQsqPNd7Y/rQgOMBLOjtuJfedaOMvI8iYhQPy3vTkf6GMtPj0/tSsaT8In86qZ
BNBt133HMYt7USvvYhSPL89qlpz9HQycnwyck/dnfhAwIxZUAgARQXOO9rJSTH4Vnrryik9n99PT
8ncUgIY0rHV4KB+Qp09TkrUeBf6WKYWELzvFMLBB6nPp1kP5+CDMMdmlOlqZgYyZsyvyNQ/F+fb5
O77N60o9B97U/HlV7DCha1DixNYWebYFP5Q/a7wUJZWHDiaT3fP67uQhTTG5R8C+2Sjcrz/QVcYX
6/KCz87nx09RIeWwicD+0FU4PZ+YnkNVjgbJQSIE9pSC/zIuC9FxeklXVn36U/NVR7XPRFOO8Wjd
nw4VilSu0qEFICbzjNpSg0hHVnh3JDqNg/Fu80LfKTn8+/ygrNACB5wL8n82v7LEAjILMzYUwco3
I6rlOx6V/Gm0y+brvw+ly6BX2bcqHkGzgAW8aKFoVYElspri2t2lzTYqRMkuNoeVMznPGD4+G3II
oDB4h+mXTOfo0w4u4sjLAgvXQd2OHBMB29AcD5X/2tr21xTt89hPt1rxIuz4phzXZBhXR5821afR
vSrhES5tOE5mfJMinmq4lBJV+0uWUNKuxX2Qpw9k/4fA9W5TPIL+daHJ8abengnFchK1OR2+qJSG
2gFoPMVHGzCXYd37WV5u5QENgMtDkfrwx0537Qd4bFLRg4p8hqRIDLUset+2nV5xQ3HUsnrzdlO5
zaZvPXRFcX6nKS1bbQCG3kN0BA36m8o3U2mbm5HyO6mj4nuHRfguLHX0IQpV3bZuMqm9o5Tfeagc
J1GaAvlxi9tEoCpACd7dJoGi/PZiAE6x1UFVS0P8veDsY0OhygnyzLnxIyhivN2jPhFXXRwHV3Xe
eXuFbB/7sTxHTzZiLF2KgjtdeGBDNfS4UQo1DoAlxwfg8dIX8mbjZ4WAH27COEXa2tAfEQ2Ud3bg
Bzca+e6fChmTzVAi/Wxn0rDt+wJlVzBZb6RJNdQTS3e8IkIROQ2jyDFGRICpBOfXKRqdt1GqDDs7
wocekTebPgsd718h8KWbWIy9Q2hQHd3It295wMS+tofvVpkg80AxOT5AgIz2uRcaaAGY/S5WKdSX
cf1NJIhVaFVtUW5BZVjpgnCnKJSvN5mCd3Od0FdR8W+Kd6HnGbd+5GNB1dtZtQsnz1pDjY0blyB+
24IcwbkswI5rqNunJEzh8Y+6jRqW0anmk/B1d5cogiJXKCKULFAFsbZtWxe7eqRHhPJYPXkZjA84
TPHlqPFXjlqjydIqY3XMehcJco2m2I1EmxulgaR9yjBKu8VzGZNvPUYxI2/C+8gOVTSju9S6yf3C
36lmSHIlrDc9CPF9SLuvuuoHx8Q1uj0yQPWTT/0bCWQZ/Qtcnp/hwMcOTbjSIL+p5K2GnwKukQIn
DRR9yh+ua5l7afBoo3BO0LNVf40qEjFVbg27ZhhvQTYOm1I06o6CvLE1Sr+gqNQoV0QTLZmGjUWG
nribWFQlOsroy1syjotdRy/FTjEtUYvgUFqmxONp6I/Iq5RO7abjozuGUXhQTL/T9mMPpx1D5wHB
S1dBRp7N4x6Doo33tKDaa60z+7tO7eoHBPJQc8cJO/5iSTKoVARmemwRfF++gXE3XMUGftfHQRvC
8caLqEHsJMkMv8mBJr6GEvJIKNWqX1uYfbcd/lfvAuLpO6iLFl0QdKFvMjfVn4d0KPA87VDH2OhS
OyJsolJdQWBdqu49hHVdlqQWxyht8q3iQoO7bnIv/S9EYUhGT9jz8fEE6AS4U0m/2fQaaTWG1Ygb
T2XII095oKW7VsE2700ajPSu1rB7hwpadWuUkFmWRKbOezMVH6msE5HO29lqM/YAKlv4rXKSfI20
Ib03mjJGRiZJ7lJDstlnSfBKkjvuL9+PZ7cjI9POlqETyagSzcufhZzF/cCKOzUfFl86STHpdSa+
VAL9C+BN/vtwsIlgFKgww4hBTm/+JlMNSByiduIySI6tAsov7DDOdEfRrgw1S8k+1nRqEejsFepg
c+PmvMzkoRZhi74OHWNJEajgSbe6ke0U2X25PK2zyIhmCEIi6HsxJyo9s3Qi15uqi2lyOYaWpr+0
cZQR+yc29EkFo1xchSnqTjuAEdVqILHwAYEICGJtgJ38jGkZPj3lPpFEW2hl5zSu276qouy/iiLx
HvvrPP9do36DZ6ySRzsPYwM585Ktprn6PXaWkwGFbqML765hCRdWA+SCpoADgdl4zgtNG5/wRW2d
ro7Cl9obETTX/fZYNCP9L+TV37gvvW+XP8G88jl9b5o1fIGJLo4ixGxryXGI0E3rd84AweBb2CWa
tI/cUBNH0+/9YYMsVnsrCdG95lIyvAxtlL0qBgg/UMlt/paOTcIzYRXxTWcWDrhFydtkjeVNNqdB
Zj1c/rkLnw0E/YcogYIkzpz00qtKV6Md2DpV0h0CoeJ40u1VHMMuD7NwCEA3TYoEnADK8LNFgTVp
jjictE7eptuOsvRIDK0aG73OV47bFLCehFkT23mChdnk0xy7WZweeyP9p6JuHSkpzF9yKey7wK2C
w+X5LC4bYGEUYPmZtK5Od3tn9VlAz6J1MgDFm9GleeHiKSQX7f7yQIsL92mgWYU6pUYntXHeOuqY
u8ewTmGQ932Iy42I91mPJezl8RaXj4txonFD1JVnHypqhJw3XcSZ8YLSQSPE2AdasLYdFpfv0yiz
DK5KmkLuwWs4nV6/y315l6dhC4wjeb48m6VxqGxAVsNQXaWtdvqZRmCnLVLvrWNV3VFp1C9t5O2L
sl9pYy0tGg8mbR7UiNkO00f8dPeloaagfzW0jl018kFG0MOxZIxGLk9m4TpjQ0MsRLuWZG3etXNh
Ejd0MxrHIrDeuMbw5vEIHKrOOMD8O2ap92/Ir+kmOxlwtheQVxZRp7qN46fVM0LxezVZy6qXtjeV
SiaFFC+I2dk5SnMpUBGfahwsrXJ8q3OzO3hVGLyw0z2x9+JWTlZ2+EKMMzG1DW4hLk9S+dOPJWVh
HdkYRGHe1UvpMZLlEZ28VEp1JB8D7JUNT/XiQ6DhI74N5DobVo702aakVsqwAIRllCb5Lac/IJVF
G6KZir0aPoMbTeke+8z+rQTW4+X9crYriZ0B0IP5wL0PQfXZREt4cCk57+joZazflpla3SaWFPzz
bKZR0CcRCMBM8dTpbGDqjUViaSPKPbV6Yw+GhBOHKuHWVUi/Lk/o7AAwIQ4AKwbDHlb/7DSTU9pU
UYvREdKALdfYxtWvLvNoW5il+0OyzCLcJoNXf7887Pn3AnWGdhYaznC/iSROZ+hKepX4hTQ6WlKM
fySMYb7jT559D4dOWqkSrA01/funiwRVaoFBhC87qpEHhyIQyVNk46NsmsOwJllwXjyc+tIcPBSm
qBwxv9PBRtW38tzURyfH6OtGxfy83Ll1gKgU1aZIJo/Uow7mMqXUw6ja0UOTt17wgJvrGk54DjDn
YmaH8uBMjHcaQXPl77qoe5FYpeaQXB+HUt+1QwKl+d2TvXtXvk/CYav46UGM5a5qpG1grj1IZ/cQ
Z5LyICQtmFR0KmfPbFRgDJ3IjeZE8X+m9DMLlOvWvq0sd/eve+l0nNlp6XI6VNrIRJOobW9in+Q/
RP32mR285u1yflpOh5q9sQU+dTq+iJpjVPkuD/B5r/+MbXYEh2UrXy9Pa2n5sMmZ8GXAoXicTreS
kWaAg6xBc3JUNPvse41LpJno2zzJVq6b80uNy/PTSLMFxOaaPGHoWMAqv4rH4TBo6eHyZNaGmC1c
gwpp04S9RtAQOD7gQaP856huegI+zWJ2pVRSE5k5yCfHl/vNiLUSueEWQlzR/nd5LmsfZnah2CEA
3iFkoNDC9PI/uA4bUdrbflgLuxduk9MpTb/k09UFb9VvjZSRiqz7ajf+sIXJtWts+agD+8XLjqQe
gXK0MEmy4z+Xp7n2yWZPKrbwRiVX7ApVMsxtH+OIHPRC210eZVqsk9Ti46vRlkf6QKPdMysXp4g1
0lVBGddqo281fLtNgCJtZ4NbuDzQ8lf734HmnbK8j9pYghvlSCBp6VBj8Zf5pbJXc0tyKk2kK0ng
8ngT+Y23lS71bPmUNjeMuuPbxbV1ZwblbShZKIBa26Iz/jkombbJ/w01f3Q8RacDztQqF0i+j2+l
N67EydOfOPtMaIADC+VdQRfldCcari+19Mi5IgDhj3gSKoB+6/JJUHhMktsSu9LLn+usC8i+IAXE
AwEgA+2o2b6w0cIoEbzTHaUubsqmwsItG1+UUdxAh98DcsLFV39MIusfWUM8mwwMbM4kUEd7yJyd
7h6DxWJsZd0pBuNJ0T3HpUi4zbP6OTHbn5cnubSqn8ean+9JYjRH1tAJQwMIaqYeh6H75in2Qemi
O7y+v0h67a+s7JlcPKpXNh0wCnTQTygvza57P1IUM1CG+Eo1sVtBA1lKo9s4UKV0Q1asF9d4tIn4
yWsz+1nuxmDcK7izWFgUZe1z46Jhh1REiaRy2mOMQMio45p3eWFmdw/6UvxEql7gEqbsTMyeC1og
QQvGI74KWt/eSnmOz31dNPvLo8zunr+jIJcOtpp2M9/8dFMHsZKqHmauV1XgR09DYZgbicL/3rR8
Y2WoWeDwMdRU0pgAKxRHzx5zVYLgR3nhSqrxboy1NN5I/XDlx97BM9BWrWttJXxYmhxAvMmtgxoU
FczZ5GwtT+WWEVHMUr8qfF2Ad5aOhXuDKfvKYLPL7u/0Pg0221K63dQYLBvxFWq53+BWbtrBzPdW
GeLY69evlz/bB4X302X0MRo8RSxIKKhMkOrTqRkx7B9f5buhNVSW+y4e43CbKi3WqF4pBvACbolk
tZ0pSIIi7v3e+sWQbCS/SLUDUrYypZ5Rsb4MrF60TVojKza2URXWfuDmS+7gLhDhjX75is618SY1
VfZT7dy8OdSFp2q3pY+P4MoGOf9c3KrTPtRIxCYxk9M5hZ5U66MWJFe+2UPHMcK4EduO9hhoUy/j
sr28hvMuMWsINxkJvEkwhwHt2RqGDW5cIrfDK0ioO4gtKLxjDmqMt5Zk347DuJcNXF/tprkKrfLa
KseVE36+Y07Hn93vNfL8cWNL/8PZee22rbRt+4gIsJddkpJM2ZHtxKk7RMoKeyeHHB79dzH/xhtL
goX8WDsLCJLRDKc85S55pPflCXEC1af+iFKMFw11+f8xFj0QSvdgUvWLfnzWmWwXCIVR56BSFkhH
2tNdPC1VEcgVsVpwQlVyA6F2ZX7ImVhQGQAdoCFxVoShkF2YnuhYvgXNnC4VH+qYxt/gDd8Kxbgx
wbN3ZPuYlH8BGgE4gCStb5vrrzixanpNLLD1ImfVwi5TvznUzAJt6Gg2m6R4oqwDRYF/8/YmurzU
NI0rZrMDQuaECO71sIqNnVxJ4z2Cl2T52SgsjlEVNZ4YUQwav8zGLcAaZ4J/8/XZ53VCj/KPovE2
4ddjTnauLi4WlpGQ5RoAaRA7OhWo4yem+ZC1afGiVua0d5e8uW8dsZzq1ioCD/31E+bKbphgtBN0
TtsFTcM971exNEKKMW1gTOYnr9aMe4Qr6gARJ/POgmT0fl0V/dHpkuzY6V69X1t7OKhTOiHc0HGl
VsjNp4k17hbTmHYx/k84L6Rz97Qg9o6bfI8UEUAe6QsPvbRxyGQwWzUA1zpW9+3QmLt8ro3/MpL4
Dzr2VSfUdpQT0gniUHl01hf6T3fmaGv70RnGF8KzPlCEqIJcqtixzrjDqpgkH8jCIX0Mpr1zAZ7t
KBD2v4Wm0MXOE/ZdJutnJ94IcRrnAedWz/041sr6TkKxfHGzSTxBUUvIYhqT2iQmS43pyhdkRCY/
zaUCE3FCyV9RrIOuiA9kc31YL92TO29m67Ez71o0BOnht2DK8zLAHLx6ZDjy1ULH9WCYNu2iMblb
CrRqQCRqkWFkxhc3xgxabZUBb+SC1n2KjqVXZi3fty93xWBZoV51lt9IFSy7Pip7W1n1R9dU6j3m
U8pBsRQ7DxKRDz1cNHMMumRtb5yvK5cz5wtw1CZ2AKDwLPq1tIS6OwV8zle74058wHzZANKr3lL0
Oc/4/t9JprgOsdvaxDjOHlJbk3bWO9YUoeM5he64LLspWdaTiLMvAA+2vaX1C/TTtFhD0yo4cQvP
343X4drBpjIH/G7z3ryQY40t4mt71bLIip0vcTx9kGXySzMpDFRpWInshhPmleXdyhzwooh3CbrP
ri96ZQWOOXMeOajoQmFPA3Wy9VBL1/bfb+VXI53dHnneNKbVMJK0uzmqkaC+T5s8ObX0L+gIpvLb
2zfk1ZkRyDIrpD0Bpb6+rWSVbMqeaDUId+3CpnJLnMgt7JEzNITfHurKxQgTBu4cXFxUd84Fe2EZ
VXXdakVUzzQZ8GNXa0kEZhLbQOXD+1Mr2tndp0Pd/Ey12pQfhDMn1r9lvexfYlsYJhvFjXD3PJ2H
Ohgr1axjFm0qn5wOnE03pLu0laW/ZLcE7i8cgXj3Nl0Qk61KM+pCqRH5Qq8oa62MOsWk9ZsM039E
3/SDKfpiNNKIRR0AP0yr+lCPcQd3MQf44Eu85JqDqyRzvivbZEK7KVu9OqincfZCJF6rekddXjQw
0wBw7cWcm8mNI3ZlZ4BewJOQDi7lgfOdkUp7nlUsNiMNh5RfDuSUA2xx+1nM+q1Yb9vUZ08mKkzw
YpCN2LSczzIBYs4Bt5ukjOx5VZ4579UOachlJwo7fT9noOjf3olXopFN9IecHc4qIebZcRYiw+y5
kgQCdnMaFy/Hn8cb/B7sXQuJ2S3n3h9xcPr3FYWFgJK8DswcnPnZNF0lrdPOSQXkckzILX2CnNX0
QTqjyPH2BC+zUw4arEUQwjRPgHi/PtUtnFLo6MsU9Z5TH2w5l/eDlY6Ht0e5FqITQW68OhMO40XY
2rRIGwhPTpE2DOljLZXmrpizIhCekx2yYcVJB0rhzk0ygNC1opDgEGFkvXXLeuvKBoL2sC3pRra7
IECsnljLcSG8jLP2o9rqwaROvU9Z+t4sva9vz/rq2qK6BtZjk847z8k74JYppccpqpx03Q29imiL
o7jv3x7lygPHPP43ylnkuhoxigTaun1B7yPk2/4zL7zuZw4ujBg9asRxVXWrSXp1apsTKzsUBse5
OeFgLKgGdCpmVva87IVn1pGny/zGtrnysYAcI4QJupDu4bkZnFc7UzaWfKzCTFu/x2vKTKPGUt6p
WjqHby/jlZO+aRwCx4CKBlflrEwDnBTYbN+KSFvch8KZwilOH1E+f5dq5Xv4mVFc/aufLVc+AApe
uS13hVGyfdm/Up0S02zNmCsORdwokZo6zS5ZKvfGXXJlEZH/o/xGuYZCw/koS4+vY6w27PiJdkgR
t8sHW7GRh1vtZ20yb8nGXtkZpOMQ4LYLBdK9/npS6cinqbx8ipQsp7g5OCA/E+Lqt7/WlU1PN27b
GEi0Emptv+KvpavWZPC6dp6iUitwGB1+tLJSfWt2j7WAN0qecGN7XAlJGJDPRHJIWeM8LR1xps0m
bWRaiIiEVpfJUAGicozRpr9r5YwsylJVISq9wFVF0d+IiK5+RLqxFMc3mczzaxrE2LTUgzdGQxLv
1Hg4IOaeHRGR8LXWNv/9Tdh25nZrYXlOWeX14oI1c93aTqfIqiY0NTI5TBriiqax3AhhLwMHRCcw
U9U3Q7nL0ij9VFVRVI1c34Ue0+mKcW8gRnHUhLzFpLrclgxFw5PLCpqNev79MtG2uTqLKcLfp34P
Er73B9REnt/ellcnRPXij300pf6z13RqDag8VTtFLjya30MnTXHMnMI9WZMW3/LUujLYJpJJKI4k
NVHR2WAOtZ8kwZEpAtzfHvuhTz84BMoUYNPR/O/tiV3uv01F939jnZ3qUm9ECuR4iMSKuGPe2Z8B
rwdLqqn0Lrz924OdUyG2yJtJIXQGEQL/AudsAwJ47gph9ysfy3kG8x3Ew2M5RamWhZ2b7iTXGB4p
Xj8HBfoEnIx7pDjDEiiQVxCdvf1rriwzxhrgIIiSeILOAYOOmjaY7dlrhDlEvcuy8eMMzGFPvHvr
jrkyEjALqFEk5/zPuaDcUk1an6+tjOoJB+iuswg0kyW9s0yCwH+eFGkN+T9II0hZ56UnXMqGqah0
GfWw+u6nHM1bYDpxIDWjufGIX17V3CEAqhCUAE9CTPv6NkGPShvhR8oILeRDkTlfp7hOA2Qu9usk
fuPk+K+6K+yeTTV220TUOS7qDq4ST5rZWZJWSDXCzd/8yTJ3ujGtKycCSUzWD0ADG/W8J7rqhag0
r18igV/og57r40GFaXZEBEuHdlDfOu1XlhG/AA1KgwW870J9visZEAtRGSWyNyDnGP9NbUxFzDHm
XV6ZzhGkV/T2JrlyZzIk3aSNvgjw5eyC2cy1U8VrZOSK5qc+tu4B74Lqxst2GXeRZf81yPnN0pVL
27BcUZWYP4fVk/dQvuyIy3wJsYsfHtpZpHdqUtxo81zI2LA/SO83hUOwb6hvnA3szCtOBa23RJYy
jHvVi4un3IRpJBWhvNgihW9roXP9tbZq+x1wHOtdUfTGh7Qz5ucan5jnqsyaA1qPCBK33Ui1MTEe
ykZtPqRwo+6NMR0GqDgO1KjOKe5hFkFcb9Phvh02aMCYdM7sm30W7xEYUEufimz8ztFcNI4XW0ZY
2GrHimT7CYks7UVZRs8JOgWmwI2K1ZU6nQ7FgWwa3hnKuufqnepU9Wul2kvEcn+usx0Eo2Jp8AfO
HzQK0UPfcOvHv7oMqbG3N9iVC2+DBEHR3FRAyA1fXw2W6CzRIyEcESQUUWWkWDyjQrcTvXKrGnnt
uGLbwNO/OUFBhn09lG231dhV9RyVvcz9MlaPHXeHP+T9RmK7Jepy7bD+PdrZxPBfcwqjaOaoiMt7
WJoP1LK/wvKAota+FLr18+11vDY58KraFrBxls6rFDLNFJ6OVURKCb+2dQ6rPT5NsfmpKMdbkijX
pkbLYhOr2fSAL16OrhGWB1Mx6m1lj4BatmtmNdmlCG2xhSlid5bx6Z+nxx5hdrhhgEA5r6livFo2
SmfOkb46+MGU3pi/l3Hn7RVXkaEg5di/PeDlvtxCDyDA9O45cedPPnQ9zyaw6qKkUqaQ4kDu12b3
G65d8PZAlzfsNhCtNb4Z3Adz+7B/pTFQz1aRKwyU5QQyNKGmd3GC6v3bo1yfzv9G2T7pX6NgzljA
6MSvyK5Sc58VddHSgxjMj2O2qTe+PdjFdYK8MbsQUj01FnAn52XTpq5nHY27FKWHPnb8BcTqS4pK
9+K7ekXBpW9TNUGLONN+23qMvqObNWA4vUaIG3nMtnp/Fwv//BJaevCW2TzUAV/PO56GEUnDKj3G
plEdWgN52bwb64he8XCqujG5cZOeH40/42FcsgkG8aicZ9qSekjslZLxIFvu9bZCiow7Rk7uHLkF
RMJGtbIbWl1Xx7RhVOHohZbBhUJRikgvvLvk2OSm5heetezdmealVhKBLM6S31c26vBvf+Nrg26i
x1tCpSHQchaf617luLms6SKa6vqrz7P0Nw6tyqYkaiQ/MDSXOPtCrrpFPjnfyNsCw9hBJIs6M83o
s42sDssUk+yT+FarpoRAgosyNEyZvZu6HgWot2d5UbT8MxwMsc06AfrG+fPkDCaikyJlmoreR1nd
KIfCha3l9o7w4wTjQha9v8tT94W04wdkhTEwhTfduI3OL4k/PwNiFLyxDYJ8fqB6bn7D7ZT0yO2e
/rJwTNlLt4pvBHtXzy3IgQ3erFMcPV/ceZB9gRVrdvRSc0189BiHZ29t0l29rittUaP7bWGA9qHs
VXESIm13wmzHG9HgtSOL1ggNXiZLdHG2s+IhFygnMVeto66o9iD09CKnFNxDPH+ZafS+/Y3/ELFe
3xEW1ljkCWDkYCee228bXaKC+4OtLetuWWFar+Zzgh/Gf6lmFoWPNpd8sKHZO6fa1pJDMab5TuoI
Wfi2lOOP3CAxRk40R3FQNyl0hRqt+Hmfq51+gpE9eWEb12jFYm+dVwGssOWWb9LlYUQbD4umbWfA
sjh//NUO3r4xj0BnySsJEY2if9RWeLHIhY8nS8j0YUD76RYV+PIsEjhjCI+8D3bFFxdPWTTYlyhl
eSSyaz/UCKgFqd2PwPHN/p8PAIU+IvStEnBFRDszvBbyFGrn+Akm920n612aZsv7t7fC5TGjvEE2
R0bAjC6AJ4U6JNykKOYPXi/vDNGoe1lbtxLva6PAZCJf3FT4Lmq+o7Ih5zxqd3E9G/eiRCm3rDr5
4e25XB6jTVgPHSSUx7cM9eyilEomu9lgT7ilm96D2O3vCryISmT31Q9ldzPlvrYZeGdxbuDQ0hDY
/vyvCGPMFwSMqwoDAL3pDkviKIdY0b2dWt8El13b7pxV0gWMnS4LsWZbdJgKKNlx3bx7D+6c1M/x
sMxfND1BNqKftWLcVUm2LOHba3rlgtwOGux3FygvtsFn4YRiUkN0AL0cUVNzgrKc/CIG+2Ji1m2w
4IRvzznIzKcKWzLfyItbmvxX3iOgGZwCvicNkYtVdptswMDHy47tAD0g7FBFPXViSFFcdhQfRUX1
e8abFRUNQaQ/LvXohr0pvW9LRnJ9eHs5tpv47OLEh4ArADTJRqDc8vq/PnmnNEhEkz9HzljEOwya
ntu2V3ayFbbfd1n2bRzNdpdpVv1uUeP0xjuhXdnhkLxAbNHTQEvlXFmsd8Y6zSfFjdIhHvYZUhMB
GbUM0MvS/L6y2iDxWjxHkU1FSqRed3WBiwiybuARtWkJna7Ng3aR8hSPyXyHr1H3z0ESoAFQNlQw
ETO6gMkCeBpbQ0xuZBFI3AvESO76XJR3zbAqAcZk6j7pWvXGV7m6LLQ3t/oXo5/LambJondusrhR
qxr9g7QKfZ/nSHhS4JmDHjXiG1fzldO4BbycC3QhSGHOSkRgD+yeNzGO4sZLHjwr00IgZgVK7bqz
n91UCfF8m298/D9mYGd7Dy4YXSbY+4i1nl9v2dqPYz55caRNefMIGrkaQsT/qUzj2r08WEptS8zz
bF2EWSmTL2Xvmh87PL5FoKfaSvi0TicVCNqArmiWxUE/NuihJwVmYf48TGa+r+o86T6ZQ9n/5xj9
2mLOaTXWYe2gwsX453rAltb4h7qgnqLWpes3zVDu0hL1Ale6C7A2xf5XjDdwBnJRIjQqE0Chz9nK
ILlFNUD0Pw5YWNxVk9Efl75b33VlN97Avly50BmKlIKoU7fs85jTNhqPOE9Roly3kwMkUfm1qpbk
XrrDrQLglS20hS1baYZe7wUH2+m91FlLQ4n0Jc/DuV0BMvJtHvVheA9nG0V4ivI3zua1Y8K1hVo2
kT06AGfbFp3+IkFBxIlQMmqHw6gY9nOGY9+hALfs+a49pbfcpq88/BvLnOYTGQX1xrPXoy0MAKaD
pkTNVIBGxrFKfyfNuLjlVnXly20ImU0kmmzBPg/jEVIfgRz0SiRH3CAmIhCUM9vKe1B1QPr//AZs
PCdQ1+isbZIwr98AwGctnINaiRQNV05kDhzA632pDnggz53xwW7z8nflLOvnyZJYbIzCBKb09m+4
8inpym6pER7QaIucraua9IOHOCkJsFlkxwzVn4Nuk3+aVYmE0trdKu1d+47O5lBqIzG39U5ez1nL
kTP3Kr7jajv1dwWvKnB+ZZHXN8KNa+NsqABKXpTfL8L6Qq1xfh2cOEqSTgvRTCkfkSrJbnzBa7uF
yHoDPAO2Q3zj9Wx0/CdqolElGqGeRrarjPfKBBHGgeR+40NdcHW4vqi5AxP7Y7cInff1WG0Gaa1L
hjhK48R6n/G4c2sWRjP7ozPTriHRjTFq6Zfcu3eGZMof2kQR3yptSD66+qSJvYZLwOYQkcs7BZZG
e0uB8spqIDTOcw2ehjz4/OxMHq6xY20kx1VL+iO4wvQwNu740C2KuPGGXR2Kt4sGJ5Q6YAyvF0Pz
UHydqzo5JkD0TtPYgjxOlfjgVrpyY+GvXbDgNjfuMo044xyG1IsyK5tl4oJVy2q/WEKcFnPVj31i
xjuwwFVYjqb+j6194gGG2p4Oe9MNPa9sekDx+gUdg8joxkL/htWGdL+vaz0+FDL/V6Qm4h2U9TmL
FKXoU1/4fYm50TptwmTBS5HyEjBhhkZpUT7rylONz+a/rijIafaIZ2zGEsh5nJ0ap4KL5C4kcZsW
61f0fGZgZFgE2XFVHfFDQjyvTW8xFC52DHZcyCYxVUgDuA2cBdyi7bqpKCXq3EumHDOaZL6mJjJ0
C/tfcVe0EhiK25TCIsih8ypMX5Qs5zqhu9zJbIes3hAKT5F7XWVWhipuseu3n/4qnmM8cK/AbLnu
oEqerafI00zUs1kc89xDLQeM7H41RYnerYFv0qA8FKo7+3mhO5/efjwuLtlt4A3gifrLBrbcHpe/
kpgSOTNcjDAgMxK7821vrZ9hlTX/WllgFBwi+A+hHsLls2dSCr3uwDnjOIY1hu/B6n+Y9bW+MZdr
+4NZUJYlIqY1vc31r7koQkOgXXepPnsyiVyJVLhO5v9BUaZbkmWGt11P518MrPLWuENNjO7+68E8
u9R70WXpUZ+SfCur6zKY6nk4KPFgLn5mqMmIjtjiwJC30InzZzdP8aqa2/qQ5xP9z1rRCmVnoGaH
Vo1jt1/R1GyepVrXd6vWKRYoj3Y7YEZy3/Qy66BitPHLatjZYyxTir12MxcIwsOqDPsBfQG/nqrh
s5JI7YNbIlEnDDEcyiFTwnJ21BP/qAcLTZuHRxR0xiyASbVEHaXdnSd6jETUfM1PhufmD8vsNIFG
50AL6c/anxYuyU8pF8wK34oCYAA4fviNSc74kaJ7uctSc84OgzLbXyuzmz1ENcv8sHp28d9o6wim
e0tSR93YLV8cp+pmfpAoycmStqgDFGWUn4g+avtOekMWJLVQuEhk9qLzD77IqhgPqYNyo68aXRF5
sat/nhe9mIJFz1f0IdGb9ccMU4KqbeJDg4LzL5wJDBWfjNr5Vkz68kUdC95N1QGghkhtfIhNAYEs
tZd3te6sxybrY4p3i7q3FtGEmNqTGI2tWO7seTFfjNJQdzDMqm/2UCrTXpPKlPuLDehotjVQMBX9
bzWcq6z4ZUkH8TKX1qePfybBHrCv5HsshQ3vDgHFQBpdzu9p2kM3IptAc8wO1LIXrH9sUOYlxYQG
U3CtaYvhwqHRhC+W1XhJuSDutCqrD9pa1VFf9OI5lWq58kvUFcu5RBPqIUZ9H1sZpcRDS++G+dM8
TfFvJdYK697NrOZFXez0Y9PSoK+aZn6H+7kCbqOQT0A95SdVxO7L6owOSaXVRDFdq9wfV3c6wtDK
HhKdLrlwsLOE9JjXe4gS4ONwEipr343NGmFjWU5LGRRukTzhrURbv0kwXfO1uakMP14KuwyTQqBn
Nwu9CfWhUI6NBvMbozHaw1hgmE8jzmAfptSkjmoUdu8GVaM0L6OQEzWuTa1axzjUC8fZ8B7oUk4f
vdwg7aTrMj6MG989ooK0rmGtWePsl/Wow88FrJ7g+Pas4h4W2WK2sH3WmvTJKcW6W4c2/a7kA3V9
xWkf9cmTQWrYc8RbpGb+sCzll2ro0HelJJf6ozuMnz1tUh4LL9WGneYsE82tsTOeOyRRsKsqSzok
Y2pofAvY9icICK4Vxlk5HYx46bSnzpOGExrprIZTqSQo6uKSdd8b83JvZ+mkHewKHi6XxLoel1nR
Dn1nWl9Eli9YPpsV1WwpzP7BU4zqc9lrMJio/mUR/eB2R7YAJRmloaZ/xo3QxfMtrnA2mHG1edGp
Jd83Xoc7sZDWchSQv/J9O1qDHgxj3/1sBgUogq0rZTjUovs6gujwHixcABAobZzSCasO3c33Zp0v
x64vlSYgbl3/a2tN3UHzr7g6sCDMfc0T1CPNXq/vYrsAu4zkIVw8qdnv0Bddeh9yEKhwHZlDpF4b
7Q4pXPsbelbioEwbL89b+iBPJMyxNauCQtY9+yr3PiZYxrLrZZEfpiGzf1bCGb5Po9WdOk/gdlXn
2bs4Lq0Jx6TOC/FwSD+S0OenfGm7o6Lk63NvmuUHYTTVjwUnwmfwPXXgTGv+YzahGQ6GN1aHcdGn
KIsb54e5FvW24Kv52YgNeQfpmMZuRpGiQpN0aX+a7VRhl6DLA4Gs+V+GsjCyzG5lYQOHU8VxFQuO
sLPTTUdo6s1PA3uhB/AxIprpRkWzU68fk8KYUHXNi8cp66pj6ubrgTYft+uSa/dpZVbtHu8n7VBr
q7efRKPsBxwpceLux+HbnKNRm1OiRRm1bTizC3uYhnNrH4WVTp+IdeIdRPw1DjCWsd5rVp+0vkL6
McBCs5bUh+jpInXbmUjv5Ppj7W243tm2otoxd/P0w4w/DdYpVypd4z72mruWGpwIFC1P270NMssM
CuSDsfFbEgTfOzc3pV9UVpn4XT+Kjwryc6dR6+xdrE7mKbaQY6hytX8YpO0dULpO95s13VNGFeq9
01ej4fdNWpyKeU7vdbPsjiMuHbuxbhA4Ms2mcALNBrgCPYW6vlMil1GVdpP6Qyq9T7UjGjLietm5
yjI9WtbYHRo8Ae+8rvT2Q2nJ56ltkyPFrvyh0HRod3qirp8WooVTmluc+iaJMV0p7CFEdLn4uMoB
pwFPG4qHfHLTJ2zh+yZM+ERz2KlIYOFKKfUf3CLlfsqc5M7F2ysynKXBtAYx3IT6OIy7t+O3y8CR
2jOVI9LxP+p6W0z0V8yT9jC9m8rBX8KLy4Oe2ECqvKFfw0WZ3XDpJhVxnuIrvTze27eHvmDuo+xL
0gHMgQ9H7nEOUk3VuCQD7YnHbdzAA1sf1WM56Qa0RkCce8VczZ3RuMljXJImbfewYvxa6eO/F12v
hVLL9AMWousjnWs9CbI1K0sfq7jivu2NsQ7NwcB8xm6HcFyGbnsgVkw/XWtajlMfu8n+7flsoe7r
iI56GG1QnRCHYPU8p7HrxIRU3BRHFbe1T6NRxs/tbLzIwV05MpAz3x7uMlrdyhqkGZuu1/ZsvP5y
TW2Z5ahqxdFCP+xBuql1EMIeD0p7k5Hwp7BwPrVNmgQA6ib1ep5ezIvmrI0lcfde+saPqz79ms9Z
eahNHgBOfxroq/jpckd9Gssk9s1s8I6WJSoKkaLbxfV0Qw/yspPD3kEM70+exYN8DjBynBSr1mwt
jwPCkGs4r52zs2Tya02HNWhjbIjKVEXIcZztaB0L9dBMBuLoHoazb3+GLbM6Xxr45ySUdP0vXeVi
dcxQn1jKY5tV7qF0smqPTG8a5m3cIHQYG76ZJhO6ErP5o5vaW0XRa+eXYiWNSlg3ZNNnVZBOw6a4
I2fHXwuBGEAB3jvRTusuV3W5M+36W4bZAeHMTa3Ma9uP4ajI6iTwgMpebz/dqKSVFWScOFvrYSGI
R1stn99Vs2rcqIRc9g352MAcdWNLA2lanV1SAD9RRxzs4ghkPD+uTUWpNJWtfEL5fN4BGVp3ooZN
zhVW+Guxqn4K6uQGFuraSpPqwvemdXDZru9WpewalDKOa9H3j0ZRD7s4BYRFAtV8xCHYCvKijUPD
mvvd21vs2lJvVvf0CXEUh+v0eqkTdyK57o3yiJK2jIrZ7e9EMyaP6yicu7eHurKbYR5tNEOy0su6
TO7WIqZABCZB1IVf99VEkFv16AGm4z6TqRdmdn10MlsLNRRVbpylK0uMhgtipUAINoX0s80MjbmY
qzgpj4WBSQOv9UdjKAhI3LjyJ2wBCp9S+eesscefb0/7ygpDC3LAgEFRoDN9dpdC/aUIXWJ9NEBH
3VcuF5eGXunzxCtxYzNfW+FNLNsDV8BYFxXSBSUDfIt59FTyoWJc/7jHmEE3LJ/MrK6PZg12yCtb
Ce4lvsWCujo6tQ1KizxUQEJfbyVloX/kOUNxbMu6DUa3yZ8TIkM8fLU2tBNnerAdEoA6V/oIffwk
enudr51kEqzNEImB6K/qr8fX2qHiDgXkr9dIagSVbmWkWWqS/Pa8fDEPrhWPX1ZIhA8Gtj6DX8kM
oZ16LJv08PZPuSxc0fhG7hSqHTsObsrrX+IpjTSSOk2OFb39B6i7YgIA4HW3KnOoVV9bdJQ4HCCN
nCs4wq+HUq11QlImxwwUx7eH1pgMtA2qcl+OXr5fHSyNnAmfjKmq7DDP8BqCFOFS9rW/S0RD0CNK
KQ+t38EMPruTPtB+70gW+kkP1qyXe6WFw50sKqWJdI6PTdHoAZVx9YEFfVC17rfaD/UOw+X3lpfj
8tqbU2CuOX+bZj6pcJZ+Q+fskzJ6/9HMfJn1Mfd57L/iIz2jFqDChB2Ubqcvk72rWzVaU7aO7k3F
3do28hvlkuIHgdVxKszJh9LBvdERrMbuvPiQAN6rQAbCCrPnXYJ4hy8G0Qf6YDKPSfYhpYOTLOQz
G0IEkyg/252xUoQxaKgsn4o8M30xdmZUVonir66VvfOk5gRV4a0ofDhdMEn3dzIvd60yUXiw+qc4
xQHFbdd1Z7nj5yZtyQumTOzgKN2JvPwo51nzh6r7pMyDRTCTD/iFJmQxQ0nWseDlTXHg1E7pR73I
3rfDHKOt0Ud1Fcf7ucTfm6iYv5KgA1PpwjcwcA8ok/d+1Rkne7CObm19bkscNBojV465U2IU2mIt
5trFZ9kvX6WRmt9LhVpHHcvu0dQRBoqpvx+NptnTXbH8Ptdd8u8l3zt0zQ+LZy+wxCojsFu3RAiE
ysrsFXUYl3R3XSmLE36IMgBrbfmg8kdMEBoRtHC5gqKtXiTGfyfhLu8MxUhOJrW7UIe555ptjb28
8Y3qHdRPO5GQOKYknFNAd8Zo/GiJPtHy16DM9IYIwZDhlWHJZjfqmFxXGu4taE8MIfw8VCT07H5Z
naetFoYTea2GOfnpUSsa4bcmMgyD2ndBGfNi5oTEYZY0VaiUUt+Zs2P+NysGBkFT0qHIgLB0ICrH
+9HblObmpX9cFy4pfEMPRDOP6WA8AzbM/EQiDKI0q+Wri5Pv6i7/MVXrN13iY6zZyhNebu6dAquv
XhLKCc7yVBAZYmBvHqCWpyd1FWZQOkp/nxhpEfRmVew3x71dbznyXqbqgT+r2A6SDVVkuS8MKsGl
Y340xVwFdqog9mkv3+0YkdGkS58lFYmHmrh88fES6feloaHu7kgmv6nqYjM2hLKx3Ye+8E6NpuR+
mo37rmjuKtW6t3rS7NHwTkmxLIE5m9QZR2OB2K85u0bm6o8NF/zY59p3r9QjO52fWzq2ddX+3vRq
Dp5TLgGyHmo4NtrqW8LO7iCi/i68uN0ccPQgFuo3SivgA2yYsIsC7j+bnXLnlRv+Q0l+yhRNT6qM
7CClxX4rV3wSsl+emxlhSxyyEzz9ANDNbK8kypPZDj+Q+/k9re4Ppau9O7Wvf2G1gP0oEULm8I3M
DMCQ5VgfqLLex05mfkb3u9p3eP39Rrjo1KoZhjpZ+1IPjJq2iYoFvfUFu1Pqtfn8ZSgXNXCNpNwN
ir78GFLAu/T8+TmVl6DEaH9e52YMkk3gZBZrUNfml9odd4ldzSFh3KNexQ9q7IrHmnV+SrrpseiX
b9OSxIEKuv2kxf0nI+2fgYZgn1uTg9f+POPTpae2F3SePfkjDjl3Xl1qu4qmsl/Y8PwQ0Pqt59pU
7hfTqR5ylLFzu2p3STaaT+nSp7ulLwZf680vHUDPYJBj8blOnMRPcYujlKx3WADOfeYD+ekDG3Cw
rDfXptnJQ0ph3Tu308xQrfPTUpf9nam7jZ+5du1PJmAaGG5qoFc18KDJogQTO1Plm7ac9uvYVIGK
SMkpXTQ7GNQmD42am57D9GQ5NXlwbnyuXefLZjSO4eFUUKVI1B+AVXhwF905jh3eQ2useb4qNCuE
OMJt1Cd7oSxNCI22vC+k6aIE9X+cnVdz3Dq6rn8Rq5jDLUMHZcmybPmG5SAzgQHM5K8/D71P1bba
vdU1M1drlmeMBgkCH97vDcKMZJe0e3cd3Z3UywTWQvJQz9VzntRqBK2pDjN26gAx9KOyWNN+HVTM
r5rKucsEBEMS7frQGdXqLhunHxV4kM/lC6iMO6xSwDzLOvVRzAleWW1s75sk4QDLJmM/muryQNEv
groChV+bglZDnoWTW/SAwHOxX3TtVlfWX7OeAsroGaBi0WHd1Y+PNS7jTtNUIO5uF6XddsZIoe3c
1SSh2uuOvJH6aagspDJOO4VzJu0AAiAGgmI+aLJIfUKk7Cgh+IxE1zXNw3F0FhBNqlVtrl3ONyDZ
oV/M0Osm7iWSfqrD43HL/iu0VS2Y6HLxhabKk1bo5V4bvdLPpPqo1ssTKjL7phap7hcG0POqFE3m
60Y73Ms2K3xsp9rnpkiWmb9Fe7JQ10bk3OJZZrlj1Eyy2o3FJsgDP9mbZXbHwv/ZlPlKNJLGAaUi
Px61IqIf0Pugso0/9WJ4EDGRtAqEGIpsycLN11dtVN4Ux0ojTUw4D7rC4tvU6qhIxq/6WFYHi7gU
3ypbJ/BW/VFZcfjPe3MIe6We/XJIpZ/OIr0fHCxoC57N3C59oLbUP7EaXw91IoJew84TPl6gqbD6
jNxVMIixWl7k+hYLAFxVSW5Xq5a/ardWgthBxWSANtzGqzlvbYIsyJXmxjEEfmtY+/llLdtwWYc3
Uw41viRyuB4Mea+p8kuTGt/Q4BX7rtUBncl9j4axSgIWPS200iHlkR6KvzryzeomNmfPevY80T8m
XR+DvhIAafUcepo+ZxxJ2er3UCQjtYl/S+JX9sOY4ojVeaZf54CtJDzJUI+rm6LsaK7Z2o1m0HNe
UhwOrKozQgrGxQcJLm5QLpb7SqbFXriJeIz11Q0QR4qHvFxq0A0tRYbr/K7q+JsoVu1qtVxy6dLh
u1Uq39c0IWLLHb1IG6ouSEngieaOAyqvaXrlshj8FtTZ75fU3WWNTiNDGa9Xt9UfkRKlu0WP6cF4
xY/CBI8VQJtRQ7JO0A1qwcaSYqGZ1p9jmlQH/Jceu9LuAqMQr9gA0zTp1ythQsIi1xEz4FJ7SxWz
CJymvyWyswjjBZqotZaPoCr31MifFWxCAl5A85SY9IZMYkrvO3LMopb1G+CGVt6kZNMf0rFbd1Na
PslECDpcbmwFTtyOnzM5Pa2Trj2bY3qvDd7PdMpvBim3znNRPcwu5c2kF86usJJ6N9K93lVyepjz
xgwL6by5hkC2aGewurriKHQNUYrgm4290byhy8xxZNeNnxW1fLVjXjcWDq/eSDHG7bzZZYkNHtug
3kh1pKTCML8SW6eGwIpJgDXfGFRWLgMjTqHB1SKPNhA0WJZW97XVQCvp8gHGU0yrp5rWQ8X/NZv4
qFbNHK97Z/5FJ/9OH4dXpVfjnVtBTJY0coMx6dgcM7UJyYF47HTxi8Dsz2muN/5C8f+SqxyDRZ/l
AQgMLoZJWXF9sppruhs1NwyzosARFIQEnMAJKCcfgzXAbse0Aq+fBuQYTu4vUEEDnGKnoNPbaxSf
13XhfUo8Iw8HN1NYDoV5rLd2UesVXxJCXzCcy/yxah4wYqp8YQ8yGIUbOWp/O2X6NAXrNJg3EwF/
P/j3C2d9snzJ2jxm6TglGxCtGein7l6rs5FubDc9xjQ1I9VphI/EcESczTfUGfOwj1UlkjJbuS1X
xpMc4/ZmLlY7MsqpD3Ir/xZzJIBfj3xyJd6Ebn1VKRlxGe5V4mX3Ss6E29XogtaVZaDVan/VLPIL
rJ7+gGOGceeM9nVpGeWTpSrmD1IFUz9xl/VbPmvV7JujNYaVyyWmqLP1TipuFehYEeIysCzajTSs
uxETSn+264H7D5WuZ8fasdDr9Dm2e7wTTQuqX1eku7lvESyL9NVqhs8qHkBRDPcA1+caHKlKFr8B
xotsLx4faADVeO31NMesLKZTrXVHyT0z0krtO2GNN7pw1ycl9bKjl5Y/vJXW/DI2XjTKMWsiGtfa
NTtT+bmcUu3Y9rOza8DbpD8M6HWgqcwPszH/xOwy/07TZgncLMfsbKPnr6Uj9n1WlREOsbd4jXDb
KvbWLIxD3WLlNbUGMQS0W7qVhiFVy7SrsAC9XoqYfIIqn5L7QnHSx5wLCJ5vDbd4l0up4VHEea54
brvxqxNr13qjfUozu97HiT3cacm88OadR1kSkZjY/bFfe4VkMft7pq3OAeiAzpTMx8C0SPfEWx01
5BjLXT7JG6zvsMSc4u6wNJaHu6Y0wlxNv3UuGlTs1yb+0I2Dwe1WPBtT99NAG/nKHRd3T2iywSTM
lJvTDP19pVCedC4+BQAwR7poAq8Z6V4u32h5ZphraZ91u7up8LTkC1j7q0TnoQ3K8LuN66OXZ95u
ahCkSqd+qcrhOZHd7zjJbqYh0em1ye9Jb7+65nK7NPH1angPpHXOxNhPCVemlbYB6TL9PbzwbZ/N
MouU2sXgfm0o6vrNFYnxm/9B+b1rcr48qGJI/TXhjVemgnIp9Piqmkjp9PGHVs/kEuQq3b/vhSWx
ZjYJ4G4jBC4WL3Bt55+q1uk/dWcqShgofYBULzBCtTV/6uryfYrTByXJHd+zVjOcDOsHr7aJRKW0
Ny4KsCsva77IwqDFpq/loR5oyA1rod30ls4FV3V/OUZ8AEg+CNXt6W5p1qGNCUptq/j37NSfHKPh
QOp/DBl3JXp+PwHHwpq2rT+7XR6tloFVaWK0e5HHbEJ5PEdFQ9m8cpCjrFOsoC1ieu/kmlY5ithK
0+4T2Bs4us6fUkKOAvprr0upf8+rrHzjkvcmurx7dK3OifB67qJhhr+k1e7j0k/KzunFo14Wtd9K
1jTtB44I2LixQqammfu6XGTk0Ok0Uk6lkc3IhxExE6IJeiCUtg1iPc132Mr8qIrJixo4gtGarE24
TBJeNp6dSkP8MM35JiRzxbiLyaMMPK+acLYvD6aao2pKqZq0SUL3XOKaP0QOlKpGj3lv/jiN2h01
Y4mjHQ19KcanLG2+xiRd7Jwx/mYIDn3Wb3Vv6P2PWS9flLV4XBP7rk3IJ7RS3Qhbt+8jp5o/u7P7
pGpjeTSNbojGJr1vBiu+XazlobLcq3lOh3AtstQ3V6g5ea/aR4z6SdjjdogJH6iQOXlXasqqLa1s
wDHdinHdXopHTOv6oF6G16pJnbBwkyc7h8tRq/mR9HA3HB3zAauWl35JvB0G4Tf9XMRB143G9dp3
pGis00+RdMqRNLMxaIf068Dd/lqYTog1KsEelYchLCQm3a6OSWXerHnlAlvLeV/mdhzArcr2dYwl
7JhZXPz7oo2crjyCCRRRr1n5QdXFt8LU79JR9j514meEZ9jmzVP2s7YXF6aGqkWdNjpBqsArzcp2
8lO7jaNh0Z+VcgUo3kDydrXLwBLmg6Po/CuUt5FVZa9sn4KLQzZFhUOI2LCu93E2flelMx5o8V4P
wvpqFNkvMJLcz0z55MZdTei24kQGDHpO21qPREZYoIvr39vkLVd657wBk+uP1dr0L5obt1FXraQb
e4bgbFvlAQ1JdzOn/XwYZXMva0gdQzM8ZHJ5UCgGd426smK8jh1q8R75+uawzZRAGloXaH3dZX5a
5m7IiUM94NqpxcUSX8eDXLOEm1Fu537ZDrHfjcNnYhOhuMiBo5Gg5KbTvwh4o5EAMvG7VnswUuvZ
yMwycnNLXDurWh6zNb9eV+OuUlSu5EoObcIuAgUpVLj+Ad9SaFRrgr+wMZNG5JatEQolx4Szsimf
wDEeGogeVPbTuBDtPMZXeQHTZW3yXzbhhIdiyZ5y2/tdN4ntx9h++lVh71WrSe96rpO8Ut05tKQy
rr49cMiAQAR9xs2PmqjyK8I/9s3qLF+A8oSfUOrvvaFygtzIxU6D3gzyodqfxOaAgf52DqWHnYyi
C3xxDbrYq/UTAEgGMyrWYPXy21S6AOweHyTB9RV6mWa66bIceemKX91gt0ugzlW107LhZaUS8LOs
uF/1VQ+s2W59VgRmtJle7wt9OQ7Zn/psvVVS/dWqu2vNUb44iZzuhDXpYQ9s7hfSNaJYmauIdhkF
g+veWk3VhshfvafCMX+swnod0ITu5swrj7XqrlEqCWWGkhiH1Bi/V1E/lKr6Bsn5dnVrTkVPvc1t
KIIJYMdRIXJ1J4ou4Z3g1NXxVm2RruHidErYCf0pgy0aNDD9YFQ43u3kev1+rccn6qmXYhpxGwW4
DBypHjrb+u2VNeSnZQN0cb7fr9CM9q3SNXdOCd5QTujhUBY/wiz7XpcKLf5R/DZmagmnBLUzFSou
0N4H2xviUNnYc7M9PE8xFW5STPcdQdrhqLgPMvaKyCpY/BDfhy9Sgmq0FEZ74M/fiTp/KixugKKq
vbDoFsqgVUegqKdhqq+szXYdAq2RT1avFyFA+Tc10+hLGXPyDa8SsW9hB8IYBHvGpt/2x3VsuOE3
5VHUne5bRfN5JRUhkBvhrs/Gln/l6YHixrDy3SmL0royyQV1OTHq+9YeD4nIr2cdCG9RnpJykj5b
ohpUjdtdb5tP14/6HRdqOL9Wk4dk3sHlFNibS2XJdo2AxbcugqvKMKxHyOPT1ehCqrIHtmRq02v8
nahPPZObvV2UN4bbEGieZZxuOQUVWLKiRpoFXG4DpiBjx1B7Xp4x6qt2pfDMn/bcYEAlRHsba/Nv
ZEDdQebz0dGbJuSKc2zK2PKHZHxZCisP3NwtfseetkZyyHVuuZkk4zvOo8b2ErYK99lYkJ3m9KWi
nrDPR3bNJHB7LkZzGV9hnZxH89w+LJ74Uo1G/rOjYecbIk92+rTQDpEwgqR1o/TjD7VJjsJAe17L
6t6rkxfSLsRVAlMgyGwrjvLFuksWbjW1Qr51jmbKku1OWe0HvBbJ49AdERJ690VpsrdR6SZwGtP0
PV0+0+ZNr01lojisGzuqkchEqyQpD/JQ+a1d5vqmcrz52S5iwpUndKy0UtKCbvUoC/67aoWVPnOq
60oXzUMnI9udf4ux6vaDR+9c5XUbnhpVS7MeVXZh34jV+0Rzv4+Fue86s97J3g6yeSwiojc1WFra
8+QkajAXMrnOY4hbY+dUARdSUI5SfSGeDE4n5IPrptQ/o8audwnC2GiCaXWL8OdLgokuf/P40CKl
ivolfkkVG9JhOX5DEwwPLDMf6FA8dlblhEnODleT1K7UUHltmjBhnRGHHNpzZ3wy6/VIWw1kxv7i
cPW7WjstqIn8COxpbL9NRcFhZqVPiSiWaHEqSIKq88nsFc8f+IUR2TN0mrvWpsOi4UjXensnK+Tj
Muss0nX0bq0iZVVPorqnApSHdUbZ6ptSjUYFz6XZSG6mhkPB1JMpqFVPBJo5xb4N5zCapHyxY7Eh
SMrqYwr32GxNFlxxInre34pYdWGU9q+NtR5tIPJAF9WDXm/s1bJf3pLG2iiRZHXCgJY5BOB5rxhm
s+vM+B73A6DrzINSXcxuG/St0UV4yo5Bl9d6uK4CSu6S2Z/wQG4EcR5Urk05m7u5KV5GV0cyRL8t
btAC5zGBfO7Ay0sFO3k5PlRq87JWxjMd1a+dgvGLrEg/HdFqFEn+murkx890kkn9SzH0m49Gk3oP
ngc9rUy8fZuwT5JTOfA84resVt/QrOxLp3lJEoihykS7Za2aCClyD2qVFod2ArVRDPfN5kxK4nGL
dMrBvLALsPPkRkq7DpQ+f2CXrWD+xa+jrn1aMtHeOzCefS013Wulnx/Y3cWVkg5s3jkx6hT0Cl55
uuensfGLgCGboGpZXHktjCJVyvs+tl97jyjmcuq+CijDkUNOQ2Rk4il36hsrU+/QlitE0sUskLTR
bya7+qmWBPy15NkD5ynmzujH7ClbEkon0/06iORr23G9M9b2U2mxRKYM/Gj03nrTOyZaO+yLKSH0
xcB3RFMpCPp1uekq7fsg46cJOmOWKHedPhD/ajiRuwJzrakCDV9kt4VtfxZt8klq1E3YCHzjHkk6
JiRckXUvJpcIG8JpZCukuja0Kvq2fAN4Lvax13xXlXpPzES5n6V5gWDwj1iJyyiSaYwEsBa2iCh/
323GXTIbOuiURzOfvJ9jNUwHnAS0Dc+Kj4h12xttJW324276GQIFliPIyF08yKh6thb4XzTCRjdm
x8yL9MoR+Lm4SvGc9vr0JU9c/YJF0LmRuFPgNqKi0lRPdbUVFV5j2nl6JUUiIMprrJjezhKs7kzr
08ezOtO434iJHvok1dpIfe9nlQmtnWro97jI5fBeldVtAMyKtgTAM4rkie06zjnGMnXedQmHzNFu
Z6FemPG5X7HFo1IzkSADY+H9r9Dswawn8IarzkAgrYtm3Qs5y+tOGHI35S5OQQXkPVygiPbodSW/
QBE998Shl3mwJQiU+cdDuindQYA8ZVdCadRgNWCcr6PeAEjjlfbxAz9DoYTF9r9DnZAyUjAd113x
C/JkI26cfPWurAKpSywG9VFmrX5hvHNTQyRpUVaRfPSPOT1Bl5pBABY9VOmoe1ywmkOFSAzvnpx+
/sdzOzcWZE1IPzCsoL6cvEa7rFdtbtArDpqIv7Po8AHq6qd5nssLL+zMDoAJCzxYniUkqtOAklHm
njDKNrkqFjJcUixRuRjGFTZztN2LKvkhC9leoG5tb+aEBmkhY4a3xd2WZ7nN/q8NAIEQZmEZws/Y
FqrhA1mRb6tbNS2Yjx/jmSViOSjAoac53MVPoxLQyHDea3151S+r9pv406L1yUvYvChWyyP+psGD
8r+YHBsOjxKpKXz6E9ZUvxoJAS1deRXPSzWAJaiqRNOx2C8fz+3Mi7NwgsChFHMGNlPj/UNcmoYy
OqnKq1YbtCCrbHdLoVeOBec1XTHKso2H9+XjQc9xsti2sXxV6URsHMv3o8YYsjgrDICrskb2Ca6i
+F1tjI+6Q6Mj9WIvqrqB+mM01p29UQOAES/FEJ55qyhhNGi0Ll8hT+D9b4AXhG2BzMqrIcfoLiig
2y6BkXAu+8Ksrd8jpkiXxjzHIabDhoOpjp0QpebJ424KUEUtacTVVDZTqCBCweyiftra47WqxD9Q
Wq17RRX6A6FvoNbz8jrM8SUruDNfDppUoj82YvXG5X4/9ZqVNZfrWlylwH8PCT27mxoD8wtL+Mzu
w5m5WUIjOMJy5uQl9+CyczJOAi3Q1IZjPXVXzpzmhwLSyf7jBXUyFP4TsFp4rmyrhPth0fR+Qour
lgNSIuugjD0dq+3227vtJ6fr7z8e6ORz2QaCd2zhYkJ5Be/uZNEIgJsagbh1QGzxJcVQD7rCESjk
PtbN7YJ34RGerNFtuM2MBpkrTD5wzZMNnN4ol+VZtw/I7F5h9YPR9yK/H9FkP0sBNPXx7E6X5zYe
3o+wRLfx4N1v0/9rS/UaZZpMNXMOuam0tBZRFjm+3afqFEL5kkj/O3tUYJYvU+FbqxSKX5iQRtkE
C9uFcPXx7znzWuEZ4XGAQ4S++Si//zltOupOqpbOAWuHNsztzAucEtWTjE119/FQp55yf6auI2jG
oYqSg+m/H0tLOq+wkVce+oFQtfzXMraoN6adN1qh4pqHemoiPRV0VUn4InIN5Q0Uky+tB2jY2qFw
H5IEOtwKMaIcN5rYhWdxJk7dcLfkBPYsz2aVn7wbGjAJmWMD/YzpS1wCmeqzgDX0TKQU1yW0KOKb
Kr/OpvnTmp7o0V0a/2TT+POA/h7/ZC3OoBtNWnX2oXBNP5luG6XZg00DJF4lyV1ufSv6K6nN38v0
hlQr17R28DUulBnGtmf8deaf/ojTPUUKdPR61duHunlwl1fP+qmR/GvUCJXi5EffJZAFe9+xCKHD
tdRq7J0NOplJ6M3y00bSNHOVoD3Qc30IJ0AitbGvK83DmqLgqp0EqKZDJLu+6ib+4MFFsN/S/Nsq
fn683E4eJtonDA/YsdhONt9z62Rl50mz8nS86jiaQgvSThmPudVaFx7Xmd2KDiX3MdVD9f1vls2U
JrHaxhZZFxzkLZXUAZul9DB0bbOztCI7VmZbXvLeP7dSsbzku8XClf+cko/NdclMLa6sQzUU96am
hrYkrN4bQq/sdpXTBz1MFQ6csLNmLttpMMGJ/I+fL+1o7BAo2PDJPvVdyBU4ComXiyM02/rZruOX
etKGC35LZ14iiiAKQ0T1uMydZuWVdTJqPdElG2xW+4PVaTsDnt7+46mcbILbUnk3ivF+YypaVYIN
zwLvmvUVX67vla49DlAfL3zgJ2fNn3HYZiGMQ9Tfrn7vx9FrXBBWhchjWbUQpScYJKVo4Kl1RYLR
iWoRuPjxzLYd46+P+X9GxFeJiBYcm7kPvR8xVdXOnkopjq0zDM9bX/ggTJn3Puz51QNwkaakg1x1
jU9LrIQuVjtvH/+E07X6P7+ByxhcedSInLHvf4MUQioD8N5Rqq7xuWud+bbGsDLIXAt2Neq/yFtT
zR+WBGFZb7Z+kg5fzXHJrrN0Mr9c+DXbuzx5Iqh9CF9UKY4tzrz3v0aZ6rrIR9pkDrELfXIt1Ol2
4Kxz5ieD9LKlGPZz+UK7KMwMGEeJEQzNheV2WgNsT2Tz1uerQXbOf9k2lb9qAKwDce10m/pYu0CK
mI0tn9Wun0j9AkVesSKAogFXaYh1+6ki54mm/+CxxS4w+D5+HFvVdvo0/qAQgGxcUE7lhqYr1VIq
gLZqP93Umb0zR34HjhD7VCPbYOBz0NvHj8fcZvfPmNp2hSU97t/7EDIQ4VUtG7Pqpgn6UOvJncR9
lrrHfJnC1pKXapyzA6IG2fRmyMxOJZyK53Z2bRNVVdfudZwrdxAPnWCK288aKbZtYl+S354dkPVu
oG7DDefU9lOdOwgB6VDRP1u/5GWr3dWx+TRgJ7DTxuLN6Ufv+eNn+s91b1tSlFVctCwmyKJ6v6SG
TluLumNJjeXch2DE3f2QN9CVV0W9beys9lOMxGmsutOtQVQTZFGnffr4R5zZRhEOciZgeUh276mf
i2d2XqZCryAA3TX3w4SX0liOVVDUufPfDLVV0NsXbOmnd/dlakUF47w6QsvkK5VKHMFxpZRs50vy
tTObNjUEFTuWOGxhpxiIlseTtxoj9uhu/jWJu1+TuoaavlEtu18fP8Az64bAOjB9x0LKxVt8/xLn
xDQU0oSb49Sjry3Qhu46Z3WuiJRrwtKyx90sl+GCU/qZLYASCZ+4zdeQOLmTI4K8P6ucq7Gm4z89
eMYPo24GtD7DzVIuyBqmFz3RpgvbzpmV8veY3slNIFl6Cdunr48pRCctzgYYhvOR5sjrxw/0zLvj
egf+gZbYQ4F4+lVAIkfxKOuj0UI1gtoAO9+or1oj37cZvbyPRzs7K6Ae7nbbJecU7kiwl7WxK2FW
HB1R3Hn0TSaBOqbmoP94qLMT4xJpa3xtKKa3lfTXCaLEtY0HXlYfBwOBYZGavllam1jL1aKhQwD0
8XBnFibXVuR9KI1NKpeTI9ysEf40aEQxe8ew+2ArRWxFg0JTLyDXd7V3MbZtZTSj2LoEZJ2pYFzQ
+j8ABwiEc3Jer1IW+tgw0ywtXsSEPwnfKh38OguUUqPszm/aqrkHUA7/8zlT3sIC45pOsvz2tv96
xCgaEh2qRn3EU3VnGNVTLuxfSQ1DcEE3sLmafDzeudWD8F2lpgfhdU4PjQKABeijao5io8UpQHe+
Qxvbjy3vy8cjbW/r5ADeHBQ3pA9I1zpN+DGJL+8rzaUE2prn6tC3kVqPl7Cpsy+Ouhr4EQbKP6kP
jtNLd9TZV0qYp0FaWJ+dbP2Re3Mw9zULptujVirDqh1+fzy9P0XL6fw4C1XOIIAkwkrevzneme2h
qabAwEgqCzwbpU1QEpOMSVtTbuRfC3TjUJDs9UhbUkIz7NbbbhHhCr6E+RAsFssc2uw4WVbZ7xJ1
UGDhG0NThLOKJ86FfePcx4y+lAArkz7MP+A3DJiq6DUOs1mJs3Acuk95o341mv4Bd7njxw/n3Lu3
t7w2GiOaCiv9/bOpaBakwqUWUuEOQXIUMTAH5C/Om/9ioE0MbEDwp2F/skN1rTW4suuYVIqTQzvk
FQLB4sJKPnd2/VEc//9BTvb3jR/QQtSqMFrdJCimcli07lCMRqhP7i0N4Mds6S/sC2efoGUAUHKn
+hfZHRw8bUoh6iNOV9qPQrjKcVJbe//x4zv39Wz+LWgx+XT+KcwHd4Eor1OYd2kOSVZqftNgRtPV
GUi98yuBVdPFzl5t1V8fD3xuevj+8dKAKVmU25//te2pk6BW9abqqPdT9itbNNgieeEu4cfDnNnt
CKreoOst4uef5dHrervwEdYEd5oHR9G+Uxy/rbl7oW3+j7kq9QyNXswduHSrLs/y/XSE3cMxakV7
xHlz/In3lffQxeQoY02lw+pDaZbZ/BNi2wyZerMhVnj1whSB49Jhodd3pXU/1+Mlzfy5+dNR28pX
6i64s+9/F85lqCzIDjmOXWOHhipk2BSlGpT5kl74Ei8NtW0/f73RPNGHjjcojxOuOXutyM2vli7S
Kwymjd3Hb/XMTkalZQGigrvhQX9SwG64amZWdnt0lOQtX1x4zzG3WRtiYbeFhH882rmJAaIQU0Lr
desXvJ9YhRcZO+bUHo3eyj4tukNMWtPL0GgG58JyPbPREKfLzDYnZVc9RYYz6TZNvzKxydNfYz3/
bFrOHnXC1WahHztWmKyxvHAs/AsT8IVghsM3ovI4AXHezw8fO9mqidocyxzYy3UJ3hvVz5794ugt
4hroXlPyY5X166i6e9e4QFD4P4ZnaW6+v9TOJ8do6ZZ4LCZmc4QT9FO1FoTvKFxL8RXdbYD6pO6G
u9XN3/Txa9+2F86pf/a/DYSnZwhPgxQVOt4ncy8HRGlDnh8VKGRNbj9oubfsk940/Hl2kcf3skFz
WzzNBMheWFe6zl/+roBgcMx/OCa5YNLEO5l5PXtWm+VOdlwM3BuuNcyG5m58iRsH6XuFwDUujQiy
0U0vjIcq9yp7Pxs52lkxJZTiPXoU884VSrVeZcWCdMI1hhY2deb0qFmEcoTea27GDnLJ2YCEdEJg
faW80En78wGczoN7OGwXdj6+k5MPpMzGbDCbLIeS5x1qNHG+NObHTFFDp5NXwMa+O1ivpMnfqh5B
jaVxcPTsdR7hN378pf5bkvFEDUpOnOfo7rHpv3+dQ1vasya7nKi1rothmsQz/HPsHIaANGC1uUqn
pHUwgozRkWiKGLeADmRR2PByTUPCM92lTgcRzVUSkVzbBRRXNJau9VkuXNsDozOsSzH1/3zzmGDQ
56QmY3+mf3BSwdTq0ukolrOjNgLelHB7HcX6qqb6MU/XmwqtfpF7F/aZ7XQ9eWMY1eCQR9eYUObT
5ouHSnCZLMZ0UR7tPbVUDhMnxYXX8c/Gycy4S21hhfwTLfr3byO2JmqHtMiP3ewqt6LHLsbNEWD0
06Ur8faMTucDdYTK1gH6JaDs/Ugtrjd0Hob8mJdp1G0iZaWUr6abND6+ZM/xUjeHj5famRHZobfM
QHI3SME4KQk72ql20VX5cR3tSBnBoVZxqzVocxZF2fFCL0V9/HPmsbS5J25mbVz5/9km3dHRe4Uo
wWPbGVocxGtS4mFbL5YNywBHXX8davH88STPjskGCNigQgpUt2X015E+Q0eyknItjrHQulDtyWDM
5fVIyl5oFxD7Px7tzHLR8JclbBQjJU87vf2vpGqgmhuKo2GUCKy86xVQwi+9xfwvBsLHG1xL4yYM
gPp+WmUsId9j+3pcRixvuiU3H0Zlna5VvXEuWM2d+dAwt2ZLooxXt5X5fihZr+QU4xV69NRhCKXt
IDjnOnmh/Dz35GAWqeDAwKJEx78fhfNroCnX5hjB9JM/VTF7x+ZI2bvZHH38ks5NCEIjXUGNA/sf
2oSK9jV1J740MjobnHacJExtuhj/+SgEm9lbjAbIwen+lBvYOMTS3k6UJtmpRVphQOGOF0Y599jo
XoOikehEd3H787+Wtzc6RSewqD56tV74y+JaUUWJ4qdkS/znj41NfstzcXhDnJLvhxJ1Fs94qlJn
CFXsMUfSr/TSlruPH9uZ7xXKCtE8bIUweE+xHWxKh5y+R3400ASoGuAgFmK+s6w3SV8+fzzWmcpJ
h0TAZQdTISwWTj4iRSuTnkwTjlqjx/a0V6T+szaJGVXSyt3aSW6IyxA6YRDvR+JVl+PH429//+mW
7zm01mjv8CtOy8Y4URxp4cx9LIlx0EID/9udhcGLuAGNmb0AT+XRvUcQgBKuIy1zvnTm/EHmTn4B
LT52EZP8T5o+J8cbhoUVZk5ZcVRQwziI7Ny+9kWvWBhftTW6dtl2wHitkXX4XySYHPqAZKSg8qPS
fVou14Oq9sthThJq7mxZxZehd5YkYBp2/ryuWv4kjWYSeyzAFxddzNyLUJBkSnLNMuGEYhltirur
pWiBUeaVfWHR/tmdTmeIRePWZ+GDByd4v2rzqs8KWOrFsUlK+1HUWh2oEvWsl+nIizX9+//j7Lx6
5OaRcP2LBCiHW6nzBM947PF4boRxUo5UoPTrzyMf4Bx3QDe+XezNwl6zSZHFYtUb6LGhTVLEyap1
FkWpqJy2Fl3X1dRY0CO6yA6auEXUkh5jMGi9cyPwXbiFsc/FW5brgiqjcXKCtSFuYjWe2fCqWQL0
rUpfxwYPaBEyJV70mNTOjW13esSQnQU4DjJNX5QczzpCGmSBWkGOGpq0V72XjQphT6006qfoc6J1
X9vtr+sb3TzZ6H9HtG3Sy2WrY5J4/BEGtFpqUUbZoZ2aBkKJLOqIUknzdn2Y0/N0OsxJhGoB4xjj
FKaHQoHsE0xqZXarmHcxamVVnHyLaphSi9AHSzs0lXkrdl2aJiATskRQYnSnTk7T4IRIO+daegDP
U2i+XhbOEw7x+Adcn+fpllnmyQjUJa3FR0g9iVv92NIm0VG+dXRY6qhoDz5edNY6daYKVPr0nqGn
d+Old2nTLNjfJV20MUs6OUd2SMZblwgnqg66yIWJnEqdIF9HJmXdG1Nk35jjpW/pYauB4uhSHjkF
/1WN47YFlLyDqXbKPepQC8EVMXg0OPOXtgQQhVAHZgB6eQunfnorsLq0FJYO5tLI4R463qzACfUs
EkV2aNwWuipAl3KmkeGOZUAzOVzYgpUiUEEQ3pc817yPyCutGxWFZYx/oxa/gQ/Mei+EBx1NzuPf
EIooiVsbrdeUHPWpZQcjljLFq3BOb/XHLmxarj6MGBeIBX2r5c//ySAgsxh9itz+QZdG+7PNXHvy
GwwRbt01F6bEODSgATgzodNl1cxJQQciyQ/OJOJP+ag4m4Gq+51eynx7/Xz8pficLB+hjWIMjX5g
zaedsNQ2Y6+YjexQ4qRT+xFSjAX0kDoukJFyhqe4d7qvSITF7ymy7vdekXofdZgNP0a1Nh+8ukWx
sKoViAnWTKkrsCy8Ibg3jBQUOIYo5jjCM8X9wfheaj1ktVEvxO+xMT1UW71EgRVrpUO24uq3n6IR
jMGN03jhdNA5xcOHmjclvdMim9SnuM0gUx+0AbpyYIvOelFjF1J81FrA21C87PfkPKiTWIPnfL2+
vpe2jE0bnIc3iFjwfMdbRpcSQbgKWpnVVCMEr/qt9WZrfX2QC0EOqDHIRGAh9NpPC6QVSoVSIfs4
tHaEqMhgoE9alMOHwRTvasMrXpTC+HV9zL8Z38nG4QwDEPH+vsFPZ4ZS51BRgU8PTd1Mf1Ar9J6N
pJePRp8jxjpohXsvoSki/m3Nz6GpV7u+jEQeEAYQf1AmRNDwgEgaiHSVCDMf/QVE03i+qT/HYUDh
PmozGyjXMGnbZtbzh7gdx3IllDj6jp9AVvt2E0HgXDzp7sy0XvgclFYKEPESvLXRTWkbiNADV67D
cqHdUY/jR5guCLXCVfKvQuV1a0DYQCQlzoy32ogxsuTgW6+5nVv38BWzQ2XVA1LdmkMJqc1n1Nwy
jqK9kqkakwV0eDJjg5kY041zeVZl+xvWKHCgXQPEjrfR8cYxNPDSyWCQ3fRt80XNMCX3FSQlXyAA
T+sup4i4SjW7/VR4rQZnPBThC4KM9YeL/NCrxAgjDpxUluON43S+18hLuGjgQoCA4KF78rsqS2nL
sosPHTjiBOqkXv8eKV/16ymn94AgHCYrsjTK/yEosteIOVTnlvLt8sP+Cb65HYcT1CE0ve3CuMeT
dwySghxMzWb97frevnCBgyGjSU9ghORyGjKiIa9DQcJ/QOBBwfirhfYVFOqYPNOTqz/Q7W9vIFIv
BCl6ytSH/6931enjwglBGmhSS9DSdvMtMgb9ugwb4NqxEW6sSgE9V+voQYjx9/WpXrhqFlD6YmlO
aASqf7yqWVjkJTzU9IACxiLbaasUCV01wDNluJG9XxqKbIGLiuyWUszy5/98QMpIA9KRc3KAdt1s
ygRBqWwaVb+VJBD/fVa8VKGz8R8wvvrxUF6JbVoqsFTzMif5qg/5vEVUxkKaS9zy+7s0K4BcKl6j
pHrE+OOhME6BLDNBTk76cnjUC8QjPTqAvior7cv/MCuqgQAcKQyelXGNZtDgAzMrA/k2uAM6Gho+
UGzjzVURY71x0M+anEsEQmUW0ozKO+cMauHNdqLFS3JHzRPxitjq7HKll5FV+4OSzy0+R177Q0m7
6ideceHHMIMQijX3CeJLOvl6piCDhtYu0hkOn+MWgu584UHvoMbGaxCwEp2x44WvVfT8JWDPQz60
7dacqRehMjG9kdTH79cX/lLMI8mEREyOfV4/H1I3CXFISg5ZhDxIjz5hYndQztJ8m1hy3sQoKK2v
D3keggB70W4A48BjEIDU8exkkUR8buzPvVH8nlK0IhswHpjoZGb8JWmlvFEkPR+P0eBh0Sfg4U/C
dDyeF8Y51Y02Peixg6c3biiqRKmoI7ctE5F+puauxpvrczz/gozJ64GWhOWoQP6Px9QwApuTUqYH
M2uKR1VNC6RB42prYr14YzNfHIqSAfAkUNoUso6HapteFZWmkqz0qnbfDyhEl7FrrrkFphs14Euh
HI7IgsQHD37mwFC0KHlUaZRSlsDGowj1fBvarfBVTCi+THL4lfQABZE/lTeW8wytS1SAsEeIhXgN
Puq0s9ujNQGurcH50KzrHx062qTmJsWlx372hEQHOEZHvG3bed3jePsisxqZYaRUbzkWnq82P2Sp
lPG0pnByyq9Q8FxTLDnxYRFpWBd9263pUtqbuEep4foeOl9thkImnzxUA1pyClnsEJQvVcG+tQb7
x6jAUzGn2jxkBIy1jiv8/WgkiD1bcbf77wMvXXQMfMgUzpyQQVVEvQTscGhdxXrUUWHDcyupCnWj
Zab7o/CU+T4DJfoAHx6C7vXBz08rSdgSl5fmyWLDcLyd8UWIBiVUSMIyNVmhj51+HSflpycc7D7K
ed5eH+7S97SWe3R5BlEDOhnOlh1Gkx2KDUbWUQ4c6IMhBGIEHYn1jWW9NDOsNRwSDW64s+85Oyw2
OU90oPOsBOMC7Gvmvr4zUBUINAe94utTW3768SsGL21SWRYSkByeyccr6RmKExqlmRx6g4KQqUTR
rslUFXmTpDnEeaOvBt6ya0R0yrUhGu/1+vCXVpZWDnuYPJNLffnzf3Ii5KG1yjMahkdjPPQrvUWC
MG/HL4psxP76WOdPUe4unVYBFBVW8SzVM3r8+So9Obhzimxf02qvvVFXNz7gpRktsA7KXx4lmdOL
q0vCpor0lCBE1fDB47E0rDBrHSy/Fr2p3Li2Lh1/SIGmBUcBj5LT4g/bER9SA2/ggiLQDm72nyzE
fCzSMgPZuhwHwCJEzzGtixsn8OI0eSRASeCWJm8//nCd0w9mFNvJoTEAzOWybFDnrdsD8Dbrf/hu
9K0c6hdckmcXSj6piBWhV36gFmv8Mb2YoqKH2cktcjmVrAuHAdUOgHq8OSHHLYfzn91YcwQMjxr7
IRzs/E61O4GIK4rE73FJhc2P1NDCx0JIA9FugcxVWFbjSmUdPlM57/YRhhNAX1ESC/QwtUrsEqSx
xydOPE/odN4j759/x31YQ853Fg2ejDxPH8oo8lZmOPaf9B5eQFJGY7USXY89rYbfChRZPBQ6p5w+
yyptd92cqXu4o6OBAidSbgh3xVMJ3EBVeh8x4OoVoHkmUF/UzY/GadTfHdfxXYh1jRFk8QysQ4x1
vNftUXH5PwgNEd+oTAM0YtTAlC46oqrdDhshtLZeDaZRDWsn9Ep9lyl2ZwR0XvHhQRXd6ldSjyC9
VJ0OwbnD/Mj1s2zK7voahBWSzyFAwHbqlbdWJlQOzGKMDm4nxzfbiNxt12PMCj3bQyrdAejzopUJ
MmtR5ixaNWo2+nbueq0/h5nyAqanQDcqbIYnjVS3CCJjQI+pjCrnGxae85tdjeFnRZvtX5bT9r8T
vZgMRJwVKEkTIDMoO1ERrRU1RUIZ62AcbefRaR/1tIADX0nzoXVT/tka91cEnGTn1DuirVXsvAok
S4A+e4eNXhN3DQnhwOoPjiGHAKUkW9nNZp+nAPhD5zH3RpwpaUvKn4aNA0fQ4aP9x5JQMkbUCT/3
SZzcmQjTPPdaAiR9hpC6peNrWYFUh1zDRlLim6AIpfw9FYmN9apAsN2fMJL8bkzT/JCjEXWPeHm+
F12pzxtzVMf+rsRy6ysIRP1JNZCju8NTI7Z8/N6SQxvLDqk2UfH4UyNEidY9dmTNaqxk1dNbGTpc
ieOqoW2n1dOfpMjyF/wGabBfD8CX7jYPhgoNaG63M/EMfULrM1OdmADsGjyiRkPFBaVEVrLyCMWG
vro+3hlHkoSQ3jNFzwX8r53lKGZbsXFHPT14M+mfhfbbfUSlwffmInrWhK0fwtDCrWJGbxLp1CZI
U+uXNCWCwwXOfNd/zYWbFqwsMiwkEOAWTju4OBGHgzlTpLTjolqFei03HWZl90puU3cWw1w2n3re
csgTJu04B44jxY3U/MI7jjIsz8WlLHDufF72fSvDEsmgrsQLqQirbG1LBc3O2PJ8Le/e9JzYdX3a
pxcFpYElGV46xkuW+Pcb/RtTU6t3zJy2cTTbVbfGYyUDuD6lSrS1y9D5dn200y32dzS++cIRpHF5
ymDDXq4YM68FwsPDa5sO+CytBxdHo0DkGYU5XUUp9/qQp1fwMiSVdQqVsPTgCZ7UWmDxFG7eVsXe
Gvp2X0x6pK9MmagUbCsvHDeURzChq8K2G+48q7+FHbm0vjyVKUjSgDqHfGP24noj1MN96jb5hAq2
QUW2z5S29jWLWHNjF59uoWW2nKq/OE5M4E5n2yS60tQoDe7TdtxrKjGjcocHNVH+IBaKnjfC3NeX
99IXXXIbMinIAcBXju/kQR9nV7G1dN+3JYZNqnGP2G/p21L7KY3pRi/t4uz+GewkARhnY1IkQOS9
HSKLkar7oseIWXOqx0EOW66YW2nUaU66LCepxkKGoq9GHnU8O1Ck6Vz1ZbY3o8G+jw2r2Y4g5G8h
RS9tEpYQrh5kdZLSZd7/HEJUpjobEy2UpEP6EKljiFXZOzDV1fyWs+vloXgpgVCAP3IKASvsTqPh
lWd7iSXNCmkiY63OGIU0nmLfOHln8f3v6oFo5AnIKtIBPp6WbteD1dZpBvJXfxZIYxrCXHd2Ssc1
VXfahPSARAZ9scQY9PtBTbeuWjY3fsWlDUrC//9+xMknHKRWx1XNiTDS1tjlutFunLjvn81MVk9t
hWTt9QNxKd6g3IBnEa0gyhwn3zIE+GJ1yILuZx2jE/Qf3TF60Zp5HfXVbmjltkmc7fUhT6+uv+tM
oWoB3WHFePpyqrIojGTjgGytEX9yjRBTZ2XQv9R6RUV0sSVUlfh3aOsvJVif4kbIubjAgF5IGQg4
tDKPv7KqhWqXDRZwv1LgtYWLl0z6bGUazYPDil+f6uXBbOoV2E5CDzhZXdNskzrs4myfVWOMUCHs
oEq6mD7pJIRTEXs3ciLt0tq6qPkv3fsFnnkyIM2qxCN/TvddhTnwTlY0cZFtpdb8OZ3wXfT7WVPl
NiStUL8CdZ+BHLX6MDxoI9K8DsXK3FfcZHqKuH6jbRE3w+80zMM75IdsK6Bq3ZECF5iVg+zG6/w/
NjXYGjwC6Z64f7G6zkl47skzUmty0z2o+55iPGnwLD4Q+U9ubPsL63Q00MkuUJBCscpQSVGYyGYI
MPqT1deWX/XaI562nyLocIY54WNzy5Ty0sDURVg917EW9YHj7Td11UQXYIGAauYv3NaLVRKHu0zX
P9y+WImhOGSl/mz03Y1k7cI5J66RPFEahmtgnnAK4xqhdi1jZZXFkA+BeRkUZrWtE+N7miSDP4r8
oCXljf2/bLd/60HLUeceor1JQcg5I8sv/b6xDut0b1rVHdsVcF+ZbHSv+YkBauyrsXGjVXXWZllG
pIbILOmx0F0+CeLGPJsTwh0p1LhGGocoB3IXOHmN40Vd5Kn3gI+JK1farGENYFPgRbScyvlHZDaK
6je8nJ0AHnoI/0FtFPOgilH5cz0oXLill3jAKQV6ifrRyU+s2rCzs9jI9iAQv2Kth4XcUNxi9l64
OBdSiUXNmISZKvbxPpO6Pg2UW7K9KOGLBNLSx5d00Qre06TszBuZzoU4B2CWhJEHCWyM00S59hob
PxQSZUTgV2iVHBy6/QHiCJ+7Wv5nShlBQiXCLWkOffPTI9R3rjDBMJE0OlHpY0WFJmxsozw0yxuH
5uKXAgOGpifLSCnneBGxEkOqH1d78in93cJVPvIq9caFf2kMCOUuQDMAwWdtmzaMUzWaCt4Yutk+
iLTMv+aQCm6McqoYBqSL54sOOQ5KCSfytOicdUD6gDlwz+NZ4/qJooS/aILP+EHOXv+uuC5QobBJ
8ULphjDc5Simtiu70JJ2g9XPiETYPKlWoJQ11oNgaaf6ZcAPHE+OqXEwJ3WT+F5tgAxuigGzbh8/
udFDn7ttd9ZMjr+zUUZPNnBjF9L8YNaaz9u++t3MUfLJ7rzp16x68jfiJZhPRYi432KMXVpoUKeO
Z7r4zfJ+P/6YlGci7CC0aB8L9UtuRa9WVcsby3xxDCp91E8XVZnTc1A6ozkOpRHthx5CUFh7bqAW
yBNcDyCXzjZp07JjOAiwhI5nQu+d5LVjWypgffxidn/qTYKNntbdiKaXLivIzQQQwIg8Rk8ujTHh
BobBku/5XuuS4z131g+nk+8GeY1fe7ycukm+dKl7Cwp54eIwaUfDkVlgMfppz6u3urJKkWbDy8D+
poqZinSyko3yS6CcQepBNe6/rynKwCTB0BkWscnjNe1A/xtOxZoWMvzFOcF/qIgPilvdoqaf9RX/
5ji8ZdBzAbKLosDJSJo2zUOlZPuuNzc2pnWFKDZq6+06Q3nLtegLlNIN9ljrJr31xLm0cUw8yBcm
hU0cWJKEfx5uvVDbzkIzY+9FmvfUTXmsQNaT8sHOU3P+74m2CbjCoK0HaphG8fFgEAiEmMOOwWbF
DJJIhBsbByjfinF645rWt9e/4KUtgzYO0ETYBEvacTyelUyOMmkYUAAyy0CMWE5FxbJYWGyqN2Ag
irnWc2GGfXNj4EuHnoogiEiKYYAGT7aOiJYa2YhDj4eL9F2mW+XaTK1sfX16l77d/x8FTtnx9IZ0
xLlxYBRL1iOQ0uQ7476GC7zgfxiI5j5Kfn+51MbxQO3c98ncdspOTt4rXf1219u5vC/n79fHubhs
/4xz8r3KpDQrxxXKjqKFu7VlOuyLsQpvnOtLIQxitLcoqKOXd9pZgozsyFCZcJfxUiwDode/aCPi
wmpvAY/0EIBsYiMOGtgym4SC3K/rk7yUGNF9hetggSglWTleTHuylSROPWVXq/1hKuxkbWSCG6h3
gi6v/ofXEyqa0ACopNHHO7kXPGJjRuKn7LSUAjWghGHdtCVvWwzPb+zGS/Pi8QJSYKmH0+o9npea
iqpTUiLJaBT3ddj8Lltt57X5rqm1j+tLeOlc00YDGL+IhZ41Wt3ea0MpaYskrer49B7k+5irxQPu
oe2X5cWz0V35vyQLoP8XGARp+hl5M01zeCm9q+x0OHt+rUlnVWSReeN+vbiKHmkOeHt2yV+O+z/x
WM3M2RJTG+2jCa+bNB++z228L2vHDPShuVH6vLSO1HnINCmlgbg/qSyBdQM9DfEMH0ocvWYkZexW
/+IV5n0jOQsGygE3zt7Fq+7fIZeY9u/84kbRcAOP9mYi9E0MMHKl1wzcZX0D/hcvOjOjwSuN+ht8
9nIzF3gJXd89l8ImNUqeC0un6EwuOGrtWsyWFWPOUmCNNxphYPXiEHrOLVHzv/XBk8cuG4XKiWv9
BTCe3K56Z1FOsRmKKrO+KUXoPiMFh3EUjPlqO/KQpHEbqhbiu3bnrEBVUg5yy8n7YU1e/zZGpnjq
ssyj1G5Enbt3rNZ7GtHIxCdSS904sENhYImeqN0v3W75e0kn2wPP3eTVlKMZ1O5orXJNn7/godAd
QlyA3xEVGbdm5CpfROY9R6Nlf00MPd0Iu0CbGT+EccPKJZ/RmsI+tiloYiI4Jd6buHB/ln0e71V9
SO8UzGIw4u5QhcNxSZ9x2mnGfliBaaS/pWmJ8yvUsuh1xqQ+3mudotqYQ4fVvWLEwyehzF0EK2ny
ftlRVD2ErRhav4qS4d0sprFbebi81uvOGOKPZBbGH49iVb53nW5sHpXGtN/bQfYl8jrZ/Ixv8lyt
otEEhJRrQ5ds0Logm8qL6Ub14sLx5KEAYJnLA6jHqTLdoIqwnWYn3rdj41AqwZnRQqZmE+vjsCHb
uMV0WjbI6QbSSOipXHBdUCA4Pi5x3Eg43GygLjbmfUSTPug61GCnxc08w1d3ZQJj3pqpqa6un5LT
mZqUI0AqLiImoD94WRyPPLWVi1ILzV27wSRp7ldKVDxpuFH3pnUj5p0eyNOhTk7JKEzkWTyQ+MYY
f6UHtQnL7s6lL3J9Rqf3PsMA6qLwxFsPUeLTunZeFVkoUzBdrjE5dyZruyKLqR9pLqqfPSczHotK
5u84iVN9LuStFslpsF1mSSEE6UuW81wgn4SkWNR2o0OqKLibNnnatXhO6flXjDDbxzYxheGPanhL
R+iMdbrMm34aQYgIz7vpJBl1RJ42+CPGhwKUnrPOu9rbicZQu13fOAJmw6C1mZ8vXMXB64w37CKL
P96k9h81pDO03EORjr6OjPi4klO1+FDQwM9XuvefwUbLL6V1D/GUo8WGP95zZdeKokb55CCFWa4j
x5heR0Wkfoa1/UoqZrqhjvkm0rm7cSUsx+jfY7YsETAjlLO4dSEynQzslE5t43gdHSJDDR/MxEXS
WKbj8/UNeGGfg0kgOwKcbwFTOMnX5Zzbc4Yr5gHXvxw71RB085ShFa+G4Y0y1eWhaGYs70lKDydH
aoq0oqfmHx2QWArXRplNX/DezII6nrQbgeLS2lGyXBBvyJ+csQ7syO1R3GqVPTih9sNzO3CLkRcl
t7iB5+dnsbAg3aMxxSI6S8D6J3OoeZ+KHGX4vVnozTbHvSxia/YKPmu1gYd9ZuM8YIv19W+GrMSF
vQGaATkhAHfntJgZ7lzfmVh4FTWiTVs0/hfv1xZhfcvopRuAhp44HlYy9s9a3nSbCihj9W4kM3bd
TuGpGCNPbv6j8/I49DFVShDMSTOjD/B/rTZW32tPultD2UotK6pXSZ+LRyc1jKc+cvM+wDnb/UIx
p/+KdbP2KHCxjTepqsoWVafU+QoxbUljunB81oWp/YksiGqrOKm9B0jsc+XrXla/KWNX/+yiLvnS
QFolfXC79JuChA9eipYiel/Tu+K3SNGWDNreglgQ4eFaYn86pOZqyPME+9m+qMOVpLL/6tWCENZU
Q0HIQnMJ54BqMUicOr31E8PrcDo18efU+i6Lgoae/mtWtO7TMDRTu8Dei9esr0ot6EkixoBHdNGu
zdkJS9oOWl6uOjWBCrCYCyWrECXi2Zf4O+JpjJLjvTZqAkNJwCC1n4NZ7vcg64f03ptnrKDntE8M
NFWzXoAc81oTs3K1QVWm65p8PdlRv+sHp1MPwMsxUc0VASm6m0tr3EURpdBAjTv3jYuiGNYlOuPv
AkZWguhBroK5TFFGJjdxfgAFYcYYaPE92xB7FZBoxdii3GAM+sYFz5ai+zfD2i1ziYuVdOIRdRtP
eVJro5D7iDTMIU8Kh18WMDs7yF0Icvuc8sknoWeyDzqzCaHwDIN5b4kxfkrjqFWDUWYi9quhm/9M
lTruYquGYN03svt1feuf5h5LUFxKxNS/YE3RnT0+cOXcu/rgDdGBSpBch5gA/tYT0X+0s441b4b4
furDqDJ/wDbSb4x9IfuAhEPbD5kjChun3MccQE8ppIwOShJWb22eTs6q16PqeUQE6XMxJvEtcSXt
4nQXcSUozvT6TyHfYYGgOGc9PtR5qibbQq+Mb4MbjvfR7ACtHF182jNHe3An/hKkQKN4r6Yh/z4Z
zvgU2kp0J9XYwhHScKDpiIK+68qWsfp1wP3wR9Mr2k3jk7/F4+N7i5TBJshT4AK/evqJhNnUXWuW
LgW1kBy6KXXVn+KBIEJfD5eaykQD2i3i+YOCavmQoNCydpLG2StDax7mohjgbs6O87XPin4dWq3x
o+o6+QKLTFBnjeaNNlUN7OKS7+ELrxQP/LET+rNSyG0kIlqyhTU4G9wJAJ22HU6mATxTcRAOAoyN
AYIAuHCGATLG4m7bhL496u0B2bTq82T007eipOuJsRVcrqGJH2sL/8YBRugSRAzfXloQReSIB5mN
s5/EOG56Yxb6dQ+ErpwDusblFsglqjlKX79kOf2f19yN4mmPb67d3occYPN3N45VG+QCTcnApP/4
vVIHIp+lzV28s2K3R/opDJP0gIpIdp+WInGDwc3q76HjJK+1OacCV1RP61fCrUckPI3YC/i4movM
Tdx/ANTs34XnVC8Yc4UHw8tUHX9W2X7UdYEsd6XTPMxzc++WOASWvdLeYf6qPqW1dL93VRftbDPR
VsgzeCtlrtz7gfrKhg7I+JhQk1vJqCh2UEC1aC0N4+fsIpOa6nP9ZAlPr4LR6eVT4/bdzhrV6FuJ
4+9SEM8+MCBs15E9O4HVTPIdgmDxE7IBFAOpG9twiiPcf9MCPWpyZq7TWCs+YT49/S7yhP5OjZyD
6ce1Vpq+tJJ0bUaEHL9VJi9Zz5ml3tVWaqxnEsR7sMWTxb/rODt1lNpTNpgWe6vH5hf19R8VYhtb
zarlQw03aGdO0/SoyZFSpcxj82c9hDDUwyy+d+FUw8OEDPaiCbe8H60qufHeOM8kFl+8pSy7cDsQ
8zwObDxsIKZ3ZHtj7H3gWKSv2Er12qtc60W1q3cXofH99Vh6pqRHMEWYz8BYbOnBntEunJhXSY57
4qFJI4DWirGJ8nEfcROS9HflaPkuifofvLpcvh36Cv0npRwSHSHZpr7PtCStNoMjsIXWYif9nXhN
/EBngJu8jqzxptD7Uvk5DiwLMgBTob/IsTO2Wt0OIQqnSnaQOvbjvl22jrMKrUqN133pavcZ8gO4
05S289hbxngP26QfoU+r/YvUsDsMYopHKkg6EOp3g3D02R+KMv4yjkX6mpdO/pOSSef5E50xw8ce
HbXculO8iBeGl2aUMRJ1p/ZDjL0KYrb7AVk/Mj2Op4lqgtug5RjmWDsV2pQYPnUL80dtpmV4JyMx
7pBQ0pI7NBRSBUR3GFarqfDCp7JW+lc74Xyt86IT3gqXducViBfmALU90hL3tFHdDHZMu6VKrF5u
dbzgvoN+ROV+musfhCPzt9FM/Iqmy02xubFLLuTSGL7QrOACshYFzeOdWYLMo5ENE6EWbdF+rcN4
2Dn1rE5YQ1jTT4gz+RcwfPGdro/5Y5kNcxFohiEd34uj9K4BzmBshDFHrW+6XVutrv++84ODRiwl
V/7LnXO2Kyq18eaEJPUwsR38ro4xdTe7kn4jFNR8FKpPE9fdXh/0wlOGDjW8SaALPKFP4RtVTUyb
JoVChKHWAKg1Eyv68U+K2MCNVyDF6vNtT/WaWihNaVCTpyzGBo/tYahcmCAdvKhuxL4MIYMIrLsa
+5OdOivRp57vDhO2bl3hvShlN3yq8x69BdWsAvwmmkOCEdzetYZxnQEVDtCiHFeVKgyspl2HoIsD
uVZb9+2YfTEWsumA9Na6SIW26kNs46MRiF3eJDl/Ky7W1Tga91mNp0SEwMhabZrap3/8CRVrmuZt
TZNXl5+dSEx3SF4lMIdxiq6FAzNYYPc8i8LzlUSp90kd5Y8U3eRBRvYPJ1Pku5LrIuCN8Wqkqrke
8Y65A5rzhgqd+0vVK3dlm9Le4rGLoa8Slbt6JrVQKvEEc/ZPDXd/62L+tuFYkWXQ6V+SRPWR2AU5
WauTB6PNGz8fegfadqcc0tLBMl2NnI2MZ1gS8dxgOWaKRdRqiIJB0CFLM5l8SidPpeKpNA9J6pIP
2M6nSVW0B0UvXxVRfss073s7NOOjGUl4/CkhIOeXvlnVuIC+LTRKE9Zb1I1kiabwE7eADEgtvJ3q
TW+cned4zqCGKFINukQr9h3v9hcnH8Jg8khkYnUmHk1u+diombNTSrzRePI532ZhoRY1xlhUIzRf
fsW9pP9ixJStSMODpqX9rfN7sAC0+N9er7652PPuU57j63qWz17vJNuoQFlfEW4RZCJVn3JHvWsq
WYKla2HTc5ps47GB0bVRxFQEUzxrUDRS2sIgttwffLhuPemhxntRVF+UGkqHgdHioXXMh3LUaWll
qbttDDPxY8rF6KT1vpoDH0tQq79vZ+GtjdFrfHMkS6qaHmDGXP4MBx1YuVu7j5miis0sZrmbUyC1
RVf/KApDR3ittL4DlrbXeVkNPlCccpWCTD+A5ho2Ayb0bx6knffeTsYt+a+yauKGGvQslfizpTft
/RLE7hzEFjZzoz+VRZwF1L60HQo2qJEM+i+9VJpVhWzV3hQOGoXIyvhzVWmHSSsjzEbQnUVfXSND
tKRvO1JdDZ1h7dwhXojzSeLnaeoGNmoZPqXyt3TIfws80BAtHcXeaVudlkroiD1mDvEKRzJr28eI
rRkG76y0VsNVnefpH1m7JuyIUju086j5lq2UGxfhxIdGlgrXT5uspyIq1kmWlA0vOPV5KuoXR/IM
SxrNXlv1wrdQWu1XatbOc1SXiOi3JUzHZnzuJjtfa/S6D1Y0JPdeKuBP8c9mKEyhKQOLf9Bmy6eK
jgOPVogV+r7jGhmYbUbG0PpydEmO8/ndmpll05sysOsuDbzRe83rwbtPRcIaZtkfzSmRQkYz4ED0
IeHsE/O+jsrqcRIGLGUxfrii/G2VwzvdpW5f2plG3YC/9gIu5odjKO0jGls9d+fEz4ssc53zfN9M
raDUn1LLsCjUb2G05EE1D9HaY5NikTuJgCLhwgya9nNkcqRBgD3lRf+qhmK813EJ30jD6jazrXxH
IrRaJ1N6Vztas8ZNMgv4llQYcfPG/A9Db9ac5LIpsNmy7el7NFikEjwx3nWRpQ9J6XU7M8riXVIk
+moqc2NTxYX64M1aHYyV6fl9UchgKONf+J6Cc+Qpn60Qw/w/pJ1nb908trZ/EQH18lW7Wdt27Ngp
Tr4IqeqN6vr155IP8J5Y3rDg58VgMoMM5uEmRS4urnUXvBFhUh6kAh6Axa9j3y7b+G81uznZR0cN
S81+URIE2GJDiVKw957R96KWVk9E0Fz5lUv0o/rBuMotLfKceoZYnyV4N2UmsE0jxvoLGNcu6w1x
dJ0pxh6y+pQWyCj0SmUjoGxVXhoh+4rRVXQyw7n2+C/TPiiH9AA2ixNn9vcxac3Owp5pJzKUdpqm
u8cjcXh4+5J9/d4m34Jnban8c1FWWyUecZtHWqRSxCsCw6L/3dkHpxUf2CRo1LKo7wXzkA7TRYUi
hEWCjSTCkmn8U8wz8aA0W7VFDYFG7W2EGryXWlO1w9aiuxvyckErT1uojGUSq6QWahRIHnXB0r9C
WQZllkpTuPFZFEHAJ0qbPPGqWuP06GhrRFfagASIN3dJ/FcRVoFdZuEOG5WNdTrDs5U1Rq8KqQQH
3slqpRE4ipfGVe1T7flUO+o3N7PLXecm/3/jrB1D6tlp4ZZUtR/J1jd4gkdG5+yqhf719tYxVqu6
TIj6EB8TYNZrfpCo+zYVE0ryRqpruCZVJiomlO1xh3p7oAvK9vTeebcBnqcwRd3j5aaJCp3iedXX
PphozjEoZYODZXNhpg9pPx1guNG+TLw+4L2KzsVWKfjCTLUlK1xMqmk0rDctyG/TKTI794c63mfD
KRgznzv0qnVrahCAhJX8VBSJZ9vXKUlH1QlPdDSXS/XL2yuxPq0sOWAOsnD+oKe1Tokr4YwlJRSM
6lqNYiTlS0NEd4ltP5Kdi42W/YXBgCHgK8KO5fSsa0xzgLsyXZPGl+kYZLw/SzrRtIPcrvRVnGLc
K6MhH/LfnuKFYwKMkVmyrXC9WTetRinykmu58cNCS6+1kYCUxJN5izZyujHUhc9KhxOzAtihl8wU
E8AwcxJIVjMObpxJ0r1ODeXruydED8FG35ePh9zYssz/RDwIFf1opKb0k9IIGq/oU5daN/HxmHRj
vgWIvjCnRQmKT8ZBQR9k1WpCod9u+VvogoWSHiqs4g4ITIvj23O6gOaAFrVwhNgcECLXFAKntSIz
CnvpZ9pvIIzKDmD5qWzNnZ3+dWw6W7l+H8z6H6f98/bIl+aHMxzFG1oy+iuL+tzomyDq8s7HWDE8
aI02HNsc08+3R7mwCbGfpApCT3BpO61iNXzmunBj2fmZPvzC+u5gDyi+9LP53t4wp+rfgZ7X+Z/N
UYhEb3qz7HyebA+za3xQp96fBudhNoy9NczhRii9MDHe1EDfgM1T5X/WxvtnvCgRqCO3YYe3jArp
orHmYZfCQL8HnDMf3r2I3HRgtSC3KMqrpm5lBL1txMzNSLp2F+v2o5I3BZDyLejUujrBIoI/4zYC
LAF2ao2VqGHU95rbgxkc44ZHUO8XNe6oWPSUpTV6bRhuzGz5/P/mE8uAJmEY1uhiUrS+jyCUWwnU
3c7nHesMfqGPlKcbdIvVPe2Z7I+58Ky9Wp3lTV124zeUcLfwKOuCxfITeGNqtAFQ6oJE9DKq1GaJ
73mmtz5MrngXBlPip64239aiFmeppFc92HxvUqONEuqFS4FeOeYc4NScxXLq5bj4LPW5SMcW8Ykh
/MalOaF+VKJlhYE2Bk1oqG30ztcDsnUIzhB5QA4jR7LGugaRDIvInWZ/ivG+gEQX3vYzBvRuGxvf
8H1+L1R5GQ+8JJAAACcm5pAvJ6jpJGm8BRUf2HR6BDJwjOZBHnUtvxtjY2Ny6+P4PNhSbwVX9MyN
ejlYFlTOXJSh4uuDHt2oLcqLMPbaQ+2k74ZYLPPCqJRFJHxyUF4OFfea3owBCh8OFRCPyLBvGv0k
wzL0nAxJY3tC5bIR39+OAa9St+cZsk3AE3HNvv58gZu4VRorfg+q13Mr+zTJ9qSE+oNl/dDc4aMB
DI+nWno7Fi05hpFvnNWLS0yyBKwS+oBtrjYsrrlhzCtd8WtN6Zfg8z3UULXr2k2T93UY+t+p4rYA
tngJDaudk1kIC/ddpvgZslEUgqao3FP10f5UsnuwUfI8xkiLbngGrUPRMihEFuqkS3n2Fd6D8CMM
K+9Vf8pminFVJgY/b0p3H2VDTKmSpxW6/s6J1tZ4RChCbrC91vcx4y8Ae1qRi5geLI2X26pU1QKk
PXWbBuOOT0UW4f6xVFve3kYXR0H3DZkHAEJwQl+OkpSUpOu+VnwJ7fvgACM9aHP7XsbO81z4fMQ3
vD84Ky9HKWTC2bPZKgG/48op4mrftdUW6O3CNqEyRDzjvoJtYC+R/Z8rOJHor0igyr5L2ujhVax5
cVEYaLSAXMa1oN0rVDQ2FvDCKWDQhXdJUANIsLouJGChSANQ6GuNfnRteZpaoF2hUrQbmdOlL6VB
LF1wZ0xvHWbyfMp5nUWqr5R15XhV6pY3Iztky+DtFbuZj0UWA5ieT8+jTNdeLiPtxsQe6SgykNwH
3Z95uk/nz1mE+k78U9C6ymJ776S/05qqZ1R5MrozKSW2IQ0442YxsK9R5G+bYmOlL9xXIKIQSOUR
s3h8r1baFRMGDsLUfLJ9tJJDK/MyO35s5z5CV3RLA+VVIr4sA1FtMdUDcIxr08tl6LpJB4I1M5zV
nOum8bPCODiBehvn9lHq7e94HpBO0r6DEPLfPpSXZorgjrskICiErCNrCvEqLnJX8+1C3EpL68HB
6J6o6mM/We/VQlnm+c9g1updAz3WoWxjab4RSImAelwaEIjTJP5ZBnNwj566XR2gotOG4dW6CV9f
p1vL8DgdkasrcDcIeS+XWam7ojXzSvcVkAZo1tXhp9pG6akZtHFfpPRI1ZGtxEW35Sp44eQCXoXE
CocfJZa14U0Rd8Foq9XsR+r4GAzs5NDW7q1+fHr7a75ihTJF6jhoNCFCzYZ6daAw+Cwgpcx+olRD
cNPEto3GVqa5n2w7p86ZA53qyYpkiaeeO1i0JmXS3uS1ov+Woq0RLRRhkPFpYhPKld44n51M0X4g
t0i9s8Mdrqc5XFXlvqzUQHqOGenGFfAYGe1ToxzDvS6awT5hM2DcQ1TWSo8/nBuL6FF6E3yqr0Hp
4OVeJy3ud9Ka5NZr7MKOhhT/fJx4t6Ay+vIr5zZIBqmWs9+mxl+oo4dShLd663yd6y11hgtxkvoN
T1i+K6nJukqXhGaTF0ik+jIyh+sUEAYU0SA7vv1RL00IDfmlbGardFBXgIdhTCoovdZMjR8wiUiC
R9Gaj1rhKruyjz6/PdiFM4Lg7P8Ntlo92jNgXBtj9mOnG46ZUEdf0+P8VLt9hz7cYJzKuGHXCLEl
YP5KrmXZu9ypQHjBjoGxXgXdLC8qXL+V2R+berrto2jE6VKfzzOiNB4iUcljQRNurzlddWPQPvHj
GujEMPUWrECRHP7LQvzfr1nd8AHabBD+1dnv4aF4qVZiNdeehkIBStQdm6p9CuYtSNilMMEND1oH
hiHEr9V1OKuciXLkS2vQGk9WVtq3atj9YSW2sqQL+QuFbIQVYClBHLVXoXCco9hMAEX4EimQaJyv
w6E5IKOUeYir/2yyLc7XxW2FpTIJBQgaCnYvD6Vpdqhhut3si1Ak2U1eAkHFk6g0/yZFqX/J5yZ6
VCsnUjCfFMbXtz/lxWVlukCcdR6D7nLA/knWCGB5EJnO7DtNMJufZifovjl9ppVPA6nqO9/Wz7sY
pBDCTYxEfHk5WJpr6LUMvJVqA45q2y3I1eI4zcZfewDv8x9mZj9rbKLchnLTy8HKcFbVfs5mvxNt
snei9pfd0NzOy3RLAPtSqAMz4kBzxtqZmsHLkYJhzOc5J6q6ZdUeelUae9smN3x7Phe3JRJUiHli
m6GvY/c8zq4ZuHBlIsP6mdXyWoKQKKMWW4nA/TsH80b2cynzWtgVFEKQE+fSXD0spxh/Ggohk28i
ROdFUYUJEjWRndtoNPQNDMdNbTpYnXsHQvw3+uZbL/pLwV17FtrALXZRjXi5rlbDq0hplclHfvYP
ML8/+QgJOI+WXmz5/meeTisA7iwVfzDxq63Jw0zg0mBOvoXo8/2YhMFdrVXFxppe+obwVND9gZaI
nfDqBmkLG1hmXk++ao7NsaP9TDfQ6a8AdOb7KInJ2ZGuunp741w64lz5kPUozrNBV9uzrzWwDFUx
+UB5/4QgP7oxSFDi1LYE7i7eUv+OtMrVB9BCQaqXkw+D1TilbhbveZbRBu/j+YiIWfHUiwZh1D5I
jpiBKNfqIGZPC2oN5zAz+w/RBsouhFZ6SRgSrD6p3c15N8/B6NvGUO2Q/LeOU9zkuxhs6EFLp3fr
T3NHL6x4WkoL/XJdpYWbkDp9L0bfsCug1QQALVA+tSkKeIG7Aei6+E1dnmFIV9H0VZaN9k/YVoU+
alPcTTwOA9cfi9oE+JdVV9RK3qujsARtZJ//31Cry76ZNWMQPMN8yy5ph6SD8qkWY4ebojJtvQUu
nniE/THhM3UMVFYbyI4rKQOXsTq4EMBsoUnw0Jr05ANc0/dy/5eJ8aE49P+roLQ6jCHMlyxRnclP
1aF1dwLTrycTddfJk3U+vtezdhltUdbk4gOEQDnr5RdL5lDLCmlMfgL7F9voaJgNGCdBrXtRUhZb
BgmXkgoaqIvAB5WrV7W6GpG5aLZzxe8mXGBS9zvVuvRAxwRyfvHRCN2HSJj7twPNpXvw3zFXN+6U
NmkZDVRgpYGAiYmV2zmKHHl4e5RLewT8IvQT/jTMdf06m1V86SRJBK/Yn1KJH4whCYHtK6eiNDZE
Bp4xC/82Qp6/msndTll5eT2u0qMhhRQzdFTMUKRQz7NI4n2HceOuSnR7ZzTA4j5UkVZ8k0AwPk2J
pV5noos+9L0ifwRg3M5RDACrzGV6rNsiPWKPXKDBVxdn4KTaYxeJ8jiM/bjjESauy0ofUko2ugoA
Oa8+DZh2ea5amL9qWyQ7FBGbPeib8GRbtYX7LGuxB0iW/a4CpUcJOay5ip35Z167+n0Hlzre1cqY
H7QefE2clsF9Nov6nGH/8hiPpnoKEAfnQTtK+zglgfVkxkbqEcbjzyJRleOcjv2+pOd0LUYnA3QE
l8d1BfYt/eAmXo2/lq/30fSlN4LaA29k3TZmPnvUMIFHcpsWn+VUin2EfuyBnlJ+V9hoJ3ljAKxU
FW3gN6H9QyZJu7e1ovUdpzN+1VoWf5n1WvXNWTo/8l7v94B7+H+paeaNYbFVebm4oWgakpQC9XhV
F7DdKWj6nrK2zpp7sa1cDc5wjRYsCXfnmP8hjQMko+LQR0+EpPFlHHDywAbZNvN2SjP1PjRH/NQp
nAstOypdrR3Av+sbJfRLWQcaiZQQbTbMq6f4qDpzHYWcGCsYXOsAWCi7FnVWjvdWDFbLN+YhqVHI
k+82wyLmwe2GvUcVgJLLKuYNhtpOgiowClHVY+4aP0onu9Oqrty1zpZi9aUbESgruRUFDhTRVjei
aeM867Y8ZFQ5V/tgqFvPaPrQC/GmejsAXQiteHfwBKVWRY9+XXNwU9fNHCcb/VSxgo+ROcnpULnh
9FUjhx5OxTQYZ70JhNhp9dDG7w9/QJGol9GZY2XX9efUwlIo62DZ6W1wDdPuscgDX6j9dYebwcZe
vRDQGQsrDcivJFJr37QxQKRsdpnpUMNLA6AZBxZaQ2SwGwNdOIIoVC6Ne3BzvO5Xh8Is9AYmNp1m
LU+Bh5sFHr1O0trYVjb9Ryxkf7z9CS+OtygAgL/Bh24tgFUpcTNicDf6hcoWSfL6sxy71JtDu9mV
UXf/9mgXl/H/RlsXFKIoCJHDZxmxaP7ljEF4LLsh29gXF/Y/d6+26NRw2yNT/jKuaAqCErOb8q1c
OckbLVSGR8RFU9Coc6NHG2fgeZutLkZmtAiNADukj7N6VODiV03zaM5EcOlNSn0XavluxnhgyG1C
/a1anOrsoxbcdm1zlcrm1NrTbVKPuzCHQuhuSZxe6paA4HqmUcAzwevi5fRTPRQuVMHJtyf9Gsac
57onOas7It8VT0yodskJXIjXuT/GNADucgdk+0qtrX2FAmrxKQ0R9XcsCPlb/fZna+nVUhF6qQss
bz4O7Gqp9JqqRysr3l+RlX42UsuGbIfTJb5cxuSEJ8UazRBV+w6LSmHF1o9pajJlH6M4BIA9r61b
WVn2R7szxcfEmrvPqjK5GDE4X+yyCT1dpH/wRNjVU78LtHb4kA6TXeMkl2GjYcY2dcCmGOTXRC31
bwAJx8dZDOXfrNabzMMmzYoAwmuQvnMwlbBrorr8M1IAkztnSEvt2/vPggFxGZVr8imAHS+/06AP
cgpRPPHpGXWfkzzDWpmyirFlgvZMaFmvOjjcBUi1KBKsXedbpCiKNKH8Y0BxSffK1Jp/ysGIJYzN
gU5GZo1dvUc8NVWOndV13alAAsLGshp6EcKhALEUj9U2ij1ywbU84ARIpymwJvesF/SDOx4qEhtP
EG4qva+HKYRD4qX6XH8SpREm4PmF6xxQ9LZ/FVWnYIehQjj0QP9pJwGJ9HM4su6e3jklaE8sUZvH
0qiC62nSg/fivchj4ebRWUZBlLzYXaXmugJaHnNTuKMB7pfHqVerZM8CwE7ohhzGyn/4yghYgduh
g/Gq5NAldlJEIaWjzG3HhcK9PHAMdQ62KFSXAjmy1sQ8Mg1wbKsMw6EKFVgKb/y5X+isFY1zr0go
39wiIdOZJ6EIqWxE2gvpFK9oYh6y2oitrNeyaeGIxU0z+TF0lwXZcdKtRWbYQK4H9+gdarQb1+Ol
C8TGsIuwvsjArq+rIsY6xXAnZpk3s5cjanAGf+9u1EueJX5WR2YBkCB2zwnF1Xl1NlW7CUh4W9Wv
4R8r7ewFYXAw3fG24T97AXdR/aRkV0gP9d20W/6ibWMvEdleKqc4fEyKD+MsvKICkhZ/ne3mHNt/
XYiITvVkQe4SgCi6ezVKj+/ebSZ2gBqwP8LsK/SyPRUwF6hZ+0kk7etOc8qr0O2ajSvvuYy7Xh6T
SE72ZQGTXvcPSSOMcQxiFXl+J+2wlalqiq8ZjpXjruN/myFWj+PnqHD4iyAvs29DraJuiYhEtoOb
KT+oopzrq4hNqV01YT2lHu9E4wFcEHQufUrp+DqJuWhTICls7Ao3Sj7JoW++xJorZyzNpGJ5UdvR
ipQBPu27zpnVG7VTymsEQoInq0GQ1etNq/0ZW5X61zbb/HM/pdqDDcFGOSd1rIb7oXes/kNL5bg/
R2rsJPtAmMgsQj+3hNfkRmF5LSzmmdCQ8WbF/kB8VQdH0mmSs1vy+FWUYac11fikFoMbXTUCUQjf
bY32xBYeLNSnq1jdTZM13Atlsc4eUZYqd6UxFz+ldKR5qqSjDVAAJ+x1usDA4sipuwp90ErLv4u+
gumzYDCaHWxc/RZgR/Y3aTUr26t5lf5y3VH8HqDMQi7OZNddxbqZP0F9UlCzwBNC8zoUJ6Jj70hk
AqKqSg7DFGQ/JNR0ubH71AuZl7WwnylQgyp7pWSVW1ykTbg0VY32sKgvdom6RzsG9Gnze4J8nkIE
HtzFWkT+jkqIOkp4VGpI6RkcYF1uxN4LPwdR10X3nHRokYx+ecPW0jIqdwQ3Esyy36G9auwmp75H
Dvzp7WN3aSB0/KiL0M3hibe6U6JUq6KRe8y3eu1vFCAdCDmKHWVt1DpfyZxzeSHyiy0cj8mFybOK
SzUmTVEZhqYPWcoU1JTykQZElQbqLtNkOB6mJqiGP0pkOGfazupXYTYp2v6FGCKEa8REE8212oR9
6rYT+nJF/G7Wj0JtyOYOAimO0M4623CkM0U1RCnfQSHAc/RU66+DuMJ0ARthTNt5+ojPTZNu6cBe
Whtr2XSLftBCXF6l/YpIJDVE8vAK9lXWmZzfD2Pqnu26OmT119E29iaeWEVwYyTTbpDalWPFO+Te
N66oyw+Cf37I6ibWGVQbBO2pajESqa9mhBRKkBRlQDOaGGN3ziHWtOOcaV4j1R2GX/vIKb70Qt/Z
8jum7lvn8lk3aRWwgUMiMgcTC5D2OvEujTzVKXAYvjoreoIyodO0O9XuQ21H93dor9y4GD7k6Nw8
JWATFrXw/gyc0/CSMR/h7qeNxzXZPsxdRksffyKlo7alf07sod51hW7sMwNpRVQXoY+iRzV5DQb2
u6wMxb7rw+wJWTbnV2XiPTAqdmORiBflXR1k4V1SRs2+GZHv2RdaLR+HVG9PJBs/g9HIjlRxeh89
/eQBpdjgDrO78oZUN4ag29tDREQD3GlBcxUe5tvxvnSi/E7X5/GuEpp2ZSuTlR/RrpkPRtaW+0hr
y51FZPhSlLbcD5oa7SsXJDcUvsr2DKEbhwiFKajOlCIdfeAJTvJzH8+6fc8aqXLvBvHQeNKlQ2Za
EA89u8vDkL9wh6e2jORTbM7mLY5DzUGzS6qImJNpmIeFGPNGZbEjelrHxcf2Y+vwFCr6OTnVtW7d
uIGxvNLo4kOcbm8AnmV4yLHcbYDWRzjZ0xendoxbqr7FIYNyV3toMdSHoInkfR1aaJ3MtUmA7efx
ICupfi/KLOZeiKem8dReG+4aN4CnmOWUOqmEWw+aCKudg4LDDTZIgS9r1zm5UdSeQqMwD5Ee9jsr
1ZEiMqppeqrVIkBpqujupNX0R1Qlp89jF7f7LLfRf0+KeGdIyV2GUyR+AyUMcceqH5KoD46ypgrk
FoVyTFy3OOVplBywvas+5GqQH219dKBYae0J7UXrHAAzu06qRP3A+6TfJYHQdkEAYtlyUKvEiXD+
GfHEPOKtXdZ7YbZ6c0TgqP7B0zs6drJqv5RT6h7DRNwXKFgNVyMSVD+12Z4NTy2KFBVKlXEAs2u+
7kx/CqHoVz3iHGeomKa2iyyM704i1KZdpS9PAzVz4vSUFllGtwdqp6eRU2f7oOpnHe88K/s6W1if
wiSJfF32mZcoKa1oYrJ6GI02Hikth7eKXXaHLCq7u9Ry2nrjmF+6hUB7k5JhJ4AozpI7/9MJ0/Ta
hhyAAA3Gycq5QHb1CFu3oKmyJZhm8U9ah5OFEYjIHXVb/v1yJOBMfEjEEMCPTdVvQ0103x1T82su
Zfax0NWNl/Klibk48Bn0bJfHzWpiVTbStBWp6Q/CCjwbbeVDo3bqVR10+af33+TAHHlAUaVAoGM1
1JgRGTu4Cb6hBqU4pKOtYHSnzna8q+xZjzbqYRcKqBTd6L0hA0InbF2rEcbAUxp3TN+uU92l9t2g
giAgzZ4KNQ7bJ6RP0mBPq1wM+x5pit/vni2tRazYCBYIZa+RRJUYtEbB7M1vgbJKVGaq6TFk5kdk
0bbyggt7xsEzEFoHLzf0OVc5UtgOZc0VYYB4SUbQuHM8hPtMM9No18VgO1Mg9crGiVi+1mqfQt5Z
UlG6YxRTV/u0TNHlMOrM8kcNNkJULUJHEWz/t1fx0sxQoAeBAe2PRuPqvu+Dua9THtw+UjNE17RE
NwJpHNhJ6DQU6bjV9rtEtABOyFczaSUsap8vj5+wtQlyjGn5loQZL8pKw79Vtx5wEtAAUNQEd/y9
brMymo+2A4RKSVSd56sT7t+e+YX3P7470LuXrJRn4KqeNzb8FB1DVz+aUB7sxrY8qWpXfHGTPDjl
ShuhIaBsvT4vRANybMDtYDjQ6l4vN/CUfihR1/ExEOyv4LPjsJWZ8kOWVFtDXdg/S9JEyRJEGnWj
VRPeII2T45zY/hSocvI6Le1+IDA2bbl6Xvqi9MFI7gnfNHSfH1b/hO5JCCfHX9L2lZq19gwQzvTA
yBXRyW529WALL0BF7aaJBh3ZjtA69I3lHJWwtz++/5NyTOnLkVTBr1t90syidO64seXHDbIeodFb
V7Vdmbskmr8PukB7BoGRq7fHfPVFF7iYTsnCoLdMxX71TpsnA2qJqwW+IRfjYOHWfyah1vc9JnGH
dw9lLNBJCAsGG3d9c+Fo2eL5Xrg0AGNAB1kobvSmt/aimNJPbw/1avPQK+KH46jJXoUesHqP5CBy
AzUbXF/R+7H1pqzKdF4fNMX+w5yWSAC4gdYUlJmX4UAOARofThL4U2pH17rbYYHeytHLoj7akJx9
dV8xJ1RtFhrA0jJav6ij3lSQ6E4D3+xT/SYatPLGnez8gJwiKlyRwCORYuMuLRVry0HtNQgPfMqS
2wDbJrsB2P9ymnYzRqkjbAGF2xrPnVtVZAEhRZwyr+9HQGswPmJctQnFOEWOvEzI6Fr9z9tf9VXI
41dAB13qCUsheX0+NLtKUzOKxaJe7x7KSWHyufzdd1K56rRJP+coZX5+e0xzfY2txlx94CHNRjth
dWEkpPUT3kr9walVFNRI8reQaxfnx+fllCyCoGtOvmyMCtjtiEhIMaMRjxrjPouw2nIQf/fsTA6e
rqfB6f0TtBbIAe1qEr11WQNxAzcKdE34aVHV3rRovk8az5UxqJSNHfy6RsViYiOM2T0ZMm/W1bFE
flyv9KYVPoVAy+9FKM8i1wPoWbpLn0OHepZwbYX6k6K0NJWGgM6vpwyKvJ5yPT9CIr+nPPkYGfHw
gIh09N6i1fPvg5YGzwap8PU2F5YBrFMEgR+agXpSzKDdlfZcflkE3zbSo9clk2Us7AhVhFJAED0L
Gv5z7dRiRvIHHiHSkIBmLYTJTxBQfjl1G+5F1Gf7TATKQevk907W5t5GrPGDpK7pFVJO+95EA1Av
1Oa9V9Dyq4hkWHUuYNs1VsKd895FMVD4qG5ae0tYD5UVB0dd6uKI+KpySFve0m/vwAuBzaGK6uLB
TA2PAPcyuLQ8mSuUkoXfF1N4cOwh550XxtftXE87hUb43yYL052BivsG3PZV9shsac0RT4AzA9Jc
Dv8/38CuGiosLgGlEWN9NfX6THFAi1ESow+bV4Py3myV8UhTEXJBnYcn3Gq8usIZ0Bn76AxKM3/K
uqFCVyXhoZ/1Im7wPCnxNn97cS/chHigUolF0Zuu77okiPxPOlaFgip+1AbTgRZnFhwQWg032jYX
YhdZFFRBFI3pZK+PTjEiZ0QpPjw7tHE/2/bk7BIXCe0iquVZDaJ0r3bVlrHspXvpxajL7P/5gGYd
5l2HNtZZBKl2Z2cg620lyj92CLTvQDr2O3fU+3Q3ZK59qIX8E7nhVs3xwgq75E0L6hZUJajtl78h
ciKNXaSG5zSzmgnZNu6mIYmtp7c/5IW9SmWVi4EGE1XWdbxA5C+XhmQYOSSi9ZxhSPdVBxo+l0OD
drPqbAx4aV5sG6gntJpIEFeb1RYmIha6sVSm0ua2Qcv2rhO1uYFFf7aOfPFOROSAbgUq7nBPgKKt
LtiopSaXakrgo3kgIy9pB/WX3ithd9LKCGPiMLHkZ6vM0fnGazv9bauZhnzvUHwdkJD+1WkL9ygV
Udd62LmIUxVI5EMo1ivBrqU/aRwnxPkirPrMKjo4xtzQ/HamYd5bsz6eKr0QXyS9ko+tcMUO14jo
YyHRLtbKznjKFCP7FqVKBIJL5bZylQyl9FaHQ0OQtoqtpu7rNaeIRH4MPhdQKfney72Uaymq+2MZ
IR2N05iW8qI7hn3QhBuI0md02KtVB4kPTHyptKyPa66mUx9ggwswV6nyE+L2oAaIWSMNRZM+ptea
lTncdHYdiZNhxh3+38OcmTtHDezao8o2fu01Fff4jNL/vJGTvA4mLAA4SODyFLKBDLxcBmTpylEX
OInEjhXcWFFWn1rXqB9GyuueCJ0SUSY936gHLWu7XhKTBj4CwmS40AVfDqr0egaWInfBDQskEyk1
p16X9ek11XPt09uH+eJY3DdLcwwe2Tpm1HMbCGRmA59MujsPQaR+SOo+uXKNqdo4YK+3FE0HcmVg
f4Qn+vYvp4XlcjqoggdeOMbTERd5DgEqsxsTWhZnvXhAO3FT5SYF+bUKghPyvnMSjWAA67i8y8Km
pnUfV19lL7TrICqq/TS6Ibz7bKLx2A4bKcTrDYNOEQgMLh5qsGAHXk6ytdPeyXsgiEMTCoQH0YOv
q58ccBuldvwD1Eir9m9/wtc0E9Ck1CfQ+SCHoM25mrJaKWY4KQQuA93MK5ABQKHbefZE3jcH9DxR
M5rc74GaD3u30qpzNcZXVpx8DrQifXj7t7zeToQNktZF9xr1q7W6YNuP6DaIJjqPvfYo21Z8j4bc
9EIz7TcOyeuFxonk2ceSwillmdUhKYq+pzERxmesHpGQRQaLVnhR7rWoiQ9KnQgUBtV8Y6lfX30L
V4/haGzCUHy1ubCV0FE4CM8dVHivqWR7QGT9i1bNcp+ADNl6piy75eVmXh5EOJixldH/WWP7Q3OO
Uz4gKsWOJj6YWjdfSS11D+Rq2a5JuuQgcGnHI8RoPigyEeDlEAGSuVVtPBIuTZwqHjcwECYkDVdn
N4v7oat7fgjUDFRGi1k9hdTmPBnXjtcm5rgB0b60j+ChUA3HlpXS9Kq4WaQDFKbGiM5pWz8ZWql+
zKQR7tQEpeD379glcyNV5F+v4AESwF+nxyjP56MtDkpTd6eE7PWzo0FTf3so48LXRDKFWjvxYaEt
vowNEg5UX2LYdlahe/5pQzQ60e3VIZ+9Pc6lo4Hr6DNvCBWl9UO65YWTZ2NMy2KOhiuj0LKrhMTj
hlIQqo0OCL58VrrH/zAoX4rskw0C4vTl5JxsyBCn1aOzG8fOYbZaYG6RjZiymItr14zbY4I/nP/2
oJe25bOuiqnC5oPY9nLQebQRd+/d6KyMg3WXjvqYwxiclCtZzLxbDTvd2JcXPiG4pqX4RANqceJ4
OWBc2EEy4Ah0zmHqngOkKY6RPmxRzC5MCzLxYipLde21/KXTzXKwqT6cHQcNY8/OWz25Io4PKkB+
TSaU1kycRN9eywtHDrVSvt5SqSTpWH7UPy+YIiunRsUw6GzL6E/uFvmPuKxyELOtvhG6L47E6V7w
v5zxdTCRFk5fEznwWSsy69iPznCrBH26n0WzxS55zlNXEZQYwo0Eio8e0NoWdUjDOAR6EZ1VLWuG
XeZOEt1eYQGz6ke3R0DJ7pMHx0yyRzVqwsd4MORfUMEp2u+0eH9OQ+n8Kcs5+RSzdrUXjFGgIGAe
jUdN2uojX3H+Lkp1TL0qSfTfVVQ1JdwRe0CXBphUeypNTcBfsgDe/FKD2LX34HusDvELcxx2SpdZ
zpVRp/kvaTgHHKHGysM/wpL7ETnQ7lj0SY2PUi/TFiSCGlaeZaeRuWv7qsAqKS5QqdeTcPgiIwMh
FgU5OvDn6XydO2rRb0SwC3Uzi3og7z4b1jr90dX+J+NN+macHHiPaasf0L1BwyhxZgM7hwLo8VId
01jmoFZaTwPfPngzrpfhlQLK4VglkLe8bC6sv30tSrwkLCfdOU0eb3kaPjed/oey81iOG2m28BMh
At5sAbQlu+lFkRsEKVEFW/D26e8H3c3QhBj/ZhYTM0QDKFRlnjzm/XtfgZwV4oAbgpPLh+1oIPh3
ceE7H1t0Zk+tpdY7zAQy1XeGav6tjZaOJ6coGsD4QonSAJm58WYOnXKpLLV9wbQjdXzRxsarULN1
cN+l8xy4S5HsSQtWXgfSubSfyOl7F5kEVtHf7OHUFHxv7++AUx9VC4UdCCUF1fvv0Rw0j2wwLz/K
fFQBwIjlGtJh13g9LvCYQlwq2KVDJY5/5rmnhJkK9h023vyjTAjJMSmIMFQ338rC7UK9qcbANibx
I6ryCN94s3dWQ/XY15b4aIhWDQ3Sg7cIMybfdZN6n+Wlutf09spQjJSxUxGfk9jSNioZOGLuyqss
nX8nY/xSjtHvPkMNg418u5WzYvp2310NnuaGQpmLUOmt0xIppe8pLOEawSz/gXMbKas/xxIReFo4
j5lZyDBzRbOzjR7WeKXOG6uMZhZ4NexapyKPgfblaqoKzfeK1LtK3akJO5eO1B/NSty7BcHt/liW
8GFaN91DRlEeZhgdWPNKFU6nMzSbUcbmRsw5/E17GGeouY6Y/aw39H3jqc1dnsr8riGQ9VpbDPVc
G3G/t5vyqQSVeMvG9ZsuoDo5o5yfE4MgG1FY9R7aerVtXFVssjZvTh6RSicSv+yrErvMrbfUxjaL
CusVDaOzURxt3pKnBOe91avAykkZkniIozBse97iXFC9a3l/Z3mFuxn0zH1EAz9iUG3PfhGl/RlN
xRSYfStDFQLptijxPyfNMD8jwrpic883du3alwt6ZFx0zPm34sZuCCRh4+ljOHawlBheq0Yn+Aky
2c4RuaJxJS3sqlR5tlUl9wdNxP6AkcKvuCyGh3nC8UCfJAGD1bT8rLJ2nQGqlfm7EKp21E301vhB
zkc9zZTLPhv7U1l3Suz3iT0wpREQO4EtCJbq0mJjWD2EVB0XdVWt8+vcLfHMqmaR+02Z8YeVjk2y
k0S/GI2r3Hhp7R5GNAWPjbcyWSJce8JsTZBZ8szaDa5JRIetI3qtVVnfOEujXeZVme5nk38IYmae
egu2UR8V2gMeTsIvPKEGud0JZRORxvEHfS4+053TjldKFycHrFz6E2m8qHjqno9En0cM7zH7s3+h
YbWrkCaMo9jTiakbHEkmS4oXppM7adiPePos2OI8RmmTv3RKXwQVzvYPU1qMm0WPpnBMhi7Enpw/
nOTTchWJpNr1uZHtR2WUe7XifAxydXntGlh3JRvycXY983KyQcMBGVeOedJMl0OcyqM7FKWO5QwD
xSAzzD5I2tR7k6noThphLUdrEQ+93V54s1v5UxN7/pJr847Yr8GP+94LRiUWN3PnMj8fosek9vJr
L5dxaBC+eIQB9dCaNSbGjPZYxGTxLWQWFgswloxsLcTUKDmY8OT9WLGNjdpg2ZCVPT2+7FiabbRn
XOD4Rqw+t5lMg3zqnO0o02jTL/JF9ml3PbYkjLomSVFdW/mlgVly10ERzWPjbM56cdkgIw6VMZlO
kKjHQy0q4vaiLttTbfII+2HARtJa5A4m9fIiRnnO0pIdUBP12c1b75x3+u0oyFL0Wu/FsAmv0kiI
JabI6/fQsPJdBseLgXN/Y/f2y/9YVdGZrjgpgCmUYBCkD7u4Dsk5iyh8qVCzO0whtevKiqvHNp/l
N53Mp9p0vRTTM7Acqp1Plh254sCHnxTrMEyT83MsWxLb6lj9hn38qTblKit5dMWlsAP6SDuJF0Tf
CEzguTSglAxqk4PHPh9mUZYEhkM+yL8f4Gd0gwuiZ6Y7A6CCGfGh5CBdw6spi+AijBmU0UhO9iYp
kGf7Gllp1gWJOS4mSzNE+6AYVss/fjXsvYieFdIq3YjpS2yfvyP8rBXEu/N5/V20jfglMIamT33/
Ztn3pOhHwz44brTSZKfh2ozKdkNExbJjkPnSwbu8tHK1DYjDab9pt7562fzmvxA85JuPPd5YqZQ3
qLEPI/zRHxVfcUhM0HeC5U8DMe4RVS1EbrzRQGfXGuU/PUERlWacOpCa7H7O/aXI850oJzfz6yab
Q32a4NsKg1Osbfr9v9/75xtktA5F7K/4BiD0w+Nd4tQt89SxDsq4DMMGPrCRBE5kDd90dJ/XM+cl
3uaaS+PDLH99BP+5xUbLOnvuFP1Q2dMbXzCk38G+nxXD9eGRf9ePsGI/LRuuh30CymwQb1qT99fz
5jYtrToxDrAoFpJU5MWMXXWVqUQZjZV+OVE4XBL1Y15ZSvHQzQKt5npej3POrMWa05ueCPnQkLa5
G2bnJh67Oy3q5aYQfbzt1IwoU3d8NTJy7qQnONasKAmwqdWvFtsbNkIt1BQeMG4XlT24gUtvVOLe
vqkhxfh15LX+OKnpDifpVY5DZZ6Xee+3So38z/VKoq6GZtfq9l1p18fCIzYGLc1Fg/snWUxDEZSz
/Yuh+4Qi0zyOhqzOBs5ToVrjaqMpzlVmjOplSizlqewTEcxac2rq7ikV7XRKY/c32QoXEmxxOxNs
hiZPLegbxJsel+TQDB5RRxb0ABHPz+MQe6cpip6XOH5V3Q4ivdEiSRzyvTcOmziJp01tmke6EKKr
KGNKUn58Onjho0gEpMA7N+yJgAxSSJ1IbZTdoNpH+Lm6v8Bw2WaV3lyP5JZsvZkY0rgtszDlPZD5
0pJ1W1sEP0Xpw6K7MCUWOW8m236NB08FdJHVPVj4uCkiuVtDfwO5WJejSbwUM3WanjVsM7VALTur
vkd2TXoQD6ArlBOeBL8cqz0vbXmouwH7lWZV0ZEahgDqvl7iDV8EmB/J0nHULtu0yZS9m+QvsnPP
eVJHt7Nie75nDQdcDvJt5jbXQrH3lK8/rXk613ZD45gXf/JeiTc21Sr8/rVk4tBfNHdnJjLzzToh
Bciebpy++5G44uxNcaAlRQkJ3MaLX4t2TomVdFuWB1T+1h9TNoeoc14cCTGFUc6uVK2LonTs0xrv
Qr7UdqjMh3hN9lVlUvvYEVr7GovvoHJtpFCFRbCcJp45ztug14YhrDoyoWjsh8usSV+TXtUQdPTH
OcsuOyd+cacFr70+vUsSWgpC8ZqAUZsRNvq8bJKqul9MCHNDQSefGXm76XX6kyly9gCZTM7ovTbO
WgANoJewligi9FF9ibrE2NcugedGNPB0IrPZj5pLwlVvE0s6pY/p6J3T3vkNsdL2e0e77Ym6Urwm
hKm5bOXo8Bj0yh8QTwQdC24fqclwmxO648ckJCuW+UCk7C+n1TDGnKzWH0R9PeMmulfq5WK0hic7
ax+quPYCXW0QNrbqxSC06ES61G3Xtj+1Wf0x1OOjkagz+ZmOuclMtmSt0ZOQ6OHEL60K+x5ujkar
f0qM4QJ++lU/zkfFmufd0Ot7oZRHKrx6Q7G5tQsDw5EiHgMtk89zL2/1vJrPMDB+2TDoN7p063BZ
pBciXhm3iOMo8csN86uFIO683kypfUxKJSWCMY4J7G6mrZPNBFbWWh6qmfnTkA4KMGe5w3T1Ziqc
Q2/3iLSBe0qlcIK6i6pTZg1krZQS/VsZnRSTNPNWjCyURTyCufxm66aTUX70k6NjpZw/JMXAeLUc
8m2nay9tTXpS7uR7gy4ejAFXbE2c+RfWbrSVa0MlcG/S2Tki4qp2DZm/D15uj6dJixcEy/OhJrTa
GqV+hiV9yhrjzql0Gcbt8GOsFbKxlPSp6KuXyFs6n+ay8RE+wMyh2pwt2ufU6zZsTH8qhr501H1/
ZSzWXTrgp9CmiBRAFUhvNbABq5JLPLQfW8udgrp0RFCJyAkcXNrDrPU8VprDL9LTZ0upL8hgfJXR
gnuMQguDautELu1RNdr93Keqn4vx1vKqX3k91X5iTiRJlc0vYacvq03wrswYYevI/Evd+9N72llE
+usy1fOmiIsfQnF+FtI+WimBcGXSHYa6OaWZ/dyZzn2rkfibOd61I1L6xmUYH0CtEoScNp4XKWTQ
LO+eE3u6g72zsTr33rIjZ8NAIPJHaU4nZhQ/pszs9uxP+tZq7P7SIUMEvmA1ha2M6ks2eViCtYZe
x+Tv1YI2FRERynMQypM7IJPJHOVuNPWdHdG29YV2TxP2qOMp1rKiO+mKo9cPd4pQz/SMPuDeHUfP
z96cTN9dMQNEeBYJBkG6EgPtpkIzQArxRjbJK04/BLtX/ECi625qekl/sorNXBU/poS5rursnMHb
QAqOwxlaPgnoEzoQPm3MP4ptZ4pNsqQ0VZo2bqzWnMKmS6sAHZHmzymZhOrwYEpx1dbt1VxHV3aS
n2cD26I4bq+xHrdDwLoXtXNve49tqBurkowjcd/UDX/KsU596T1I1YwDHPhaX6QmEGR5NzXpw+hW
OfQS+SN16oLM4XLYKLGxixf1hkgrwT7jnXoPKEdNWTmD653jotjYy3K0SuXM7PJA7/iL4LSrxu1/
R5P+HBXJTpf6Kzlv6JKlsout6BH2x0vReseoBHQxBus2GuTeqouj0+XYm5ouGKqpXFuCU4GE9qeu
m9H3JeUt8aF/IsGu3tn6iz1Hz/rIRlBF01Zrip3Zl7SRpBDtMK4yfbUZ91ltAbmt8vj4vqw4auva
sXyrdu/szMZnuOBEqmV2Gp3p2SwWi1Wo3xR18yQT5QKXUHs3lJzNOJjsvU65iAZ7AU129R3RRbqP
eOfKHbzHofKuldREeFrbdx2ouq9YCUFrGU+TaOTr2IlFEDXRTZENhq/W+k2clduGY9x3l+ZlwuFR
47xl4hJSDu0nM9m65fQssu6B1I+dmC0vmAg7UTT9l951v4jP7enpFZhICsoGEEfTid5gmJBhbSoV
38rS+4kOe7NicHuhzfmVyFiGQ+kc4ffAMrRHN1TcsdgJBzhPL+brGPa4n7rWG2/N9RvRnmeR3WDB
E3AundrO1XxZyyqAPLsbJ2ylckX8cY0yAY21h1Pu0arnwtaDMTMvpSmIGe5borx5Nsqp6iwegOl1
N0J3ienUJ5TKepdcDXTyW1C0t2iZ0ssMSmVIcvEPaq5829eLwFOURzuzM0b5wNE8dvTvarvHYL8K
6RYhjY5zfOFJO7kn7/rJAisP4F3Pt3U/BH0FClXa6ZtoRgw3RJsF2aSlOxNbBr+xG+Ao13sZe167
PdmXFee0P7Z2egm0iMh8MlOCqrvj2JP8PfaFuqvtNT8W+fM+ZwR9MSb9ZQFb59csS1JalGQ46L2r
vkIvyW5A4YZtItJzZo13JJ22e6Glg99T+V5g9nMmKdRjwpmXUKlaI7RhglLwgBxkXWccpI4pnwaj
Z9cn+Q+sPAw/cbWNUpdPzSDTTaaBacR1h0fGqMx0UKSfOjbbdFvq5YbCHnlhhmxNzW+XwX3F/a7Z
kpDM0VlZkT+Lod9gOOhtFqG+OYv+B+vRm0GH/TIk+rBJ5wIlHZ+o34rFBc9e9hE4dohmog7GQW2P
PR5kGzTEr3lDtmKGLUOZSu5Oq4A9Le8CMj+GkxCdSAnyfIFgN0Is20zaWetU6dMU9jvMkA5Z6sgg
nrHS54/Wdv2ItPZJt6xXq67wU4vc8bIrrCm0mmqBvig3Evi4XOIgSfo4hDP1JLHI8YWn3w4OXv2e
MrD9mzwbZ652sHGHlWCp3ln4cVNUJVfLyBBvXt4adwIsq7VrfEFx+V/UoCAabkfqt7jH4ScHCidU
YR7AnURUMRzR8W/BG5UQ13xbKM0DWonnSrhXFfhLOHWFFhSJcS5VckcqrWOLdPT7vnJ+ehVckKrO
tBsWQxLolXeTK8jwK4149FnXmoADuD5YiXeTuhV1l62XO4QEe9NN9qUTH00lS85O7uGZZvSo2kvD
ioKhW7pLMZQT8Lixwzi5felr5UQIeRs27VxycGRiu/TTLx5hFDSTkgTjaLhbs0Vshiqr9m34z2G+
wHXKteZ+1myBJBOXmAR2IZuo7Y+8XrOmbuqaOvaVzAml1V6rarkBIEFdX8hDsWjEU/beYcY0GlFm
pB2nzpwDYi77TcIACjOAJSig1O7VxTBo6qEWdHb525OZtjesrvTluFLP6Lh2BH1X0MLaS89UFjSO
M/wLJKhAsl17NkgyPRBpvc2N/i3rzCoYat6thfWp4SgsWZ3EpqH2MElKlF9uSbY4zHksw6E31C3b
nvC47fF1ksvrzGLjYInegOZ6SqVmb/etfZHVhbHPLap2o+mrA1TQTdtW3QtEk1BtI+rx6rDE0+BP
aneD4C0N0b86/HfkI0M5vtUzq9gOs/VSOBRNWRFfLqtzZ1p6u7TXHwFVtCttxrSEQ5hkck5YZGt7
8tufi1iqe0ea4zbVBR032+/eIclGjsWz1eraHgSTtZ0jqh+1wb0vPejySp3epV1WALfaovVn20U9
PHRvCihr0MWUhrpxoanui9MPmOTDt5/S7kW0GpmvOZwlqXtnOUbaHrXTGYOXC0h/jP+koOfsSU2v
jFzdYW/pbinOb/o+mYOinjimxPRs20nnU1M+Oj2TuH8DNF9YTPGrENBwtK85TR+REyuLhsacMuOg
c+JAjm/tWV5XjYs3EMaIT2XdAu6vnJXfYBfJH73NTSVwWDLEJzNkWAIKUQKO09ooKdg9ObQ+wXLs
jaOrlnzYuenetCwexkHY2qvfEA+/wJf43fiLQ0kz4LN+gBV71qE9k7h7sKuo3HUyHk6YPRrfXOXT
qBtsCcEKE92ViWx9pFEOQzIQ/tuPhzQjryxEmZJ5O63FnN+3BZan34BmX4ClRKTAVKTXhKFAXNh7
dCmZNGYpbquTBpxJ77hkriNvlMoSjm9hp+5eyHFg9eTw/OAJDVBeTkNSOjc6GbvJRSE8KtvWmc1v
0MrPWKnGpH8lea7cIe2v8u0/IJtE3lqrE3b9fa8abFSZdzkazhRqidcG4xRjGLgo5c6YW4EdY1R/
c3nni5cNawOWKZody4Ea8/6xCOHUEM2xLUWL3yQHLeksOzQZS01YQCTO/fR3d3MZbjGiypr+frDa
ClhTG4HlckI+XqZahYVZ4FgxbcfZWepQlTFbcevwDfjYOzUGdQxlWDPGK75WuX2yjSrGu742GvNL
2ajNtOnKEmJ2MbXQD2zE6AU56kPJ/9RM5o1hJ805lnH2amuFyhxWqOIJ+KPwQiyWijJwep3ELHTB
a/KpOVWq7+nF9EKzHv2svNRS/aXtXToPO82WbTUacAhaUT0QYd3mweLO2U93Sse3zDULkxOmzSL8
QzEDACtHGu+PyyTNMI36ngMqirxdOejD72lamir0LDffVbXb78pyGi6JMBw7jNmWDnORJH80s8lT
dh4r3QFMMooyTKTQj7IpzRn2X9wyOWU8MZ60yi4bXySeeyxLdv+wylLKTxjX5CD9e4P6AtmF0e2s
IWSm7rA7vn/p7C5lYmfleFCxhHB+pFGq/26aOLJprj3qeKOuInH49zX/EtPeTwVISkC3gohEQ6T5
kW8iRbPYRakOh5TuxSV7QisJzS7tODkzxGvFNQxRfQwpAdP0GE9ZOTCVqvU14MDz7uRf4kfbTMI6
j9mguiAuzWyG+Eyqp6bo5/Znbg6FBgDZdD/6NhrKEHarqfjYrciLzJuZ5jGKm4zuTz5mxXOPIRHA
UpwjJkfQ5XrbbGoBMCtzHJOHdioZ87pIe3KytOfY/OaI0Nft5sPTgKVAAgACHgSDH0F8y+yMXBsr
87AoZlEFthIZF642ZDMz6DqRGysd5+rEPCl/reYiZpnNvbNGGWbLMbdzQmNmE9UGcErsbhrhDc4e
TputHYmsyZ/VfEHz1yJAuOrrzk0CWc3Rct22VnYdRcBO/363X2wi6y2spF5I8Zqxrrf/bGKNl1uT
cMR0qJYqK6nzPbfzk7hyv1NkfXEhpGnQPhHgQab7aLJMcHtbtUlrHESsxXdqBggXGGLsv4sQWUcb
H94OGzIbIhwTl7C19Xe8u6HFjHSsYA6kWSLpspTuMtFycSeB2RzOCJiM4YBZ0+g3FcFb3+h0/tLY
P11+JWrrjMvhun2gSltdBfehj63DZOJ3dWXZLaY8pS4aPyfiy1oVwJF7rdipFl/qs2n/aIq0m/Ez
K9uRKKKB/peZRS8DtYodOiM3VrZJperiEoYeE3Q0XOYd8hdJcrKYE+3RaKxC23Cf42OVGNqtWpf1
mzbOaRHoU9w0tJdakYai6dtqZ4GfPapTXAzhWGde5c+1rV11Wt62JxyhTSWs2lY7gaha58XyFpqb
bHIfrYFAN9pXGd2U0Mv1wJSLUwQzlHErsHqlTLbd0gtyIjSljm4chG+vHRh7uh/Nerb9qeX/vfn3
wv2ssVirjzVFj0Ehtnl/je7+86IHMC9lFF1HZt+8iawnfBL2LVHaDom6nHRH0Jl9lVpbmTiIHsHR
1e7o0Yj9+2d8sR+b1M46Bdf6+XwahbsMp0fb6w7CHsDWIOCHMRSSx8pUGDzBYdv8+3pfLG/8T9b5
LHeO/9eH9eWoTWa1BtcjT7E69aJJfs1xYjDUqocDbuzxk8O0LLDz/Dst9hcfMHRim5QnyuPPpp69
WY3ZYrQ9PsFNF2INoRLq4i3bf9/fV1ex2FVNvsMv5F4Nqdm5pqYTYB6swCJ1VeYuSvZNSfnFVSBH
Mx81iTAyKJjfbxIDzbDq1ql1cPQCCy1Rdkc379pvaBLrWfxxL1hZ0SbUapND+8OgeYwxaStyNF2a
0awGxxDM4rbQ9larpPjIVwbWSf34zej3i+L8r86TGh2XxE+KxIKaiZ1ctQ7I2IZQaMq8V3TnTzyO
wzdf4Kf6l1tbqdFI5uFNYj3w/iHaeANXSS/jY+VFw40jimorC5BkBrS2j5LPDZJSHm2v3atdgXX8
vxfKp/tcr46Xw2qwjlPH3+3hP5+/1AyBWxLM3s6kh1a9cb7EezTfCtuKrv/nS62cZUzw3DU+5qMU
RcSoE1BUu4dIz8oTsi7trqX+vUolPXLw72t9WjMQO5GmrbUFPNFP/pPq3AxLS1reYQahCuFA2mE8
DOZukngaglcxHFv5bX/+fdXPNQ0kd/g8aFtWHizH9Pt3yfyu4YRAml0bPei6ow4jltkaVnxhmi5F
s6kz136p9Sk9auxAly2jZp0pbxYP23IUWAoTGZskwWz02v0Ya7akHEaAHeqq24PLxoW4a0ivsQI5
4cTlcxFrL9MKs/+MsfLwPz9FmDyohla1NXXyX9/g/ywOR9jJKIWWobSAImMkCiwaSHIbs8fma4oV
79Ba8Xc0iE+bCs+QZCGYJZgMUIEY75/haFUacAkWc1Q13TlW4Rv0kTN9s0F+se5NSCTYJHLakFb7
oQGAJz0qOHQpBw7lInBt6W5YKti55mbyjVLnL+3p3QaGwyRIo85GiQcuAdbv7yhhbkvSA9LxUYFy
sCt06N6B7K1eu4Qikd9oEA0Z2qdpsxv0lMGnN2AMia0qYHej1wzCVNupf8xaz7+VUQL5rzd+pinC
11Ak+CWEaNc8K6hyR+uCKHcbrEmp5M/U1eDfsIGGY21hP+E0hflgoL+416Muv2LkBjXdzrphy+au
gylb+KX5Vd8DDZaJwJlvXBb7YgCcaf2o1OjOCjPvr2ZDYG1WGY32o0pc/GfaRpjxxqwc/VfM5OoK
ker81MtUtWAWU3nsV0OZInAKY76F+qKtGPU6MptjPPg2zEMQZzGpKS5R7w+OXzSOe9W5KxqNJ0rD
HI0j4Le0nOZhHuv8V1/U+hnvUtn78Cu0l6UhmWEaR7cNEjWqDxVs7qMVTQWEyUh5cvN4OqhqY1+R
CoaC/d8f/eetho/EoY1Z7+FzGpYTZdjFyQxjOEhvEJw5eI2gdAVc+0qMKcGkemleRZYxTuG/r/yp
aGJd6ZRN7pr49VlP6OEJ4I5pqhzqWrXGwCxUD/9SWKhZQN1CMIoeSU08/vuiXxxXJHIhVUIFrUPx
+wCXGFLMc5GzmOfUoxCHMg/uoJhzbV1Lq/Eup0iieWl7pmeBOQwTPKA+teLNv3/FF5vEOwL8h8oj
NmWRkxuUH6OcnBcrz4194s7NN3xGsEo+zQ+fLkIBLMJMHFU5uz7cbVZWSkyhlh/VRZFvEwZv2yRr
RJAa0XyjRHSeblMoe1Mv7FPdsTZ9C33/gXFfekP/WkO5xcO/yxp9w4ofAwaP9tnsKFdEnIjLPI/N
HQBM/YKnWnSheRC3V3vmPQ6sWSCTycOmvqhO7QLGK2QNOtql2tGSg7edes86mVDg/TQelcCm89x7
ldccnFJ0GxJzcj0U5CNuVXzY0eat3GAnrSRzB8N+wqBTgRzPDuIluGb0bgLFhgy5nV0QkNn0bhYO
zGF3U1tCFTA6BkderF4kkWpsrcnuoFIoxm8lSeT1AMeLtookqryx1A0ubm5gLegmHKOqiG6Jykvb
S9xTnEGKcaS37OpGreMN1KV5X3Esb6gK3lR8V0KtG5NTXcz5hdvNcag0mrUfvPS32iFzYFNp7r1o
FVWktbNjU3J2ij38FgZwmmBgiF286XEuqQpjKBiBaW5m99KZ+30kFTOgGR/QZWP9I7pY37DdGhfe
ZDFZH8kRb/NphjU6N1u5GNFuNho1iJe8DpnGqoGltDDMjCUPsq4U2ybNmA4oZRRq1viWx2ySQIjU
T92UhHg9Dgdo3W27g1JF8zpK7+xqs73RPMw4MQSlGmFsYF9FzRC9Rf3ypGEcWsIccZRjZS8MfSUm
aaPPvpNgVhlPYdI2NvEFC+geH+W8HZoOv0ExuKHnla7f6rP3lmRO8duVuRt0UTM+NrYeh4XDJGrI
zN+NJOwo1HOneG3GjqFLNUUPbq3Y9yQ/DKGiyQzAgiCfq1gy4ho7O8KzQTJ90TL65cxOwtntugCS
iPfNUfz5W2YDJQIO6JfDmCb0/fFYAuP0TmTnRy3PcYm1u2mvqTL68e8d41PHZ3AVEBP2LlSBcK7f
XwWSulE5UZQfG2uqdhKe5J1rNj9UuzOOBAKOQU896cNgNb+5vc8bJhfm/pgm0SPZH2WBQ2G7Yzuw
VdH95pfQsxmoT3P/oOaVstHqSSdCCfqjTOMZrDX5zn3E+EQq5cY1rk7gD52g+dGp3obqZFmAw8c+
SpoBB91Gv8XeKBlJb1FimAMZVF7ysbBI/aUWUvzJGLYxWy/EOFB9FrjaegvcKFmPmQybXktZGWvk
6qZMMCwLMqzpzP2gWhWsMYgTGzLPBSMzYcxbyKnu01TrZbXDQs9FPzXkD7IQ0vVjtY1Dux6VR8BM
TWzgI9TfIa5fPXqDM5kKY3VY+2gOwrljLYyXimNTV+q1BWPzdkm8YsauWJF56OCdhz9wBE8sFFFH
sZ1qPc7t/154X9i/IM7WdGY8q+cAP+f9yssrkRZQMLPjUmfJbs4qSN9VZxPdXSdB3xNjjoGuGrDh
LKHGxGHTEoT2Te/1mVq8DlgMBnE0mejePg6bplEY9oQT4nEcn7M8/zPWEUROpdlqkm/aCCw8YEO0
OfdNLsvAyMWtlSTr0PPGMuEgKEYYQ/jeiUWMG1rmYZ9UFiKoTo2+gf4+A1L8Ur4XSnOX8uKTg9xY
yJoknTTDnjzKdthYZgcKWLnpu4lAY51pbF03b2Ypnsk4y4J2UZytbhA73M6murOX3Nh98wI/bR38
IgsjAQux/dq7fiwCYHK1duuAyctRZR/0zPhhMEgAc4h4/ZU37pqVU7uyfiAMEUfNutGbx3rULAG7
1JXEP/Ra621MVYpnINXyCeA1V3zmTsTAEvy5FH7JnCv+ZuF92lfXn00wM4pkU6eo/rDuHFjySm4k
6bFG4HI2RFXfl3haf4MBffVwbLY1GgSEhZ9WN7gCFsJdnB4ZE2VhnMejb+Y68YkpoLu96NkF3aWK
Fgej6od/v5ivbpDmHgHC/9e/HzrFJFek5kIGOi4J+QizkCtBaRgO/74KrOFP+wgbN2Aa+OTqMQRe
8v4LZgQC9lMLwkNVcvo2FcMp68RETNt2pYbIcPEUbTMy1k98iEYVfMyaRNMElOEQF7Y4dxxxzn5O
dMjy6tjkIaeRtssMDnLpecQdJoY8TBUcZG7EvO1GABK/Lur8VakUWLqZ0v5Ql9K+jfR5ki9Fhpnj
sSsjCONOalc/Fcurn4ukgZdVOlPxpPBkziluA3BgJWNVOGRmW1yYscCUTW3F/3F0HttxKlEU/SLW
IocpdFaOtjRh2ZIMRaoCilB8/dv9Jh68IKu76aobztlHI+0P1sA6FLFwHjc7GaGfKOvRkDWYuWAp
y6xm8VTjXWud5zFs1tdJ02Myb3Cdi8M61gf3ic4O8VUVHbS9VYhY2BfcDoNmc2OZ+rOWbfRW1Tpn
QDHnEgmTXTyG2qkeeu0h/t/C8jkELnZUbq/ICREq/KMqaZWI1cr8uRbecCHq27rzzRCeydy42tO4
wE8QG+3M8TeWrdDhaAGV0d7wzLpTILkvPfsZFYX8aCqB5AzzyEh/4HklejzKQfnia7eNHprFierj
uDlg41xe2t4T3vIwFLmNc9IotrTWvFnqk603CxZVVg3xkNwfbuq6ZSiBgyfjy7RUCpVfNf7Mfdgf
zWQ2xI55p54QpNevSs4L4SOiBYPBqr3negmQAO5XrzPByxwX+G79gong3pvqBoFZ2Fl/IZfP6pVs
gLwlLWbYZNb4CXcV72YLGXzaaiTdgO7+4sFY22ylfr6fkyX2UotFDB/m5A4vsDrG5W7ye4t9B1Z7
+ztRS9DApsqrzmU17Di1V51dabq2a7h5OMd2MfEIEiq5bH4hzvKy0urG6HarjVVki08Z8RR0mFTT
cYgmri3HxyAcu+0bgiLyViB/TY96RLnhoH8s9yZ2+yAjrnIOCFmpxguKfAwn5EuFbeoODrkpse/P
N5bXkMVF8BHV9zpB8UN6VsY3s0Khn4Zwri7EUFpF6ics9XyE8v885ueP5Ya0EFd9jW2hca/G8bYR
FzGa9XOMtvAVWYfXZmxc1cHzO145HRROACVWPDDeItVTpDb5Is1qHLg7DdLIPGjxcgNdXy/+qJcv
vxiSMitRd85nclSIUxlnRCPHOgrr3201hu8usK3uzvGVe1rnor5tuWDfnL4JqJtUuAyUlOXaZEnU
by+qcmiSZNG/sVhwfxerUkdsylaJIHFkvREpEsc2rRKyYHPvDbB+AULCj0H9xnNwQnzk3zT1Nqxw
v+Nwj1hanIa6dL+MHpzh0a1HI9J8ckgEVMjmkBbZfvBEwFaNupP5yKdcmj5Mu4D8EepBp8ADot5R
SZd3bSgrZpBzeXTLLngbEZYemhAVVthBBZpGt0jXnmy4VDKWzIhhUPvtaokolRj3jQNjhoovug+v
wAav2CrInD0xR21d/Bbk8QzA9k3mtLPcS7dk8OpVZber5PKOmVzv+wFYMmq3eb/O2DEmepxDT1Pz
jLhTAhFY3axy++WSay9nV8fmya7imxiO/p6u1MnE1Ps2w92p+pp8forUy6YOm6unV+WFyzHoGbHt
eOKcH3fQy1k0Mr732qQ9wFezTwXGXey7RbTiAGg1dnYdWoi03QVJYl/31SnoEKOiKXXjc7CCtYf3
aVl422RiMy0sHCzAKDcY85Lox4/L6yBFiLf4e8xB4QVWQICcQqIYrIf5rSVmG391kzvpPE/2G1Pw
wN0F7DhIoWtF/BhtLd+EGi2rtWO3EiD7n5rHsjHwPWi0+U3m1XIrYlMqcmm9K1xATqpsUzRo1o0G
gva7LXziWOEUdSdQFKjckR143yHUeAbLoHm/uU31LY2re6u7BERDQ8OUGkCfgO3ixfq0k9a584p1
OrVgBCj8BadfMy/EdxSRRRAP9nzeKZd81nsAbOV5qufm7HOE7yiBh4j3ZrI4TGf3Wl3LjotnyJd2
t+bYova9mnoBjIBzHXu/u3wZZVmPQLTNjbOF4YVdf/FEkNHW/uuSuvkIgtr+CfBkEKoZh/18g7yv
lo9rbjpzwnWEd4I9tP6SXV1cPZ0JoDeCmdxmt4X56H+JRCT2nSimPkiJPodAgZMMS7ZaMPNfZvuq
nu5YcQXkDnW0gGiaY7FT4KX0KVqWdd0vFijd58Uf7H8glCBuMGZQPYFdyiGtxkNGss+9WigkanHl
7RbSI7DjrQxDzuNKOsIOS2qyIl72oYzo0Ktel2FGYb75ki+tb7nmQ4h+ch+r0F37c0vWdnEc16Ub
7m2eFysFWlk9OJbYXuGE2egxVONG+4gAh/Y45xNU0DZx2B+FXf+aeEjLU4Fw+yJ0Mlkpnozxe2C2
sN0TkeCYnSn5AmZhUeNA00yevV+bxFJy1/lDp/uUINdGsf8huW2X0BTGL74ECbFvNcXxXgvLmNsA
6d3XUkkwEl1R4fsqFu8nIJG8S6lt1cOYd6KgGEriitFHMycXUD+YBurS/sjxxJjDkBdVfN8N6+oj
uYEpcrt0/4MpWTeg8hPWGmazt9rkcMwz0IGuDqdvwcL/0rLZsS7OUg7uBdZYNZ45gnLvbCZv/aVd
dI8pg2qR/G8P/PZ0YuOlmuK5OqgST32GSqP8M2M8C4+LYFSWeaU1u3u96OIXsbCL4hg1JdFHIofG
ENEzk6+ajExeBkAK497rC/tJzJPS2SIKVjbVBHAxlR0KEAyE13RIvxAVSgWrCOxU+7k5kizlNQTe
YI9Kt9DqHyMRFJeurWOTViwFL14FgT+9Mkv/2JP0vxvSyrBU6bYcMxd/zDuIhl6kmy7WS1uYCte9
ZxqEYpuIyJfBXfONlz7mH5cOXisv10A1aoTMj6H0YpwnNYFgGY5TEImtsaEtRNctd7ZVU/QcIac8
2IMOH+GOtpd2wfghqlXku7IolvISR33T3zR8EGVmFXL5a7Fr8tOpWuSzLfL8Ivt22dItqOMnBt+K
w8h1JwATAtw/nzDQeuYjpxHv/y/f4I3xK0EiQVFu8lU5vYfFw/SQM6QpowNAh8RcBdKSeq+WHoL0
So6foDS9fm8H0/iRxF1L29owtehJjnsePddYt3K4BkRqEVbAQjbeyJS0TpRyBvfpofan+rwir6Ug
1gXJ0f3sWjg4+vimtfzh3DHHvJExdtOCH7OlMW7Od5Hg9eFcdLl+o95935olf6oCKd6vyu1Xl6bw
FY9fgTvM7pq9thjnpUNV8JzLpM1Te1bW1eoYMSwfPELnsAiiY8razapfunxezpS35E1BHVqeEhC0
PAA5nS7JF+S/ejYLkVO9Li2hSVhpjlQE+a854cAuI1wlDEOL91IM1k2iMYgs5UJOhpiGeT4Ehbdp
ciXc5ccDqghkwpf1lI3lpDiFVic4bxEjqF01L6OTMf9VBCWGo8QMx2IllfWGp5hKYrrCNm2siP3c
zmKPa9ib9nVo89pWf2jOVt0Nn0ljbDCjrZsnaaDLAcpE3BePPDfrmHqMxE1K8lB7iod+/bWVIrwR
Ni6fFICSf8TEt8qUBzfncIebehSTDu4g1RJa4baI0O1VRCe7iYsHZx30lS/OEKIhCaFJo5EY8LWt
/AnchLB7FrrFVSDM0cT+pW6Tx02Fw9Nq5S7/BUXq49DnzjNFwoiY2LA1S4hPv+AuH34lwpcfRWE3
f/Dj0UZQ2EWnhju/zgCKTrcTfzzSRdTRARoT95zlRPDSNuZtRxhqc0LUFYSNtIIN9oa5W9WZFHZ5
mTaCmrDO6fmBlA3muksTLS8VB7/DgGwgZWhZaxobj1hC9ne6yF+coFu4FAD2r7spN0OfJtgKn/jO
tw1egyR6TyyrQQK9AqBBob7xanp/jC/uEMY308iqNp1FXzPqVhBKUuXO67/BePN4I6aq/x7HqbaO
uaq6A+9+9FPNvnt9X03kZfjbMAMFVbL9bYfceedt7k/LhFiY+NX4cQEjdAaCriusnYzl96RHDt9B
vZmReLLgGhq39X2Nf8Vp6TPDwn5e8jmY9riVmzIziVvTgsRDeT0tnbJ67CdQCEPL5RaOaFR2IlHT
v5iErSllCxKclnXrt532S3fXW6V1Ki16rJRg9vklEZOgThf2sx3E/b2LU/obEVG37ZWnwxfPcsp8
v0YLnuvcth7RkwYP1YrWee8Bm6FPNiZZ0rkR0f3aLOAhvLWMnqww0vE52up2zpxZlb9y24iHaagU
tftmk+FVWQwAqnHwb1mPYn0otefeVPHkHcfEVlW2OEPTp37drjx0xRY8e8la3BSR27/2bpgXGcir
8EBJRbdk1gUrIsuhNvWCZfyuna04QIBBGFZO4m4gdffEMNa+wWNa3za1a86eN4XB/eiWqEIZ4cZ3
hZPU1W6eyXE9RLEBmVI21rcNmv212VwL22vbqHMTWgHebnZP8zzLswpphNJkGFn/8pMIguwTCeYw
rMvht2ETdWlbJ/yYV5qeqpv4fstphB3QVduz5izHJtaE4q7lQIA3M+TBWZvAfQ/EKH5T0VJElF3U
/huc0dtwpmz2cgimVl7W0dlugRzWP2NoVX3mLAU9YdLFzJtJ/yJV3M5j9zYKlX6AEbucde5YD7An
6Ljt2RnlHiWH1x8WajNx6CywQHuBmJZxAulb7a7bEpXvmBoU5mcqParijh7DOjTx+rvpqVZlEs7W
HsNaUD9vPd+uYyeWKaKwdHKb1SWWeHDVmnU2rXIUlvQyuYVGcFlVhOwNbwySLdIN1ou3btPAMdgy
2qoxLbJ5XpsE5yUt17KfwTionUTwPqWOLVDzeAIO0GUJoV3tEk83Y5ZTOnXPczeU8hhRNZvMaibP
HBdsYc1x8tzyGXYYmDYMMaPZOVijo0zSK8q3QVlVjVu1L8O9ncA33gOlb91s7mF/7EOZbxvtfBtG
e39YY3MrZRk8Aa0aknRY4Nft8MLX+ibBQJXwpx9QMSeFdg6M6lANN1RId+Gsna/cdqu/XYeH2Zqi
65UdNw1lTyyRg/CqJcWEFTXvPIMYlNDD5yFFt2t/MhXron+MJacqrdpV6IvWOUFnm/KHMBugBomM
fs6nXvGbZsMnNE551rtK9cdCbUzDFx7Lfx6hsf1z1DkhXc7161eSD/vV1Aa6DKuHxLt1rYX7fg1E
OR42c5XErET7mcuWcCuRYojJGX5Qm5OOo/wyzKw2WJxLrNbVO1JXluMeGzMTRFmXS8e9jmTQS11l
SRyzy9zSByBo294SKfLlpe8SOf8hoFzzjQarAVJs9HPmJ0kxJQd2q9v3FPc6OeI1hphVemS53NXS
kglv3wRYIWAHVe1UEvefHDmBTutm6u1U8FZGJKLauAN9scwYP4nzihBuLBGr/KHvgBkEjpQHlEfh
kBWxcaDFA+7t7kruqM+Z6cKL6UKYE2VYSW9fbpCQTgRrg/lifipQW7Eyv4sxFf6bdSCG9AqU1akO
BRKNMhYCNS+C8f6CO9Gh4uNVs9IM8T9+zuEUUNuhLz+hYhXD3ULK0ZgRS6DWQw2trHgEii6ehyoh
R1PqeBEvziKiel94aiFEsiQz++AQpv6LlpCFM04CDAU5Hc+MuTHsnX15HVlk2xi27SFgh9HulBXQ
JBSD35RnG1Ynpqmk0v6pK9F3ZE7jt69VSVLjKZ6mcbmZ7GSdjjlDrfCgPR79uwphtHuIqUeG/bbk
Mr61p6KxM23cpr1tQCu6KaSv+WquXi2Dy7NvyidKSLs4W0kDq8eXfS52sxXEEgvWFP9u5z7Qt1u+
BTINVTB3O/bl+fw6g1RtX6RrDXk2Ojpc78hVSHDFNRvzfUeQt3VK1hn3l29MM3H1AGI8WV27fraM
llnDlsaCBVf5hT7ZRdv5N/4Vr0Z1i9PxYjXS2TKsm5WXBmE7/rUtPbWABfOFVhaYKRN2Hdf44d2m
mS6gLHP7OK1YmG4dPetv/NgEIUYu9dw9hSljSKUoKy61j++IuNHlqrKB2zhdAO7Z1T62+5FBHbeP
INHTJFwRcWuuoZHYEfdehwrxrRGhfFbEkoJdl93ym2SIVt7XTCDjf0VcVFOmWaeNJH53zdDuZRfq
ZldTHUYHP8i74LjphIfQ2RR9kp9M9naBhc9OPSbZGchbuQIHjCSLEcvv14C1U29V+yYwfnBw85yM
6KRIkg10fsJU2uojyHFxzg4bSE0Qd1yiEPqPsV0OWCnhsXu7ro49a1c1Rr8bV01RZha3jQkjojw6
C0fg5i+6HNk4s2tgZXxfmW+aajbN37wiuJHFP+CU+H1YUSeAvwPl0C9pxz4z+BNXWCl+PO1vwU1E
01Xecpetn926JFvKutTzTm1TTGa/rIF6d9cgmXDqsHc8IKy1xCkYZNxfbY7mJZqqqTvE1TJ6mdDX
iEnWbPX8ymyp806lM/XjeaaOSE5zSOn8sWpkTxnFBsSAeNw+k3YEdWNKueaPAwbQaT+JYSMUGgHT
sryhYmmXOu3CagGZxJ2alCHQmXiTbZjlFZGbwPeiuBUZeUKRlc2br/5ALRjRlxDDeQW8FDxpYRXF
v0u+Kj6j6za2GQXauA03XeG3dCSupZOUyAlT20zrfPWIFjeyTuzyABnUaV+CihnLDQjSjiEj9Xr+
ZfN3xktaJhX7eCB/mHA4svN5ynFF1pEuDp7hZt379PeoPnpRqH3bxbn5aPlf1bl2EiyCY5VDwmTp
MLKPiKtWWPvGhRB16jZrGfZV4a4aNI3LczUG05SwlGJHnBYdhUgmmK/k35UP4zpDtznql3DpoFoy
n7Hct05ajnUM17Vms4ItqRqzsmgWEWa20xdWm41uX9kAvmLtfajaWfMd3V1rpQrH5vbtWytJ6x5a
PgOpE2vDRQTTRi+/lCNP29zxFW/Xnk+dSlvXOy2FVx8YX4n8iTH+UFzsKane/XpqD/3m9/AjyV4Q
uxzim3XCCxy2xzZA5ss3pqa4PzokJpa/llwHwyOXeDje1dgaV74lXjefhce6kafYXWIzp91sOv8f
KeZAYnCM2/U9sb94YOtiKODEjOzM94z9iKvVztqDG+K942Ukjb8BUah86ysvmjnSe20zwr3I9RpO
W/T9tN6UwGKA+hFt888yDi+7qRlchJlSE8sOx3Hr1zknZeAc9pzhdJTcIvjOmqlm5NrwIH0GkWP/
OMaa+4vvRT4MNawZ+cEux/DTskQPBhyjOplQVaWba5eJDmG6MkV3tDd0rWGT4KuHvNgnH8Oicqr3
iHb4qS3qwdmtmA/JVIbrrOlJEL5xYG/2qH/qxiddp6i2fM1sLIH97VDbDYM18EJfg8HfsdOKT+e4
slIQt/G8eqBbWjmrC+EFizkSq1jec8auw3HNW9s9MxZ0o0tnPEW4c5Ko+eAruwgPoeI8YpGW6/xc
JrXzI8RGXRIX7KQPDKrjB6S/dQU1f42mIxuCbvjIbbh6R7d3Rjvty837K7XrCcSgxLqdqlpuPRZb
ppxANi0vl29zLBb6/b7q7XuuCr4Rwcqq8aYm0QjylFck+i5HmqNf3K2Ymlcn8Ak3rsvCeuCZnB+5
NK9DdT027ZOKy6reiUGFV6DMmEPyIDGo2lc+1sVDH5TWjwJixB44pndGSeoNIQILFbRxQ77CFXqT
zzx5pH0z5zgzEdGYPZ3FWvesXQBXzdxGIktwfUCJXDYIBsVawP+xsIL5+ynJR+9iuLCiR9co6CjO
5vtfucuPSNVGN7vH+HElSeGyKHfjpp35ZMZADvdGN0O+5zGHkt01fWTdWLlomps1DOrl6DLVanmE
+2TOBnveuPvjYe0YkbkB4rggUMjq2motFtKMN32jOtqwq/zPn2+7fnPwfIugyRk+bWWx3+opbOnL
NgJeynKS1g5PJnTeuCLJbN87fVXfmCQqNcOVfCXjmoH+ui9icDV7Q1gBU6CIj4hhbef/qbty9HHe
rBY0OGcCGY2IbEHAYvHC/i7JUsTZFHiy2XdVvWA/dWmMs2j2VEP2s6uWT6aTTbUbmyhZ9ggOSE2k
KcNqV29yBOXgsurJFITXd2yABoYpdNswlSUwg1vJUwriqQ09iKdhs6Q1S1KP6dryGA3eGy4yHmKE
P02YxYhZrpYrhvu7vjOR+BYbLdU/LLCO+GtCBl/QXbTT2U+1kkO3a2IKA0Y/m1eHd4PqbfY1hd1F
T46SAHAVseRM0nXkXYe37Vbv89mVy1HGFqgS0bDlS90puskrtJ9/nWpl1R10coI/1XkQj922dcdz
1BZefvaUDJmA1l1Qn1EZWvYh51dGMVCN5W81l16/W5KJ8zNBIPAztSL8hmnalne504ZJFiuux50e
TSORQ/YRG3LP1smBgixSOwYtfn9rO5XT0Ja3U/OesF6RZ6k6/dtDUWI+CG6hATL1GIR3sw8o9ujZ
I0+4hHj2DuTqmiEXsf23a4gV5MqgwLb72D8a60r4Y/5opr2aC21d6m1p85eVLw9tm2Yjc7eB8l1P
GO1NeWmErYgWIqJFm33kqC7Puq7wotf/ZVY7EdmF9SFnjsWsvsJ1H/wZzfppMrmKp2wBJsPzwOw7
YsHTqS3eUyJ48o06v7U+3BXkcBfO1SsVYfTK2pZFCq40Rr52aLU+u8ctEHcTO+D6gq4Wn3BDdVyl
TW9zZWmUqCdnhNRCXSfMXT9uIUY9O/C+Vk1XnNVhBHipEwlYuJDiw31s29z/AYA7/yEnK6j2c+h4
Kp1CCucnhpJr/cFVRtjb7PuMyqTkyD+sbqnaQy5MOJzmQY3LJ3hqiZnV31rsfJRA5Y3v8lu/er2s
8hvm2o2+8yO0eGFK8pLavpDzzfGpLvteHELNZXlYoslv/0FOM/GatqIOaFvtblxYSFJnLO7fFYUQ
p86QVPf51oA4X3FwDplmkpfvg84LP2OilIFxcyz390vXMFymURfNiYqpVbs+5vLYt9Po9Sdwu9Vy
6JGOgT4LWWKLAulDOlt+2F2GUQY6q8KwAD/n5r/6XPVUuRAV/qGlYHrtoM/9qXIzV7cyXut8byU6
dh+4EGxyTCOZf4tIkJhUC7PwPrnEkOFVN3F0Y7lz/jkm7nPf66J7XCwdyUPU+l75ggpjVLsFhkzJ
iE2qkAY5Asytmcxf0d1FMJ51ggIGt3an4SUk1wFhoKglZTAXM7s3L6KARBy18TU04BWJCg3NDsmO
QS00+vXOtmI972vUNagDCAd+mYIqEiejzCphmrg1u51xsvvuqJyCBospVpABeZc/DeIj6uASiy8N
VKh3NFNt+RLYPR3AKnpjDgv+gr8VyImNj2CzgcDCtWFE7Sjvo49IDE4X26wkNxHV9turO1FnreVw
hVZuU7hZUInl3cWfacFa6qKHkSOYM8h1SHMLw6Z7I0Rxgp3Yr7JjEcjxBdGmMlcyE8zMXaWU/xsV
kLxr/Cp5mmRvH/hLuyDjng/HzLbm+tPBygx+eY0Ek5JYvpeuvZ5iMTImBKA2rztYfqglLKIfXpQG
W5QObAz+CIWuiwdXrXLXrh2VOCvdRN+HrKEe2LYB+w0Vx3HK9s+6H8DqvWwt6Ju6QynRyoV+llW1
7u5k23og0id85LvBq0sg/oyUniYocfWRzED2Vqyk6oPlWewGHGA7TH1YcDxavicuAJrAl4wIRJGW
wDkZb8ElWL/jXgxne2zmP4y0+TRMHVu/A5CeZ20hucjsYESf4Rluxp2y0VAdgzqwXnGrxRB9zRJe
GefBn9VSNjVDB5YyaOTyEbUr7MNGWgpLMCzVs+i63s8GMmjGsyKl4T6PK3nr6shlzdXV4ivJbb5D
FbOv38iHCs2bd91dopgBbqrX3Me8sSwMByS3deMk+E62WYgvgbTE7GYuB+TrE6lcacnEDHn+5CCD
AiRZ7yImTVRD/hodYd72r4Kb8x+Hlvc+WZwn2EoH/r2ruFoyC4npdR5qWJXo2elRlW1VMl5KOq4t
E2Zo7iF+Ob+KoiJNzitjwyKQKeaXMSK5rmf7ekxhB8yndZxBS0JDa/gYdOg/F9evrj3CaLtTiNWD
k3HG6ll0CnK729Hwad3E0Dpt4MxCFc88iuIaP6FDkmJ1397J0W4YRtrBs0QY1OF68AKE7lsS0cq3
RbULjJ3snVolD7YtvPWedXs0ZKMf5ruV2Q7xFIhxjhVk86eV+fiFAwugpO3wU3zdorTg9Eb0YdER
ANNdlxUNmGdjoA5rHo2NAwFyD0p84Fll+SDiNR+zob9Ov8mG7nfByLCUzcB8TMClp8zX80cVofo5
OX09HEVEOwpYU9UfHb96Bz/LH556UsC/tJeMf53AjBgBLbXpu9iVKJH62VmdbOjGMHmac97hfW9E
/u5uIb+xXc3NkzEOlTWHFEPrUi+3jHQX+zqHDv50/uYDDxunj8aVgNgDEzHMUyOwenA3khYj9h8p
B5uf3GNEmYZVkGNFyMEPbUzpUaCMClLtiNfm3DJbvMhh8j4rFlRfqFKQJeDuyzsA7jlWEZDVig7X
jjpxVH0MxIylPDduI5zyedsG+20JKkQ6ykz5lk4MViR1swYiBvVvLo7uEnmXGhL1Q28CUKrKi8/S
WVf7ZCGCsw/4w9jONHbJ/AByoBgBFkWQ7UkIch+9qWoehiRvfwiEqw4GJmaRucIPaaFVFx2ijqkr
XTMUsXQZtHWa2Hs961VKG2MKIB9IpcVdbAU21MZKWzuxxZC+VK3Mhwwn52adbTiG/RI4ZPeNl2iD
qqrrMe9ZQa/1a9Nt8XLtO3k5/uo7LTEo3Ubd16vPgvX0FWJpseaT7pj/GRbpvsQQ3rdDHZGRCo4r
HqHPzXVUoPWK8ltEXQWFfTSpU75AEjLbMJwSsU4/7rio4GBF/3CywnZcsKveL4Qg/O6M8vbNWJrf
+C/z57EPzd6QAHizKD+87Q00k9SMdfRrAVlisqGuviyGyfo6xGMXV49cD1nrMvUQuceaiO3GhT/6
n5iQsMPsA/ZNLStU1g7fxvjXFSGNNvWeyy4f3eY19SL56jjiqY6i4WcJ+g0t1tYWZ0ZdENQomMcd
8tW4Pm5cNUDiSgnSs6GlPfkwkH/NsVO38MNwxabghfAegWl53rANPTsIarYjEcL1G96V4L51NvdX
Ys9ISExfjAffRAkKjFU7x2p0kYjGkzM9Gp7x+agS49YXN3T7DVALxPzTXHnkwrdFw3xsRhdyEw0F
B3MclQ1rxHx7KLrVuZuTfnslw2C4tXMtd5Gu7D9JOVSXwiczyU1BLMzcY9NqWJEZ2aHbQmWUcZyG
uCRt2R4n6ATnoQuXv/MwxuIs/Yh/FbVMtzMOGeanPCcaZPNKlsnBCsst2MXAZcyB+OoKanUkur92
E7KRn6FavPYGDgXTVm4cFIKtXx5M2IY8TcLGh706wy/IoARLcEZJ62Q6d2qPsRyBFI+iYiNUSMtC
B1J0Xl2dakC6NrKYq/FLo718A9Uy3fEtJSjGRTIEqZrZ2N8pL/J3DEvOSwjrh1HXVIzxLR/UeluO
Y/LZBKO+GW1ymY5hPySQYFfdk5vFzSIOBIG4b6X0G5I1Ni/MqH0xi8ccZgqGpKvh57h54xxQHgJf
DYPrBNLKY6+ge5yb+lgXJgrvZTPo4DuahS3egG6r8UEsYPTYxUrEZsri4omK0UVlwKmOvGRkqts7
/rTdlH24wzCVv9AnwooY+fnIRxtCVqYI27NAdXBKag1yUaHM3vzlL0CPXqeqv4J8tzpkXtbwWVzx
1azGzMB8MQfwiHyEqQXt8aC5IpECgvsg4uMlB1J78U08ZCt74v3acAaKzg8PFEg9ljzehZe4nLnX
7TG4s+iq94uoHSiV8XJQCJF/VYwy74nNCpCa2vU5smM4gNxbh9rIj0UrB2Z5436zkHWODdbJ33gv
49O0jCQRcbmRWhPUhOM40VZqJiuuxyNWWJ885WQLLnrLTyidAVoLQtDJJEOaohP1TDLJ9d22YMi7
VjA17Hvg22UzvKUX1S8VtjMO/unNXT0VcKpqLNXk3YLmqZmO8+BiG+8MGz2xIt9wqvKXb5XJgzuH
WCyngpwqGJOMuBEZhu7OYVyYLqaVP57RT2XAuI90lo2q11FTtZPbZoi/HONzu3R9Ntc6yFpG6a/W
EpTv85irV2dboUrZdvQ0qqi69wefmZ6Qa78TxlZ/kqLrnszAw4BdS37/R9J5bMeNa2v4ibgWCeZp
sXJWlnrCZUsWwRzBgKe/X5076EG327ZUIoG9/1ixEhL0x0197GCkQ8Kt0QLNuS7fa4bYv/Th6FuZ
jfGK+qz2TxxASZVA+DkPCIBxBHPT/rFIc9kHxjz8op0gyz3ExgGT3fg70aMIl0MpOPjt3ERbOM75
qUsTc8fo9D0WGahZK4KvSQfmp6MN76lgJq6jPugFo0K9/BbasbZoprk16KtJ/NXUDOFGDgbdR0w2
l6Izs/MAo/06cCBtQWz0dq67ZEss6E86UWJhxs5krOD0QBAAvf3jGBjqYM22Staj6t19WrfqMCtI
i77QJRV6Qu+SzqpZ3Mwu/qLthpxDSKT2Twd700UNpnSkKgWSX7iRtcxS3B+4T+1NUiP5W0HqLr8e
hiuin53ya3Z973soM0SAQOKrMpHqQk1JsnItmXwmzlxjYevzE2dfjOqvloc6HIOVCUeFF8Hu3tmc
WRtiFKtVCTy1F3hRflt+PpyCGiNY6/eXOcutTdH5BHDXrvMfdLPxrWeP3gB0Kh8Jd/UuzHz1xxoG
+8IbFu/zBUwigcfbtI42zxZZJtEgsvFf3D8i1l2Sw0NatNZTHn8kQWm/BAuNVFNmf5g9GiJX9+3X
VIfGX97IgNj1ycLpGrf5vmnmHDabi5bJsOwhNIrQ+xQBVs5dK0MvElLNX7imHpMEAAnEpOe82pmi
TwOdc2duh7BFAFgvxyYjNTP3KTxkOhf7ZpzLV+RG/dYDE902IBdPBomWkT1pa29VcEW7dhyyNXIo
AZsfJPC7rNo62fnUZdun0hodgNCpP0+um+76aqJsBBoviNq8eeRQqwkpG4kaDvLveFbrsIv7PQST
uSudvsG623u7Lo3b/xYrKB95o91zamj3pZkLco4bw+JXDbwak/dpjL2RrJuBUkZY6uZFy27ClJol
CapCHaxnfKe72JXf8YyFcNMZenon01jeQRoJMgMXVfzfVa9Rv8vmqffRMFAOVD3HdkgnMvCIWHtj
5X3QKSh/J5p1qKBKrb5YkTfOjC37pP51ZjJJXZIbUzIB4WE1bjkEyn0c//gGVlHCCh5HPk2VxTcN
EdZ7vjTexonpaC5imzRnX8dcJPGQdFdVW+0LjFn/C4+dgoVn9OV5WdB9LHEZn+fWFW+TEIqY+qqG
6EgMJAe1QPDhu8tesa+uH1f3NUmSb+3V/jqXS3dbPFXtgZzNqLcne9VXNCaslxSd2rYkch8dpJ0L
j3vblVFABOprO48lSrMmu8t5CBJYuBlz7YSHln1emDs60gKPJ6CKSVNnUjyqIUSgphBPX02C6jaO
DP8GhRnAoFEGi6ug6OBzBbpXdyxu8HVwbIKIymdlOPojXLDW5vxGvD8J9ROlpmbLL8afhUBTGFL1
0hJOsJa2m74YWdycrXBebqBiPZZ+ktiFFZzILiu2iHyOIPZj1PQ5JVqIJWicmIqIr7O7tLmWJ7pm
OzQV6EFRfHYWj8mcszTp8okLQt7qR3VgAY93LtPU3DSVSLiBWs1t5U31DWZzvk6xrd40KNbRInl6
66QwijdaulL3URMWk5QuHQD13PY2D5QqR86fDXcC9Pgm+/ah42uwaWtA3LPP2f6k53G5TobvbREo
do9sduv1ER0C3xCMJ7MV4y0hTuKrp2gVMKfwYuC+Vr7hsh82emHO4jnysk1CCMgma7z28JA/rjsu
uye/I8sQHSbwTOERsGVZGTLdrHJpaul8KHcwnsz5kJMw1yNWQ9ZTrAr7IJu/2ZWedJC0kT3k52Vu
9FrB+aGWS/W5rObgEopl4GooiSUlsGNv092oogS/awnxipqEbrcgRo0bgAkhZmytx559zK2sP5Nk
PawD1TU7w5q6Czgkll9uA3wv5j/TGSQjGaeSnob22LPlHByTDFuPKfaCuRzxNKLkKqgudqteYzy9
JzfvwguKECSLvugOZcjFoHNSfx9Kn+MyuSbDIOpXg9+1aVo731Vtqc5xYPTbwaCcI43BxFMPnk1C
ma+qoXxqHxmbcGMfGB9fOOzQRGqeYMJDu6dO0BQxqkAhrzAJCJguwudsQxj2GZTei8Z9T5jXN21L
WHiNcUDSEHwmAvyYzo3nhAroJ58DZMtwznFWhe0TMOSjiQyLf4Kw4DLnw9ecVdx+0opoR3DWlvmw
ENDlFwkUJMu6o9UJXWMgoetMWt8VfMFPY872xkl8ouiqWx0z+hHxSPWN6hWVhx0hIk1sFs+mO1SR
TW/XdeqMX9p9qFlYqjxCE2FuOurfDrww8xmhIfUfRPBsiqT5MheYvoaI6nUytpwBTfBsiHr+7Meh
2poKpZxBWUfkzlJFTh4Pa89XXTR64mxn9Q8307CSmdFGVam+59p21v5omcfATp8ZOheyGjE7WcuD
T3V7MCZXHwLHvfpwyGfP8sY1iSzLjuTHap+BuOP9ql/7URcbm9Vx1/fd3lLuZ997I6Bxfp6XJnm8
yeXTWKsHP1COxq4IEWSBriM0DoZ45RmCBP3SbO7dBCET27F9nE2F5btr1C3W01fb+rwBHdq9yJhD
nn7i9clhaRHJOxwKLNMs7Qhkf6dSv0EvfftkQt8TQFF0Rr3awHE+ukWST+XJV6uxumfAHdxuRFCz
ADhFUuyCLC9/yzK9lXyXxFQ7uDPSMd5PwFNvVNxQ6UfHoyLEwlPFc8PND3CvkUqYPpnbrhugzphD
uvOAdVcpxRWkrGfVBomcPCtJN4bHJ/gusbxsVOcsB86SP6U0vjiJxrUPPLteij442SOWHfoPCCzp
wj99o+Y9GRIVpULQHdRY2WsHKOt1cvJf8LySdAu+LZgnqhnssry3tgmz4zrddGKjMvfmYLEWV+l/
TWFYF7QBd9ue3E1VuN7WL6CwS3AwSoPS+FR2I4qGHK/J2u3QGD2W9BfM+vEmrCr9CekFrMO1oTmr
ZPJgjMfnbnQoFfGcn95wz5Zl/ydG8y6ngj+Si5x0nfFb5c6l6iprX6AkQUWnNLZL9YvFMQSX8Kc7
KVx8QhaOLeW2ZECottjGbCvbchn+M5yH0VOX33ZCNVOsm/i5WrAmYnZYvsMq/KGM6a8zuUylri04
WeZCPAcdvykxYcrBtV1kudO0smAyoyQJu0ufARYxWAPu4XbfoKf8o1qLIkL/WluBPukBBpl7uN/X
RA7zUxyRWo5wrSArb437yNPILW/jkx83A5+EnAt2+Z9B3+jKzB8/t2F6dObIpwy5LjgVIChXM7xs
k2xdNPxRVesPfK6fzlKrCCrzsxPoMR1H/NePy6/r2K9pRqJp6bqwQguW99mYCf2l/mdvG5LNyB5H
giFlsy9SeShtpKBkkj7E890QNar45M4kIVLMAR/KnLq7PnH9A/K+8Tr3dnevmOHX1cw42EInctAm
9mUgs3RD+W0V+VPsojIMxRrdTLoZm+LVKOdbSLoHOQwlLYfVqJFadcOX8qj0bFTz5M1F/tOk2TlN
a7E1hHv1WgeZ5AIEmMgJ98c4nl1LTSvkWA9zCO5LKUYjMjxPvnSCHvHSfGGW+xsG9n+Qwe+28Jpd
2WH3KigeXvfoXGAE6/K7JK/o2c7t+LVo7f4E2HVbUH2tgYGpJfLc4bCU6GTxanJbTcTYs+xiiHSR
oZroeggsS4uXpLE+UGCTpI6+pFul/G0/IHb+No3JTh5IWj8QHJSvguL/XYJOllBUvzhs2GNy8LvA
O/SuSN5AD8SHsPGNOLHhP5dBOZ4CYtHXpRjz7RjgCRnz/HcONaYhO9u4dtfvdJ/Eq3pqqxQRWZUd
ELEXkVFNbhQyOO5cQXOKM0/qAILg3emPzVEi1xCHLaC6/fDcpoBvEOcfUugPBBpMHzR3RAbena3r
TfIW57Px4qrsg8aMg6F1cMrQeX12j76fzIQAyrRBL4H9w9Q7RW2VnauexbMd073V+KQwEg7AmOhl
Jz+uj7FMvp282LDqqLORpOje52yfaUrKyqEIT6nR4u8ZJ+Fk9I7Y/i4N8n9FMZ7KvDOfmFXBBE2N
dLvwxv+sFngZ0X2zjQsUT6tFj9WuH80nz1ymS0XTw8aODRVlNceSoIz9ggS2P3KQV/xtPWW7ndU8
CZj73TiNuIB7O4PU4BsbMX/tOo+HcCztej0YFGyS/A7pmXfeDuPYTcbdh1W0y3oo2n6jnUeYXztn
lwX/BILuMRPHxlxe0R29m6XlbtGwTZupKamR81lNQtPxN2E3tj1889IcsDLl6wZ5BNV2bAcZeXBH
ZQXmFtosOckc+bcp2ZJa4VaruQyf6izFjdlinqd3MNhV1KSgojXSncR4u8GnbWJZDr/xGf8006iB
06Yj5w2HboM3xSrkK3zAV917LDg+xxA4Dtx7ItILmDUMGCJ4QNwCQ5iHwb2yxQdIPCH7pdmdsyzm
OU/mfzgV/Osw+hqcx2rWZRu+Orn3VIXmUzBN79ngGpuk7DG0CIWBA4gGMdoW7TpgV4ya00/zj6Ao
zSc39z5h7utIhg9XTtpIKGEIkthdCmAD779Gxc+2X1i7YaYFhH/CtVY+OVHWo7ANPgweLqByWGcs
rtWsnlFLP6UdYhR/6pz1VIC51F0A0rAwSPmmfWXGc7iV5hdmuve5Si+zO9xaEe9n4IVV/GBC8kkL
thcSauibSonLEyfti3dZEhkzsJgmcfWDUck7udiBTpX/cJq2A22BIfO6Mw31tkmNf4RngGc56twv
rbpP6HN4PPJ8k2Gpe5nRSjDPTsMJiLM8xnbrwuBZDxLEHNltiSsxDevXYmPbuGir/uBfBP+FPD10
ITLerKJUp0jOfD00dgsj3NiChS8mHBFdoPWhM9daNwX6l5K1hTM6Q1yDRJDxR8j93MWf2Ah/LL9R
ay9Gi8FnN+Njyy+emG4o/4+6Dm/01/03ia6OaJRrDrDFyKanQLx3wGVrid38rJPwhvDmGktWhVkp
EXF9ola3nVsyPdZCBCQrEEUvqgQvpS2f7ArfoOOOzyzHz1bbPk9Wfg7a4M0ijYmYeWdYucgKeb0H
I5J5Oh0RhNSrooKI7HlZFDnYaE1gOYY8igElzqXb+K81m+wmXqgFHg2cwHkYDztEuTN6pj6LQtEh
lS+Rk0ZDyuFSyGBAYjP0+ylBLO+kubzX7tzeKlXrLUGQWUQMAcY4Z9QbnDMESJXI+DJYOcAqBDsx
6PTBgdA+cpmqQ43c7mcM7W6vcJKyf+BItpHW/pNlfAwMshuwJ9fb0i7PS16WO2Ry7x7QDSdPNZ8R
OEMiZiI+qjn7tJPaoyCjvyUOqlFn8um1IS6NQ7WyVm7q9FFpmT/YCYY9BtfwayqLG5Hn3fsMHrr1
3ODGfMLGwgUo1+MM0W+ELGONBPgNR5qamCvlqz226aYeHbz7is4o7A/igk6zWBtJ+c3umawWCsLZ
rZPhgL+qOaCj8zeAT/0azKWKMBzfy95L9qJyFxbmNLhaBiIyiRRkMwf+EGk1vcQtQFff4XTJE01/
j99SSiiRGuXzqQzci1uWz4THTevO8M9hSuyiiEGMHzK7VWunFWulbCOz689Nnegtt8ObpcwLmW3P
BMrVW8GDSGEotWkUCy5vRUCoNFOZd8J6hENuzNQWsetfMddM3O5grTDBlxAsNnEhDlWg8fgte4My
sax68Q0zYPOYg1WZ0ZzLuDRxz09nf5LiyBV+z5XBzo+7bRXIxN97gc73RoZ5hJS3LPkDtFS/2g8p
XqgJ7hZTlpy91igOnFQe5lcKpBCE1fQSEmPWJUV6gLK1TjoM4+M0xpLFM5zWs8NwWTs517wf0gqe
WsuphdH4RDbym2cAJ0gHhog00WQl7NHaygZRCTIcjnPZ/52nRTx1LuZaX9A7auTiPvYLqRhVu8ES
/YaMwDqpWTzw+El8QbrA08a628ty8vd2MQRPVWA+V76d/vOSQGyLyrEiS1HMuEL9f8iW7KM3DP1W
OvCrNKq/sKTQmmnXBAHJLGtxSE8ZhHdz8Ef6UJdyvkBg/4uN7MrOyIpT4aghHw+7P8F9K22L8u6M
YuAX5B+UTe2JrrsYTydRKdBJ6qYdJEdEQyCG7tIrhimEJpOlItdx+41fo40nPyqhLZ71E7e/v1oM
/jRLjMNL4jSkXXSUBTrB5F4KHsuXcK5/YzHY99Ct/wtNdW+IK1uNntFFUk1i3ZOw/ESlcr7uUEBw
EPsWSQnaXlEL95R66rAgXLpQR4iwsKKTS+Kd5Bjq/gVN+YwlmzTTVDsP4+Y3su4FgJhiV0TSpI/i
QzS78UUquiJljr2nNyA5U1TSa1E7xtXwu47wse5CCKr/0Y8eI31Fc5FU2U4vLkkAlkJX1+hNn5gs
uS2VGUCD0WCJTxixcGMSME/oqhpeIdcKShlHEDN/ws81eje3bPUXypEb+XoauyZza5mXuNEfW0Wy
VCTs9I3xpNDNR9UsSY4okxlR/pAishnsyIkfMass8euxJf1jZS3z36yRFIGMXMxOhQgT2c3ivxnw
irssF0SqBO6bbY+4yhZxR+AdHnr8C1815Ue83Y3/neShuwdMnp58UTylfvFFIeBubphDl5TazXby
L65TXzn+AF57lyT+Uh1MmxGKHFC9truRka0aP9yais2AoJEeZD0qzLbYLDXpNPhezm4cf2XS+Zv6
RKwgRLZ5NVJORYw6zpPTKf2mJqu92IUMKVwhArJjHJnD+I1spL9jlrwvSX8Jl+Ef1cAGCTQzhE6q
PuIG20jCbvDVmhgcKk9/YpV7mQa/XZMrwFi7yHy7PFA4IlLgWB/A/kNVFZGOtA06MNQgkU9qZErx
FbuCj0htu5RBdfOL+CsFLnwSnV3uZpwb13ECOZCzlRy9jqQOF9xt6ymvvnUUnEUueZGbMJguiNA/
gsF7UoZ3yKwcp1L2YjnGJsOXCk+I9pQcirMW2a/bobldTNSwGnBmhcNypljBPhGDU93DWvLQ5O1Z
oDLa65grgiY+ShcCSUYM34MFRem+TGksI6X56nrdH8M0N8kwaP5JUQ87Win0wTIJAqlYveD6lz+U
hgW4Mof52HbaPPmG/LL576v+QSoja5hwymVfrqJsTfrWM78vI+5RJW/OguGglc2z4VAQh4PRuVd2
AKSD0rJW7b+0rO55093cljGYUZiQEPDj+GwXoTUTUWUkf9Afetss9/MLt0WxJYpnQNaV6J2jRLir
xqy/oyNX22JMs3ItAKLx5Glf39O5sl/Y2rpDXekych7uzyITVLsM1on15Tjm1U+MWf0WBMF3m0/B
RhJCT6uxX5+pMbwsDiFCwdDV59pr/oysNSvEqm/pwyCP8itehw1WKeJr0K+oxY+0a7z3o8CznhbA
D/ItScDasNYpvKlUzT4cXSsLriSCHnweqDqhi5nIBxF/4ti/EO+hMUSrKZJL+GYy90XeMr0E6UMj
4fr1gVYWzRDeevvU44UaGSIxcxjmuhzLqzcMzcaMTf8H46R6xmKQX7CrkkEnZ2eTkZkSonltisss
GufLcCZSO5kamkspZE4ali8/2e30ln4hd1cND/Z3nhuko54XvrEZ2hv2hWzToHAgrchf2LrawL/0
FCWsMn7M5BfkefflxylAlosLK437KoplrA5F2BKwmPT2AQsm/21sqcXWMoz62q6vcTykL0EfwKL4
SXjwuqBCcB/A5uVQyR4ZSQCaXBlnxMbIw91m+U6Xqrk+INb7sPjVVrn+9MgYTQgHa9DPTIjmLqZn
epdM06WJS8Vd4x4yttiCgeX4iOW009x9BtWzU5YHG9Ps28eMPbzAETnkCnCxsPLorU4JLEdIiuwR
xd0mwEoAvoBji86n6dyT0EGbOcsfVScmeGdSdWtzACO0QO03jSkEoU5cYggwM5o1vOC5RxuwRasm
70UsqIimE2atQbG57FqDmo123mnKJ1e+4QSRhMOLyjalXnsAXfLgwbaD5+GkmG3fI8kvtgl2S2Jr
rUpUJEo72Y5/A0UXDBqm5FWdZyPch6iiyLfJFnAFAjSqnmIROoKXgz95ag8EMp6ls8yvhPmnzGRz
clbCM49+2nwHmt7FqLCN5oxxRr15+VDd+pBY8A7J6IGrv3h1R1M/Yd3jjdVOKbLocTn0h7Ttu9tE
rMOeICi1p7QqOZgjsj3bAPUuUJeteeeos3OLvNkrzxpfH0/XzaiGmKtlSdZ46YIXi6BTDATZPLwJ
tJjfidnPKwGL/+OMGKBC2yt27rLw0aYpK78kcYbM2Hg5lU62PFXYe3k94ZPeZoI7mV88886k31Pw
HOJQMwgB8lzb/hyUm37oaalfZ7DBq7nUzp5UkmGLRKJ9n1Tr0AA1FUcDmXQf2ToJfkyj70CWHTxa
uP//w2tQXQTSj5UKlk9nGM2Tqumxs5D2XmM2mlUdUttKVY6PybrPj9kA8kIk3fST0KrgrwYkSzTh
JYYJRzbKf42kt3tlzFAqxMHmzXogHPTKNVnsEkyx0UwPFMNUvWyHkbJBym3kEVmVsUqGwbw2vgmR
MfugwTnvFcQNuUZt317AeuqrmKvmza9K2hpzZtecQKATrlb9HxFp46UPYuMDH0WHTbdp1doi46je
sAgEB0qZyI0h3qW5zRiu9onr5JS3B+1JyaS/j0Y/gUS37ibOw+FioaH+6pDmXEOluOh7TyTvLWws
Ug79jdJRb5Hpir3NLHNAF8xJSdzNNWndZaeWdtpShDoem8VutjDD1NjGpYymJiPXAvr3uJDxglIz
Md6NArc+icpBc/UcGmiqGYGEEViYdFqZ3LzEGp+CyrP3/SzCvd8H3LQxuOaaVIqpWplzHL8+/Bj/
NFXcr77WFgODg59xENCoFHA4W4l2I7XhaglBbDGYSQ00powd7sf0BW5PA1iRoSgQKfThlYxTuamw
mL6SLOesQF/nFzh7/eEnQXzgmMEHGii8g7iWmzukZXht8K1upIUKAilBf6Z/y33XFYvWaqjL/hIT
3nUYzbJ+UX4vy7XrpPpTydQ+z9yOrHql/sz92N/NhXa3QeWrh2MrPdrlwItf28sm8FnnGErs9ePw
i7rEt29k4QCOFxz6Xl2BXnuCzCwGBaP9tEnJPms8JGTg4rhiD6Oz7XOBxTwyRuVEnpTFp2+m0428
6pYUiHL8a5Iijo3W8aYXeOXiXTiA5euOYKSNzjQbiyUcvbUkKUtUrKHnW5WSnXFl+b29ahxlIglq
RwTODkDKyhIJBfIguAih/NQkpFK0zg4tqEWCAkbYvnqkr/kpHn+SbU6mOT2uUCAuIi1RfCIMQ0OW
es6X6abzFlPSgL0WGJlAYOI/QAvovoKE976gtDk7wrYwn8xkHtny7emf42XtFraFBLmwHdx1PU3Z
H7RKzabXIV8CPFD4W5IceitkgToH+zdFvAYXeP84NA2khgByVi63yhy6DZFbcZSwxv59EBKvXkjy
+EpTAQYgmrT1FBUYHtYVQqfN3GNoQKlALQiBcy1aoqLJtqFUtNXpvDg3oQXBt/jNFZFkN7ENU6Cj
JZ3tReHCyRLC15+Rs8JGEce/Mp2MGLcJ0vuUNIl96zA4bUzk/oRG+NUhCwSgr5rj7ylElzKZVXnF
oJnerMH31zw9YJXWMp0IibCA68BLFoEDDfFbLwiuYEpdE+ixQFuGZG8o+BOcEbI9skn8hESyrRcV
IErSYfbqOU7A+IggYrHt5ix5ZjcWuqSfuhqZVQajbZ9c8tK3nZm2XFQiWaOwQz8kMIm+45he7iqw
dLltFDHoke1pFB1k9PpXYWk8F7bU4Y9hzcRiCmdRJ3NI9F/RerSj1oPz7aQ4eVcibKxzI2aSMDyc
8K6p4j9qdJr3sFzGD6ckSG1sWvQPM8L6kJ6fTZoaNtCIx1/gmfUh6xD4m43lHK1l+WsYmbmr8DhH
pO7GkQCGAbyRxsbnVP8HfAxKTG7VbhkM56HgcCIeHHnFviNhGS3/kA7dHWlx/+VK54fMRlYkrNds
iHHxwpoGQ+xa83rRfnmElQhAmlkMG0XHiSlZSuRDf5FQzLNGX07liZGyLEyuVre84nYtbYNrz+Kp
GHlHEIsgfsJ0ApMdFnNzrwwt+XGJb8YY+5ZmodmdEkC1NYyXgbD8fyapZmH3WXDdRyJ/OMrCAfOX
nRXloXJmg6z9UCAlcrtib5AYQo5kZxyoyiBGqFjS4Vo74GWjzyEQFQN1IkR7x/42EZXcSWDDfScW
hLisTO3G6Cl9fdgkvB1ZW85LSjgscxUsvEP04EqQbctZGhILrefmxXdtfDywt2WxwhGS/c2k9D5r
JPr7jhbM//xgQLRWGhXzD5rwcm1bwj6a5AAdR0yd8So2exLB4fXXlGP3L0iOBk4rDWi6GnzHo7XD
LjCfDnO6KfL6g7FC0o+TpPjSUD3zY5laHHyMU2FjBi8jwsGDNzGRN3EwTGuAvOE1I4TxIB3CP4im
7E/4lgDIWqc7hNUw37R2PtO0l8eUKrGd2Q46StxFJxHFpwgvhrHZt8EAXijK9rxIJBG1mlACjWQE
jJyoKN3Q9nE4ivCQjzSPRrXIrb+1Eaj/nKYKecSES/4LykH3H36DBiECHBRUm45UrYC0OYHYxntq
2Jvip5FVehJy9F9wMmXgYWYpUX0NzaFx2vGzn0tui2piPGfanPQVB8d4UzXYwVKW3b7iM17h1MjJ
0mj6V2PslrNpzOVT/IB3NOsnXz4/bBh3X13k3PNCWeI+tc2ynYuiOgRZ+Gg9ABy6An8CEDLjnDov
Lq6+toNzh1juKBb9cFHnqfjwynambrJfTqP2w0tWJt6Fo8o5J/Bg18WLca55c2X9lqP3LWx33gp3
1p8p8RYfkyIoZsu6Za3B7KidHGM/JowG5fQKH1P1Z3akSeWR3VtrkrOttaaBNmr8ErW0gZ4dH0pR
XJGeOFWUYZX9BBcs2Ep6tZMIQb5Jxq3+gOsYLxm83q9hob7BxMel5TLKWb6P5YZs8M9MVOG94vbe
NO40npFqglnUCRrJIJ72MNvLlaHK3tZYF5D4UHZ7pqDlRq4HCZVKYorvXCL7HKpdPtCzO+cAufMj
EYJaqSO1jLQ7hW1Wya0P8NyuRjbta4CBdQO9lDwQ5razo8p0kl2BmhJWqeuse2W27M482SBBszWu
SrL6QNMsnzRcu6zG/4K6KDaG0O5FkwYTtcgYySuItUPUWBC8NhWQwzAwRA1mPT+T19ChxDJosNBD
2WDDKby7B4N67g2BD4CQ46+4S8QbiQDWzkCBv6FfjVfbxiOydUySw5I4MfdBPw3bTs3DJ0HVOdKL
WJ/M7n8ktEw34UKWSadnd1vYy/ecJn/5EUFk+NI/t9LCh7Kg12/Kvvj0Rtd9qU0XGtJOst0Egsx1
VXa3CugAYViS7WdUj3Syk2B5xMYoCeHJqwMCBaxVqftpLFlCaUnZbyT5jj9kFiLwiAfxbibCiYwE
chIT2+CJTeFnwXNjZe1z05UdiZhhHRlZ1uDdICyqF0TcMviMy18hsW3ltqUJZRLEJfVF/CoS7Oet
raw/0rb+DSKpn4tysPbObHdkrCXWAQNQ/kwOAeN4kbZ3h+zivSBw+7Mtu/4hwBPJsYcJWhmkjidR
gVMTxzppEURNNQdFagwff5es5wS12H42h7nd2iR87GbYtodJVN9V6ltXMqLHA5rf5WWZkmCrMmnK
jTVpNpSlDLETjRZ1u3zYonlVEF53Qou6T0OlcJRqaeo9mQUBrZEOuD6Cg02Y1NZOkapFeMVEaIQo
IGit5ZFghcQRv571PFoDfKL0q79lg7vTqoz3Ep3Jtg5EdrJ8Sx05XzC3SCSr02jpD0iN7qjcoqNk
LHegHzBfg3cyLdERDK9XvlsQ4X9G0/PfE0vLr3BkrvbmvDwVhtFdw3LukkOeNP7KmujV3ju17tpo
ytDahi5qLBzqLe9v6v4EWpr/dDHIu2ONCctW7JExUOtDymR04732VgXW9t2UqeDsqELvY46fG2dX
fRiq1ITULXrxabbQcCtnlta1hBxAOyiSD2Oq/B1EOkYJHjryeoWLVrII7S+pfN0cqtFzdnGQYzEt
Y3PvMVPOOwImkeTP6GBKJ4ZlbOX4hRZE7Jd01piFa2s8Ds0o/qUik/elbYK9l2KnJcjaP2JZ7xZk
zsrbeH7865VLFbmTafzy7rDVF1Nby6gN4bHZsVGGJYBKx6JxzXNiD7wIXjf7l3kw0E0R220dfHdm
Sgrd+U9FI/fh/zg6j+XGkSCIfhEi0PC4kqC3orwuiBlpBO9dN75+H/a+GyOJBLqrMvMlkHeSKZIl
y9mSSbrpOG4wIPMuww1ojVsphrE/lLOeF1sCkJHcFcOE1jjGYR5vXH7M505035XTgBPGantstKm/
O7WoPjB9tkHY4e4wR8cl0OAXLyNQGTYN/tJLE3FUoLDMq7Iqa8igFiGCiBy8rPpkxlUI9uXkCOl/
8lFHe+aRhYieL7un9glXGY0chuaVd0kC91JkjnHl2MOen/U49IBS+dMLhpRyb5t++cPGaXyL5IxU
Tvoiq1C6i5RlfkJol8u8LO6oDFAHK5mVRylEBzJbs7Mv2Jp0fSEDEJlCu7rkTuYB/AF2/YREpC2Z
KybISTegy9p91b6lHjgijIZF/iZ1Vm2tPoyI1y4N8CMvc+g+0e+IZ/fSiTLcObxI1605aJdCEJDc
EDHjOUVmXU0o4SZRI+NPrg3akxX50XzTcpqLgP8VJrj2QTxNFgDKMi3UQoWy8pNrofV1rAaOTqgq
tJcuTKEGNaG2adAY0WqVeUq5zQcxr+D3uODggJ4b7ZsosT7AQwC5MerpAB4neYqn0T+PKH7nSW8r
JI9SHb1ZEWiHFHkYpir+xz0o27NRGIKqTKwri6HkydRbsRVd5gV1xwpMnxd7ty2jfhslnTxIViZ4
LV0VkuJIp303dTNieuquBaP7YkKT/P2YvHJvkwPrubJxcl9s2y5eVdW3M9smPTxjXkv2nTU1pLVj
b+W1sGCDmqZbxSL2pFdsGRzHMnZYyctAWdzmVh5AAEISeo5IEbVjf6eFJH1m25/hzkzE81z68jWC
+3yGxwaUG+mz5A5K3nztsGOAw2d5104M2SnnzbXW0w7xTkd+eELXT9/rWtfeMF/ApQeNu1fQv55m
v60YwvA23xyu5i+ayNV7l5LpaiK32DeTFM+a7xcrssGk+eISWhRrt+iRdJ251zSMpoCxcN+WXFjR
LTlWXH04sEThyGPRwtQwk7Ckz3FduhNckUyGG77cxobaOjz/oAB+aRwe3smZCoQ4D0M3P83eSLnv
pEbXsXseGA7citAjAITAj6LyikMVRgXG5bUTWadqdCsQ4fbkrZykww3lIJVQIpVn5i4Rfr+jGFsj
mhDTH9hihKCCqtqkAm9BC3P8iE0AeshAwthOw3KHg7f017PipYbFvm8v89DP+0TRL6Ic2R283nb3
A+QuWsewuWJwmWRuUqaQp38M9ieHbMKJkegFn6cxsA+UgoEQ2zIBgBpwcW33LfFu2b4YdWze+cbI
HXfckF1pzIKG9+Zl4N4BlMXJvyEBRT8WSMmT0ZTZJ/0MvD1Uw4NDt8FIF4kXm4SZ0ypoC5NC5bxC
qF9VtpnebFcVF4gpzT1hXPgIVddiqxjn+bctU2/FC6zbWbWTnbmt1HePDfHVNKZ57UeuS6e0ZO6C
and0YhoQrZjgl+hltB6Ju+MN7NWTy/t7jT1XO0t97m8FK7JL17QREhqo7KNUYBEcN7sTRc74ekru
EDqM6KBMbPkYnBAFyWBbdyURScq5LtsTlR4kjGi/2YSlHj61QHXXdmxyG/VIlhWBXpZInbKSeCRz
wP4sCPxzlftXPB0+nMCcvDzJQkDOdCWN9gZhb+EAa5b22Wt5vJNm03w4Uq93CpbnsdC15G0gGws4
JC6M54QG5XVvRTSeaL57IlbLY+hyaHzT0v5J0Z37hQJCnqQoSN7HUcKGCR3Z6DehZoUQc7LFEzu1
L3pttHvYcjqXYVaimROmR+DaULUMzNor3egJTksT6xXfoNx5dRidkeZCQDdgavpfch7s1AgiBQhr
4Tu5WT+IHC8uSJuocRcBCN7IRGGFoYK1eeaqywERaiZMF1AYvCnrZL62k/iCpDfqJFJMEOW5EvJR
M9HrK6d3+qOtK7SJKsnlvbJg8bLgN1IA8W4ZQfF2iFSA4LqKhj61FXgWm0hB0nClAWvGlS0qiiMU
mHHDxOYTeGjkhtchPhmtNZ+wCSOWLC/yVQj9DsRyR7krHzzrIQ5SaewGzIAb1NNmXZOdJj4LRZHU
zQJJDWdgh3EXk0F0MTs/ZVmRnmYAvTt4E9oltackoN2DjFYtrasqJRpJnIfvU2VDEejb0twKzEBb
Avb8qVKFOpP3bHk9iHDPOf1uV2OeQ6KETeWzSIzQzSe/+OCjKfnuxeauTmW1n7QIObrNHIxbSKF4
jhJKARQo9zVw83zrQ4k7oYvXQUvYeyO4taADaC3IhtSG/LKMnRqigk3LYBAyWAcATIzAs/N+30+Z
2PrQDr8bKZoXXrveWubKxu1V1rfWSLjiTnZ4Jr2R8OJuwrNDcBHcmTR/LDEkf6QN29BqUvHTufT7
6U1605X+BoqtObathrFm1Jovcyzx7pSOgsERWey9euvX6MdHyggYdFa5HBcwrSbRxzAC3OhVq0i2
iKmAN4Lzfa9Je36yY+UFFefquiKPiKLktod5LhX+Xxa6lVO6jKxm+p1QacfkmFcBjRvzRdaw18g8
5Sd+fi8YchWeofmpg9Gyo44kcY1ZH8S/nAfR3AxVXdxzYQAOnVRS/3Okbe0rgWUq6QfrYpLqXdfz
lH9wbNHaFk3drpur/IcSWvPstS1i++SKQ5WM/dKnoi7ebHAjikvNfkZ0AjwqZSO/Woe+xmHCKWyr
Wi83cLDEoQSDQOEHOyG6gyr5BosL754xmSOiXMboKgzmU+7igPNU19SPOYrje5c1EN7qNr3zunGQ
sJNxK3RqzlZp5Ygfr8Zs77qZcejZbB7dSSZ7nTfeSWGDAMXoDTj+qH+lEzbaGgbwDRYDVn+hGddb
c/cA2dqLaSdFntzRF5ydi7n01cR6ycqp69XVlEO5Ali2bCyJDg+W+Nu2lF9W7Jt2HCFEVBUrc20M
7WtmgqiBPGUZQEzD5b42D4ehbdMHZPL+4CRFsm0NkMOWFVXA6TNYKrVlWhtNVtbdwRD81Nea+w6X
VN/bSUZDXp3DkrSkn5x1KiBObS6RA/pkCdNAGFDUpIQTAXMKqY1MI8METVAjqpGNT2XKsqueBxks
/l36v/mTwZzsNoDGOGZgCBBNy3y5d8fCQECrzYOhQNkpGt8eHlfjZxHiJAN6W0PW0iOWc+PLZDjV
a23qv0W7cK36JeHB1ixdS1OJ/eTY5abPK/2F3WsX1BPVpq5LY0kbWwRbSCPx+bsRXspcmoexzQic
ExjkBpbb9Rcrq3ckHXMbE2IIwnTg3i5w5+8bDj02MD0eKQ6nixPNAkeMQaGdlYtm79Sd/Q47QdvX
IXoZInp/1Rov3xudj8DReOmJtkDtb9bMgEss9BXKM6Joj+PUe2Vhmf2wY7POaTchrHnjAkXDVOlM
RvNeoT3ssFf+ktXHCR5NBEBzmzXSiCp0aDV7RKlnF4Bs3v+hOazaF3Y4rOIsDnGuz+4RHYJ3GWzK
lTdBA2u0UCBK9WwNSTfHO7NvtPe+TeKdoN9l7UyNzNZmh0dT6iGYBgsNi82E/5oV5rSWdA2MLDGV
oW0TaY1c+PM5KFXnfkOCbP9WPTFRfUqo2mKEbX6M2oJ6C50YE2XpXkImHbDVfvurSabGrsip8yiU
CjTyITDw+nxXaiZUGhNa9UHvQFLvpn6A3tOHYGTxAXqovWMSHytLEuWx0csPOqi6/VwmIx1GQDIC
j7P12ZronoZgoJMrnvolF0ufXsnnHcDur+4hA9yl9Wa2JOXfYSycs1xayfGa+deSVvmVSW741Deq
eMmtxdEZWv7JHO3szgN2555PeXUyOSSuQKoztaSwPXL3aU6j7IKjtX1KvZh1GcG9DUKQSWW1ZF6D
J73KSJmsHZ1XPE1l8wfhq+kLNbukrWeudOaeHsQdXQJ/YqcfzbVnOcnBi8kEoVIpOnfGnMBA27Tf
acWssxraUt/g9pQP37HwYLoSiZzU40aBj0B0jZNm7XguH0pf1nvleeZdoj/j1ZL2GFDuQ4BeqPcS
stK6hBmEAZxZivzisDEdFzavGgr1a5k52bFy8Z94sfdQPiqXOU/sMhObdeo02Xdn5j2AQ4k+njW6
lvhd+F1oYRUATX5emjgsOh64J4973TZ0bh1NxfEqB+q4PdP8hZzR3LDrLIa2UmEuyuRVjnENI5j0
I2AFz2m2zEDTnbsv5jSlqwPy6/ScC+6JKlfeZ5lZcpNiXXpyk3nkOLGGHeTMXA9EPreX0R6zYNZR
criJ8mmaQu1Jb0FfouabpohQMRd4GJ5bZd1KTw1wUoj7AkB3dv2cUacBRoBQo0If4MivX0IMg4Fr
9MUGbVLDXsK1IOtn49Hmbvab5iXtS61juczCWYxlNiNWyvXQ2fNlCNehAwLAM7AYQL7y23aV0Wn3
06NtR+y0c5z5Dmn0pT8cHU1iaV65E90SpMjCN4J4GVc9URuf9jRQ3sxZ+VPFVrulreYTLf3bYhEB
TaicqNnwZHXuswgHJanC59Kpm3Ueg2DRmtbhsh+BZBhMeHGh3mBf5zKI+BSfvIrcfz4TwGPIT98J
VdhvRc7LutB1i71XjL69GOJG495MZnUiZt3c9KnUH7XUKu4pSbFzE3yEhmPyAKPK+xts3tYe133P
9S6j4FfKEhLulFowadQQnToVE4okVqM/WWGnWJeSzIBR1uP57LGAiJypZqAWcxOnw/CWoZ1ftHwu
H2xoiWSbwoMjo4ug16HrDCx3bU7Qqt6nSa/b9E6gP8iw/w7Z6oLFt8r70IZ9vEGnwmwHs4NSEo2T
nCM+mzflXM9XXPTYhXDwRgdjVP0ppR4QijssHAgX7vfscd1a5TTwAOgnqL/zpa/xtAOxWM2C/17j
IXhOZdftbSWiHYcYoMVMiBtV1HqAUwC3sOf82vVgbiq21gyyhvAxisTlO2dQvHMJv37jPVe3EZLB
oatopWVVBBDYm91eD6YGV9eqFtAIgBqRekEMx52Kx4KQQ+42/3x4eM+Na5anOrM04vHic0hF/K3m
wn+OVZOta9vI8faV/MkGrFtuZQCzQGP19+Rn0gc2jOJnzKN4i6A2fCkr9M9J65oIfo2hqT0YWHzQ
vgDLtIJSDp2vHxZLlem/MO2mPwZxp68sG8xXPCCE0WIaPD8GezC/mWV8axXGvL/9rraYmLBtvfjY
dwAox0yzG9Df2V2bK3cO9EKLv8aOEo9GF/i8TaXDGDa4co2bhgKSJy+r7Hc/s4unlIXgFT7RvLhG
LQZTyNKHqIfTW09tchjc3vgCje+efK450aopdfVhUlm2pTKp2ovQ0F45U1WDuY9AoxnBtGpiw2eF
540ELIv0Mi/RPNEN3dHWUm3NTT9nf0bgTIzdwy+zaRfiNDj0U6feh6RJEEWU1d3atkl2Ju2IdCyY
jdiYPCXD2u1VtK0r+gfdxNNf8r6OABPDfGeXDi/C1dx/ytazL3rvfwVrtwBxJzzMQJzWLE8+YcXA
gqiMnV1pmMvoZ/qAxXwes/y1H9W/vvf+Irn+mdMwIzY9nlWq5Kuh6+XRpfvrnzb69lENmD38TEIE
DfnqKiN8NkPHWAvu6gyoctN6vbEd+hS7GuO6u7Ut/Rzr4KorXZ5xPb54Gj8rK0NjQzcs0CfC30Fj
FBkzipHv4loo/LEL5Mso67OfOV/sYjeqq9SqxbLZKHFNdGhNHMUrCp++SNxke7ca3zDfDI8i5CFM
cq6prl7Hq94yXrhonWsz/NtIaTz1xAy3qjYUBij33MrEJCOHlULw8l8NGX1zfmp9c/hMQdmZ/HUX
KJhUyC5YsLMtZBgiGiFijpGH7EAalovKorc6JErkil9w09lmENScAOMowIXyeRLev+Zey66BJiId
3hHx0I+WUqej29Q3pZx3s3cRyGK1WCoGYDEMtbH431IFDgon1rbMASYB/ozgD6EF9zQzkWIbcBMy
sbDC1S4aoFavG05ctr81l9uyG2s0LKtErfIsA9qUda9eolc8AKE41Cm5dK2JiSfPOq1LfsutxrrZ
crKuBJKKg/I7ph03GXiXFSaVXZjLoD5Nhwo51uvCRwNUBhBuf8M8dkj84U0PoZwZDVGuPHP51sIu
OeU1sBaR4LyMdcs8Ts3sXga774PQdjDteRDBmWULbOoDeSlYpjcyc+KY49QJlrT/hheCe+HRGm78
vfAfqqm5xDMcgsntP1Xttxt648kBWgmoQrgqd6sAa4h61G/SYsn7RDGmvoL5NdVxSiejLQ7E+v3D
4LV0uGgzoYPRUWfoAMYGJemtiXjLNTp6Xumn7B0V0kBjuaCNC0qJcMG5K9buRGFEvePaenCGCnpy
drCKbttY5nli2Q3WxgdA1WPkiuzG346lfdQcCEheE+68Qkc9xWNCcJqQO/1ue9KlOg8Te0F/SjsG
CP5yLnzwg+ehGGmQt9mQgCEGpfADOCveVkX6r2Jvj8+/JxRG/pV6mlAcEx08soNl+JAbDTwNTinu
sNFL5tVLPMdJuVCbvHkLdlXm6F7czpmP6Pb0Xkl1zkJrpqYDtMmwpIrbcKu6hZPouwGUgpdJ1hdd
AM0Fp0CI8/9jjaiIhydWOrpclYX2cIvKwog4a6uBheMqI0/1ZNjNK1CPM2fSekzQDSZ4rkFiTs82
x+Z6xmOxN8el/yZVn7Wp6W/JMHjskpPlc1Wfk6f/xKPxIzLcfWnTtzvaA4ottVh/NGmGbOqdJdea
T8chYrlLvOQXKiSv6t6WG+If2lbO9J6EDctXdwCWGS229WTueqL5RBI0zbWRbSbjZMYZkqnf/gWa
lq2NmFYiadODkRJiRX3dx9wxLvms3dPamgIaQO+seXeJTN5IbRSYo/xtxyjJI56123Smam1cUtXF
Emit6sskWR/rlOsglkbkLsSvK0QbOGVyNRj4V7Af2FMN7tbjrK5j3qEFtmXYzFEnf4kW3i3Mcvtx
6PVVSSdTrDNw54WCqC1M6xjF7t7T0choxePGTYSKpKX2QxknabnuwxkyKKLCJJVQvYbu0J0G0DEr
WVpdwGUS/DpNoXjAd1SknZsJS3rGafBkLuft7P2K2oH9IbJ2PWmGF8CeZHi0GM/BSnx1Nln1ppZi
R9OuxIkuSlSj4tM3wvguHfb6MotetF5CNgiTXZNre83HmjynrJRyS13y2gM30QL1jpK7rNi8u+aF
A/FmWgwUzPvYqcBDmL9trfytlZsUj3jY3fPZP1VCBGFfUxjWedeYhOd6xFm2SdzwGXfaS7084gVv
T4JbNm3BxXCrKA5AdfH0HQ0A0ypfhhPc2WrT+2T5GrnoRZWySB2RDZ7Smh/fiM9FG1/1kdpIHCbM
v5SCuA0OI4/6OjqKn3Qr/8aHfc3jpSJSpxoxdMFm0DXMU12BzTcauusG+zMD/lRaaBhZCcGjNHUq
w+g8orDCD1Sl2evKiU+DH4fbkJmFaC1bpzmBO5hyQ1UACAdZnAy2IsgLIGXGKbeOnTWfKy0/Dbp5
MWJb4tsTX6MbZhv89W2QCfJSepKMHKLTdXmeU4NONhXqjHaA9okdPolQbj1dfYYxfNGGfz8wNCxh
rJfO+KJndj7xS9kW2PQoem2JmfHPOzeT9Ti+Ig7TeGpBA7hGtY0BkvB4Z3Id5izbptJ7HWpX5xOh
cUtlBH+bMTpFyrd3zVScqAj/dGz7Z/Yzl8hsHm+7WP0Z4EcfS5F5R/Zr7CQsltGlBlo+NW4+dJB/
OpmcHfEzqMgOGLMmyror690PJwp/QKSWG1e0LzAK/kKW/meX+oFv3rPulc9CTycYGYO+kHFwwesx
E3zp2WuthZcuNKR2r9HBPJHG9bbuzKSMsHsYEFwWFNkxn+R5cL1zkgE/ahP3L+/bdEeec9pUeDAw
W0/D0vr36HIHPZNmo+3oKRb6fnm0Wd3wxLBz6Ux22quc74Id+y054+YGuoQ0sKieqIM6s7MgQTcs
XMgqenWrFrdGC9HejxxsJL0LUhCP5J76aYgJovvoCvMcm1QIIVFLGp2ijQ3VJ8fCECCJH7n5YBqn
xmINho6QI/Nj0MTVm4in/9/Hd1ObzrwWPwXrWnKhCNnE9H3WSlPPuosiuT53BVO/7q7tsR2CAd5b
oBXuQXXikeK4yIlSm5IAo5X2+IGXgjvWs/tZZ7cRp4zVhcGdvXlAxvbX+QRXJ8/z7VDlzGfQqwLT
969IjjQexSktKCJCMii4JbU9pmEbsTppjQMp6e6K+4Tl68C9f8AQ/dCakZetZhUQaVXAUuGFANcF
+rGzqmv7D1V5Zx7kr0W1JhrKHjvGfKksL9+1DOYrq/Y+23zkhtLRd3Ni546iGZH7cpSa9sCMtC07
S6iWHm4QLgy5tcYYKx9kFo01GWUoY9HMnnBseInI4dl24/pY9D0gyJgIgFd3z5ZKvqjXBZKWZIc6
S92N0QNOZI6/GYa3pF6M2yS1i5E5FCv4fnbNB8kwnjT+F7bnhZ0QP0SBvY+WlHdLJ2IIhizdexMy
iZ2Z5YdOAJkiFCvZJgkYhKgbzFXsxf9ay3+wl2LtvZSUk44LzYRssYuAhLnjw6hFEaTQCPBdEJXG
EkZ7p52oo8XTCd9CvJmS33zMaQxWSf6SNPmFVD0MVUV6OJPjASPNodLm78a16vXgMbH1af/pN/F0
F15p0cCZ12uzIaJQm9aPPvUYPVoI0C01ISuur1Ce5vk59rqLYBmLQZJ4r8emmp3p2XOpjpNJXoLS
Db/ngWSXN3IbK/NqXpNwvpp5YZwmi+RZFsYvQ4mDitaTU0fkO0g98TunAj6ULP5Ql6qAEdrlWc/V
TUmeM8guRMD96CvtYfSlkcdWt7Y9JHaSMdWAC2AWZXwrpN8eTQ6Og2lUb9jdzD0bw00bp7sc5SCI
yklstCptjlzBhzevMi8D7PCN0zQlYpTTPwEkrHci9KMdELRoG8d5wW+fguKpXT8QoXbUYDUxLrOy
B8160U0eWX2Z0yu3+8FGxMtE6G+a73CTiMrurszuPOTuFy7rcJ0V83vl03NGI1WsGbiNynvcRsWu
5yRcc6OX4KjzF6gT2HCrj3zp1KL6BeSMXZRbt8rSk8R2wq9N4oOY2C32xxdpMJ5Nmf1wialsdJL9
K9GW2Czd4p83Az4g3/4KbXEIik7cNFHxWlLZz2zWr83chgcXOD5vjuyEnZBuA+z6QYT14ggV7cTr
tbt0td3+hY9n7oWq3RIQhMLArMe0BpI223e4q5CRjFshql0ZZ84GOan6oIdY35QOW1qsweG699MT
4A14DgTotnmk/6nQQUgtaneDtLB0SVkKCz8MAHUyVzRCOxnWmcL2j53QAFSpPzw1PH2kK22XkTMf
qy0rDto1K+epNaZ3MyzfnCE98s/tyXF8AtynOMquQKcMZypin6LK/pQQJWeW8jb0Xk0vHsagP+zZ
eh8Mw9hMcTzuh9IImETj9XI8JQAGccviRcnewFlduOCAqk+BAYAnswmCcJP0uACSWc9lZMHpdxKS
WClf1njcuHZ0M3wmoFFtsVwtYGzbw7rpgDCPYxCDVScDmY1/KkvnWLelt+m6pQmxwZ/p5GzgvGo3
4PRfg1Qttl0onoXpfJBdZ481kcsf8emuxVStSf+9y9q7eob49rXKWeOieGieehjcnbLBfnUmrNuY
sL9B07lBDDWfz6Z+K5P4y3O7Ry8opPEkAz5um26SW04gm+ZYOa3wn2GVh/WO+dNfpUJEaxk3H7jv
wSoV2bex0G3SOYLz2HebcebUX0Jjk9f5azBZOhWMFpElZQ1Hs7YPYWe/jiNxjMy08zU77A+Nkefu
uNZP48LAMMj+2Bp7WFPJM901PQ9A+yeq0odHQGMj2WFgLY3w8YdnaE/x1QJesYSCvzCwYgzPp3+l
lge8dGhlmwSO+Dzez1L+rcv56EUeU05aE4O2SQkkuXuQWfdNU8iHV0l9Xck4vDATGOx0hjenNP/4
dR5wyG8ysdCwBUp+gh3acO0n3+jNfYRqw2yJvXoq0jhQTvOpMMJRua2OiYW6649kaZRV27ilzWs5
tKeZ7X1gDfYDnMBPQbdfjTfBhImIjLImn5HTRGfQ92dapyJtUZq5uvbW+GZ23cOlHy7gpyhOTQat
I1UhDfFyOEXSfmkZC7ES/m2qRaj3Kp7pju+haFAEIXAThBi4i4jOvLaz/dXhGCY7QIYQGeutSZpp
zRNNlifrv6VvPSunPzXE3Pm2D28uqb/J6l4TM/qbCJJX2SCvtK5fuHhg2ifPP+UlLOiq5A6II5rp
DI7y/BH5cIyUyxe/tDl8rO6T3TADD2XeM60Dq4734M6xcPj1Fd9dd8k2dv5nU6F+iHhEAexJpzdW
9V5MUJLTGbkrHDSmzuzNcmggKSv909T1t5F6s1XctScCaIthAcugiX1o4DUdzAlmtEEkzT73O3+D
2HnDj/ZiN/OR8Py5N0cJ3ZCMg1vVnHtN95anikMsq6/MSc9p5KOaZYV4YptSBKBdTvj0gBCVzSdl
39D100eDk5I6YmqD2bHve1nf4ooflUseBvuxPCWRuviJ/UwqEn2ckDg8FeduGLzO0pGny+16b234
YmJfyGjW1+VHnOCjYyJ5zvP0Vde1m9HXy2ao39UWCROrg+uQ6ZzqXQ9p0u6/iGbe6VWiiyfRv1Pf
3Em+RXS+9LCL0ycac95pVLp3uN9WdRiNa9dKbsowrlJPtl0XZ3t89heRcSjHiccDNXFcxaJ6mWjT
jr3mhSjaeqaGicVpjEEA+MpgwHJytXAXgW7CY0ItJ7slPPPNiQvv1bQqbEkm0QlZ15veU7SJ8jRt
PM9OacbiTZDWny4AplZXdwb7a5/0D50S7zOkjj9DX6MBlvj2S/pvVcWvShWlxhTGNo2qpBXlbEej
jekIs5GQPJWRera9kCsfHlBQ8o84RrDv8c/0prtyUVnWLWUSBMRYS2SoNlRvcRgBThvZfgV06/zk
ZpvuJ9/gq6TAghau8Vlk8wut7Jz1Ghf81pN3lPhiHVUtFq2Q/nJPb5+bxINcxKUo8ShuM2agK3XX
vrVOSj0zi5I4j7NL16GG5Zb1CtKPUHRsP9ld8qdvmZYapnPumIN2aCMRX9qIC7NN8mfby56EYHeP
upkhIZ8U/1/yx4umv10iLppvnkcKuYg3xrd5mmx8nCbOcSUPGKo+U3D2QdqhsvUR7eVp77BKkfKs
zwqzpqq+ZILBlUgLUVNUji2Vhy3OvDqj/DKkW1IkWaCmzAooHnnqUu9s190ZOvc7oAtOu74seRPx
8Wpq4qRg03yGJgYHN/6/bhozvQanKCiMCUgNyJZAAVvq6awmJR6DfYUF9H9B7mSZf23D8gmGjvpB
T9DrHA/UNBbU56IHnAdmcsTpVIr1XOvjDhzD1yJqmEa9ZRiwbsRYPFa24ytU/mZV6BTiJUt2I8EP
gXjCfqwq4+/STZ4rFf/M8zjcxRB99QNPH6mWU0aPNEKyCbVVYtQciT54fkLzCArUyhCjs44b29sP
VRn4XsqNKsOMM9F1SsZ8VzTmY/Kh3zjj+IBYwtUqgZ8Bx2WdRTp94BXLCj2FItRML+aSFUo6/9U2
u1d8hL+LFX3vW2NLhBI6eV9DugKUe+wThUZV6/8SE6QWcsG0ccLirXOnJSz0aeLhDrB/vju58Ven
h48ieYw1U8X+s0R1t1s6y0ad/4Rfym7BQnY59nhefyv4+c/WyMxRurl97vT2x2JhceKOjttfskyP
Pe+5mNUft4ovskgpuNLD4a/BP7uKY8Zb1G1Kb2b9o6Ls5cXxMhKlxM6oZU7WhD8W/7/d/oIAOmMS
7leJHn7xFXiU7aLf1QDv0sp9ZLRB1TqKRmqqU+rMwxvD3DXp0LPVfONyN2FzoeWkw5xD2cgBMsR7
XVruLRnG8NSjrzynTl2cyJoDnqIdFUpOS+9Z5KAg5C5EDIJz5nVAUfmNs376C5u03WTE9LHb2RQ+
EPBdzwQK2H/7tBrSlH7TE+n92kxKBE+zGmscXtCJn8PqI+Bw+NxXJOTcj1HV4jL3RBM4xgr0JtZL
G5NyjYBqp6vDaunSYfp88gxetCnMh5UwuHMAbKG6j8U8aeGv2vKXppiWxXPheLs5FMZaQm7Z2KKj
aSohtuAl0WvvciuoRDqfEbXDIDKRayvOFps5ib4HmxnZM1YUy9Gog0UWxo0BNTlCiQbgbV6hYn02
sfWvA5HhgRCEFTPUW0yxX3gHnfUkeasJKa7ENIMmZ41J+ceF4noGGE/HUB2xeOirlo29632yAspO
oAHwFWmttcSqE/2s68UGkBDuRdvdjT5oc/YUL11Nb1o8G9RCtfu6ql8wsgyrzPatMyoNtU+UzORU
gffzboCo8q+ORqAdFBtgJskewknf9bFPnoDwfznG+D7J4m9HOTcp3NrZC5HVKGM1eYWMLmZH/Skr
+zQ3Hbd9500l9FFDcufdZ+sbtjftLs/1byLmt56l0NrwMDeQ5v4hrLsnXCivEMP4A8X2Nuv4KwmD
C0hFvabV1K9KumIzhM5ra7Fe4DbbHUaLxX9SMdD79Iwttvm97WVfjWPcjZldNH+9b9np8sZ/eGbJ
h9xDCHOlPPOJSrb8CNu7eaHZzDe3mpFTjtFUtQyaRZE2AMOg8NuQAYVZw1EZ6U9U83+cncly5EiW
ZX8lJdcJKSgUCgVaumphsxnnmfQNxOnuxDzP+Po+iN6E0ymkRIVkbmJwmMEAVX3v3XtuvkA1up0y
NGRJUJx5gmBdZ9NtY4qfmKkw4YECZitLX3C+O3eSt2FtoUOo8A+tyrEN9q3pnGj+N501pgcGTVhO
OXNgDcVVPHjks+dwmiqkQs03z9FpxdJgsAbjcNpk3ohcVCqrJ7YiK3bDXL2BhCLuQ997ubwxAYNs
UI5vhppUvJpotryqaZYFfsaWHdagKLHKsVg2qzYaz5D+XhbwxJvSStYQLAyvntdJbQVvMK3sB8ur
aWaFBPpclwRZqk2a1uDQKuX0q6Gk8Mry9k5CiQbSs3P0dGYTFLAmxuqnM8rHvFykP4AKGOjzYIOv
jVbDONJ2sk2p3K0b2pCwY5reEzminNd1KLNzjsigXWncBXSoY3fL5Njb0KyYzysw/MdWmTZtSlfD
GrAgpyo4qK2JjLnJ+GCF798xcTv3puxypsaeu/wKMdktC+IxQDhP9y9z9zJBS4Cl0lSkq5aWi/W7
DPYmMaHnJPJVGwQZ4yakeNmKLHghJZpWYURORz9fKoSkGF3IDy9Hl0dTM6wzqgS9FqrBPDaIcEnq
b4yXLzKNqCRCkX0IfJ76FhPXTmXimFWsnqH3RjYsxMz6zHPLQ2OC9y00Arsk0O7OiSp1zG10HbFk
8xgDfzOjM6YuJbS26MYSaY51PicseWEJdcwpaxa1Fowk5ohqnZSzce7X1l2WNruudH/aUCZ10Xzr
vAErICrjdTcNPyfFSSIvIYIRlZURamp27akr+qMmkmjtJdb0WKX6za8nLIxW+IQB8FxqDAIGizY5
hQFiQ1xFyM/f5i79ITtm5Smd3MWYh6UIk+UKAYZ3KFtRvTgmVFu0Jsiatrmomb4zyCTwwOhswlBo
9CKxsOt8eMk6v9CoKxfFGqUmgIPW9pD2R6jUvtuFs9j2WpGMW3BQLWFenkhvSXlUQFy0mi+qsOrj
jYiL7mlyF0vRRPBSxKwzivPbLs6GQzmXwJ260YmfM4Wz9dRUAVt0G8dh8dBMut+ykhghCWcOoosW
rFW8M8yxO/lx1FwMFM0A4LuHORzPAWA8MMfeobqnck3EE8njmH96/4UgTkLhHKqezsr3iDO+I0y9
xl5xoGV+QdDu+MJskzOB75QcQd37FM89BQDqQxtMqpdPZ21o+7u2iHlco/x7gikIdooJBQIm2nlE
VfMcE0x2wHwcrrEu9SDsILpz49wTLJHyZLO+w9skmhRRXzDhUguL4UfPysgONTPJcFOaggVNebQV
Vel6G3JAw/vZteuzVBG5vS4SojoRVxvzNoXF8TAYbnoDiZHhCAnL44WLtPMut4BCHbqsz+4JUIJh
TTzSCznC9pXlVskjgjNa/zqY03En0WP8Yss1x104CO3Sx0iTaz9kdMfu6pNrAYOIhuUwYllpIfKY
duSxK/dEnsYxLRVTyqk+EKVUZ48u1Yu/ltKodznN+nFDljCNRC3xwLdVTa1XKVUKhIMViXKsnf0O
yqMBUKtxwBC0/SYsqfpjNy+e3MAxDik4vh9mXFRndp0B6mHuX5yXxOptqxJP0hJYl9x1s2cFa4yU
w88MYb6LaMFtT2g+UYfzcO5r4DBbF/vSSaF6e4mKIEtWvpvVw8a25hZ6Fm9tcsexeNRbf5gpMuxF
cFmRhXZTpmUExDA3YyKePd5nEnBa1NqN4lBBa3p4pk+eXmUNOg8dSH1pG1b3miIFu/ZHuuRBkyHw
kUvQIH6X/BsI0mSD0pofzQWwauCtfIA8EeyZyLOO+BEtw6JJ9h4IrD2YaufeNMNwy4ituJt1GO1n
VDrHmLjfE9CM4aDCyn4JbAK6mJfOdPKYP9QoGLo28dbY6iNA0vDZXiwalne4G1g2K0xZa3wX3c1o
9f0GYBANBdsrKotkWodNN2hlyjEU9rs8VVOjRhDFjdq6kdLdZs7IFYWSVQavAgHuiV+tlrsY2tHt
GOEOGhmb2Ouyt0Nm7BBUOAHKbLrw+zDkyeeg8ENLe/Y2vamzI+GV5TVSXH/n4cXnPDR2l22gnG9p
3ZGSWdjWoa9grLVGAUqyNVzy2no7WuxXhMBZKtL0TYAr0T8NjiN4wAPC6flaZjOEjjYe3KvatPoD
4ZrhBZzF9nvadtN3PJbdAz9JdI3+j75SEdmIxhKnxQUXqYDUTMLGnAtyWAG00Rl2SToFQxRvyB+I
rskXSQ8QHqA14CwwxwvyEJNwW2PUunGzpP8GHlOhOQzxrG3o3HBKpyPTJ4x14/FeTYlIbmTNAPGi
ksRxYiKlNaaMH3EFuc6onOuEdgCtI97F0lVnKudMZ/vIG9ps2DM3d49WYf9CUAVonlllISAAVGKJ
ExxYTa3xMoDswKiJg3U6JbfwNdAUucepTn4mbbHPRACxVap1ZASXtcvRKPDDbG1U9n0EqgbZtPyu
PPelUIDxPS1OAjDI2gChAygseTUwua2aFnY1XTOGSLqaya5AA0FGkr0BCmqcWLzo/3nuRT940zEk
VYZ6i+UkdjL+fCYK+ZrMrhtZ+BM1tYwHaNi1Qxs4GkukUOLcCpqGKDjImZFh9Cd30vDHOp4CkGhE
qF6lsnzlhMDhCPwVdZUJXN7fxcEQYHrrna1nGteF0PZjmAYPAUSBsGLcVlXqvmCYs1HKeIC4c2MO
jrEWFuc0KGioCmq9Hn3pHEPHI+2zBD6nZI4Hri1RnyPKZIAAwk/L4L4ZzGrDvjkcpBuCmFxyTnuo
KHqcphU7HPExaXBbeiXNuImpASufhGHKibmJFAA2sMbMuhoiUvVw1pjWeOjMIAQRZlrbBEMTshgO
NBn7bGGw3/VWeOM4pFymoJdC7b4t9nXcNiT4NolNO4kBgGU18sxxK7RZFg5JMD2Tt6Z1XO273HxU
LjAU7CLnXQNuCJHL7V90EpdzTRQ5LyDVabqQiYkYKSMmg+N/adJwizsb6D3RTtUCMMGgcscs8wfO
FcUcFex9ZZLKUsfkWgHERU6jUiIm/e4UhuqBk/5byoTjFPDarqFdfG9z6oaxTX522Nw5dLs3mrQi
3l1Obyod7FW3cO5134U7Jkkgo/z6YSKvfW0XzVuvjJ0HfHZl5UxZPQ5tWzUgAgsS8a2DYkhRkBQH
6LfDNqgX762BmMZX3lvSBhdUroQut9WNlTv9WmmX6V/kkhc4Y01E+fbsOqxcJYnM2zLLf7qhSaVR
jjl/QA0qX7vzoQOf1dAZtCU6ZZnbb92YwGyBDzy77a0XBc+eDq7BlHVsm8QSBhbuLEGW11pP1rSR
ZX9WpsGbVYhwU1XVcTnTO9gv8ZnyIJeGeki8+qGNvTMdZ8+9OZ7Vqt6NwfQaI1FA90eBMecog3Mj
pvjK5nXVIFN0SZrBFxbAYlUmA0OKnNjGc5fGLaQJlgBHRTdOz42ibQoQJCTBQRPZCzB++GF20VVh
1jd55ZJMFuXnyRjt494od3E/fEubJXJVhUtCe/PYJMaPRsS/6PIS3WRgXVJ6JL5qcn2Y78GZhBXb
eLE62YzKqaHnK7qnqB/YTsYALEHtiEsV02Ppp/4xbYZdQ7DFjEKaXJVmJwwwbCa4hnXRCvDaiXeA
iMuwsExf0sZ/9qP8dTmbczp6MFT4LEkC2Dhh+WCW5itmxuexss6tjGU1NEAmCpF9H73pPhsJpXS8
R+YZwaYLYTcQ6uUhb6h3dS9PNZpCAubPBAlKxtzu8hK8EeTNC4sKeUfSZ8XwMHjhfh1CEsFXpV1H
W1do8GCqO0vtAWNOVRxtvF+gv+LV2IlDzMiyzMSrHlHI1Is3nsBtDnMgr1ay6s+zZWriZOpsRCy3
AbejVhblIlLvXV2MFwgIaQLAGN8ohsVrt4esWjYhxNiJ3iWJn5w4UJG2at+leblVvDesPMjZiOYx
jorWvpG1xgqcDa4kOgo3zKu/k2oYb0JmZ1gvgB7UZrVNZHNt2kQh5HXKkKR+kEb34GLSwk5hsz9U
KIvshPqKjCCOpq5lb0kmO5V93dPmGeot7FLWh8yyz3wEnrjz6qu4i2xgbtSPSqJI6HRV76COvdES
J32gs86Y4qgVL9hdFkb9BZamfVv1lzT3HuIRHaiVtHduYoB0MnivAxxpAK3epmRpppiNZnbKERRQ
ad7D93E1KR4R9gpJ9br3gvoXR554lVTxo7uIHXpugFeUx5px504W1WFxVxyp1KOT1cWk9SEtkGlz
QaOfQayM7iJwJTghM5oEE3Np31hXangKAxY33IgvZm0Zv2TsnsjZ6e+irOrPAgcHm1dkPxN81PxL
qabpX95QJzy6WAG3tuUkm5xIzxVUj2iDOhxxinHmli4zwAjcgePtWpNkoYI9FLrLIk5kYF8m2Z1Z
Isx1I3FZR02x8rrxBzNuaup5RHfXEn4AXqEomak1GpvXHLzZTnW5BEruKwPJjWvOaB94qUXV3UGE
Z/gLdEBKoFb0L85UZd4VLmeUrmdU4I9w3Cuj3U15dpdF4tvou0eZ0UWZuvSRDLj5UfhusxZqegpz
izS+eELsSNxW0NVvPj0T37YaMmsgfQ0zS29vEtsLWADtwVRemspbj3RS2F8Ex5JZ0uiHCbyzivgi
ccIftN8PU5mnazednpMwgKZCbRCxt2aS6YJAhA4bwAGxqU64FBAt59yFVGY7eHOgTt3B2HWiavlD
sjPFHP0lSYtdUHh4KwZ1Bq0QMCctyDh2khNs+m0t0S6LIa6x+dZ6q0Pzjf+LtSa4ncqFuxL1MeIM
Bqh+nT6QZ39tIOoaFgSV5G8qFxVlPdc3Rjzdiai5wmtE+nE8BdjcwjMvcs7JwX3pMxNpcTvx0EQ/
Ai3uylhBpUita2Tve5C1+dIfDjY02s9sHaNb1D9H4gQBPCI+E6ZgD6/IUCB95lAqFNJibhR+/tEh
jpjdDwkoBj/QQ8ZknSNNKbc4oB8sCnDojDG2gBFIMsvHpi/MjR2xV8AqY9Uu9NIes94IZeU4Evuo
q0t/VTNxXHzeyVMiuq2KzEWeVJz3GBoiRJKLb+aQtXAWAuAo4MJ7JARkoQA74FFJ16ZTPrimBwAr
7vMNaX3Erw7e68DDFmXo0lBsKhRome7VGuvcZWYT16CzPN41TOMpWOpdOvhXpdScV2I8OXUkzjHS
3QG345PUk7nhdPw4WMMvCKnjqgnJi0Z7fiKn42TkdXgMgv5OGc4+tD2UbWVxSf25pC+kgFU0luCh
IjqAfZ/ddk+bHqOB2V72YcsUNlZvs/ZOKLFY2CGWHZ0CJAn50bcZNlgSGkdSJGNj2Pop/aTMol71
TQBbASPCDvRikyQ7g0ER5XMDH8r8nvccaVUWXuHwfmmM4nJ0vKdGNcTCYP/MK2svnPIChUC29dho
p0rREi7bU40eZD0U9uvQjt91VOxhAWDONI1zzK1vGOBu+yl8RCh7BdHtxS7r7yjSeQVSp2aSlhFT
YFkHhlRbRry8+yb+eneev4cVxypan9/NZsGgRIgG2CS+Bc2wh4FODpKfXGaYKhCF6u9kL9yDnOKM
Ar3eSslxcbhR2kzNdTmJjn4gMPCpCeF5zelRNApdmvqVpfYlsRoGDep4I4fuZxkzXY+W9deN7ikL
L2mRv4bthPQ9FtYmTr1lquRc18wM4KzEV0DO6b+mvb9RFlLN3ivuu3AEgEfWDNq46QQAHiPuWKu1
qq0TemnGlp7q8bwuB9UmvCh0FgPj4F5gJt/LsoAuruEW9tamEFiFky46ywPvtik1lEh6L2PoPk9W
pZY21nHy68WQp9eRHV/4hndjzdO8GEXulFffh0Z0QlyZ78oySugsi9ha1QAlaPpm81nWJdg9Mlpy
RZy/In6DFRgSLqOaHJ0novM4FFc+8o5VRNoAhojmAXVuxtSH02IfJRc2nPy0ZL3IqXeYrdc3BFdi
wi9xtVohlYqKHgKAVpBfRh73Bc0ZaoqqQGJTh7RZq+Z+5GZs6rii/9IW03ma549xVl9HkLQ3gysA
jJso7GP3UHlgPTMfu+WcVL8wQ/1kF0Z/k5vfwqKmuGMkBknYfprg/29q2/cxkfNr2jFPv5qQf+iw
lgfmRxiDTIG6xaY2dI3cOzT8Fyt0avhhdTZsmESPK9dRdyYzk8fet5hG4rukYVrwBxU/Ok5vCK9N
2olWofdtneYbe8xQBgQ3koJvbRbjSQ4twc8ud5h7hrCmTBFJCRSJQ/GAi9De5lI/Rn3/cxxAopKc
9tqVkFybwdvaM0k2qWUhRQTm2ykiTHLjSirvRmE33SamTcM9zX5NsWPRzqrb+SlAv3pmFRRFTEHa
tmRst+gy6EU1Z82s9TelzXwX50ICvUG6z0gxYMQBBAlriJf5mjI3cvEmyzobxDqKK30Rk5Fylo1Q
L2iumbhEYEpaBF06VL3rqegxPBQGf8CqC8rEenY9YlOYSrUJnbPJos/npI7Y9F3su/AucmLCgXkW
P9mC24ukNzhc064iwWcMlJT0Osz0Fy0fqnxEw4uNzB2WrEXXOmSkqNF2KxtDM7waIIqYMXzTXdhK
6e2CufTwjqDbB4JZxXStAuUFp7nlbL21SAI/J9F08KGTteTbImbzw12O1QJwG3LGbyAC8u9OYSH4
K8uBTCOAYoTYQbd7KE0kBBLuSImqFK7HuiwD77vWvnfW8ngH6wwI2IWiv9GsieGimA79An24C5nl
25yQ+7sy6CA8tBilb7k6qAXiRK9c4SW/As6TKPK85szFRE5yQKoW8zjkdCRN+WAktOpdjrAkuTjx
Ocnc9VupB0zJNVV/dqpsZT+ADQguM0nSMabZECm5oPGGDFcHDMXpkz13pcWLwfPpgT42Q2blLFLz
WdxqAiAxpdM3mjm1PtNpxswVWazy7qiz6EG00oARlkgCe9M+hnQzSmjlJDbQsRzjkjoYGoD81gdg
AohGp9O66Mlv60wtxjLWoh1eXEJwEbQzkovxD4k2tR67rgu81cybdkYCuNhNRlW91i5rEeNrymlr
aJznWXjeDw9j9DVKnA5zi+jV+KLsjJjMOnbpJTf5JA/aEJE+tI7D1CTzZIkJwTBjAirymDq/TKv2
m5fR8W7oe65LjgbbzHT1lV+HRriPCBG5c7LRvU7dUA2rmWADympQlLObU2w0TKFhiTIKuK3cHhIW
ula1NJkQVazgpJFRYSPGveE3UdQ0PLUnJEHM93NdUn7iQwzbeydQmYdEImmddd8FVbwl0ZUSvQ0I
Ti1GWk4husgtyKj4YLhWnm6zcUrCfSdSNlQ6v/rRjbr0l6tHJFVNpmP+mSlTRCA5fL+VEdGrP6PT
IJ6JarDG74Q2cKKn4yerPTAZErfpEOp4D3U/NFnWSQhbibI15dqHAtOwAupWrq1c5S3ZkEJHq47U
7u9urI3X1kBSuqUngxW6GBvWUCOskOBXierOswKtpYLSufezkr6YtqfAP411yMrQ+36z98s5eTI4
uJwnA7w2imK8loglSrQ6AbkMdkOBjxI9hSuUTmSoEjGbkXxg5cZ6GaTssn6YTjPUkWDj9i2gqr8S
TluJDhQnud5WdWNsQ0s2h0j2rrWldprJArMJhPShKoJDrJ4YDjc4SOjKUWEG873l4YmCEZR5azKl
RzQxwkFNS7cFbfYIdoR3p3ArRoWaThTiEzffBI3uxHGcwbqhgiBFE30hbmWYu6hVYPd2VkliggzK
jag7cTnNrXjjIAF/oclcwz7NBHnhFoYnghbfRfOckWR6DTwZ1Dme4bTf9n0LipcccFL/nKx70pgN
diWsptNfQV0uvfWHmPQW/0KaUz+Q+m4l5zpCvrppHJeFcpZ88sKYypph7UzSL9KF5maQKiD3IxYo
IxR63G2UQWi6dCHPZSvscRlowa69ILQduRBqgW9mCXt6ZIq8SMcbf5dmDEUxKfMjrLtOLWtDnDDK
dEoaCSIe5m6fhYRGD2ghMkrVicPwALTDvjDqrptRv3qpd/0ffjySPq0gPDkcSJdASa/5mU31YKxR
o45Pdoty7D9kzIcxQ7zgVHf4NIYcFbzlk0GR5RMk+ND5bvTdOZ0QE+uLAb0m5rE0msjeh2l7jA36
lHWsrQeyC5c8Rzs6Q1uozi0rthhklrVhow9Jm2esYnoXgl/YRVWPJh3o2mNdFUijfKgGB9JMo9fI
Dqn4es+ID3ZZoCPNjIIi16NNcl2PFj97RMrd5X9ET+vR6kVxxCvTBmgbYG8SdjGnd20ft92qbiqg
OhbvZEXnGKuMzkwp1k7vdP3jv//1X//zf3+M/yf4VVwXKYT7/F95l10XUd42//1v/e9/lf//7x5/
/ve/4c85kr2e/3lCSJdeDv/8x/fbKA/4l8V/6q5v8EoY7hG4LbMFMFCbLu9D8CZS3OXQqDZjzwP/
+UXVRxe1qPAJ5YN8aFm/X5TGjB+qcPSO4RQFIbLekXJP+gVuT6Tsndp/fjn7z8t5ji0QEJqIJbVY
/vnfvmNa2UxG0sg5zli1YZaWfvPikVz5xbdyPriM5/FtHGmyFXvy98tUYuyNGeEv0dkKJIktbjuW
mCcX/s82ro347PNvJcw/rmeb/GyObbq2NCl9f7/e4Iy6M0iCJc+vJVNCEQo0tsN47PMmBVgl/LNu
if8DWlXsLbXIguvluPr5p3A/+BCc721hoTB3lHz3/Cg/JaKmNYOTj9k8RCOaJs9tMstXnXV1Rgcn
rdJNKwq2l3QUVr7555eXlnJsyW10PPXunhdeAnqZsImTkw/RLZt1a1HmjBScihFHzVa5ID77kwMg
4/j5pf98qmxToXH568qaH+H3209hNIeZkXH7SS6ZcXzJmQBcAI7e9vMLieWH/P0d5UpoHQUdBcbl
9rsfOrayGhu7ZRxH6hok5zrBYpFhDXnywOxdsiFppkGNW+Gj7wKGlZ09iWmLPNWhPzI5+Rcf6KPf
XGmWDs8TwBberxlkHJFNlETBqS+MmwqO5abEmX7Ax/g6+9La6Lq0bvOeoJPPb8Sfywb3gZaT7XFR
cgnePWuSWtI3kbsdK88srzB4z+dOlAS3jJziu39+KceESiM0OBb5/l2mt8CvafBchTJh0xJ+e117
FkLZyhNfvMcf3U3HspWWyuarOd7vz1E1eW0ctSo4NYYsbbpXAhg+0uOSDLhljgGtJdVMIDHaI47D
Y/T5N/3gMZbCMSU+FvR76v0bNJgSUUfVBSeUVUujH1xavCdd05Drzy/04fd0lsfXMgGWvr9Qn/h9
pdCQMTrQDY6IPEISTYNFmgWGNrv8UZlTtm5K6R4+v/Cf6zKXtFmYTe3a2pPLB/vb8t8VUzcVg+Ef
fTS8J4Cg7RM/qj5rBb2Vgjf2+fPrib9egHcvrLBpvWrPEso0xbsrDlnt8U9b/5hH8WTttE3VuJl8
vAdMv9oEbSVRHI8R5TrpuxbW6zVGM46hsO2XZBY6DbDoSMbqVw2uRMwiEv/QBqIsQSiKnLyfRaeu
EkY7F4my2nLN6oryb0R4v4qlgpfT01YJV2M9uNeQSTDVVXH0aAyVCDlR18ihwQQRhFpFgrovi+oE
uDL3BTmEWYlN4WTOlfKpUzb037znZbt7MCk03eXkxFEuqJweWAQBsON54KQm8UM4fye4RhgXQEzn
W7PMIgwAae49pYgjr7VNEEIVj2iyZsgpzkoUAxElExPxZh2qtjvQe6DsbfFCvqSQN+/w22GVc2tD
0GOMbPMF4JAyjl2VQBTBttDcgG5Gsh9aNgQdixit5NmlT+FvBpubCRklmm/dOqfop+VQoqDIZmas
VFCKKC+jga1uW8wX1lnftt2mRTJwM6CSPZh1Mv4gxtm+0KifAppSDkAi6I497lj+JO+gMjzGWyMv
YP1VeU9Jl7MRz8Q9BND1rWH8ZlpzdBMbXowWrCCBYd1Oqr9PQqMmZSqgSZSBBr9LmULXxwhYNshd
K1P3PglRhyxp3CsKJgQusEsZMCec4X/6OBSxD9D3Jy2TghytBPE7d7pmDIO2vPRuke4D4S4yAPX3
kIGgoLgRwYjrgXHhK/14bvrnz/my3L5/yrUNlGDZBwR6kHfvFY0NJp1JdJpLP96AIwkJ2m6Yhdb2
vNWED21nHenT5xf9YA9g+eCBo4VmWrzNv180dM2ij2w3AtliKH/ttNlI29bW+rsKW/I4P7/aB1+R
q2n00krRXLXerc2TaboWuLMIx7eDKdsIm4H2ykQFU/RJg6vAbQCpyaT/Ygn56LrC4TzucWVmu+++
5URALyLqJD6FJWUmNhF8wNSx5cGrkxJ7vUGM49Yh7vOL49QHSyXdWq2oUF2puMu/390hmusE4mh4
0jFCrHHIVAq1HgvT2ouBJ9I+mOO3z2/xR8dYS1qUHo7iAKfMZYP62/KsAL6aHWmIp1LF+Tp0c1Qw
Ocf02p5gZ7cJ3WykI5ugJgEsBqnItKft7z7/EB89VdLmHGmyBbt/7sFGgE8fDeMJeEt9UCWoSnza
0TIUM754pJZH5t1bY0lHCrx77A9CvzvEWEnIE1VV0YlQlNw+pAZnzHOedn2uzCx7AJvTPLtiYHqe
zy5w/6Ly0i9Orh89XZzcPLBiFmfK9+eoyHb6IkaedmrtuofR4d7HFgZ4DAOvFmK3Q0kUzhenjGXH
e/+tPcEc1kZQt2zCv//IWix8BknUhGic8CjRoqxio/8Bw4no6HSB0RRkW0nbN7+48Ae/LNsTD5ej
XRYr690iFfk1WqeI+kQ1qPJh3E7PgZX3a3dw+5vPH6IPXh6Jq9dmOzddjhvvFovU7/syAHxxoghZ
/BeMC4ucM3lUOE+ypB/5+eU+OrhxvLD+OgzbVGC/31KEc5MTp5zCJY6CCb18zEpYhS7ums8v9MET
y+mQd0NR5XjKfncLHVu5cy0oP3RAF4VO8RJeGsTn2eS+Tr0jyYnV0TYfIcvUeRF98b58dFctBLOm
JwlUQon2+9ckhIZ7KGE+IUbSx9JysTYU0n0a4QLu7cyIsn/+dW0lOJ8Kj+6EZy4f6G/rEfOfZu4K
Rx2DuEbRjn0XkRqMTkiPeuq7NwirbXgwyfwoTkGcufCS07ruLz6/6R98baUIO3Px1LBOvL/pqvB0
5YiKmk/3P2jXwiHrcEEb5NKfWRR1+88v98FroviLqso0LVC7755d1ZvC7ObSOBqpIS+GwSxOSViG
d5J8tN3nl/pgKeBKLr+Zpx1hv68el4RmmXDCO0boT5+GBhWDJATorKEC3iyirZe2wLFmMnP94pf9
8Etqi9rDpQnE5vr7L9tMke7kPBvHknjgQz/EYktwoLnJqZS3/4sviR7ZldQANIXevTOxyhSphJNx
dBRW56z35ou6aptN3cbWsfIbCEalTds+xuj/+ZU/+pJaCTYyJQQ/5rsrSxlFvdUu+WqDO5zgQLRr
4Nikcuuuu/38Un81zn5f1UHV2ZTJLOwuTZh3S9CIlE/kZs5hDPP07OTttoTaZZgzG2lib33XuCCd
/a52krMuck5ApruNGfRYAbEjhPLqi4+zbCLvP85S5VGuu473x6mpLKfASsnQPhmGvB1d5lCete3w
lyUN6bQa1Q8AOhIj8mY/4WfFHaKgVAT101zED/+bz8KPLzxWTuHodxseMgRy3MKMKToIt30TZbeg
I9J1ZArsuLB5Heom8hDzZNWMBmpBRLBzrZ5btGx5PH6xhgrrzztDBSz4y6RT5lnLO/m3NY0AQr55
OoanpBKL/hs9GsI/D+RrYEgv2tNc6m/6idhdjYJvBV0+fpCaQgbdo/1SEGyWfvWRlmfj3Y/F0Za6
DAoJvdL3jUPLmwNLCY5cKk7nn/ZYR892MAbAcSbMQr5Y9BTTICGLBcKQl0nfq29kiyT40Pwm+WLr
/ugG2QjO6COyoQphv9tlDCxnqK4b41j4FZavOv2G8AhudeucYf9wLx1856SKV8a9r/vmoogHhYBB
QWc0oMV9/uyoP9d+9lQtJT8Xi9QfBwmOwJ3VKc4stM+Tq2CQ42tAB/9J5iR+7G0y1RFWzLkcdjUG
O2ragtPB4mKHg5QlkpKB4JqesYtI8EmTyOReqtyzf2DxSW9bjkSAI8JOIPXXYgQQl8ZVs8HgwUgr
MZzsVSTJXJ7XCFZbmramLyjkjOSR9lSISSTucJWrQJer3oZXv2180tWxcOX+RZ/O8pEM2ABsezNS
31fTyGNucOK6J6A0uiR8ZpRkwmjxoxRAh5AkwOxCYlTR5aiCnqEUNSvwNCMDPrcKEAISYx0gUoL9
ZpD+JEeXAJmEl5xpMLKsjJAzi3BH1TPkXJUBeSGWiVnqi53jo5WONZUunRAsdn/02nsCisIWyRDq
AGR+ZBSS1GVgLejWQEM2I25Rf3k+KduwQ6PxdrQJ7IC2MPle97rxvjj7WX8e4ZmeSNQmf5VNyn23
ylNOkd4GjPWEW4J3owEJgX0ZG02ZigvPqEbAPemlg/2YUKJsrSAe+351MIjwXZWOc96m0W3f+xgo
TbV4EtrzOh32ZDsLprUAMoMUzSw00UNvFyEDYNT5miQ2O3j8/FkXHzzrvHeaFWA5Ntvv18mJsUGK
44r2I9qVNJdngW0xZizFLuMt2EZwbEJVveBs6dYubbzrqraPAaU6kBYMSFhlohiGvSQ574tP9uf5
2lFEzrmOC2NGsoj/vmYy2NClY5U+SWGJxf5pd0aDEQEfynNY8p+sfGnjlUSsERQ7txxA0rWO1yGI
Tqe7FhknQay8jcaKFCMyFh2zYnD9+Wf84yjFMYYNz5Fq6YfzPPz+ERePdUzYtXPMUbceZKUecQuf
N4LAw8zyvjF3JLwPmNAXR4w/Hj6NL85emtUcUakJ3t2ZtlQBsLFOHstG1+BRyJispHPrx+FwEjHq
JUFj/Z8eUDWVqstcXXOAo2H97pozcAvyumzr2OXQ5sMWIwHYn/SmDcWX54g/Bmtci2aAZCfgUkxc
fr+tgAj9uikD89iZPfFb9ujdxS0choBFGVEWfMoMfdxWjG64cczIO/Rtmf3TPhefgVJLoTTHuPPH
ezF2gLvYFM2jFzYdM+awOVH7YJPyPWP7+VP0x4POpTS9f9pprCl/NH3KaJLKCMUSleIhALL60QBh
mTgq+2rP/+DGeibvueWysUla5L/fWH9MMwNTiH0cF73m4EOBS8XsgAcA1UFCHA01YidWGPDAPRJ6
QMLqV/PKP9YbLXhql4YT1Q5/2LuN3otM5FReoY5WFNH7pbhbNSUOhaKTw56iwf7iZPH/KDuP5biR
LYh+ESJQhYLbdqMN6ClSJMUNgpSB9x5fPwezGjUZ7JjNi4knzVTDlbk38+R6SX9tc9bx2OEoZbhs
yU+LpInmgGiOB9PPCy0lzHwpsitBVPMzUhvj99cP8pPvkpwK2nKKzR5nj5NvBAKaGSdWyfzYhGl8
iMo1b6wXGL448Fj4uAeK6cSyhfiyvh754ysk2VgKJnGHcuWHq7RMB6Zsahk+JuYJjjK0vX5cxjNT
8sd7ySgm6y+8AZ0ay8n1ufGgxUjelI9yNOlhe5mKsMSiTMkLq83kx9fX9PFNkWv/j9qDsA16OSeT
q7nIntDygllOTekTJnJnWyXIgpx6IP5AW7Ld1+N9nMyZydeT6TomR/6T8UoJTjDUpfTXME1Pz1Zj
/6wUdn31niBy2ula5GLWx/L+9cAfX5u1xk010AbDwpHxZGANV3eNesfw+66Pj3Qu+n0ctjOCjHh6
xRZXX5I81py52k/eGEE9kM4jGgZ6ZSdn8TqeTbBs8FwpYbG70JC8g2hI0FifeWnW/9DfHyD3c1UI
0DPmcCVOro50rTQfaxBCM2hyPYnh2w87YIcbCwyHSaDMZFwggvv/91Ty8gDs5Ku35GmJ1UJh2EmD
+F00aeF2KXLrIq6t6rZjw/0rq1PtOKaauPn6QX7yBv016Prn/znl9emASIOKli/Yl1+4ZkXYFMwJ
GMZdHC3AZoyUWEESjgSYpiyc/K+HP32PWCgRKHCec4SgTvfvVu8/wye96MzCiV0fB8mmx1WAwl4j
UR56IUiRM1uf08d6OtjJPA6s1J5UmLh+bsHJM2No5stFIx7XkVr9LkR3lcTyzFP9ZAJi6UJrwyZk
XSxPXlo1lPUqCVv82UJdv0s4pV3KKSGpogya7u7r2/nJ0zR0iIh8JDpbvNPFUqbxYEV6CQgc2ceO
/J0DJtHmB1wmaw+JwCazZRbPyE37M1f5ycTHtscRbD5sel+nFaSQBZqPcgESMpBLo4uEXqfuEEXZ
EKtjEY5yZjv56Xi8Lw4zEN3y07JcYI3CGWFT+44dLB7N4PnYZnYIygWi6bCAt/v6xn4ynjLk2ubh
A2VhPnmKaTFmRqS3JuEJtfVQNjBJLPym/S6rRvu1nvs2PXOFHxU8NkdHug88RQEfwl5/0n8+DdLi
w3pZeuXXg3IuOkuf96ksiQu0bULakzUJyq3sa9SuOFDxVHuLQrgODMH6/8+W0gIbEjZ6/JLT2TB2
gnjIgGH7mrnahdwcTeth1stQbBYoJsu+ahtVHL6+4ecmhpN5aYSyCUiabzWM+0cJh3IzB2qbuNqx
rxKvc40zt/t0bVnnBlZROvnsNhGlnd7tcBk1oslc356rfpO18BCc6cy+7vSa2MSaHL6YA1z2B/bp
+hVVRVvmda58IkJAmXYVFHuZdbclySMbmZhvMh3G49f38ZPph8aEzr7ZZhPt2icvbl7T+NSkZvgg
hRXhUQCNfuvhVJZbuzV658xd/OQzYbT1aEnf7OP8E9QuMt+R0cIE8uFE5e0eaQdhl3VOLpZe6///
szQlUtR1B7nKNU5mdITSRm+DcfbdpdVuTLxUeFGkcWtRnb+rjNr5/fXd/OwJrosVBVH8+9zSv79J
y4EfWCP/8sMBa2fVWsFFt8z5d5e0cS+aJfTykJiVrwc9fTXXsw97OJ0+KEq2D82PArh3TqNF+Hqv
6Xi5bKa3bT+o8OfX4zBZn66Q/x6zTLYeNI/Z9rgnb0vbuU6KZVGun3oFLgyizXYczBgbdEOE74Sb
r69jDXbPQnjGaKYPdiVir7br2huyET5oL6YLJQb8uDp92XoB/GipAV48klKfNtianCWCrT2T98Lv
6w/TaF3OnaZh+3GgLTWc3krmoK2hk5PCnRnfMCd/SzVzxlKXz1j3dW69kxUkgGup4+dtXPoDGyeP
D470TJHB1u01PMpREn8riSLbzs7S/wJ9098tkiBkJ4EWmNvYSsHH3NmZeC9b7DzosoltdNqE7AIj
xpsONYde81tFPAy2UGxOo6peC73R8d+QqF7KmStqwdaj7rDvknxYHp0pviLpHCvxBMk5osNHLsC1
6jDrFTJBeqJX8FaLovNTVz4R7RBuNTN8WjC875ygia+n3sEGWOD4jyNyOgYnJp1UqDTZOkCrLZWh
TELP4QGfmn9hL3Z2YYKZaAY0ASLcTnw05YvfBYF67ZS2XMwTSd32EnBf8qdCq94TAxZrmZTmLsNp
k6RL+IZjUwNON9XHuOSxukvQ/MqLYrzAgBh9F6M93KZJ8NtOSuI+OkJe6po8hN7WsAfaMqhvhBG3
24A8199prqcv4ZolI2L9pWaVvpyQo130Tm1c5w74eKIefsTNANSkjltcy+Sd1FuK86NXdUW4h7fS
7N0+TsDujb+XSj6VyHduBPPYjjeTJFa8mIUY6j2sT3WlNVXiN51jP2PhD68MK32vtcxBfAnBlCPR
zRIDEJnTIbgopIIaj/6GLKByp1lafDfjNtzj7LnpzfmhbZvMx1R3dMPA9WorHG/hnMtrvD130zxk
EC70Xt/8W1pJsuxnW5ClAmb4UM5ZvQUJ4uyHUIv3NpauCxbhe0572R/0ueJIOHj+AztCeoFpSBDM
seTzfW65xa8Yu6qxilSo0FRHg9Y/8bnuUxeE4iYNxmAfUl24ykfHwhGYEcupGYZ1lEVz0JQYjzwz
eWHE6Yte1PkfPXbuOgJtfpWcbEkMatLjuJijRqrqFIHhGEB8xXLJjyouCZuxXCopgYEPKujqJ2Os
CGtghdy6qnrK+vCZ97i40iwLfMAUNFdljIfOQbu1D41g8F1dvmea+1AHgXERlwGYsLi8y3pzeKiq
PIP/1jyXIb6EIHDfJtusqX0G4ED5jgDrQC2W45qI5xiw38i4/qUV47wpdP4nBfS8iyUfcFg0GIYi
UrwpFVZwL6fmvh615aj34lITNjxAKKj6W0v83LGIUHJhnfgZlDoSmI4nfBmjW7wHbzZd69NcX0RJ
7TxGII529FrxmCIwBDKwxjdXNgQVWyTKa4nS0ej7EdZeB/E18DUgLX3vISd6kpwbLoZQAQ0n6BFz
iZV8QwQETLxeI+3JR3OdDNhj3t0NI1QkRSPVy1X8msculrcc6VVOnMQ+6ao/c0OVtylqjNfqTcjq
tQEJj2fWdr/PBebVWk+mu3YiUAblUUF8WqojnbaP46DRHMlKFyashi1r4B24nfCV3tAcay6hagzX
GQB+pEC8lx62SrhYi0PCUArVJymK6KqWtr3vQ/EbG9TMHcSdbeqr034Y4m/gVF16nwYQGdVoUHaS
MNg3ofPbUX3J0w7hqtEnerEC50cVs43QYxMV46z3h6CPYEpMs/U06lX9qKdm4zUzHZzFUqU3BWLw
gznFbzPlbOGqOqPlYrV2RvKapTwOK8kLnY/+OoOjc5V2qJkvAWJfQtPX9mOgQ/3lKLpNJwdrXIef
dmOPqvOyqbIvidPM7qGml+9AopZveJ8wh1DtAhThRjPNObsAqzwROvqn12VQwbFqiY8JIqOFIdIZ
u4JIgq1QAHrbqYYqgImdzdKqoJ1V2kB5I8ERC5meNtm20axyX9HevsGDY2zRlMOez6ZyNzSZcz/H
wOvmBUw17HBtp3VdDBAgbY/KMGZo83rlOeCurgwDz1litMWW8N9xI1eE7RIHfyqAI1h6gAbnFM1Y
NkzIHiDxHnswn9sqzoAT4r751dfEngRmrNB8xVBAJJ7jfCwxPS0ERq9BX4HjpbD8QYD3+XfORNoW
GOcM47yNLtg+mPTl+sl5IZs2rzeaFRa/CzJLIzzMNeHqTt9fLmxIe/6rk7gqG0vemrLuIKvElvFI
0Gm4xTAXXJdRIn/Eszb8MQtc6+BwFegCbd7ZRp5cEFJN7ocLvVybrellDsLluTFnY1+UHRNAa40S
f/koH+zGFLdjAJopqf0w07T7kjjy95qjJPjIDjt8X1g+1IaVmgq7Km+BHjQk1WyWtvzZtkVyl1OX
f57wwu5x9t1Flubua8ysv9Fd9tulRdFNbWEq3syFbRThInBLRzJjQaaJDG6B6fr1LAekxJG1iyFX
ecaK1Fic6CKirT1mMKCJO1IbFeu/Q0Cvx97MAupCCX0M5VxVc2VeaRiHv6lgJBtMyy8bN8GcTsLK
zqhGDF0csEg7JDxW67toj60NIBvBpGDN4/e2cYRntgEywma+pr31aNam3MeV8a1M537HFpokxLh9
BCY7esjh+o3UKHgHBrTYFpIUEB3eV2vJ5D2hku4OpnSxbSKz2FRFeJHjHf2hUlzlcWIP+0CDcm/U
OpDGAnpLTHrE3iK6tdJpHThtOu/1YexABlfpdaTstyqdsp0+xOVGduN8aKLIONbGpCELHzvnZnAS
BMqzVniwWtQOZGB9yHWXmK2cpTMTJjovqwu8WBFEXVpzdC+BoO/LpVnzDUv832Py5o6xjddcJ5O8
t77JOrzW4+gujIiWCdqR3Iepg3sNXCe3p8wTLXlfcrZD4iQTw097lGV2H3mTJuoDTrGRqR6TvUbN
e0sHDpKAFtbsBVLM+ILr0ECDAe634Mdn35w0fRzD5BojfbzriZBkPu/ksaGSeRv2+ABkKu8QKcu9
4WrPJIEeIRnII6yKmxGR4hZh9cEhyfi+CyoDvRuRzANllg1xepZvAkLqCdTeAvZLMKamPjVFZq5O
fwiblDi+um2/UzcZDhhNHyilNJuQ6vJ2Np32ohkL44DQPXoYkNd7ziTFcZaENqimgawUJ7umE+LP
0MCFH/LhV5db+YbZC/55Rak7xKhC+glGZvSjnceK6OD/l+9VjtPeGtYUDgV3ZqKcBJM2XzfQqMXt
oZm77dBq+jGqmTzaPtlBBpy3skvfbbtqeetME/fvlOs7jDyTR5Lt97bVSAYfRIElOceZvRTLduHf
AG8Q/akmtjPjON/VAYEr8UzM1MBfBYbCosoKkFKgopXbZ+SabJ3eqm44RrAI5QS6BKnLBqUtdj2M
nO2oyF8QVRPt+m75ZY7IEcZQ35tjMr7ktWZ/wxTQX44rmTbq7fCbBob0etZiGq+1HiGKMwUYArOE
O1eTTmLOLRnq5MU9uLPk3xFL6u6zrC6InVDZG2u4PLSyHp5SewjBKQU2KYLEQMzA/2+6ztxzYfJb
QEIr6Ot2/cPmm2PNzQsnweeeHdNm1BRZOMwQqiSdBLhByJ4eGnPJMuHFWUcrop/fDW2SV2gxG18l
KBvI8u3vjYC1vzEM41sVg9Uao1Sh4gghsNXrPmpsbluBQoxsM9tLFxzSZlO/Sn0EXtLGg89h9ckw
E0k0MhdKWE4Aabyzd9ze9KJ1xoOZAJQMOo5MAjc0UcRVdsyy1bObmNNxWn2llZPWO6o8HMbs4jqZ
hx+83RgMRFIdzWB+TPuo3JVJ7G7V7L63YLL8BDHkwQGu9yctNYgzRtbt86lOfEvW2Q2FA8qQlVM/
a0lLHNHCnPQblQD/CpsyziDWAhLcfs6sQBxACAGdArMUNspCGkLoe1iXE3TbpPW7FGDPnBoXiwN5
QO9IjRi6qHstEqHd2XNAGqnNqj0seCV47+V3YjyRKbR6/zYstKJxj0JgCKCq1UVITQ0v5o5Qsmnf
FvVed/rqW6Ly8WJuMA0Lp+RUHLKzyyQxRMBQMeJieXFMm7Rz0r+2dkDfnz1q+o4ruLiyk+QnC326
q5vSfs/K0iVTGcS9qzndFe4i52Y2y+A2iev+iKF14vktlWBLaLggkti+kAq0kmyHZ2F0xGEs2nKf
szocqryEgaI60izAr3hNvbygEHxAH9l7lJXJHZOqw1UNIxa92ArbAWzW9i7Lf6d15MOs4dFj6Zv1
HGxWjf0uLgGlWGBP/DmN2cYAgMdWTejLggf7gr37TT44BDyG0EYwmrBtRwh+WWLA3fLRxcjN0bku
ttFtYHQPl0lb9jcBeTiXbTSTfEn6dzVr8hhVMdmWC+9N1VEqQNQuNuOcmNsUOjbf513uIlmNKhtJ
ck8kow68bzPUUtvBTmC15Ljm9c3yyof8gwnRvLRSwScuahLmIuO3MelX3SiuxpY33CyYo1Jg2usP
Zuhp+smSZZL4rcPySXTqim59aY1h/E5K2IsSJPuqWv5JkSWT10qyXlYmct/J7o821AQdlTOhrcty
ZZpMNxMO/81SF49QFC/Jrr4PEXFDC0l69ibWL3au0ErzZtr1KunezUh39jLk0DTEEvFP3zkXJUs1
2SnuUyAcehBdFpFdFnyvtD489Pl4bf8Lgk0JEMjTDLMORoNjqMnoboqrFXwVa0j/9etojgT5tUi5
IYMTtVUFv+TYkJWUBPot+62M5MxqAU2B55w8FjIoIJXd1gNk0wLABzR59k9oDh/iBNlyr9HkdVrO
K2733BThbTrDzbHMJqs2RSgUcEagE4rEmm1rco4c7Opn19mPUzPcmHYCfG6ISSEcTIv+Z/6Hna/F
tos5rhoSgAM8DdxI8CcO5MDMXM70ngnnbgKbkYoCu9Qinx2SNHYoy58qUdymwh4Ooxqz7RDKJ01L
Ek9C0n1HTX5fJglU7iFgHgucagua8nJgBv0+Cut1UeN93Q4XZgdLw9UJ25DIWgh6H1d+IvgiUNDG
LhqM2BuXteFUzOW+aWgpNo32MKUq3KO/6TYTTUA8ZZHkoGAvO5Wrg+P0+vXYT6R/UsU4Jrh9yTHv
UrJ3osXrid6gLsQSO+SJuevpb2/DtPhB77YC/k3aNkfIYIMD0OH82+J74pz4za3BMcN0JlhXE9sZ
D+2hglTooc0Dm8jpNGUFILC+CHfV1AGeaEV0m2AroNer34keeHFUpOTJxbDdm26CTBYSK5NFQEoU
2+WicmEtzBNbOs60lFjyKyaY1yhZ08E1NmUlKLA96K1vHW/HZpTdW620dXOct/P3sCDVezTCIzzG
tyaEdg9wENrcRCaSGgDLAGfKxm1ozK+TyH8ZMiEDkD0QE1R3lGOXHEiS9okKWPajHtkeRmTgUxYG
YDdygPz31ntPnDZEv77YJS6qPSoB0QusR+N3kEm+kpXFldvuUasIFJra6Se92/s6WO6IVK6/cVbf
xk4S78dmzN6EgCOS98g0pMYMaUtkj4Q5JhycNHLTRrff17n1jFbyQeogmTltzT5RCxlEpu45bhwi
HkcXRh5OniuNneEG9Tc/bqwIJjDF3uw40sO88eMsHI4Gx46DmsffmA2nvR02MBeNluUza/L3cbSy
vR7p9MgV0WF12/1YD8LXbekOHtRkEsnG6Q2ZIpMGcwyHMec+n6FMc4Lq7lzkYrgsOeWqguZWFTQQ
coNIHQCANgfpNHw0o7oIKPhAEAx+W7HkVKsBAQ5gnGxrVS2XxA2XNzien10qPsc5X3oiiOEcioFD
N4c4sukMOXGY5oRMbvdtkRaXWqoIRuI9A4Gkgc1F5rZJHFfsxlgEezjFlm8X5C3YUbsdu/xGhx7k
zZ3bXjWW8aob0FIyWRBG2VmoRrTymE6CTAni3FCzzZeTlqAPpYTi6W7yWuDx33ZFgBsPr8uK7NMv
YyKeNrrRdp6rYMPXJNb5iSIPJIjEC0wr4yChYt9gbDP4a259FwWus4ts5OG9I8V1a7XqYVLuG7B/
hNImkURR79YbXgzefai9F0Mfj0D4ya6uCjhlIYybi0aN1o9prqy7geLELhuIYbARwx84aQT0F+N7
godfLBH22KzbK5XlxBchj3Ha/pYCpe11yIQpTQ9/BhfaaOzUBCtm7JysCrBCkyGCHUl62UQKAyac
a3KL4wSzJrASVoqkuk9zBMsGKY+7EmeiZ8YEeCmyvr2pKp8Swj6OlU3Brs05JmxAKdd7N+5w9dmh
3Fe9m5AcS6dsm3Wtzrc4/hznkuKZm8X9DQZUyP/TYFwGCenbHf0NTlApQWuwwT2Bq3fbZDlBdGk/
4MuZKo7VqXkUKsw29BQfUuKKHpwomG+MuWRnqVMZxX6+kzNQLqH0+lDkBMARIVuSnUO2Bl9QtIV7
0u1Qw1ieYQeCuFzBPOxQgdiqhBQZ9L3Du7OARwtUE15bCJQZrIiPgd2217KE2j6EufuUQXC+H7JE
XZtUtbhrwcMStrf8HxFxa07iqWy4b1EWXlZy+pXr7a8Cr+WemBh2PlMLTR2wzEVOjg6bQc7IeonV
mVjugiYcsO8pBGQUtkT9gLULp63RjwKGc9itGkgC2y2ZP9RlfW9FnIdiLD7oXpfwYLqB4vqd19hN
WUAsi2LsoFKKlHG6BM7OzAYAie20m0gk2dt0bC71QnGZtvuDt7f6Fi+Lu4MXUH6nIWezwLmqILTd
1EAG9lP3AFv9PnKcX0nRfhOEtG8CGht3tujsm2Io3zC7Bkcats5FX5XFIWnn5Zptso5hYJqpSGCV
c5UgIqulQOeaT60R4AYGCpMHnfGQ6g01TN1eah8qXbSvyvSq0VuBUDC272dyYvfu2JA/DRd0M40L
zGOQeWvKReInAU3DVsjMq12g3UY4CfBfLQ5qLJl0iNTAspkQhyn7S6hg+msYA9TMq4m0A63O9iWQ
jasRoCH2qAauSpxLH0rdK0vY4JGM0XiA8AnNKYL+ODZVRWm2zAnJWshI6ws2ebRGUtEQHsvBfqfn
LMJI9wBGBjLyaAzwCCHC5hBXgeIjJHFh2XBCtWpPxjPnvHEgg8Ry9XttSJGxj/3gl3IkqbNEGu9Q
owfC1BuPQJr1w+SwLskmfYUdGe0Bu5v7ZJnMYyQq/bGYk7dQy9HRQmffq4V6splE986wtNuq5bqn
Mtp3U+Zea1MZbp0msCCHxekBIm63BtkiP6kmVhRwQntO6aY35qtntjbFa+rM4JWLej2qchjH0L4Z
hqbYxiMSdplV1m4IWNO4jDvuQuwFsw2WPaxuRTpfFyN/vtDW8vggH+aakHhsRCFmns43OsDPbT/Y
nkvKA2k6KtsIO/sDUvVVDGS5FS6pN2VFx4tq8q+FjeIG1UN+LVjItxQryy0dIECuzRhu8iGqD1ab
B0djgJObMDugXi6ozECggidiqcNIyuNBd5tnTe8fHFIXtkplBu11Hbu/wTGlRV1Iadj+mTndW5l2
8Q2oyn5LxZLpj90FZ7y2Oxg00mwX1LNoKfKoDgIv1MVOtMENNx7f10jhAu6ecWmUVHtkX4F2miBz
LWVr83W0w2EZUvZEFAgf0lm7TOP8xxDGv12QuMQiPOLOzjjEFi/JXCVbE9m7n/TNb/QAzc4E6bHv
lJNCcqYN4072S5BH/YbeWXWfiaa+k07xMgqqi5XsHts26A7kGvKGtuLPSBF9MwgO3ugKrFebvJaS
92ULMAocZE1lC1my+R7BKf4RWrG+J+Fy8mhfGsdURYHnlKR4aUHon2n1rnLkE4UbOhG8gqhaV//e
SaOXHbJJXPSs+7FtU3dCASbXDD08mtshI7Peq+ZcrwkAGeEE11Vum1tRZySHLboub9reIoakHJU6
Z8f6qPaVLnpNiB/SYlfsGH832CFCT9EYCuRoNC3V3uh6gqDmKnYBSMBtvyAYBzJXMjYPVT0a3Xap
+hTyX9TCDvz6FqmPbXfM1joyRwPbBL/ppNdvkHoxtGYj/DnJbaIqMBdpW+AU5eVMeMGF0tPnSFfC
Sw3rsS6s9GZFyL5oZuJ69thr12mYPQFn2ahAm9gkB8HyGyNw52duZpDaMdCwnRZY7PFo7YgPoLjG
GkujZDBn+BOx1RtE3sO6j/cFzo2U03sFtLDhZ7xa+GWsjUXiGayvRi73JvYZCh2NtfzsrSV578nY
vtMcINQ7RZcOxWtAEWzTcz67qBaX74RD9KORhZLixeiwQ/v65p3qQE7VNCf3LiaasVqG2vXd/ZxS
17kCN0ij7OtBPhiwTkc50QjNbhxZZEq5PmtQte8P2nO+s67osugvwfNyq/06M97py3k63slHk8eU
TEoNjZCkkXNb7WE0uhOJvZvuoP06O9rp+3cymrX+mv/ov0qyNfU0KFyf3Zs3sZH5rngVN8Y1A1Ir
h0m+ay9hjXx9kacKl3VUPj5sSwA63A+KGlhysZlJBJmqJfo0ad5UV9/w+pGPLDy4mWcsC6cXqRC1
OFKHz4T/1PogP29gspqaAUs9nuew241mlKdH16BSdvj6uj68LOtIeDMgj/AtS+vUQmyoqq2pszvI
kIbERShIsOJKy0SzPFO3gNJkOD1x22H45oZSEMuXueJnPrFQ78CFSk6ZpgUb/uuf9cn146/kP6cs
nYwca/3z/zxktu9QavvF9iOSuMjcmpa+ouXdT/WZ65cfZnzmIhxJ6AgRwssPisl+lr2uj63ra3lk
jGzUJ/e6G/r2RafgO9xBSJF3nDKdZzm4hdzqylmwy40y/OEYKb0iy04NsmCbEtZPDKz64NCDRZ3R
V9+FFrFRmxzYzzsTwKyzaRfi4zaBLjoo9HrTnZucT+cXHuaqSkaEZSn++fS2oYJoqizly8dqjP7G
ChtvCuP8ZzANtyMF/TMius+eEkQVHg+PCYf/yao0Nn0NijEK/BEP4dUcGQH6bJqW55SW64T116qM
s9XlVViXG4tl+WSCwSs5c35z2LxoUUqSdSEmRWocPcWEpuCKbjZrPf41ZL1B+IwbpD+/fhs/iAW5
rdjrV7sNZgLrVFVboVqsQ5d3xIbGR+sOtWknElDplOa8r4daL+WvS12HMvCdgA9Drnyq3AviPCz1
jKFY3ItHp1OlOnS9NIfdSIL66Gmch/Rt25TV/bjUKfKsLq//r5pv/Q0OFgZUOFzxqai36uCqQrAg
yAELwS7qzKuFLHJ/0s3qsJixceYt+mgI/Xc81+I4iImZYf/+2KldUNClXOlrKVTYuBToeYgd27pD
DgBvMlmmG3fPIk66nnpHdfsSmvON3X/nIHJnDpo6Z2z67Hljo2QylK4pPtgVs7noQRVn0nemnk4U
1Yc9aZCICZpUnrn4Tz4hDis0F9TqJ/g4FBXyULnK8HOMY5UHxM02tmPCuGcmuo+6aVxFqwcOFSpu
HvdUo+nEUem4nWH4uhwQPyELXxOVILy3bKmJ9h5wOotYXsV1iWetKbU899xUfwuigA0/QOszb/rH
ucoEPoX9l722A09mfQj/meLrqUpkh7zan5FXHqYmmx9X6SxpCUJc6/Vwblv08aEynqGzd+XTsuH1
/D1e11KIAItq4+jK4tWZO18uBCh6tVFa+68/4tPNAoJUnTWbicqiWgid9O+h4kYsmmYNNnZXo7mb
oKDtseAt7Bk4DFEIsb1QM4vnrwf97H6yguHP+fc6T7/aYsFD0zut7ZsJoZN5I6f7ZmLT15Sx5QkF
f/H/jwcDCM8shiCgqSdf7Vi6bkb6m+1nQn3LQlH/MUpXf3ZjxKmbuaaP/fV4n9xUgXPMQILr/Oux
+vumcspCH0rtxyfGbvyOSrLQDxLnz/eWfPY/URKgIAyJNj7z3Xw2LGNC1nVsk37Xun/4z2tqtrVq
ewLh/E5GmJzqvuJzgS2pN/AAEMFUfti755AnH1cBc92SObQZcR+CC/p70FIoFTXT+ix17GukZmyJ
dCDvV0q1AU5/Qx4xhPqwuExhzOz+/33GbY2rdPWsyNNFXYNkPhaFbvsW4cGeW8XjNtOsCnq3IY5d
LXQEXGgMvh704zRo2sxMnCyh8Jr66S5UqAgniTuSO8pSm2wcWkTw6PBenNnGfzoOUzsyfO4wLui/
b2yQwC1cahkclcgGg8IakFVvzOZz1/OvC+WvddxgUjOwx2JVQTJ+6rEmcHTRM6MEYFU7IRxuSnPm
zkQFA2qxHx9dApJbLwd3ne0NFQ/R1pol4htYIgnNLUUsMJXC0aLYE5B1UcvkIY7I0aGBhraKjLNJ
XFvdXPyBjRK+dkZO03IRWvlGOWgk1ZlDkm/Mw+QJa04fwVGMP9cKGkFcjaYZ3kxSAhEJOrHFaFUG
sqyD1ur1H5mMbIN0A0UJPTO1noN9WtXvKCHmtY+bzjQujbXTDSZrahHnARsiyp08wI1eGE26hdKt
XdMBnJ+6JEiKY2Kk8DAssxxvFigA703b8pdIgOdBd+MqsiEZM7CyytniKznYHfDb7QjU6DXVAlEz
WVYGvewasSsyKieib8gSSYKYyKjKqTyjMJOHkfpOIMbyDYt5t2w6OjoSlSAIMXR0Nnsk7CfihZ52
cW1h8++8MVgoiOaAwWNIGa06C2Q5PRGjscaXvx4UwUmATDvdsIYJQINcAS21zc5DGGZ4mTZVj6pJ
7ge9tbaVZGY2NKz9Ze6ElwCjzpUaPrIAoQk5GFyA+2J5l6e/gbBCA8k3TGV3GtIdbANi83BneIVO
GD2Z3MN+DZvYcbIVvjZn4qmKw3O4sw9rLr+BnFZmTw4cH7+CSWtHDA0DqNGoWG6qSVnEH6bJg63n
xZkT44cpc73lOj4lzuYAx+yTNdfsgyhMMyhRoaUlO6eyFPoNek9CkP+dDzK+rLB07xKwrAfCYM55
KOV61vn7g1dY2pGtA1XGV2SenIXiqqObETqanyp7wGRhtOoxjpuXJgwvNN0NKs+u9OJhlE1obKqq
NNDtiZyGkGaU4rlIOnWfoxFcMw4LegxElSKoypyQxMaiitmdBXNI6Ho0KvJcqOnKFwen0lMaCHqS
BVs2/cx6+8mz4+VhS2pQcgRsv/75fxa+oaewLJhT/JqN+zVnj/mlpaB9qAp9/r+zP8+O/RKfDMvd
+gD/HmopyhY74xj43D/cvF3VXA7VKij5n4sMw2A1s21wnHhrnZNXpA9qwfeQ090P7ORFxWlP+K1G
CseZcT45rgqHwxM3TdIHPjUGorjvEJmHfP1FF8JJnNwNRAPtYnD6+UrNS3KBPLHZJT1tjzNDf1jf
uESXdZSGGV8cx5e/72QxTJEaOkpxjan6tVmxCpuHyT43zmeXyC2UBgCftUhz8sTQ1bM7iUkdKI3I
2C66heR+yUBCa3o5eKQbicMkqQujyLHO0Pw+bMjWS3S4OMG8xi7l5Cmm1N6dMg+o/ykSAAuVIrVI
ppwmKuAYSKeacdmgwjwzvXzyNUhcnhycsJyyKzvZkUV2a+dhkAT+gB/91jXj4A6NLIJlZzxHaTw3
1MkFai5ZwUGRBX63xPlBEkt71IOuIZFK1/2vvwg+sY/TFhRxCuycHKjinG68prFKhy51At/q5bAz
koU24DxX/3B2Zr1tK1kX/UUESBbHV82SZXmI7Th5IRLH4VCcpyL567/F+9SWDAv5gNtAA924NCny
VNU5e6+96btKvbPzHOlnMZ5UWP8Jsef/xHynQquQCAQ/YOX9ZuujAn8VRmXtnJRkPT1R/TYtU8KN
mB6dRsIhtp2LjW8xQfhP4Sd1IwJGpEvJogDgutYtnEkNNFHE3WXxO2f384uk1emljeLxBVdN8TsO
MBNyTOx2xGVKZ2UjYqUHo43+L9XO6alOZ9HHDzXD+IPNVH9o9DYnqZDBYVTitOYIVv6ppGHe6E2R
bJ3awBxcjGF90EemFrtaa61b+i7YkZII1TbbsBtrBrr2Re1CRtI1xuRpgu/fIz8aFRe9gTS1813j
BylhYDnp5au89sJvE4mmSy+2ul3QT9PvdrBbdOadX9/3uj4cMh+7WpZYxjaUWn0CyZX8MUsmxFUr
5AtR3fmqQsh5ExpmcmOx+UJiS9QpkcXOr9QbwtOgKl1fkS3DD+VAJ7zvAHc98lfqySYnApmpekTg
7Qq8OSrhlObIqUSI/6fFlvcIgzi4r8lwWPUZHqXGzMa7jOSvZ8FkD+8hfjHdsUjzMZLkhi20dcDJ
QbZOnU/mH6vv3L95E/rMa+PCfCojvC1NrrLw+PVL+UkNo/fk8g99MCr1WW0ZJs0gQleFh9ytIvL/
OkK+yL7Lp39f4KD8YKYEtz1DLM8WOGJymPgYExkjoUeWkMjEEgu/sXfJWbpyqYuzOUvkDNn2XHhn
WPPPNgdq0AK9huK+TwasccyeSnmyEdm3Gx+B+g0BrP391w/x8sMmj4bbmtuI2HIvwFJmEHeE7DXh
QcU1cYU6G/jYszdlS0qPr7cPZhOhuU90ZDEy/V3QzLhyz8ZFHcMuDpCE/R+44EtbN0ZhVXlVwhHI
st/B5T+gYDiNevmU1dEtPpmONGGMW6G9RWOyFxaJ0ATHHkojOsFxRmx5zYX9X1bAhz0af5GL7IE1
y+N4e94CMrApW+HEwiyTgl1Y1OvqiIbW9UgWI0ZoUfuBf7BBgb93WQBVCYmnfZpYZYmdDd30Z4xt
i15zMoGq6D1XLcrMKsyD60ydv6hak6lmi57w2oO8qNH82R4wKZ4hDdKLGk3enZJZj9kCU/dKMv3u
/WFtSWsVJWOFP7RP167S340kFZsUGMyVReKTl5dvxJ07ILPd+nwjmFGorLCdmcUkZuwGS1Qm+mjS
k6i/7bS1mjKrr6y2F5cEUYx/T/iAQT4h9nZmUk40ItCS2+qXo4nxYKNpvYHQ1j4YAinFlY9lXlI/
vBgYu3F204VlbaeDdlZy3LpmFIdNaj9V0A+X+KKtl1Dl4D09xGBvnvR7bVmXmcTlNVaGvw67qX1R
Q93Vm64L9OhKV9i4HMsxjgLUzGYOxCgHi7OKEYuRNOQ5aAOOBnsr8Iw5irE+Tx6maewJd+hMVS5M
syvsHbnL+r3uS+81GhBeLRqadSbpDD1ON9yXSGMF4Rk5Ieae+1KS4/CAls9BJqvE9BJpXV+vsEAP
fzqjI6ClR5ef7zg7WhPDBeaDoBkLkS5QiHXbzk8JcC7Y+f7iSKNj5NFQAy4DLWQsoyufUlPZXeUt
285okse4k1NP9jxHckTJTvgUFkMXbzI/10wOOkb7xGmC9LyQ3uyqDIKuRldVNw99VIju0NREaNxi
WwoyWuKWh7C5HLH5tv1g3XCiy+JNZEytvkIG4dRHZidJee95unoBOxf+mrI2u4uEPailGHL/r4nX
FY2NNdiH+ciKELE1cok1Iu7gdrgl8+PYBnG7rINxeqpTR3vLDTUUq6ipk3E3xLW1SzKL7EBTM7IT
XDuMYGXQFdpKz2KIAEk/0cIPZG3kqBUGbOCxtNXvqauhdaoIF8M4EJ00Wg3EvTFoBpuUcTs81f4g
f5ipRA0TIrzKllnspNmaHNXQXmGmGH6QKBKYS5wsADFArqp2zdgjOdCLUTl3LzSMb1qCVt8oTTyO
rul233W0gga/iUyzhe5NAWLhdLSJJh2HoVyZrU/7358I4lmZftfcenpJkGyW2dDAzL5Knr7+xKzz
Lwx8MxNt7M/INMEJnzXebDo7ad8qqC3CMb6PVkLe84DB61rH4aJyON58xGOtRS0D9O/sOlProasz
K2NPDCLT2pHGWT6XDjx4A+G5Q/H49X1dLHK8KczpabJQIZjgnH2n5gA/zUQFtbeLLn+S0uanNRLf
XoeR367//VpcjBLFiQvq99mGxUysEvYL6hFRIDodGFwcLX0M/IXGBN67cpL87Mbmasjkleb+BULN
LzW4jCUTeAUi92GIW/mdLuLksnUskQR+fWcXx0meIhAhOr/MkplPndXfuuR845TK2/te0gR7mHwo
wPzBdnZyipOfIvQw1ZF6jq0yturqWrW9OFJyeTiGNqMFUu0u8CXamNTYNFygGSmNtLXSiEFbDFhR
X0XZmtXKCr0oWnm063gGWu5uNS/D2TSCWQjXlhDBenCb8G8MhBFnjhc490Y4NsOCqCs41YXM6vev
n9fF18QfDLKJF500Fp8+H1/b//RmvJz24qBCfy/xcp9MADo/fKJtrvwqn70CrIYoCdh1uOwBPl6F
/I7c8gnh3Y/+iBKYlvZv9kZZC0XYLa6c6j97A1C4ISKANj4TQz9eq88NDefw6O37ServCQCIp8Kq
rafW7uh94W6N5K4ZmfkCng/df3/XQVfN1D76Q2iEzY8XryttFClnjn1LrN+0bMZQAvIog97dZjbI
hSuXE5/8fLAX6UNRqz4phqByQrf2lbsHxiBvzBpk82+6k859nigdq2+lh4Se6kh9UYoEDoleOrv2
irMXMuKxzYS/LFuPRQhOgKMX6ULW+aBh7bD1Xe00fbfKpKn0o0VG4d4SLR3/hIjOpzjoJYq9WkOa
Hre+2taOjcuSDmJ76nxR0TXC57UMoaUhdg8cdrhB0dRPOlsRyHCmnT1XhJYay1x34mtJeBeVm7MK
k2COSfR12Padta5Q05SZctB1OUAFdjjyQaWliLUnAXwF7PM1ktan1+NnF/CRCGs4P/7RLbYCW0Np
Ubt0Vhe5m3LkLH3B4hrVlCPsexKK6tcf7ieVxhYshP9NhWmcnb3mnExsx+xpXrmKUTuKV/1ATlaw
M+YyUw4+7jRv7K9c9LM79ehI62gZwLSdT/TiHKuOpQzKWxHV902fRfe0kmKIrcLYSMMJrqhV51/q
426aA/WsV+Uf5vrnnFZjSjUOc1SnHE6PRDas3HtVYeZcinBMUZcbrdzjpyPVyiSo6DuvX2BfqV2f
/Q0+cgpQvLOO5ZzSbw9dw9mho0HpyHBLzJUCaxIUawwexiEKy+rUO1W2KDyRr5QVulfK2Se/M+ph
Tt585EDnzx9BFHt+7XFsIBU3G75VqTMhVA09n3ri9E9squt9lPvNlR/6oojCizUMKNscnywUbWdN
yg5/hj1ZXXSohFbvUMv3m0GG48OA8WSnKTGD6UYU74aQVx73RUWbr2wjjaTDMat5zj7eKo8MKxFz
AkGcF0+JhkpzAZssz6/c4cWrzHXQHPCRIA50POts4ROEKA90YaNDEhXaMq7SYNvlE+yqQKT4lqGt
f/29XiyBXE/4OgFPOq185A4fVwbm+yYHniE+uJhjXwqLAGZlTf5dFdXTlUt99giZW6Ey4FpI984e
oe/2Be3AIj4QZKzTddW7x0qKdvXPNwSqcW4jzDJ32jIfb6h36xarJ7kepojqHXppEpIHmR1blscr
78Sl4oj1baZt8txoe/FafLxWV7WTDoEgP2jkwOPpCvItI/3XPEzc7+WoTyu4wGIrpYmTMsL8UQ+a
u2LRvTasuPgY+TsgYqLd4z+zkPDj35E1dEu1us4O+uyVcHsD26MT9puijcYNgsNhRStYPX79oD+7
KAg+jgXsJxjCmh8vWmTY0Ru3ygCM6HKpmQZOkNHqV1EExA07eLK28Fxf+XX/ayR+KL3cKj0u7pfX
yGVF/XhVzKIF0adGcgi0ko4w7TeiPyqcfa990ztHTQX2n47q9GjCPXHJmrWn+9gqodHZ1BXMPIHA
k+Z5yfhUT6r4lhL1/E4LOqzWsab8U2JrNwPne7j0oPpf2awN0zyM943DoFILQqQT6ONi7EpgQbUb
1LQupBcRKkCWb7wuXNoP6yhDnI/Lw7af/bGq7gq7kM+So3C1RDwKSpPNkXxzWpVqG91VjcJ5FlMs
vcAUDyZcL2vZ8PqGq6qIvXjpZMHk3io8YOHfrDC8P+Fkjn/YuMmD3XXqL8tN9Tq5+RCupsmIHqXe
jYgOVNili6wYUps2hwvwDD9OtSDRnnFCYunqTy6qsZ09C/W7USbTMXHH/HsGn8lb0UxX4AJqVYZ/
Ot/gZJ8jCx4xokm3fpCRnQLwcI0+QCwqceWZY6ddKRef1HramJzMoK86vCpn5UJhVgtab8oPXmzi
1Wzzm6wC0eA0k7mFLkh+h5ZwhPrx9Vv9SZHiagAQmQeTInbeQTUDuoFEzXNVo/MP0Zh6NzK3vN3/
4yr2rCljP25dHAac2NJUM7X5IZxguKwyo0QD6rGwXZOZf1LeqUymy6Fzzir8rwv3P+coaY+oH1Ij
P+g5wlr22aGB50froo2UZXjt6/zkaj5l8L/5MzLXc02Qrw8yimRIHBgNTrKJGnSXSwBqJlZ7C5D+
lTfkk9+KRHM45CwnXO187XKVkQ19I7JDOabaax8l7bhquw4M1z//WmjUWI7p+nF7583TFIyj7zKF
OoR2ZO2ArTu7KQbU9/VVLjuidEL5jYD/0v4ANXr2wvfo0gzmJtkhxiO+MuXYv3hEipxqTiQE20Dw
a3ZQNPxpZxpN3CzQyRe/K8+O7oZGgldLqJb/2qbmT+KwQsFlYWE6fFZts2RCrujoKbuepmB44VS4
XsJ46elwJfSmuoaxvhzqzBfkTRUEd6AuOu82GXFrZRrmxIMgYwI6lt0/6fTQ1pqGtsovLeyGjV3B
ogqx5bZhO60JPHeev/4lPnuN//ePOFtOISnGtBOd9GDi9j1oli12RUv0W2A2yZVR4GdbCPT27MFM
4iXmUISP65kX2BW6GotKgByEDmtZNIcmleSfKfAjUdDnYIRMgkAhz9jBD7OiUb+Q9mD7EcK2OCz+
uTLNm8G5/cbu3r2QaxdKSWmkUXLIqsBe0ouI8FXp4c+vn/BlbZ+vwvGJ4eds+jt71XEnp5Q8gnkD
GKfNku6LeGEa0tNoZ3q+FnAV36rCAOQTBNfWlcuqwfaT09vcn2Bgef412zXTuaRq4wOxVwa4lp6m
26ar6z7bfn2Tn16IJYSyQfm4qIYhNjwvFEQeu1VpuYwyIAVOXYN57OvrfPYwBf09IPokJDLl+fgK
NQAF885N4wObGtrNNE+w+pL88NRxpFmJSr5qbFpw34uiu3Lpyy9lPgHz1tIDnPnoZ+cxM4J8I9Ig
OfSWyrAbx7X/OISmBCail9iBvr7RT6qDP896GRqhAKdInH0sLkhSgS4AeZEhiNc2WgX4iPPacsQ6
am4aUWj10qnHbGdKNyQyGzTUcqKde6UsfnbbvMAon2jm8BKdFYg67Wt02QQXusoODloLidMZpmnT
Ful0pUB8eilC46mL9FRQ6Hz8cTXcQrEB7QcSoef+IrqtfrSSRqyxC/vr/8fjxRZPx25mobvnex9B
YsEUdZxxQ4yCOCQY7txAhmnfLTZe0YylgRFFSlu4bE0PpLcXkBe2ZEka3r7+Sz77crhdlkPeqzkT
8+NNe7GTl6hTokOvjepHlYSwNmR1rVV1edRGQsah3iJhmeucL25dK03ADg1FKGJhWxdO+9ev03pZ
YjI2ExHGq6/v6pOfEkU2j5Z7MmkCz//7/+zFppRJXTDq8SGph+wRglC1rZteP2bz7PXrSwmTf9fH
YxKnQFoIBKciiUKbcXataOjDJqbIuQRdRsuWPdtjHzSAoNzKbatlVigwnlnaZS8gDkwwQUr0D4yQ
yukFUCrnnGB09N+ZHsKE6BOVp7tWEJq+aMiJz4AVNIazoTPU/jGMMCw41pQB4GXIjEQYY6HyFoXR
CPCoVasAX7PXbha93ZfHkQNEvgmgoe7Bg4BsVSPzWlzn4whFjOg57UoVnt+V8yfBS82KxnERSeT8
FvzPU2/S2Ohz5UtoboByOgslt0zzt8mPgVJONeB2xhC7aRrYr/bFtWiXz94xdMH/tawQ4nhnV4dO
Hw9Z7ccUSPIpOj1v1j7wk7VrD/l6qIJ/TgJm1zS3Vjg2zS2y8z0kCjqa4ZDZD0WmmbjIvGFZ2mZ+
qkw1ro2W7vrXL9plE4DrsWUlf4zgUs7mH5+uryvlVJAoDqpjXuTFodp2kxqffL9uH3O0bKumEc6V
i372IbE/Zl/Kl+RexKVWbunqE7EjiLe64XuU08RuJ8/aJJGWXGutfPYDznXov7QRMpbPShEaJFU2
4cC13PYlput5O9ZJtQm9Lt527GOu1eDP7g1ZCDpM9tXWhTnFiHwNfG7D9do4fRnLfHzpCkkskA2U
+QSfrhq/Oag1Uqovcr61Hk0ZJF7bKdelUUQ/+3YiwjEnAm5A9B4WR6/AjnGlkl08FLpelBUX++bM
SThXqBoRxxhf+TjNVB0/9V033IGvF6AIzfIOT+U/ZzHP15vNQkR6c5Y9P+hZXm6KsmB2hhDzW26I
+qearBmHrmv7r9/ni5VnvhLHnZmQgaD/vM2bQmMzQj7nfSw9Ond11UyrybSqax6kS6UWF+KzATHB
Ust9nS0GTlg5sOXBEebwlptlQenAAIKyQvAuK9Z3qxEdh63SwpfS6MOOaIMYjUrItFgTbSaZ54j4
ufCo2Nu0t4sRI45bYWongTKA+QLKWffL9P3r53PxeoLm4HOnMcPgA7/w2Q4s9mO7Z3/l7fHn2isy
TfIbFjOSfsLin1sX86WQehMTRQFlgf5YWtqiKu2SCcQedqr1nOqdsR4BuhxVYH3/+qYuT97Uyrmp
73H0xjd1vjLrOckXYJYYj9IAAE1ExF/ZjeHa0NDXhkY3Ur4tcZ+j7TvUQeruCs8pd+b8C9FMM/91
y8erMfeeaOkyAufw8PHGnbwS2YCiee+WxngzAhfZTXDAl4ONTvnKnV+cHeZr2cy/Caf5xNRRWfSG
6KJ4+8DOAYkU1li/N1rj/jLhtR3B3fav7WiP5FpEzQQUQWjRA2Tf9KkiOwLcXVQ0D9i70EbBxWZM
kQexrFZdHPsHUJ/qGzCZa4KUTz5Rl4qso56jPKI7/fh49MAKKs1zxb4WkIyTvIgeJyO/dpVLcef8
TuAmxvrJ87lo0WX84LEMcO+2demfMIOatB7GKnNv5uCNYKFqtzg68NMWYwi7MEihGceDxZ80FlX7
E8uHvCvG2Q8bcDvEmPs1sImvf76LvQ2iXkhkKBjAIaAlPFt9cSWMndOhIsxpmmuLVurNfeFn+GUC
TUYkR0Sec9e6XvwjboSqGHCXV7NjkBDwwD/ssGZmAAI/MsM559r62V+R9qWPnF+JveSodWO6kxi/
9Vj16rVeENK3CF1cIotUmdDtQNKAcXa9iOfBuYZnE5ezJlH91rUpe3VdkDvHZkgSc02fWq2DYQie
I9KvkgoYh0VgG5mKoWq1kxJ17a2HvBhfTDon2kI1pBAjwxo3rhrFnyF3agBgdHLGbVrn+ZwTTE8b
JYFUxtIZDDURB90Y+cbp3CBbl6nmMXCrwVrdOFadqZ0bhfFjw+b8phx7JBmyMdsDDVSciLCrxaHH
OD5LFhOTLgLHxBfBgZTK4cTDE7lhMljWRqy+DYlyspVAVYkIuauZggPNyzd00430IOs2xMHMoWxi
a+0l6asv5PSimWa0L8PRsLbYgke5akmYDW409kJ3swD72LeVHRIOMfjFqvLIWlj0CTZeduB+Oi6w
PDVvA+xcuaiInVuyWGdvomsYQXV6aL3oXRLckp+WP0diqm+nJOiB5o1h+a5NrfaNXVTYgGfEa37i
+1L9whhLgMNBny7zHDrfAsK5WEJXDHeBQzz8guJa9ovc94MthsXxt7IqZ83mJdoMWREMeyz3oOzG
0LLTdQMuzFkYadJDLXWC1tkwloj/wL5GcMQE4mSZhH7VbQZkhLYC3EVPT1ekAJHuPLfKesyz+rSP
QJr+gBlYcAls6jtdZyuSeZXcFCrof+vVAHsdiaO3UHkFCTs3phr9oyFryLaUKdIxIwfeSdNM1nts
Zm2565OojY/xiFUfWyrJG7dJNxS7xkJr6duB+wr9r7NWRq/Xr4nBj7tAnF48VUONjgTksV9uY9fP
W8SzWg3juBl8pz1qBm4L0gQIP1m3k6VvjNL133I3R+9PiqfmLJoQ6/E31+bVr3O3eUfArQ3LgPFH
vOj44Igmm5rnpsqTXWRb2m1F+/VRRlWV7gLDbVeWHrsKpajVbCQ5AWsAW8ar0FrAvJ6bN0+6gM62
IMaybe812WjLMR2n42BkkAeZJzbmLo05528cKcVJq1N/FScMUU/BGIw05wI9FI+5V9B2nYwqkhvp
wL3N2kJuusQjuBWLElYXd3IIN8YXv4B0nR/N2pALOyCU4Eckk3BbVFF+UzmuArmZyHtTj0HQ8fPY
W68L5YZRQUY+dtlqkq5Kq/9OynholsxI7McKldmpqFug3+jXgh/srHwbsb+wfudJDD+y6Vv/d5dO
xmMCt3SjV6UO5R/Y5iIqKjig1owpX4kywKaq49f8TlxTmYBD1ap7PZ60lZWPPqIY2b6nVuzitpma
ptp1TmmeYBnX68nXm1tbC+lVGpVE/OqN0ykw9OIpirPiFmUKEq5Yr07TYOXrtkNxA8pcIQpG0le2
ZEyk/aEYTO8hGjt1Cig1t7pU411oafVRLzt9qSrf+tsC2itfkwi/9DobR/+oTJCJ/F65d2dGPbwO
lNwOH3XhvMmupCZaRryFkF7fQhyMckzBgbdw5ZCDj7W0+GCXZQh8NBbOszMMY7wYGHqi9VftJskH
/ZtI0E8sMNQAzAwao361iQEO7nJmu9qeMGsAi+Df8i1NA7Ad5TBEr7i4U8Ircm0Tlj0tYt8cHomy
mKYF7XJ7xSiVAEqG+889SVrTQmhx4C1Nqby/oSSOPdZrcuNVKgHNWqo+xnFE7FDgts5i1J1mpVV5
s+yLQdsPaABbdt9tk9xquVnVWzugKK061OsPYozTO7pm2TbKRrw8CLFXVhKZq6hXJEPITIKinSb8
ApTZY8PX1yESJvozIO7rz+TKt5I1Kl/waaWbIDOTkdxTAyhrWwkkjWlmCsD3flQ8kHjm/m6kDly7
bmxaCJnJGLfo8zvL0xpvqVdTv2u73DhUPDYD+FHU6evOD9TBj9gkrUETIrML/AiFmTNkjMljPfim
xwGZsrGqQMxxrcKCoWkblFphJac0Yg1vAtyoy7LU7O9YpuotZ1RIzob2JsMoZTtIHtwpCBv7vet7
axs2jbWSukSPlASjf1CDmdxC2apQSHcT7Rtpg7hEoUY6hkZkldlOR853yZPejObaA/DUU47beW6s
i5eZT7GDP9mBk07KfG0y/H4fJFOnUkPcs2MTbRHqkzrFXa658D7SzhqG/SwwiVay1sHyJ3U/Hd3M
4t9BYksWrToivGxI7Y7zbCrXfRtNqf2wxrCaa05IwlWAYr0PSEUZkG7c9UPVm8sh8q3XLCyb/VS3
LD8OkMJl7JB+UTT++K0NesoM4CB92jFq7R9bnfOQW4vkxpYE15DP6WDASxDDJ1HDfxOR81PAO1yz
C0mMFVO4Jnkiycj5EbvxxEZ3imeUsTWSZMcqafz25WjPYVFxcCLNNAAH6DXvgugsbeH3stgXZEsd
9M4ttmYymNmj3bDN001K3kJnkUhX0LECrmB2GyOuUQ1l3PFPup7i3ujyBq6Al+keWd88r006tEm6
jf1IPNteyNGvwLawNWqv32WGEDeOhmx6OwnZZFurrfueAAMMTvC6eYu8RM9SWLUsa3cO5oiDnmpQ
nr0wbb8bpJC9ubIKkuNYjNqP1iLLc2E0+bhFfzut417CfZKJ9eh4jbZDGCt3RefYa1zR+s40od5G
TgqnzXP/JG1qPUhCx7o1WtNgCWSA176wDHkbKAk1KmNgS6iWAXagsmPt3aibztr0UqPMtw1BfJzl
xgP0cz3+W8jIJd2dempstKh33/lEppbcCvLGooRKY+m9+xA5opoWLJPyLeCXcJaJJLWsx5I2Efoa
N+84STxnk1f9yOqI1i5qbGVBn82g5ZmN1f9kQQ7lDaFE2S19SQMXBx7aXWlbPRtNEe6FmtrHFjoE
dOQK7fHcrfR2Y6cHm85sEdXEBZqTjs8cCLNm3CZ8rcOW1zg+SL0yb2xHK/ONiiwVbzUnqsiSiQiT
Id0sPI3CH2sS3Ubz2S0S99Rkmtt+M1OchUtnynlLDT0idLFtsxd60kwaCTVqiWvB9N7f0yOWT5gZ
krXjhPB2NV8kh7HB0TpERfIcZEm1dJrO3CY2fwe+0O4H3hpywLKsrR4FSLsd+9R4w0dWyZ1WBwHU
a2G2yV4kRXObZWl+nFh9txD5zG7pa0Fnrg0exLZJdflMeHF80xjDdJPaOoD8xJSE0KFgo/oW1Y2h
5OyqgHzATx5U3Z1uTlYG5jaxKeiyGPBzFKpA3O4NPQLQItuREqHfeoNVPge6NzjLAY58taysol/r
RijeEqDuC4u/4OBIA4EKxzN3Z5R6vUdQk8GQF3mNjUZqYsF2K+HlSeJ78DjRpspTi+iekPZ1RS/3
ecgNSWyGT/RDSyYb2Q5hoXYA4qNfU131P/yQ/gnAD7u+tyCRvZVYj/Jll5OmRC4cGY6jWf8qvIa8
onRwc0KREmL/Bq9q1vOQeOmpLj2GgRDVAolQdw8v24+PpeG126YoOKoQ3ibuzMos9xYOYYOhvhvf
p6owbhE8O78CAKvLwrFiqoJDEkzkjO2unWxnO/hRz8ei2M2GkcE+SplrW4XmsjbjcO/n8bTkXA7L
uhDtwZROUXJvWfEznqzhiM+tBrDbeW/xUNu7tgy05z7zx5+xVD0727JacXJsjoEYgnXZ+dlP5U9y
5VJ8SEV0R45pwbgxAnd4IUdv8BBvSH0rGKcdzX7ESwi6HvAyE5Wd5ILffAMfTmum6UPjTqkPH5jv
qzULi+xFUd8btejWbupYy1lFuTe8CGzmVE3bISR2QumDu+96HFDlaDlvwRTXbL+C/uRHU30TGQrr
tOnHKy3O4csEQUwfRBQH7EL1KvT77jerLjk3biJIBkzG29RMknfXZQtfTrZ3tNk1rxy37FeSQIeV
TWj8a0rCzmbKG4sdy+Q+G4Hizyi0aoUhhLQHPq1xTfos0qhAtmqR9F14qrqenBqn4Rjk4ddm5SNJ
J/fock9FiuK2NVt/PzEE3dD0I9+tDc0Q/Ds5URtS2sR9OtLfiwB7/GJxJOJQ64ighJzjHgXv4xGK
THlUbpY9d66YgLFJYp5bFWEuc/SRtB/sTfeJwk+0ROZlYXe1o/VktRBkvNoA5ir7vkRpGOmURi36
pqRtnaRfynGhpTUnVnB+7Tednfw6T3vjle33S4VNnW10xNZjaoziZ2W3qBhJlCT2vR6SbYicd9US
KrBS+vTgEc6ws3Weq6hs+GIlLdgl9Aw8WWYoQouSTVd1SbaEtgx63ng4f8HGHPCVlF5hbB2tsb9n
NUmwWz9w5NGRNofOejD7g8UR5I79q3jN/NBfJyOsgy5rmr0x2OVe9VqbL2VpGpvST7ONMfTVTYkm
ceUj/C6WE4ihd6GBLjb6aXh16yR5xDHfLx14PS9WY6Me0810Z1Nl9kGGXm1RMzfol26OOfowDYX2
s8KJ9iJ94plXfuHRK4D3SoafRazHY2t0vB7aEP/Cn89+eOgSfc+PJu888H0PrFnaxs+SepkOIRmH
qTd+812vX5O2mP3UUtPfZakDyrWqB/exhFDASQ8rf15W7rZ082yVTxxSberVbRCSnBgQn3IoO/ZR
gDf7u3AA6qJVaI7aphzm/Bux1uK+Wxum1p8CWh8HlxAvFJ6++u3hIjiSRWX+qoaUWEGmmM8tPJZo
aQul1iNyhHBV51KDUZ0C2KLRsQsINU02JokBf7y276lqaNo3APG0teTWF2bT2Dc6NGmaLSo9zcla
RD7AzCe5WqQPleIlAuBlbnx4UEuWkOamdfBACorEahonDsJJITxgoaG9Zx9kPYIUMJ4EcQKbCdfq
M35MvWGQXyTRctSJrounXCm6CYSIrAcwR4S29tmpJxQGLsyULWmeqrveI/gVHaYqNrEgOcysC75n
Tzmo6QguSr2qfMTUYawwn4BP5qcVO9BY4MW0biKHuIl0DlYon48FwZA3uluTV2N2Rs8iHrh76XJo
p3cybFOq/InNJqT7pMiWPcmqp8yuon0kTEws3aipBXwEe+eQXJnfuAxjiBmtyxXZwtXTqJzoMa8B
IGioM8jCAN9xIq2ou686inEWx3JtZJF7w6qO3SUek+SblgLNj9k57Yo6djbE0rp3ijbMlvetPrIF
wbmNPikIF8k0jMcgseJno/L1E/Vg+mPaGiiFqBzDJQthsetCK9wpcpggeUPrW4W5bJZD2rVr3S2s
Xxz0O6hReMN40fsDtvJwY+XCuqFD4Rx417U3LYlqEthNFy0xCfCdEOJWWJpH0GCvVrEhKmYPTM+J
w+D0mZspmSYQrm5JCQMLFXjRxqzZQJJGHiyDka/X1CL9RjWlz2jD0vZG7BYEYaq8eM+NLl3BN5xu
QbZbh6K2mr1b2PUzK0tz65aRumvose6xmCiOhvxdpUq8dWt2yXNuDd2tJOr3Jxrc5NbyQvyotYg3
OInSk99kYl16uoGliCMErK5wS1tPbP6PuTPbbltJ1vSr7LXvUYeYgV6naq0GOIgSRVGyZA03WKRM
A8RMTCTw9P0F5V1l02qp69RNWzJFAmCOkZGZkRH/j9mmg8E3ZtAbxnGsD3BC7hDgpV6HsQGHSA0o
16izYLAJRvYMrs/iWut2w90Q1+Y9qyW41cAmnB8HN14B45pfial0nBYw4nhtn+rWnN2b8qDs6uQJ
lS5Au0dhusAwWREmBCFyVJoPcZwY11ZpsrThvGP4Fhzq9tnA4WWmhql+WQRDshoyNYRZxoGEqu1G
aTuuCCYEmt1steuwwjnNSIuy97LDAK9zwl5szOF2CDO6/porg3IZ1iNw2GyWL04yKL6xq7t7LSc0
DGiPunuwk3i3PYZuw7bN1a4P1kiFOFiHxplwLXQZUDfTrAniuxFcGKs+NoKLRMlQbTtFUWcHUw6o
8B5zX7I2DVlm1d21igdvOB5hGZ4EQ6xdV5We3dUVPpCo577ydtk+v4ZYKlub6SjiwA0eeXh72nQa
YahFfbi7wm8ay7zbaan6PWkAZYYnMIBCe5dOsx7SkzK3mLSJel40eE82Huj5zZfBiAbHs5p2uNJx
pASECuIAbIB5fFXuR8dlTGDj2OwM+zVLBmMGHIO95BA4njd6o93tjsVx6eQFuFrW0boi2IRde8Ma
e6kVsQkVArCyV1UB768Cjh+dsQ+LWQa4S3eVj7IEQlyNLtqhY3Z+kabFrLMNa63CR3S9swzYCZRd
NWvK0to6bcO8ZlcwN+TxnnPlTG+ILbcOyqapNHeqRQlkufGQwPXEfml6BJxm3Vlu+aWHO0iDxK7p
fMVhHTWkJka2Qxb1Y6dxcEhyou6bqrBtqGo3i/wdxFFjvWWWqWFQBNhhsJex0zXIKKGBsaft1PAC
o702U+tRQMC8EemX+BvtlzqsrQYW85a1MnsK+xYUFwy0LUv5IYFnJIfHpWVz1ilfsGBbvLVDq8JR
Po1FaZc5Lll79ymEtugJgsMMXBcdNhH/WGPAx6B6ZKuSh9EiZvAQ8Mf2+ysRDHWEVRJjxtE5lEuw
dJoLgRiZ6VU83LRR6N5g1VVmFT4fMI867dI8Gum2YtG5zg4QyOOqXz9VON+vBOjXHyWqiXYNLPMW
T6B24SKX6O6gmhoctN7hb2ROQMaB9bvoRuNBIpcUDqThc2GCNtW2XsZJHd/afRO+WCOFQWbFQxf7
kP4617l7UF5DGBKvnAKG7YnVEW5XoZguw6wJF1GhKlhJnCNEaJFeXRtYRotJn1uonFCDrxwqi/ba
aAbLRGI5DPGaXdk/9V2jXLVhP8yZymqM1t2hnWYxXF+JW+tPYVU0tx0u44S5dWw4/TjslVnsttbu
qiNIxCsHcE0n6S6CvWSv7qK5E5UdRFB1aeiwHbY7QFo5EnyIgbAbJ/voOB0qp4eLhtPlST5ic+e5
lVKMCfaGTSrbG8eH1A2OF2qvR2s9x3fBT3Ya60miz1WceardHZxl2CwcJ9rhrH+sGtxOMG8z8FNg
WSr9K8bI/UohjOo2KJxsFfeH3XUQZcVlntbH6rLGJq5e9ofIruH9Aguuy1hMjrAi3rjH+LjOjy7c
hh8fob1zmoitSuDEOe4jWPXslLkC46jSagWQ3n7vTAq2YXdQGX3mxXdCRDs7I2PmlMNW3Bd+hxhJ
B3hfmd85Z92l7mQYGFWED6rdYX6MR+Nm6NhRhoPLNlXN5yAOxrNk6KuZnRvsrAwWyh/X+veDQ86X
AWDVLBNicQr16xlqib3x2FgV8bktES4ea0XFhKVy5z4B49ZvtcquXxL7YL2wKW+/xSUmzU/a/Z2D
Z064QQ7GFiQx8WeH3HvIfYisaU22fsMSJByg4yGHEesr6gHNsC4Cqx1jPlGuPq66VO2sJ8B1E/8o
UHYBrzvv8KZNjVKtTTg9ITVIiI9dlOCjThvbCqf9rnpuFfA0Ps7zd8dVccaSxsbfAx+Dcy9OPU1Z
LKIb5+oorg5TfJDzcAwar55A5GCki9auWFR3WLPrxD7CHI1B/aoPh6j/pCTveO4Ang8dGoh2KuAz
57WHwtfqRpAXOVj4vL2Caz1cQPD2KmbmY//5rObv+IvgPGUTXgjoISFyZ93suMxkShpa811gPkF3
jvsGJNd+qeyDT/r13ZwInMA9hcCH3yDsk9Q+7iwCBOZwF1G1fIjDLwqWpXlHEPRnrqPvZYbnKM4i
+K/jhHbmlWto7X5UZ/QnsZLXJXH08zbXS7/Lh+qTcfKOfsI1QwM+zhXv33MnVScCnicgzBqkbTfV
/HRXsX81ao73Jx/L6HvjgrWHQZAr8qmfS0ZAjJqy54BjHrWQ1PVsGJZAn+39oW/zaXvUsdsdmJ4/
zvS9dgS6VSd2G1OxeZ4pG+F9bYTsCwF5M14x9nAmzI4p44jSIOT/k7ZU31N7NmDzEg5vEmByJv17
jqKtwQiMeTGU5qKqqsNMBzfognA95eZQssTxlLjNvrSmU47gEzumM+L5xMcZKrhVpBFKzloGMzj0
lIcHmBZZbiaASd+m7QArcVzn107YfEYO8W4j2TpxOCMVMTj3B1LC0CW6EjrxYx61wGKZ8B8mgN3i
RPQZMuP76kHVOUrSxM/+bF6o2XJrgApZcyUNLo192Xo1UYT+HvDVadfp1icd8vskgPr/CZVK7v/k
m+scIBwGdAaZY7RiCyoBfu4rTl4s1tlzAmiDcVA6jVfALfJJ1r+PK1QgYcJoQ0Ew1c4cpMsobLKU
w/e5w/7vSw4V44NT9Z+pv3cqSCQN8LK4741089yRHQO9UxilZc17zGwzTeuNuWPm2ljNbOa6oBpB
x6YCK3kMOZr9eGj93pVUkJEM9QKwLwAk/9q2IRTOBFPE9hz7UTZl1uF0yQRtY1zWHSf5apNlFx/n
+JsbnVAIyTxng3SLt/U5LGyv9aPiuIvd+eH7cNPAK/mgv3EWFdN0/TlR0vloPs9Ouvgn6YG+LMkI
dIWxCHr6a+UxwjL9Gq8BsdfjTxrzfAieZyX3f8qKI98D/OCQI420furoyrwc2OY0ySeMA+/ViMgA
U6UJWZGe+9UWYFbvMZtiSL4Jei/cnpoPAi2IJj8LGjqXf6nRz1mdiUeW69oBaln6Srvsd1d69ElV
fgtsO8/gvHcAZxi0HLST4QbWrHamX4dbSLP0a+NV6vMZoN5n9TnrIWKW9UiJqA/nfKxnd158+ES8
35OBn1vszO8w3psEk++pkNlc4icTDRN2bR+PoPM5+LzNzvShG5fHsEupBHvAZF1OQyiXps3s40ze
HaYCVo5T44gdycnz8SdhBuq+ALm4OrGnHb6PHsrpqV94kcw+H6fvNdzP+Z01nJM2CUGF4NDk5bUR
Ma3Ms2D6H9bpbOLaweOo7A/wQtVpeGlrRASUHLWHx+pil1aTnCMOPbdfVF25alTjZsAW6O/t4JPu
OwVI/by3kP77uaZn/RccyxJ7BP0H2GQ7Nsr9fDhyQBnvsCZ1jh/moyvg9C5byI/xxrotnJciSL5U
7n5cBNmXJj9cHEw8jHDut5T9xLGImIZxZKo53b/rUX9e0rN1OYh9OKX/6JMR/jrtxad98km3n8+w
kHJz5nBEzKKWowxM3722ODqTTzr+3Pn0rCLnMWviV5Q2BR2vv+L8A8LhiZ2Pv8MDaqaYfsrOJwuD
D/r4BJP/0+jJkzI3GqnWSa8x9RCgqmOZ9vXr4LH4RK5FYD7KTNr4p8wKMwndUUzt2v1rGdke9A9w
pCz08DIYTZPmky3Ub1aKt8Z0OFAHVoi92dmiSLFbE5cr5PfKvZA5HDbh/mYPuqRM48OD8o0m/bj/
3heSf+V4tpHKFLOPISly52l0V1nXof71f6S3wd77Z6W0X9tQ5wyr37eit5NpbM0y7VsXbP+zWpxN
prjfjdq6J4vKvYbsGl8COENu/7M8zudTgKl3dZDRUnCD74aRnEPemG71H2ZzJnGuHracKVCVbBBl
HfUvWfeJUL+7NPi5R84mhF4ZBoy6dHqyZqLrvrSz09LAeB0eiun/TMTY8AGZyRbqN5qQXYHtUG2Y
fpTowdUvoj37Z+MTzf+uGP8rj/M4aAUzF0qePJL+xuqRMc1TsvXHAvDeCodw1b/q4Z4NlT6AmkMv
yaPR/Eh/KaPPkEXPV59YaQhzAIYAYHJsNvbZ6Hc4q8GAlXUcbO5wBl1GerIwkva1cbvvNcoHqNfH
KBy+fFytEyjIzzqObAXJx9EJv8EEcB4+oIcHDhna4jjvo8gaQbBTls/AzQb7dQDx6mECWrwTTpSj
2xdfyuRwqL36OPTNrB8ZLh7kTldewWCdBXe5EeA0c0zc4VuajuzuKalHFYfeDoeDr5YdmHHpVfsw
/EI8QZ9ewllSbZPOcYuLajiqF5YCMftQ9a7XD4r+0jTpHNgc68UpbSXDFXSI7LESEC0zTvcjOdQY
Yanw1KG2DpMo6I2BSVxxWHxaffZkxnEVTM1SCZ+Jhu8Sv3Grw5KUEvgGe/wUvCI/RsGiCOzsO6jd
hyvIdJx7BV/Mb5qWMh8HDn4Wc2UUHeZqSCDJpOSE4LAaDYVbQ+K5c7cmjlPhWNO7FOjKtswgKuiD
PJgNIe6z41LBp+f+4776belIX2FZ44yeeE8x6J0tG/bAT+Q7V+3mFX6VM2K3wm2n2RhtjITVikel
61kdp60FCUK97yeZ1RnqKm6KrsY77GBDilzkUfDJyvw38yrFIgJFA8OMqERiBM8kdwd8Ke1UtnOG
egnJN5j4Aad2EdRXOXA0W2PAl2XcmVjscBk4cIrtEa+W3gSZan0SvCW660yaiY/DUkeAlknc2tlU
UMFsGaTVrpubZYoDEWEFhDoc+1dsu/Ykd0b6v4saQ92BdiRYlOhbIbM5UwtNGOA8HeQtXYJr9TLZ
7eOVGRDm4SdE3pq4vbbuysgDq7myMw30tQKHJR9Hu2tLqwDMsw3F/gwH6HdNonOaQjSdC8c41tiz
RjDx/jZrfF3n+P/jUlYCTb0HhhMacXva24SZOVOzrTd6xQn1xxJ6voPC6ADZLwiU6DJBdT0T0J22
H7Fi1jgzK0LX70xpAC0t/Z1utOM2SK6BWPpE95/rZbKkmzlGAZAM8P3zHle7IrWiXO/n7pBbi4qA
wJuSg6vJxxU7n2EkF8YTIB+gH4qF9tdVTNGGToej2GgepUrri/fFZZYRJ5qG9jD/OKv3KkTMG9MA
xxXMXOdLgNjJe9WtR4ClKhCymWpePudtiFPmx/m801fSUw4WQOHBOFcmOdgWSotLwlwf7Zr5EELd
4XSACh+tLp4nNVFaTVbonwiI8fsAxdrMwZMNKQzIPeZZ7dKcgxEcLod52/RKOwkb3Gk8nFvyxsNx
RZMoAXev4LgR19/LkPMvosTQqr6YsR9zq+GoG5Nkp4yxlLqh32UjcE6alkPkoO3Maae4zfdOa3fl
GIxHfEP2Fe4rnl3UjoodM8RtnugcC5/KNiC2qTjmigoSrxF/Dcv48GVQGvW7esxu3AaP7l0K2ZFX
GuBleypMcfgFD+rzAPUS+PiuNnre14m16O1Bu69GKrxEXSOQ6FYfJMQa4EuwCg5qHfpHQ9FWROpQ
u2jkdPonHfnOtMBIw+YHdrcBDox+NupwAoVdlZaY4yCrhj7n4YSA71qMhL6T1KFCkFWQ7qbEFKcX
hP0Zqg9bhnOrJWECQmnJ7h1YCvi2PynXO2pIJS4SilWskVCEnHW1ahi4+uTJMOdsCKcLsOSXTTDC
RUkfHYfvubtPwkmCiyXAjHh/X+2hl/hEN/y2o5JhK1lz8iVYkecGdZw8jUTZc4YPklxl4DRZJis7
MJQvuDGgpSBp3M3TotofFg1h+gRyp8F2F9r6V4anqhPppkChbYC6/pmKfmfO1HFq4SSQEwWhDDnr
s70Jbh8cCf28TXEGGgfuPngZdgOnSweDwAevUgs8AA6KfVAmFUgVz0h+Xsz6IGv/XesqNdFxgAFk
zGLO/G0KK4IcGMMADRrE7ixyduMgknBNW/v+scJ5R4cyKUBXi2EcdJnzM+cezw+OBTMWVGYwunAl
ICbOk+NtUFrO9OOszjfuVIlTJs60RiaEAL/RlOEREYPDVB/nHQ5gi+PIwu4ehYAw9cfROD2oez/f
D/qcsIun/0HGnDcw+8I0/VsdyyFXUrUtj/OkWavpy1Ffq8FTPVRebU0Oo8+2DO8oU0H+/Cs382zh
pRWIzlHPj8Dar51oq8IRgfNVUX/Sce/MFL9kczb5NXGCu3fPFsE24LPsXgo8BXLUBV4Kajt60xr/
9Xr8X+G2WL0t1up//DefX/GGq4Blbs4+/mO2LZbrbFv/t3zrn0/9+p1/3BcZv+eP/PIN0v2R73jd
rH/5MMmbXdPfttuqv9vWbdqcUqeE8uT/680/tqdU7vty+/c/XyFgaCS1ECejP3/cmn/7+5/gNfwk
RJL+j5tSx7//+aX54+sufyWpP9b5tz+aaPvHrNrm62+7fFv/ls4WN+e//6lY6t9UYTNwgU0wgQ8Y
IRqH7V+3DDntGo10yxL9wgIjJzwz+vufqv43gfFgVShU6KhlhijhHqdb2t84TyclxiareA7L/vyr
RX7ps3/14R95m62KXd7UVPG0xvzXQhysHQ4wAUQDHwtYPVnI/Lpg2rmHvYL/cjIuumyx49xLK60Z
etQf9dbM7EGQ72HYc4PJQWPe5G9j+o6CU7lizKrWmZedMtkdwikejn4W8TfKF/JVuzJneq3f4hE6
w2UVtHobMAyHTfOdfE2z2/FuR6hIZQKTSmTNoOEhBZNsmmwSvM+6CI+7g7a70KqVeSiINm5wj7Tn
2dG8zU1zmbXmbabh4zwUxAx78GBcSCkkgK1r8DHMFmD/zTDR3BMPOpZCHlyfuLMLuykW+zpbSPmc
Id6AvLfMW+Orub/EWX7uSkje0enGTZ1uUHjzA/6RXV1d9LY1AyR8Bg8y4CGka0ucr6Hfuvhe+rTs
rWSojLRbAEQXWpFsolq7RfnNksPNISnv4taYRYd8QcjKLCQNSfAI9H9EZLIUKs+J23ZzkLlzAvsI
OKE00qDdzr2X7+I++HS0jaUUvt93YyaKmWUmi9LUZyykFyne28c0xxHQAXc7XqgZlJPNuA/02714
lNsmhNktCCT6LaHvfWXfgJKzsGLpojr2YGhdOum0P6YLpdWXCOW87LPFqEgXKn0V1Id5Xld+69hz
8IaWuUELq9Zc7hNNNAudi0LfX+2sCFODMtM6/TZzzOWo12+rEvLTSr3FuX/MqfzMJNTTsOYFPhRW
a85UdhyBYxAjZizlLzj9y138oFqZb7k3e3rOibsLDe55x1oOPQ+1dJEaPallNgNdBQmkNztrvt9n
xNgdZ6E6hZVxQpzN4pB0N0djebACoiWCMTGg8oVc0WdaNIsS4AboH9ADljgneMRsnKqC6WLRKaNb
w0lOVZdvG3U23u9h+UEC0sKYSZMQeTVvy3QDGNz3kaaPCQ4hGNmch7ox49RguTvuvqfSNF0xdZHm
U+WSYtHRhD0dL20iaYi0gYhBrI+1lOINeTduyZOtOmuMa/Ag5jpNJ2NPxmcHTJFIPpGzk9zAgZnk
qpF7TxzBWNqy7JVJc9BnYYXthR42Uh3oA3VSZdlCoX3tIVnI6LMKe9m3AfADzlIGZxNmi6wz51I1
KUKB47rFICG8+NbqrXmzc+YKg3547oz+Szi6243uJD9JU3RDhIAdqBZeGOteZdBLEynmeDj4uTbj
xPtKGmYHLc6BkKGfFPEPtfaLGvt1gj1pMdyO0ZUc1+Gz5mq/arG2gqZKDbNkrNj5IlP7i0GvJtLI
O2W3kZJHqkUUTeVAN2DNZWTuiwZ3sjHb8llcGbNaCG3Y55Q1sd1IJ0GIs4Daeg7N5R71pZOhsOil
jwv+61Lr93KfWQBKtgPaQBD2mD3VkwxPFo/+7qisP87mhC92puUNAQlUsUZpGhuQX9vnEIdRt8eV
bezq2u0xXu/s/US0cbIXZz5CGogggXVcRF36X1osY4RrHAQUaAErUO7Lxlw2ubtsG6JaY315sy+z
BSjZE+BCPGXIZzs4JyGKB+V7isMKJtHwoSt0Pxx1X+qsejpY6EviAIe0fUozQn15XBTskMMwj5w2
ZrB2CvM0vDpr/0Tk0EKzws3+YBKhNYd36ApWliccgS/CwYAv0b6Pa3TeX8NIyu0c4o2V2kuRycYd
5nExlVEHZemO/elB+yK6KNGKJ9EX4AAsgKXfjgTpgl4WdadCQCgqh2CeGNzYZFPZ0QYq3dtSVVZ7
YwY31nJEgXe56oPL8ok0/Loa/iENP/XSmTQUuv1DiqVppX2AD8CugGpjTBeauYxwcPtYMt4bOMCc
wB+ElzNWZSnSTydnQIYNVl7Y8Wk+l+kmjOhqtNy+/AzL68yk8FY9uNA5SsesQOjCmRBWcVnptaXF
4wINKxP5X2uEMGGyEQQrekCmNpm+RdUkh2AMijJLBlltyCQpEybr+SUnFeP2YNzKNHQEkxIBkfaR
gtexMpH2ihms0ciYyTS0R0ylHU9zwmDPgRC9dculPWo9I9NvZUKD0Wp+UqeFe68FqFtEeMd0GjCb
f9zkZ5vdv9oBjLzTttI5P/FVR0qY544qmH9T27bXo4QqBwwkZvJdN/LbcIsT4EwKq+ASCv/gokcQ
Pi7Fex2P5RFrDBYJgfT6teNVvd3rTQvwYEN7iazJzC/TEcbQT8T67CDrrcIckzrIGbwgGD9+zSvR
R5DpjkbxGEeLpaz6gmo/ay4MtR0TieGfZn9WPDKCe0JtP67o6TzmXPe5Quwq7l00+dkOPlG72IpA
RhoPPYMaj+KpqIeUI0L5W+mWf6jzL6nTTPSDMm6ZBgsAPkTaZNkY7/OFyKVMLDJNyvwhS+LW0C/w
DfdFXsPWWhJ9NTO1YhGlyeKQG7cygehHeynqaUCrDKNgIuIoSl7yGA4s4VBxkYWdoOxY20X6DBSh
2fH6pLJMFgSxci+rIpnpXdW+LzWGJYucMGA55xRPlWpOASMTfRVNI2V/X1csH8lLlotQw02OI2SY
yU0h4KpdKp1xmSJmIlNHOvvjZj6RZ5w1M9R+2HEsyOIwG5xpkgSkk8bN0CSykdDUeDbEI59orAmQ
6yJfUkzR81XIbIs7NSNXlg87yvpxSU6uBb+XBPdt0M1w6vsNBnEf7EbYDuMxXkiZp6mztLmp3AKY
kX4S1xeBZi1lBSBDTgokhUsC1pAsRkVxAG21MGMDPHnYUOgpMYnLYiYu9uAOfUZybCP754VFJ0KO
wtAAWeVMKSosNvawVsbjHi3gVgObpXtZfNtKPknzT9YBJ0fhX3NjDEJyILB5aPxz004SpUZkY3Rh
dcdWJrNvw9K8rKNy6RY3Tci8x+Yvt5VJbRq30jM1bZCWTNbsrdodDAzFmL3kvEnc5ZA5y1pLbxRF
h/gj2oi+LVPzFnZH6DVyz9hDx57XTzY4SRqnLMy2auwsZXGVElKqN7YnK2lZfMn+JFDrJ5HXQCUy
l3nIZHkKRPBS1PYhSD2Xg7RI16dObnhJo84VU5kn+p5ZOnQ+OSt6R4BkRiTuD29rEPTOnWUK2Mc0
k0jw00RkQpicEoKUDJPkYC9l9Q66IxsIVu7MGTjsz7PDbiNDWNFtj6DhhY2O2LPJfdsoKROpD2AW
k1O/NuXTx/L++6oB5PQRMzgzK/bTc4hMcCaPqRPCZNIRntOG1dOugpc2CO73sTk/7QSUcHrK8ocN
5seC+8zYc/bxH9e716qoi+/NuWXnF1PQ+8afXx75vyYkxfmnUen/DxORLF44wmKQ/tdfVpff7ET/
e9P+cd3WDM03q5OYlv71vTe7kGn+jfUW5namYAJdXJl+38xCcoejOY0jLE75wc3FiPfDKqSZfwPp
k+MzzcViinQyk/2wCsktk6EDadS/Yw7C+CqmyH9pCPgryFfDrIRng4u5yj6bqzPbVCqwqvVxM868
ry/3N7V3s/Puj9795mXzwmzj3WxueOF67b0QwextjEntbVTvfucN3mYn97mu+XKPJ/fey8vIt72n
wrO9zLvu/YI/2Dz4+NT7t0/luPBeCnlfTzIuylOZ9+R6X79SAvmUeE/fvn5NvJHvepvNzc3mnmxC
Lx/f7/3dJB1r/suLK3mRDJ4RnqTz9OO7pndlek/4icoV/ATlmRdyljzwt50k3reD9832ruVeQfL3
4G9IWvKJMmfe1cg3pUDyvDTK4fRRyvb1cJt4V7r3LeH9t698aP3Wu/omrwfPHd9+/UaU7kzytfkv
bbGn1d4a5YlC4KlGgvLz9asU+CvRZTPda0nn4I9eqtfYvzr4X6XuMCx7X6nKFTnyJJhxHqAV/D34
1fT0hDyVeTHfbL2vnO7zlWJybCcAhSjmgqMTbXSZGNO69K0HNsNcxqZy9KAKsWS5z8aefMnlQAva
1NU9dZ1KlMFsmA7Tp6fWv0owkNN5uocJZpdcY2IAxy5XcBO4rExf/6YtD4SPblq8YB6bZ+P6eKNd
46RNWUICJn2dGOiv8Xx0Gdw20bjTvGy5X+bPgYXjts/8FwHoe/TyaY2lJ1zY9qVS++BxqO5t0F/m
+0stnAeHa3cYN4pfHL1RwfLLyy71i8Os9l82N+6bRL7c34felv/3LIOw0UzBOAJevRYRRZb/+Tt4
929XkChubm6AZ+WBOxGue2Q9DjMfM8AsvNWLyp8T6EmTbHBd8WZ3R57ZDt4dr4yNeHySRW+z9yTr
u+02lFu8RJEX3g5X+5lJDMyteYWLqvvYzRt+NEaCiLeNyCBfmo88fPv2/fbr7bcrkT7SukcUI+Rx
WsYgnCR0RTKxWEaTtOJtCsmMSoTetCave95ubvh0qgQgjnJPaswtXpiGvOwIKoRXID0X6VQqLyOI
+yKYIqYMjqN3t+XGhmGNB4LPuN5E/sbyN9w7jYjTUxvG+c2Gcc4n+fINhWH0SN6S+wsP05CPK1rm
vvY3lIsvkNbN3pds5ev88mda+LzKt+Y4IlOXif5IX2UvtX+/2ewZz9ear50KKQ3/Qm6ijE5D9C03
Uj3V+Z7e5w2po4HI8GbDv9Nn8uPD/c10lxKS5AMZpV7Zw1iBeO5xoJw0HOPhbVySSE+/oGgkpxvR
fRsAq67dx+xSBfliqyf+PvTUe20Cyc+E6kuGNxsAorzy+aabD2NQ7SbWLLhVbsynasETg3dzajuG
uKRLwvIrmdDPovBEzcg7l1f5kStv1ynOBn0hMnBqfJvK3c+C8b007JFCixyKENB68vNDHij1W5sA
AncSeAqJ4kFLksph8kT+m5s36UVYIf/giyIuUt3Bi8Yiwdvt3dx5tlasY1hFdxOjAzMK9vaLIw9I
s93xFNJy120sxVNA2eAw+6VkZJoc4nnmVT07zLKLjNlhutnIdIHIUhcRpJPcSC1fNrQeheN1M43Q
4yJMjN/t6vnx7u5UGvBXTqItj5zeTePxW8+fvhf51JR7iBL9vOEav6EI29OLPMZIfZOK+5MMSP6U
9q2zZaIC7pdySA+8yCxy/SKdKj8ANJ1+vn25leEJu7a3cb2bU6lRDghZ7b0N8zc9QsdK9faeOpUK
Sk1vtsvSWz8vVlv0C9rl1MCn0lLJlw1PnMp6t33Mvefnx8XrdhWMJU2V5CUjEQu+d4e8U1SpB9pl
uVwvn+/upXvGs+0rFew8+nDb0SNbxcczhB9S2dIU9KYMTSrG96nDcUwVSMzypaFIeQt0AI/J+Nx5
q8nz4nW2WknPkuzqbjUDqsK/u3uTD2l+uUmvSyVQg9u7VxmV8vDd3Un2ah8BFXENvdnj82o7W3Fv
6yM5ybVy1111F8E8m/DsatuBYvCtvBJhAvfZizevjYfQkcGKHLavq8fHGWV4k8VTJVcIG09y8+jN
Qy8YU/G7aEw1TuIvhfrr5x61QAdFPoIg1940/Uk4kIOpSvnut4VPtWlXBAfPEfnL0ze839BuG/ma
DLFTQyFRpy+L4PP4jTvdyBvJknG0Ws1WDBjpndX2NZNBN3jbGY27Xa0el0s/9i4fIu9L6V1eRt73
g3fL7/cvX9brZcQdbpn+w+V6XXqB53j9WPWfS2/5rPpLx+PVH/zl5DCePA/+KpV+ZfBR9a10eefR
R7bPS+pxc/HMv+XDw7ryyEjy/PKweHwml8vlc+49PjwvF7k34d1itXikdN7RN7zZ6+Pr4yrz7x7X
5IkwPj4vEbN8chl7a817WK8fls/L9cNt5D1cIn64AvFm5C0fHxfPpPf4/JiSosWb1SMCJJcfH18X
jgeL9vgopaZU1Cn3SL2kjg7VWz+vLzVvuX6WJKTgFJR0VhTM8arJs0W5Fs+rFRKwet0+kqzI43bR
0ezBdMGTj6uFXF2BEyV1asePs8dHSkFJnoHY8frpkmFFyqS/eFw8rqjX4lmaarEA/MKTjKktd9/K
dBhTPGrKBctbLJ+fJ/xZUQIGqDTZ83PPyo5WWD6/znJv56+enx+WPP44kNojLVN63eSRakiNHp6p
Mc1V8Tgt+sxN1AHvl2s6nj+ajHqeXVAC6brTA6fSTig+F6UODjdIzJHsT2WlSNK8XHtred6QyKmA
kgwtlKAyUeKh97pNvYZmmr3eKVwT1SLDUcarvGcYMcZXpE1TPEqHIJ0I6fbu8eHLmvH7vLwsvRkP
360vyZyWXiAy0rfSmncrURY07OMjWsCnNM88MZtN1peBt6axuHCqjbyXtpBf6nh6P2k77znwng9j
ERLcP30RfYcWkvfyX672Y4Amx8Hp6jpgdIT+gUuqLw9KsUMPRDyvnh/GNpmWHufUXnqHuT9fang+
fMczr7jXv5OpJP/2/62vJQ35GcgoR6tkvmiWV3kjChSFetKpW65QDrq9lJt34Tz1HhxvjdXOf1j3
Y8YsnSoD963cjFtg7vnAKsMHxdpnRMldGdRvFycleR7Gx69G62f1vHBnZbk6OHMjWhtPh2h8aGeq
dqk9HarxjrypQOuX34+39sSeVFeczFA+kBApruK7vjt5lY+YdHx72s2Dy+P8emB35cxcplzZbxSn
+jzSfJWHLFaUrUJg+dLen2YzJO3xVcRMbkiT/vU+8BiGDLLXlNZ5pe6oHH7tJado8yM5ShIc2b+t
IH0p1ivPiiBaJPT2SurVpJ2KGKbMF5AX+YBi+8H4bpVfrXa+zcdwtnLGCosQIG1R6oWP7O7QSpJC
Pcam6XeTbiKiAPTllH0LLTvRppr3PZ1BTMTnnDbdjTnWRi/RGzEXHe9VSld75uSx8lCEmjfyaIPD
GDYE70F6jTPZU1v07HsekNjSZyfX893KQ0eInpIU6VuGVEp3UxdpJVRiigYGS17a5THych/5Sj2m
r41cXL4W/usk8srZl3CcIyTSFrRjQv9Llmsk4tSyFtdpMIub0ubyt6RkPCZvn9cPlR/4ICrNHL7X
e6l/2u71Pjj60pFSeJHLtxKTVC7VOolmQltE/MSn4j5DBuCtHx7eOviHtFILSUDaWMohRUOhr1GP
6iTmQuqt2bpQljWA1tw+pSwv8vNW4B+D6q3k1OjtMXllzpJH9UsZWlLD19ejD8QNPwc69DCW0SBj
grllRMt+yalU6rPBWbpjyIP9cJxyJRxLA36Xl54PAMiNlee6mwIzlV6WNA0C7XiewSkjw4GIA+Tp
0ik83DqL5+ZOX+9Lb3Tvbqvb6KqZXTY+003D14g1nJS+ZCwdrIylC/vTpx2ZlJfJVK5FE7mLU/RJ
sCiHFCj35VFeH/Jt/lBejx534x1XQd6ksHJfim5TiYDqYBFgPy1L+Z5NxXEsw3GDkOz9guHbsbZy
xjKQZUBkvgRIeMT4E599bLzdbX5TX+9n/4e581puXNuy7L/0O27Am1dYGkmUN/mCkIXf8Pbra0Dn
VN+6N6Krol86OvNIIfJQTILc2FhmrjmyUxXlYR7u4ZXCbx73gGYPV4TPM+Gzy03h96S3+51/ZQoa
xVfVs6HhPXePuIPPQePnnuwR+u6FmX33YHO7x+/L3as3VClYR1+y94FJPHtGsr8wvvakYS/lcIof
5GCj0OK45Dc80f534qc5kDkwlEH+wpdFujYH3RWVbJeJkuKAdOVJXHdR5duhFqh+7Q+/b6fw9o93
/8j/Wr6y+5MHie8cKGGIg/E1d2dzxWf0MNf+pPtV721TgHakxekAc7zcG6dQFEFqYFt47s3rqTiX
hU8/Ke4xiqVN6wOf0omqePUH85yf7AMuUBEK9xTHLdnrb3FC9A0v8WS+L8G7DpPFTW/k0Iq4kkSj
P4eDSzvOM/0umLziqHn4Y3p4roYbe9Hs937GroSixc2Oum9ya/G6QImy4xjyu8EQFMc1rI/7FUAJ
DG9guakvrJEwCS2/8xVf99jWfRTTvuXLfuOVEUfA6yl4RByUUew5fhzsj3f239pXWbQe0gCLYn7K
uH8+rAfuD7OwidKgDNgTSgJL+mteHNh85Bj2hXAOotcplA5UYTofY4xTdyVuTU/4ZdhGfHlFcKy9
ds+y+HPki5+OR75fyH/D/VO/JmX78/o6+XzCe2bKR/1bGuPbulctXvGfjl7Xk34npax5amaa+3o+
k+9e76Wz8/P59ZXffz2/UpZ65Sa3K/fr3Pivz3+uX/3CfTi//rkm+/OMl/KiHPbV/FfGSOaysHzF
cXsdg/141Gg+qdcrtbX95JJCzPsifHwpiag3cuVqt/1ZerRvqNL7+98eP7MujxYMKoeLvtfHSu8L
dIExe3hJ2zjMCs+aeat/eOf2v3f7qfDDuc5/lAbvfr6+vu6+7g4UZvY7//7z8PCz7vvlvs2envaY
cY/rK5eyIMVGDu51L6hw+46XeS17+1NQIuR/n/3nvYq4Z3b7O8o7u7+npGQS3/YCU+te/12f5NGU
8r54YfuhOuwtM0W90uvP4jp5cI7WcX/dzFIhl5qCUnfLp/Vl36+aKCb19ddDcz1/iG9JOqSJt76o
H+rHMl8vugvcguFL9bB8t5c8UDmIgnVXMddeX6DUd3+qkMN52LMHvvYNk8Pkp4JrMIkBP3HreS9W
7WeyxkO/9poCpZr9yHjjeCs4vmdKlf+ZSn+V3s9fJ/3P71Myw/j0fnP7/hLtKVDKG/1z9/W/9rr7
/7M2xf+PDYhd2vN/7j3cfnfjv/Qd9of/pxTV/ofJWL2FpFTBReu3L/q3FNVW/qEhyqAtqFoWkE8L
ndLfTQdJ/gd2OkzS8AclK3Zo9Cr/d99BUux/0ERAuG1gxc9olWn93/Qf9H/thsIXRYlN601F3o5Z
E05O/6oUsFM1lqZRa4N2lhU/NYbKn5PmRRrMPGpF+9JvsowtcVZGCr7BrmZmXls0XdCBW3DhvWA3
qC9hMV6Jxubq0n9Kib0FohvvZUk7WdtwO1qfald9LDJN32R8EOr4A3cmzMYcm9YsSmr1FZAF630q
B08ZmdbTjKF2c9gN1TB7tXCep9YyoYib50F9hlLA9QEZ3VBIoeK8GrhGMthh5K7/Xz7Hvztu/yJx
+/e3hua6zLiWw/Aac+eW9m/iIOEoySJJ2RI4S7l5zhJKMLYyg4qK1h8hKOMpnTb6mfKujtstvopm
UGfDdyIsE8XAtgYOVIZBmblW7gyQ2bjCiv2zwzT+NLdYnjZaCK4WRUajxKc8Z3dQu8ihq/8/HIiy
d7T/2WGiV4kOBJI3U3h0s+hZ/dtnzIhFVmObLweJUDCjbsxb0agVGN31zjbFPiqk4n8CGOIEkme1
qqjIpySQbeXw37+je9vs314Kxm67vRHTvOgEaMDTa/uv6qcMMOVWZhWhhVOdqnu6rPNLwrSYWaSP
qOGtQ6rrbLz1wEhKLKtIGhgKKmKtCBbTuYExsYH2kcIK02SkSSAKXcAZaBrSHFPhznmxygGVsfI4
IsK8xzF5nrj0T60aDERd0mJcW6L7cJYU0zBgCn4qnO4539kqDtfoVb7kW+vA3LaJUwu78Jze8Xe3
KSh0smtUGh91VjVHo07lsEzE3YaCL9OK90Sl8aNVoMLlE7Lh+PVaqEP2jrO+J+PyhqlR0jwu45b7
wiCSHmvlySm7z7bBaFSy+xxtbkfUUpR+m8bjwS5S5yqBOeZ2E2JlZtBa/IBjVqmXWXp3HO1OBXYE
56iy1adE2WCYyG3iOZIR30zx5pdmzoTTukEc2QpAb0P+voDUu+6Nh0GR50dxSWOpPIPZfV8aK7sy
bXhKdSLoxG1vnTGIA6KGIKny+jw6GelIury22ehFialkdz0uq6M5maHdLZd4yXvXXi0nwEC1xT5k
mrBlLx6NrNB8O9a2CM/S+szifHXU1kOvjwWnPr53lV57tTwzeKkZX+bQ3ifabEei4ZNYzaq/koYy
DqaZaGJoluvGMVt8AOUUB1D6AQ1G1ItVHGu9JSYsK9tnnGVFhmaf7TU54pquvHezZXuaMcdXll5M
gT3iiSGrWAq1W+vi87dFRdMuoWjQOY7RKAMml8t2cms5j+a+85d+ap4lFMABtqtkGYYZh0k3fEmz
NATW+MAGJ7zJMg0PQgqD1E3O/LvATjtpzgnrZjZod1a4+5aNfkn12glTHBhdS26BIBgivWUeejrK
+k0zAvPkehBZ7eRcpK1/YID70a7im7bt+5fM7u8lDGzx5UqaCJQDvuXp1AS6qlyvTJ0e589hjT8Y
9cQsd+166A95DnrKvO9RB4V1Uw0hQOSfpbZdebXjq1LSzvHGe9H1blGJUBUEKHKl/HD2/ElR+gXT
VdylcSjRs8x6H9/22G8h7UTWCpA57xgPzJlilcU6hPsJ08XoLRSzs30RXzTAHbfJODDLW7exu9R9
eTFX1ZfGanK3TrT+rGSvgzUnB4jD0VbgvaJtcXNKa0bKGPG+zqZcuWoy7d02k/Wm+aoHZ3cIlgo+
TelrSg0SM6cIWke/LEJ9bZzhnM4JFMQG80G51wwXqh4lCsxobaV87JFjIoFmyH5tnA9Hys9Lj2+1
kaKcx9kvYO4r9nJ5LlDL5o+ayF+1vK9CuUzvOpN7HZ0DqmTdL0HLfDux87jV+BbjEipu+5YG49S6
ndGtj0W5JiwszcPG37hDlbd6K7KsPp9hWyzqRRnWK5h5VdA2q4sgVgsLx/rJ59eiXcerKgfZOA8G
u5sYw2TNFOwUrSdt0XLwcpwGLc/qZn2lujXGsWEizkOMK0+eSWq4LFv3BFibU3Xtq2OlPg5ydYd/
77XcxqprNyrWdTn6oGV9xQdgc2N9pVGtCcb04WMVueSmffXe91ZQ4uIbjNv4omr2J74DydOYiuI0
FPFLq9kXC0/+plPe42LJPCbJUrSF3yVOCvvu8yHLK28jVvlSMT5AW1BO9tqmuLqXa4TfiWdJQFkI
h0iftGS7y1nfLMXq1QbBdNKyeHCdWLnKmtkJZrtpw6bC9Vhf10M5jQdlGZorIc8vVm71fmNKcZTr
X6M6y89mXNe3YrHvzbRpQLD0XZTLzNRj9G7hFY/GM9dVN1eZT91xinACcU+2tdlPh/M0C+lUwm47
4NJ93nJrX/257KZNrbzbjnQEcBzgOwjUbjHVQG64rOf9Q5XbxauUNwzP363V5HzqFn7so7QCINwk
+t95H9mJzVzJ5tkEB7691pcktW0vaxv6mhhFL59GI3/YoA+aWnbuyswMbMm5SVbtvBl3TmtcUsAB
4YxjQsTw/jMMEw6pX//U0xD/Gmu7yUhuLU2xq/ZzehqnJFJMhFyTqZ7M2nwujQKL44VR3tJRk0ht
tAet02nkz7nXqv3ysmnKEuSyMCOHaZSK6Ze6epfwkWCzgprA2lJcdbS4Otj2Z5/uff0cXYHaq284
YSLOEvNZW/XytlCYAS8kLFQtctsqj1KnUCk+EXzynOvKKbD6vdnMFzuVi3tAUduVnjRMNEjFPWPj
xf0Iw0EbEG2ascD3vf777nlYZULCpsQnml+UJwk4YM0LlNgIcYtqbn8fywRFcmX3yzPW636rW8/D
0mOuvzrZUwcoLy/k+ZVAuzvKYjL9GgpMYDFpcRCKQTYmdhzKatRustqQdDO6dg5+ffLi54Qmd8ac
PVl9rCJcZSynXazn2FQubbJiHpUy/tTkG1q67Ak0ohkuqVkE6IcRTQwvscp+UCz5W8vIdRlP5H5z
90e1isfaqhVfK0osYav53kxgjBVj7Ul6d6+O9XoY9K8m7l5s7MA8RwPKriUPeT+kXqcwFiO60zbj
1oFXEhAwZrkmyCruaNfleRFABjNDBLnd3g6ikINqQ9lR1rjPw+3AdoEpciP/njLD8SFtUSr7Hq0C
rU/e8WJMGYiM5i6W/TNZXR1q0zOrCayZ6Aumoa02ykFpYpKu/ciEBFNXNAGGwTXDy3npx9xVKtYh
MTN2sw5AQNL9mcY6Iw9YPpypr25Tq/tJlp4KXNV/jWOLr3syQ7yI9CyvD05Hnqx183inzvZdUSSd
v3aSfKVL8qUTWeZqTtZEYuMgVXDkt0XZXBVqMd5PdvmUdMrmNl3/Y/QGVZ8PzPRbb8hyOha19FC1
i8JxfU6TxQWwlPTrtig+mKAyPWctvzezzzxpAVLdyEzEKkA13B5Ym493R+FZcnerZcxIaX3V+sN0
Y9bS/Zw2HwCRZj9fypprV/k1Jht9kLl5sYohJ/EvjuUM48os669cLpsbjalPd0r4FQtAowcN5Jgk
MjATjRiXeXUUncyJdY0TlYvykA4KCLx5uBvUZTiPXUNbeCW/kjqM2orcPk2av9YxnZvmUqVVB+RU
ozi8VJQ4maJ2d1193pmCNCSzfViT1vWsrX3UmeVHn4/IM4zbiUl1LxPxntMxjgsIwnS3xCJgMibh
26P8ntba7JoZdls9FEGj7k7zZgQ91q/36iB/S3EZsuFKvmI24qZOAGl2vXZtm9vmwR57gYbhjvVo
XUuLHja6Ez/0oBcIcSID+w9GUtTGRchNUSbBDg+op+nhAQneyKwaxvTpyRhWc5fj9AAcQG8PSWnE
TKq1hZ/p2VXe5m2km3VQzsxMWQZ2/XJZ3ndN7hWqUnr2Up1Gs60uxTKmECgdO+yZegnNJH4tk1E9
QeNTT9uCTnpISk9aU5TiUubbjFfmZQ5FLi7u1wwtLE6oulO1txDMwZui5poJC4PN0sQJs9RPxQFC
hqHMhbDzYltDdt+1aXejOgniZynMIIgea62YQlkS3ymG/TdLkTIQt8QkOJP9oWTDmZf+3EBmC9RN
gYpSivtCxhJVn8UhH+YnkFf7AJW12xSsWSgcLfPK8QgQQr3dRPxMuSF3bSvRwAoAB8bkwocWJIEO
qmwmNhfHwydSiWRidsLUQT60iQ1WR2/ppTqy8HT77KhgDidwtpGmOd74BBunc+VG7e8sAnvouhRt
MzAFXN3YhcUfXGoLf6xNgBsi0qBsEUc0UW3pRDhNOWGJZKmusLPXJnWs+9hcD6ugZDptXpI5HcJi
3tW0nz9zQgICdJI9+NnkqZhUmIMXC4C3Y3pKtqEIYHbd4gv+p0yCZlFYI1An9VFj58tvGIIgcFdz
Tyv1MKt4HktNUbcxvWd1LbWDi8zMuzmluZcv2nc/SX/6vDqrW3nTT+nirhXBGlPjbZDP8Q8DeCzK
mWKl1pwkTrAQxAXxbOVvQ58dc57LrbPkednLEsQx171svMdxeSkaLijTCOmkqL+V/qGMHxcD2quq
ZoFi5wEkhaPcVrM7WMq7s6MYpawd8WoCjSwxmEH0EI1aw1S05BmNSoMSOYRcseltTYGL0fA8ACu+
2JxeosaxV32hxBQYxv6Zqez4eiZ5aqJ486qcFY25D8nh3GN4eNuS1LPs9aasprdMZYAXTxg5bFt0
1hIYw9l4QO/9jpfbhYmsB60ocOEpHw1DXGLDubEqLoRpiyWDem9I/eipyltZJHSKHfOms4sXvKyO
/aI9MFOGplFuvBH+LWiPlWmzhORUx0hDEo/UtHJfcqpIqvRHSZFK+NQcXWaq1yTtGsRVN8vHS62X
j3Gf3OGWzzhZK7tORqZfU/suzZskbg5Lnb3HRvuQSR1My769JB0PWMzhruIwfI2oVNtPsKE4DmV7
hjYe9Ub5qWaUP3pamtK3XBjoi/L8bokz3Su0DPRQo/nxJrvK0txX2y3mX+5QKlzoxlsJHukxxzyt
yoYrOV2PuQk/YmgG4eMfRNFYOWxRzn6s5RadCGt8HxkcS5w1bERtR1LBMUhC46pqjAe5WSxvUeg1
WFdtW6t4PUjXDEvbSXqq4OrsrtId+s1MBG05QYaThW8kOoN3sNBis6FFiGcCQKmDMmiDi2Ni5uHE
Wbnb9lYU9SXPGhc7MsZAZsvb2oajyO8MFh1SdsoRn8Wg44bgWESt+hYiu4cZUlqYZBWG4qlLFtgK
CMEGQ3egaSZ5DDDPFRFrWoujNnAilpLUuW0T9kP2WY3x1Yws3+2z5mb/ZPF/iMNmNMOyaEnrpcgU
czSPeIzMOkLYJo/kato9r3Sv1pTTL6tKd5reMwDEFIAkA9XoTZe0xe2KhIn35XPe2teYyM0a2jZw
qFwA+NJbr4uPohXvcw1AHjRWxpCzp87TSmDrfEnTfJRmgfxg7DZ/bgBqj/YapdRDeT9oKk/O6hW1
+ZoCH/EqS33qh/bgyPWPPLUvU8H0e1JZz4y1/Gz58lKrk5eQk4XpJH3aeXqXLsrVWMofvZWs/pIU
o5eb1AjaeoqqzX6pK+OuVRLdx+j2j2gs+qKC1ohZ5G5rzqEhTMYjsUxQcWIDfcwM9VrcWMryZzLL
73igllPr6tMyIdy15dsB7ki96Z9lVQ8AWYfVM5diDTRhhp1eP5jtF5zS2nPmrfO0OjvMmlmEcrFe
J+32oFcdIg7jLcan75LT8BOauG/n0YszxqCH+i0fJC7A0rj6IilPSUrbrQbnxDQOQOahp211zFfj
bbV6LRKTF4OP8qdeQLqszQUCZLmPhFTHzgTcxAwpYtdYcWupWL2NBSVPBHC28pN1AJXaDA+V0sgf
2qSwnmKL7mpqGg856+xJ6V/McRv8bpWGyLDr/knn3+aqud5Xhd09MWt2KqxOud3SZo/nmvRUas5b
1dXOde4UeCjK4Nt5BuP0e1NZReOPhp0dfm/21lqFmVwfs8VyvLWyt6cW0EWoQU9ilJqOsarN77WW
eOoKlVNVx4BZJ9vTO8O5J2O70mpsB/BP0g+bYlVvChudXTvFS9wozTlfVYePbKjeIFGzoxrsbKva
UNiAzhkzlvA0Ztm5S1VqCk72aunYGO4YdIBU9VshK/E+CFWFEwjRt6Ywb6sqNe+X2opypRvOs2Di
d9n/VatZcl/LaulUZNL24igfydaIN9FzlZaGhg70OC/BbNjzG/DRB3Uw5ftNKmDXt62GvaQyPupV
f8orZ/Sg9A6M6Rr247xpkHWT5grMfOcxT9gfNjW7h3L4AMGIsGPVX+MsOSnaZD9A30rOWbYeZsih
rtEtN5lk9g9tT1piwGIMlMagAqOOyZWqEgaYLcUbURd7vigOQ0eGNxKwv81y/zTh53XH5k4QrNof
WcHV6PehcZ+v7jbZN3ANtxP+2cvTUIhjq9X9n7wvUDI08m0qRNBt4xoUUNCD2ZpzHAkkt8IX5lnR
NvMsGPXmUhhnb3ajJ95WSWR6Vp4dSiZjg9ZKepc43CDrPRfUOtlfS+W8QcV0rd4Autl8zi0LftXi
2tuc+nnMVszVa+tdN9OczEt9NMcy3VfINRidiQFYEPENtLNe2uwwMz2qyhRpwDN4xZbTd9fGJSin
7ZRNyYM9jQ47XPujAPWsHRCCYMhQAlvVA2b2SyTERBsl+QHC2IRQp0IjsZpLJpGTijs9rw1vVIkf
oFRYboJr+lVOKEGJcBL4Hqwwk+umCRc71QNKMY9Uf7vrRZ7GByVxdlJsfS77/mYV84dEtynoX+sa
YJUF64l6rXmwm/Fk4PZVJEl3r9f2QcKh01Wc6Q+gYoC6+ZRdL+PoDYYlQmUtV28oUTWYvX50Uukb
NAN2Wsw2VBX1EQHWSc8GD1S57jqS7Ms0fNwVNAD+ziNCes0RB6u1X5a0zSI9z/2ilOUnsGS4FFWP
ugZystsQ4ytWhkzMUkbM5iiZ4nBVk0FbcNvMZ7xnbiTmST2TszCo1OYyJsqyFz7jqFyzP8TBb3m/
zY9TNV3USv6TdijAxswgMt6t2XHxpABPGyGv0tMw2AggnIdyj5qSBg5bomQhlaM5bEt5xk5scYlB
40siyLfEQishSdCNqXMp+XnT1OfegvOZw9i0S1tFLlqbw2mjEmd0VnU0umI7GSxPX3eonjeEmhmO
Dl5RGpABpQqTKbCXybFvKIhSKCdZMV4tJ1t9eCBcqJPiWhNxHtUsXXzwuqE+ybmTh7ozPkrWzwgj
MTOdw+8/UxfDdiqpT2N0YBwWQnGoZph8nwbDSNEujnoazcpwUXGw0PMYunapTaetiR0UZBlgNQVU
DYRsfEPa+CRv/QqPrKNf5HTUOZP2SCSknui/aSccBrXTINhmtVGlE0BLS9tfW68X9ane/82/bkr0
D4Cw6f5UmvZhZEFIQ5tG5rxerGECxI6yP+nyxZtSUdMW4XQ52ETry5qGnVw3N4SJIy2iu0rkX9X8
XrEGDnOrFsHY9Td1rkQ9xn0HWZbpo38VghTDLkV7E8fdTnTT2ZuT8WMqNwPrGuM5ruaHaWuQFSsD
rSTNwpnEoI4AnRlbsbF/Ew9433f75LjqrfPMbKrRADyTIpvi9ikfGsurRGa7Bk5h9HYGF8/llyQH
HVUlCvMmy3jJ+i9VMZ8MypJJQ8GGrU3vli4gDn5yCvFd2RqB+La+D442BLnS3o12BjZU9CcqPCQP
S0WwXRsUsoWFmjCzSpdzuwRT17HFLoStszRfOZtz7vK3dRsQHMX5yxBX6NxUBeO/6nqiPMzYT/mt
F8OhtTWyr6Q2mGshL46n6WBMcsFgdLtgTTM4vobta4kDjStW+7oYmUdYOvVIZ0bz+jTJD05qJdgE
KkpYtuDpWRkimNOeU2+FFpXkj5us51fbivYfxDal0EFxK5seQKst3+M0JWeuRo7LdgSLvbprrOK9
XvNHVRZnfVMBl/P+5aOWXzQQ5Q4V0AHkeb8MqDbS2HGx0KR/xDStVxaVFmrDtJe/JtmVJz1QRskI
7LYCf722pntTZ1t8t9Bn3BQH980hy7xuj4713iRsBtjt2UpnUe3UvSyeWeEO3Gq6jkc7tw+F3dQ+
hMsqVIdVuze5ztEJIFeHHd/hdhYalfktpvtslqooq7su7CeXvn4bmm33lLK7hJhKOJZ2gtFRVfp0
jle7cIdkO82EWI1Uto9blt7Jfbm4fUr7s6DYPVg611Qc6tt6MxgyL9lEmCfSyr1Nr6Z4uxcPAN7f
jNy8d4rEdBetvNNp1Rt/9Ph6SiV4ujX1j3U1vbgoxQtr36mqV6WVY59yHcoQ3HtvNAaEGw+gO6K2
Oc4ZvNXHyOjmnzKRHc9MsTnextRLCsaWW8pKRdlKQTVpXjwXnWc7qQjA/1aHdJT+xJjvugPI0cBo
xM7DbsvHTgx+Ltnqw1sumhjOOA0VnZ5zmW+hEPXBKsQVrrQoINkJschRWl9rB05THIliMl+vF/Ra
4oFvHXhSmrD4vzv9lZk1bHpFHKmik6MVz2JEj/t9w8RoXNFvC8CNS7M5BKS/d3X7/b8/ZX1J5WuO
bwub0s3v/VI9idM/b3JRo6NKDcaNlUqcmgre9l8//j6wVaSWCro+42IinL//z18/wrA+m3aWRUWN
e6EL/L061bNSnX5/Yrt+13vc0etEjmp1u04lSRzWjaFADPSr66GcKUoP7D8UekKmyjkfCR6aqlVC
ae4RTa3FWdEx2DbjOYlEJ32Ys07Mj/eBi2/w3WRWk4et6f0ogbZp4tvKttewSwhOKEx+N9UYteNQ
cCqlmChgq+0a0NIj1AHeLFvrg53dYrVtBpI2ckkyW5cVptE2oawkFE6VSTPGi9niDTm2ymuJuOFK
jeXvhgAQ6owJD9pRvtV404KqM3NS/v6IHXjGArzVZqu/mk1OUl0a3KWdlnBSOKKtlY5Vblleqcm7
u2kb2cXy1E9M30FQcFu42BTy1Iz+a+ZixvhtijH21M1iyL1i0j2TmuxJLeSjhDG3Y+kHUj3IsxSY
HLucz1zRb9UxbbkuodHeZAvCZHd2Uo1WdBtfkUXbhB6q4bFsqZ0YIyLRjJiGqI2uHrGjKwwkjmk/
DH5spF+OLHdhs17VhE3ndVg+MRnYQ0Dx4QiWLYqY+6yzFvYLVJRd8wJ29gQZm2edYkxdbTDFaGwe
nV4gdsk22y9iMqluccpDqsCtnFOvngN9tJcgnvGj+l2xjbr8vXb5XfPYi1D/51LfF/E/V/jmJAC4
ZEoW+5LGVYf1/7uwf79J2hR7M4U0QrXNQQShrLiGyQcll5ugb8oDdQ50rGuLm5ei+7RA0NpW3eD3
K+ceLskWBMC5BYegQc/YtqupFDfyEL/3kiydrJGr0hSrFFZ0eQubOD8oFpuXCSL6bFLYubGLgQIW
BYrgF4NrS+uXUhnT9WLrNIem9qdvvyrhbF7VYQo3YmoACFn3VjPUNDbVQpPIazONa1+jPRu7cVst
VDsshfLZ9kIOhNV+LqnutioiAeQaMXxp1uKcrdcjjSavq/r7YUR6OpQj0VoFYFnq5udK3RA9lrzd
66yDrMcwxqckQaVAqpGJttutZCmW18tb5ffZcG9Mt2P+QbGvDFVp1GltHfRZwaSsn+ClduOxZDP2
Y62x3eRP6ggYqI2D5hQzprEqZk/p58bHDMzq0iBJy+W06AerIurhjHqY7UU64cRahNM44R9Vps+W
tiE5nFHm6N20K2No1zqO9iSJEh15GtP1nm3OjiSvoUfa3iBVpp8oSnUge/oVfND46gKjLcawTWeM
l5T4uUqOVaSanQnKZbFcaSbApg+Y9a4+yQoyC+qRMu9ISpJMTZAUzRHfOMzHLpfpZ/Zm+9TXdHut
hWviVPqWvOShoNwbam1lgBycLjRlmQiqkUls2wIwNa0/chW6vNgylaYNIuhkh7XWNldsLpfQxjFK
OaroyRN7XXhbG2wrjOkobRQl8imHSB0blLQbzaNNDMk+TlifejWTBagHK4tRfK/iil31a5hjOrtJ
/ppJMgBZ8w95H6zwxrdnw6F3ET9T2mjDtKcW1Btwb2oWQqg16VMOIZsiwWwE8IHyUEs7ccAsF4I8
mFulesUc+FE3kjmK6xnnvsY8ObUgLot1Psxa1GEus4PXWnaAupgGkKExz7NHiLzrV1yOyreVvmmj
MrudbHfHXKQ/G7lBpuRsTXHx3NiWOK/knrHSDri3xYU/6U7tp0uVRvipSXggbm/0MspbUdd+1djV
SU41XJ2b4dwM6XwsqWNUoEQMG6/aSbnXG/VxSVe6V1RqBlNxvFnZaAzy+doGdUfOt0cLIyy3rFIf
xDLWSOW9aiMeQv1WYkfJBaJvI3Y+i1yS7mqZJVpUjWZBfR40fFyrlHCJ2Vypju/Kfa1i6uCqzfbA
RZFEKV+SYCodi37KZZbUK4wU7aNSMTugrhk9Isd5tlFEaDPnZGdtd323nRtwJbPo0t3/t8K/BzX+
f3B0JsttI0sU/SJEYB62AGeKpCZSEjcIS7IxD1WYCvj6PuzNi37dDlsmgarMm+fe9HpS2xICyPrS
XHtAM2xmVQWNrrH2q7ecyOJNl8U8MVjUc9HwuZnWXwqDI7sNnHAS6Vljhhtm7ChZ2X0aMMl/WrjU
TJHDvMelsemC4tN3zWlHDGexSkylh6VqnJ3Gn6X0Xr2ygp1sSgXFwaaOVPcguxaXF7Izu4h6+V+j
f+a5lhCUSQ1pWnhUbCozI+B9KNPcjQhN7tapRsm6ZCuevRyEildECjlEpDWPkVmMmA0yrUB80jFK
OON8dIIlifxMfQV26fEIaLis1ICLtFdLKFnzwKiAxG67lcecLCSy8/FZYMjQBGhSb4pvG2xR6H/0
csEh0F6DxEX+92MMTCgpaSWQtVPfC1nq+jY7yb6ViJNO5sodB6G1ydOGuwH2qS9Y8axIdlqxuYpE
eIB8L4hX8zzKiOEzUZ6Wn0Zzmh31eDF2Kk+8aA5quMmY2Z7bVqGK+09/ykgPZU8Fy4WxFyHg7whf
/i2MNfOzk+/FP7n0SOLRQUX94G/XCH2tm6BZsTw6ncUT6siOTFRxLByE5hQEb5ZBsB7HQmc+xYyu
pRnqFbhYptPIloibqT8dBaMJvkT6eTub2A9evAK+IskYLsoKcsUiv2yIHHMIvhPcLqxD1reMiQyQ
txLL06OXiLP2OPl6NGvjm3KhoPgGsXaAICVe/mBXUzSDuCVsCU9Bx8BI2I7HG2VqUea6HuPwYS8m
DyV9cv/IQplHAhb5jn0UCk5Hi3sdSe2pssqOANh024nFQBWqfGRzMaPpB+RDWsMmYLECX7ziHOeK
7xnmGbTLIduKuCFRiDRqxritvahn3t0B4jH0yElA8O1/5qMeUc66srnnR4OQRdZ8G4yTt/bj1/Mc
HuZYX8E84NedxrthZ8/E+688N7v2vG0hQfjdqmhye227UGa5Dj1hMJqNDGHnUTIPijmCHkeObby1
JnoZD+DGKpeXpYfuklbd70ZZ+1ve1vdKjUfDabAUzvYUFfUxldk/q40Z/da8cfBQaWSKWIV+MebE
2gcZg798zYXybolA26ZNQlocfQ0jIgbUKn2dJZkPS6zWi8I0lDX6LhuzeiP8CgjPMW6paXwoyTuf
6rn/pFzjqSezMkyS6nPQM+MJIO0yGEm84TeyorKMr3KqQVSqVUto1RPSe7nWhgxsAohycJlUT10Z
LV5LS4gcFEFx8E+y2jlD9qHaBnTQ106IWcdlqrdDlhcrPZnTaKTjXelzvdI7mTyGivDOffVYjS7X
6ZRPL/1Y7YwENmRhWcUQ/I/9PIm58Fa5wwWilWuCd6+qFSvPKL8dG1VIEw26VvIxmAOHgUfI2WDb
nE1u+Usxk7+ORY+vKFf1SvpEzZu+duuM0Ytq1i2sK2/KVtb8UXjaURZdFMdcdG32LvNiClmJvjfS
/H0aKGlrDonraPvlmq0lJc+OL7a1Lk4xf5bLFdrVNtcqL1yh2NLqUSqlgX2tjISsVC2O2qTalIPT
nw1RoqQYNo1DU79ZXv/ZuO/dGH9XxTDsiBddJQS9TWhCPXLVIe1WpkB+SY01w5HFLm9K6uPRMuP9
7OE5iieTfpMsE17zdVoujGybAlzX6Xam1T+idDN4NycNmCzNm6FhNIfm8qsTNVZOQl2ayTQ3QTX5
CJQpikrT/xZOZ3JOtkeLrbqRdPtzy8KclUAMn5kcRbkwn6tx0iOi4eBB6/5UrB+x1NATBcmtHASm
dPINkCmv2ugbYcFhCOlFRJwyphUnIl205r3RwW4YH7y0lZ+chWISqTOW0qu/ca1YdjvyjU2PRYFd
4cM0aIGJUJ1oaLDCi9KgP0ji15gJ0IjW74/9tGsvaFP+R7toyM7o4YnDZy93Rrq8xOx+SS3tZRw8
KMcJCc7GYVWoVe23W0MqIMfMLiK0YGjbCjLaYEWeetCv1qGYbGI4psFYlUu6YQE1dU1jrgvO8HDp
DcwwiblftOZNqexa6gz/+/plzIe3ZPBu/I72KsZNZisUGOGyCRvNvSIXj9Z1yJd3WWlvmf8YMmya
uKy3su8Zgj7EmAklG/hx3cvOjLq29yPRS3JoyhdtYnehZn/aHibcPPgXJMW9T+uwcIEqXHX3guLi
tFxUiMDv/ZD8FoWLhAI0oyfTp0iDat0MOgJI+SS06qm1oPhnTlK/ZwIJErORRX6mOGw2MA8I/lic
SnUyc7FT83EpcU3oLp0N5emOTGQDxvCfLh9fUumMO1GXPO4wLJtUYA9qTJ7aeM+4qwV8giq3QHcC
8U8GE1fHJL6NVH2TTLct9Hk4eHr6pcDzeNPdSGnwBhKdNNRAStb8djvXK99rdzbOwHFHZozj1kg5
VbOYgU63bnvqnCSwurDOH+e3ZD/U9JZ2cr1AKNrxn14BQtKomWu3S9/HbNCOQZP44RhAobFl4aSZ
3R+E6IiZ0z+2dhj7zkfneWeqt+Fy//FjTORyeKeTU9ySTVRb6mDSbW7qtL/DuvIXzDLU11ZWG878
daynv8y0zlNhdhsSyq9Ou0us+A8bJ9NwHjFLuZ3g+pobqGyfj01+0O/j6Gq5tRfK0Mh2D+Xsw60L
Jhb5Tnpyx+6PDX8UeUkB3MMY9wfhGG3kuC0ynNgVLeEova+z3lOQ9KIBdcQzbFNhvj0eFC2bn1O/
JEQpRVcz0fCUsfLm8TolNrAb8/1liW9uBRUax6E+eGcxCcjYonzXW2YbUlC/BI1eoo/ALKOpdiiw
Vsq/UC2WGN9kSFkx4hD/T0fye8oIOOr6KafS3bITfoEC4ecBOPsbL09Wr74aAspCi+2crI3CExC6
XnBi1XlIv4e7bPpXGQh6vc/YB0KPqFJjRw4+2qRVHgDe9r29tAzD/JWQ7esc9Lu5S/eP/5iN/kZq
10w1CKIs9NRT7581ay+FSMUKEbsOE10sq8J+DJGHyBbdvJWKi9E2m9DmcgzGZi8CJp6xXqxqTSCO
jX/1IANdSsXzLBr6bPuZzOPvYSg9vnasr3U5bxIzH6PeNk59zXTTE8lrYX86CZJprN6qMv6pSe0L
MxZxhtOcXGvoqEAVn3XbUKenxbZSC1tuZBHNy/h3aZfPqlfpWnSJv6XKg3REukwEc2dC/te+eZwZ
wW7Nsbr7qjt4qYXvLm73FS4oACdBpbNAOLTezbfGJeQM/5up+JzP2vfjyFoqeYAm3FY5tLSWLm9s
s+xEy1zwoSbNg/Y37xUctf7SM9KKSs3cxaVL8VAHDyPPefJcHy27uLoTu26y5tfv9DyyJ4Skinwu
NY8/bV2uzUFdeOHO5vhKF8CXKw0bWd3+Sfz2WRq+XHdJdR4MGdkGlVeVLqATqf5jPQph36RGkRyM
8w/xj9ZaOMNbH+BIyWQaBjkXsqfloduyoDUNkCdKWuup+TCWpdiZg/8+Dk4ki4CG9lFaauNzHatz
SuOepzStTBTYCKTZ5C8m+euUTRsj7rbwL31sX+Ts1KuqVLACCaBcHd9ZV3dHx4GXbB/oBZvfTRZO
wTUMt9jgoBgqJtFGevDs31oz2Zbecdu3Y2lfkF9WXi5/An3+LNKCZ8SN3x7PiT0wOae7WU1p5oB5
6AHFOxi4YV0mxo1p0/HWDNm48WpKJmtKVn4xVWv+4gU9Sq1tPctlEm6vHy/I4uYi6mzjZc4qXkpk
33DIHluTfpcxpjcbMAlM/HFMgkPbf3TYZ3qDpyy1t5ZwtjAFTqT7y1ss/WrNHHY1wIhl/mYoSJEt
Z85Mt2baGturoleERkgf5IwzGYV2ogKrd5lnveVDcNQqAGQtfa8hDTvV7IESULj5uf2UvTK6dmKk
SbaJ0VyNCh2n8cptkoDNzbCivPvoglXzm5r9viqnqOVOz1zvzVPiFMzehVNljUQZOq5yQs+QdaiV
/d7IeMlYwEcjtzxbVgoGK2n/2RV+dWifrbF4rRhJN0t3SB0DqlzJvVXXe6O1n7ylOsIenrMZAboz
GlKmjGUdFNRT5ItuH4enYVYf/3+IUpdW1DTL09La6zyeju1E1Vs3/cYrFBakeOcn4lyI5VZ71kvM
JqmpBi4q1MbXSGrLqkc0asof4xb3OmjufPi73nQZmE78UI0DJZzEPyypOPi2XC1+eXBxSG08xzgl
nHRuEKht6u0624mWer7D0T/mac+V1z8B9kVTA4TUrDMiS3GX/WjeqSqtM0gnLvCq3ZWlPLQLh0w2
s4JGJTqCOflIfCOmXQGV9Vyrj6FLNjXrFnosDIZ+kzTlyu2mWzDXv7x2BMema0xet6Ca/+YxT6wh
MHuXzomk7y9LkKc9j+UtyXPIaBGfF1QFS2lfs2s9oBL90vjBJZ9x1hSF9TRY1Wtbqpvl8FULx94X
HgO5pYvxD8fBc+/XOMZq40DK5S4YgtvQ/Jtz5qa0g+gi3Ck0LrwnCqSNWXitj0/m47Jy2cwSIdaG
gdm+MRL+rst8nXn8TRZEGUcE66U0rrj20hUl7SvbPovIhcMHxyh2ExpBNFkc0svi/bEGykLTvBvF
wEavevr0/K4OGWvdM1CVQLhkutsfRm185uKvrWnuOmCvKmP1pFxJcbabdmcR6JB1OekK5Ihf5j4O
g37xo3T2CiAKbBt2Jpq17nk1da33nBngIR5J0NnEX4LNB6r/aJb5r64I+YO55h1F7eW1KGw4wyZ2
XgYcNFWnJdueCHqXii6b5iM2tH2ZuCsRWO91oFa6eXB0gQ1Kp7plVrO0/2BIrq49ElVg+/i+lWKE
22t/R1t7EXX/C1lbcO67K7tt/jgmIMfMjWakd2nF9lpEflfdZ0MIEKhTP7eXGvvQftY9Hq3WP+nu
hrWb5Dl28zF3DFwSTbxy455wgSW4yZqPVWWoC162y/yyi7JPlRhczWW6L/CXEmH6nPbJb+Ul+xkM
lzDRGM43v8wTug7hjBMGmxUrcmmzXRLxivTbJo+2VfgPF72AIPPr4zChOcWztur95KAF4s6E+NDF
BlW8/tnnDCDtubihdgDOFhwL5ohHrA/8bj25Z9Mcz3WOsMbCzFtjMnLWDxQOXcjO3HY3j13oeeIq
xSj3IycHU4j9MNV32wDmngpmA45n3jRfJVGlM8EdCgMDx+BeR4ZVQUI0vDtDKxr6QGS1uSldlAGk
oA83xdCoa/lmqvNL5mlXP0B+bESPivfPy3mVjZocG905ja39XLkPMSLhp6pLn0FF+Q6T9Fy7KSVg
DOWasbJm+EqTJxtX7LlcxkvNlVti7W2D5Hss3PfeMm6siDiomp+4H4ytK/knH7yKItU653iygsw8
9rPvRJ5ispYh8OAcbDYu3GYj0HtLI5vWytOjEudUURx14a2t4ZxmQLsSYVKgccgZudOvPRm19FeB
KdmkKurXxOPzQdO8632Pz80ZPul2dqmbpVE20IgsAsscODgdtnLrfc9wojDuFZOctROQ3OmwiHss
1stILzx6JtZA9wadsTd7KdbpMt2buWmORR81bfeZ0A9zKa2T0Xy18vrFwxEKQmczCp+vVl19DY39
Zg06ES7ZjXqgYWg43CoeljBN39oyu/RueWgy/SkGxlZ8kLptPdV29+mMOekXivms+C1dk5Ql/Udm
PcycGruN7YwfDy9H/PiMbcglCEL7y6idmzul99ZiqQXbc1tn0daJqvZD3hMNP31kbNONMBXzO7fO
rnCSP75zYrDEoYLFxzPqb3b2ffqpNm8ESlDWIlPR/20127ug9tGGB4LJr/GW+A2rUmg/HdkcJ+Mb
uhr33qkC1qzS+YJxEbp/1Lrt2OtboBhe2HQVQPhEVlu+Wc10McYYKgSF03MmVNEkB0Mnyl9Nx0lW
96pa96Z2kswHvZyha3mXQwK2arw6xThtJcvs4qXccQW462zof/VmubmD++y7/XNVyrs/9s9eQ+tN
9PsaSAug15zJE8GXH1DmgWEk4lqXCXYWQzvx9VK/kfavoxNuGRRjm0ZuYD8R766Blx4IhxGE+EZ7
PLAe64b8WoU+tAseyQHLB16s6B5Ms2Bd0PzVeJq7iZv8ghMUgSewP9AyakxGyM06uHnrVSSCow/U
CCWifCuoW7IYpLcs0GD4o7QcRcZRVKSYsp6pWbkujc940ueV6zloSyP5YaLe1A5wGqaz0HBO1tJc
HTYPoiFlV62nsxCSFfYZ2mbF4+Foy0YzSzZKPbZGNkhlvlY8Mxb47ZB3IK0wKaTBmzKxf4Py0aSU
w1l/UXPb4jmUmGrh+1ireM38+NXtNPOoI0yG2piu+JTOKeJjK3oAKg3LGLUYqQ7BYeSmbovb4Hh3
G8tKKEhrCIuaZUWpY8FMCJQOfi2CXhnGJXVC5s57uRjvKqtfyjQ+pBnG2UQMJSkGODwbscF5QUIN
N05ud6vUrW+WtZg7W6cczXztnDRBG9q3oMeBHU/WewUSiTNX3gUdbD73Yh/0hOpM5oen9xfXcs62
T5uWdjgG89FyQkgP4ryoT22zYK7erPKl3RlDfy/aATzT5aVM+4r71yfizOvVH58Za1IEbWT34sk1
qn9cvdt4MkgaNuOT1apnVNhzMXIWYTO8ywV+2uq0faDmaFzQ1XR3pmerVmYmQXfVJ7NjfHPLfJuM
LSvYQMBEB4IuxufFXygP6BVRBcC1QvOxhgrTlH6YW7GrLe2LN5pjGTK+leZThpSa12MQxTN29EYd
XC3bdNJ5W2bjWhXpKiuWh2WFKBp+oLDPc55KN8s2lRtcIWxOei1fpwK41Y4eTfToax9jz6DSedxH
4O0olGaxYfMyo2bbOk5FvcEGcKFO5e76CAZL7TKt2tdIULwIq9IuLl1q3TjbacQGAmLG8egN2b7T
UvTa7snSMga5RcJs3bsJU2PKMc9PaoGn4el97HQNBmYt8GcibK3p0nslbGQm9qZQK7/EKF/bB9tL
Fg4ZLHqynX7nevxNsck4TKNDFmFoh8ZdGM1DNrN1lyBojroozYfDhP++AVmWLZJ7HYBalenMMzWb
X7ylf5dc9DgLy4NXOVgMl+xvUOHfTyypof45DO7qH9nxLS7YbdtBG49az/RQMy1Mr5O4umK6DSLt
oyDAhaEGxiwdFgMKdHk1AkiyzGCywmp0Cf71pxTJMwvb5MrNtZNfVMOu0tOVQ0aUWZKX1f7pXMFm
LHmB6roUTeDyvUGQJQmW50RnuoPieIu99uga5dVU3NAxMkIzZVsJBpLMxjo1iqtnLyeZUTVUo5at
KwP2pMJ2yC09L2W/1iGcmAldGs4uSHX64Xy6tsVw1LT52QQMxuz73bf1Tms9c12W1keRyyd0tVB4
y3VB06OhY5DjgeC5wp9CM/XPsTt+jsuwc3TnPLf5L5s2k8gDiI4CJ96Nk1buxFLt2/7F85sdjMFW
91ogU2KQUhV/NLXETqZtmb+HVlU2fKX9R/kwPPbMZWAdlgsIfspKXZBLH9FfS7N/o+zvnU34V4zb
K7DVFApdo7a2ABJiQShZ6b4NZrLqgvSUZPRB+jJtKs87p15xMcpx48b4gX2T97ZsDy1mgNnQMASR
SGSwJa8qsdNr1JZypkGB6EHjsU7siKpI+wYzm+h9R39E5cp2tEBPbs+bJUbsXQkryxiXRRZn2cal
MfSTcm8NGLoVxmqMPk7sPQ9F8JVTyrHJuD/O4O9zuewaDaRG6UOkYj0c7a5d1bP7rBfNl7mMxKVB
N4fYmLud1yw4GTFPomYY32Xta6vGe+iEtKsbVqu/2qVebw3VlJsRcbrE8bGDTtq0y3Aof3nRXiud
J0TCzkZmnF/RX/S9mf/6sE1Inw7fcTWX/DWSaFjGZJ+2yREvB2VtUX4CmwSh58uR7iE3doZubIyy
SUIGWVM4DGxsW8Z/KgBENiHdIOe+0lTznmpnn49q3E0sM1phnLYtHQiY7V8p91juMMvFXYGG7aEd
OEvZbmJHHbWMJyyzHDivcTmWc4OVc4rxW1x0LBNyqtBWJu7csjGydQzNERmz+WmPtb/y6W+V+bjd
+nSz5AaJVprFeeNyuFLbGzlsf9tc26k+JPPBa9ph3eDmKfVu3mluQTZgzr3dejKGpUI80nwM5y7w
up1kGMPYn7j8pL1pPEMSvgN5paviYdUdiNHCgLYLpukkeWLY8felWfpz7vbkABHpkSXM8EoZqNBz
O2am5bdrgzaVwvNWWMWd5hjUnIk0/sEWqvirNLHbTGI16nSLOLhQVWLvZLJt27fpEM2RwLWpAzkl
sHP0pzGsARM3MdObjYrUkOG7MrPfNCm2tJa8JImrotbyN5aOQmUqcHrdL+7KB3vAi7hKmko8lXm9
L1v5ngKljMF7UBneerLrjs8xcnGXRgYwu+6UTJweNTVFPmyNuDPvemKZLZGfDveyXBgOCPyd0Wio
19hiAFH11rdK3PSggvd6kdkmNmLiGeYW5ms6zpBtaGaPPH1JvN9C9fXQrEdScwhYIrzTLK56miX0
Cfw/jPePvS55+jzL9lkMuv6mB9NAQIbUo3Yo87ttLaA7jO9PuJzXrWU1lwdmGmqVrn31C6ZyKy/r
k/Qy/9UX6TtFAqdtZacXucDT2LZJAGM3mtdCvxSWufLTDIdFVoxPldls5RwwueG5T/P0u57MAVuD
wcYZ1locphu7qIYvOWntvqgSGaUDGqrVVHerHk5eMIt3rB72MZnAUYPJLe8abamXQIbLWnX7uZzk
OR24gSqp/C/6IhL/Bts8jYzjtiAXuJRc51PX0uk+BTmOwkZjdamXiaNrjmTK+fV7aY/NHZpkXPm9
oR0Wp2mvcaDv+0Vs8sFsbj32BGwX/IhzyXLvx6dYgRL5IDp31lflW2YoWPgfn2Sh322TrBs2HeX7
Sq/mKJv8g3Db+KsqzSPrp6Z3aGPtWOloPJ6a2lviiLWT9eRMTu1ynt2OEa8S1sqy1FkEjFbhI4Ar
tS+ps3OoF/EL+x8zUFz651nt/fmFPIUAN3hNjnmuI9BrjLsG0DbTNF5sPVtV08Utmcc7xYCtdYAe
sbPPoXPznVqSCeUlFE4whYtyT/WD6mZB+2s3K3FA4ENQFAQmNl00ZoxGJKBbRKLXZyDpCAOoCJnf
x6QixbVXd2qpvQQpyHk9cuyVmGlp9JZ0a6fWdQ6skVvWeMmLKnQoqg5xvZyR5rXZkYgFwRehPBuB
R5TahnmgvZN4h/h7Mg9IeeJD5S+8NNCkevpSDtyAfmIgK0zNc2DmxMO0+Hs0sM/A/cP+sDeKM5eT
jH+BK77EVOE8vGbjnigwlngEcDQwFUAwtVxb6kdlhs/HMGZRsyzPS0cJOjNxgRTAJR/vkCo/O2cU
B9+Pn42hgqbTjYtvT91mBD2dDYu4mFI81wLQrNRINOAdCB9D0j4j6Un/yGPO6pYrLUX5N3GIsOeF
KoIRJ2JkaWCZK9wXlgtXm8B6zXHI804GtKpblbPsTeNbMSV8nWPx4GXFPwdJqAMLioSYfjP88Y2T
mSGQZbVKLIRbt3XWnsbl3rbFGjOKyzVMaIsyJwSGoCL+sndC2SWA4UORr/wsECt3Rp+UMwUKKlY4
LvMYQni7GOAZpgjWkhQ+xkGnRaTMqECNOt+Z9bdbq/EAmqnCGN2G2Sh9jt2ehKbOzP2Yllt/WY2K
vbW+GRpdY5kZ88YdrJ3Fpqm4o9qolL42Wx1Az2c9SKNseOkXgDF7ZQ6OuRU0m2CVmONAXcoaPocI
NYBg7ONev9FNshymmDfEEZs+yX7RXDPOeoApp5H7Isfy4ZaQkarLb4gln7GYn/FaMOjmDe6nd8tB
rLPUm9Y/WIl6V/n2TUExrhJVr13j5mnN32UZNdZfDRv+bk1s4tYwnZMpFX7T4ghomDOVa+zQCzZ6
039LPEe71vBe4MStvfFUd8b7yDItEpW0G/hdmYiXmryH52IUey4seAkUfpH8YxX4j5/xSZpjh8l2
ei6x6SbU0WuSEGiYSekqENJM6KGUNAkkj4fxQk9e+akEWKdylnerBwLzptqlbSK2v+t2dUD76GYg
dl2GD4MOtCmwK3Gd73j7/9YI3RbyLNOgcx2I95LZL7Oqtls1lg04n/evwIt8A72MoTO7N60LyM+B
Auj/T0UqsBzkbhb2Mj3HqWB77KCpkKqx6vJrMfo4dchI28t2byqnOaOt2axuizhsXrSGCs5Pu69S
M3a27H5rO39zwL0f0C6iQ5t/k7zzNC672PqdPPJC60EPgOmclzixvRDFjKu9/BqxaEddw/lHFEna
kpn2IC1djTQdqxg9TPD/phI5rpf6Jh1waMUQ3PZM+VRktEWjDH4GzB+JKo1V5nu/rBiOmi7uQ53h
tT1A2uUvPvdDaPFO+6XXPThLWrBSYxyWJ9vcjO/LdTScP50lji0QRJiWUEVau85UCjVY79MxiQn3
m5LH/DYgTw1qVggnAqkhmNhsb7Zr36rBxLyf/EXuurm6ekNJxQG3GE/GiDMHxpijXQxhZ2FER+cs
EdPDTuoMI//NJoFUWYy1hbFWS6IdY7L6t0dfcVgYOfRCrTs2oG6G/o14B+pGCwklN9XFxRrnWCd4
0hz27DGtbXyGECAkDgssZ1CiqJBfWeXLrZ/H73EQHNQUf86+9TKZxruzTIesU4pXlQcw7z4M6eD2
zcUvM1nax65uw3Y9zQ0KDKOjnTTpl7SEOVz7MzY8XuO8XmQadQoXpt8/7qqAXNuh/gvmx4lgL2/5
DNlbmPrRIjEGHkjDxEYcTvNIGJbVZ6oShizO8mOPgwv/Tkih6/3x7kPOGTo0zgnO/sdPz5XLfJLv
Zwp5HsTnmAhCV2cOJ13sKi3AIhkgM4yKUprtz07C4NVbuvM0Faea5YdMsTAeCdi7ZcCRywgL6Tle
6WSzioej1iebShUYENjoy+KMiV8tJ9ANudT3bjzh3/+n2eor0TaEbRz4T4c0EFvTkSRpOboZ5ZN6
yTLY6Tm5By69Y74mpI8/gwwp4jGKN9tovZ0xp5/cYSeKnV2e1xMWXAhSScdjWn+mhGAjPcfd5beQ
I0ENH5uTpNVaQIJ5DHaJ7BzKdJZ78tiemC0+4eBeE+3BRuiJ8OwMSEBk5ScwhLHiB/a4OPc+VJXG
z6XH1muDTBkBKu0Qa/8izvuONfPOFdmusN40ghmRu3O8rFV/sguN6REu/m4BoJ8bonCbj4JVyZVW
T+Q8ey9Wz+CPDA3kB1nuFHO87eT0b/X/RqUCD0LnrCqH2mcuMm9VKoaPThBcSUv56FopD/hfuTlB
w9nWTZ61jSxEgbie8uZapOo1X6p3piuRNVVbuuyeEf9nPVNc9SaXqR9L+HHrL4lqeOEasiEMUtIW
jTRvqU0ACbjR5T7ziX8Yq62vMxPuUnLoYxcXBwkB5N7oezDtPcUIJMtzsdCi+HlzEbyPBSlKTAzP
g6vGSP2ZPf02Zh0h7CT6neXcHZ3RWy4Yxm7xUv/RPfldmBzwsdFq7D8mB2faSBlc4mp+6rkTsXOp
M5/uzu2HN1YYH2GPsd7RM1u2eetK3BrlTyA3Dp6ybiDJYzH4VHJ2QnpGe2nS2l2VVR2vpgV7u5Ie
7WzHB9N1yPbdXsXl3QNWjqdulxQMmtxun7GfEOglvS6Z+0JJ8/CQkin0GeRtTNKm6tYGgUsqNqzV
YGSHfCRMden2EvnF9vGtLi0NLqRHD5SxrYg3y5yJfqE7CMNPVm4CgykYbQ7+rXfab3qx5zbFdPew
vKz1jG0RqLF5U453opQQlAeKFHfZeGWdbx02hddTtpYj5Hbl45bFQkoiPjZMKbg4Aom/HM4kZ6TH
TVtEhl3/Go3/VgfoizPmjJkaKoKq6ikZIlzAxwSus+3tG6jf1XvoMXVn/hhgsmaZ/XaUAL3fP1t+
fgHI3jZuRZEM4Mlo+Qn/0FuDBXHw071jJS+uBWKlm1z1/5F0XsuNI1kQ/aKKAAr+lZ4UKZLyrReE
TDeAgvcofP0ezL5MbMfu9siAqFs3M08mpb5A4nucMxxNqaKSTHt712QEDTTYQKKjW89/ELM6G4P8
8HP+V4N9w9rnrcpsPA6SUDE+0w2xtSctx+/a7p5LFhRjyz4jyPjkWwDjoil8gVrGvMLT0WJ00sxy
rQi3QszM6rODkCXbUxK6PxB8rmmGT93XGDhgPlT2wFlfbee5xmdS3mkxTIAcMmstY8pgsZ4NI2YR
z1FXuL9nkGJERUyfD7zzagTNLe/mo9TBa1SIksx2RdNc8814vEqr7qNROVMlsbQJP30M+V3OnE1W
4K9RzW7DqGHVu+Tf4jwh3x+KwzySZZbAWW1+pKF5wSol187sniMl7mNSYOgIs3UceY9WlPFOyEuK
A+C2Y/mwJLqC54qPObt7OnurEzxGdTmxa3QLkkmMgqN9c4yTNP4FxPrQUPmAkd7zmIiN0WMmz55q
0e7aFi+Um9JXMmKtsVhPGjH3yWKIM+Jom6S8Dh6kIzwFUAGirlrJGRKQZhILW/8C3Y0SNBwfpQmW
bSh/AzP7DEzzr7nqsdxweKhrhgt6JDq28llhry0BxtxPyoOJFbsQ6XfENhFPA1haEhA4dUaR0joX
YBHBrQBpABbh3h3sf14UtKBlm486iN8nszuXWf/c2jy6TWlR6vGPcvRr2WSbDjWLVKnYAEakzoCQ
QauS37SKHz1sWnNQP8UNfoNSFQc3Y/pHaX4YlHeuWDoj07BPETgD+CvjwcsxcDSfuRU5WzeEFBpn
EatfPHGDT1TACdoTZsffZEB9FxHuKGGJR58MtvTEH1t2Fwm9pySEGpr6E8PhS86cRhbA3pUk2tdj
cLW0kezGWNwTlX2SJ33NPZ5zWDPwCOSbjL2Rv9P6aynCk3NdMzv4P2SM5pXdM2W0cUJEvYmwhYrs
rDon2ZUBInv5EVvJU9H5VI3XrPumaD+Jfm2WpKjByD6ULV9wl87vApf1vteM1Ub2x2W+iRaSTv3q
C2oLEGy4mU3yPkuTvgG///Dd11h074YEazbgqth0cXSQ/DL2TsYLafqSsfNa5txC+J4bKb5CN756
5cmPeBcKHIHr3qxeJ6UvQ+bi6FTWVsbGrUm4YiFlkgUsiUeM3HTsrZSoh/YUfdvNjIUOMhA63TP5
mLMbGx/u3J17DzBWTW4hxacVgsElMzbsG4cvANls11TDD2GV5WOb5JymuQ3iK7Xan4HKG8A+FZ/0
dcBbKKr1AyW0H0o0e7vmqMhmpbf0VPjjjxNyCqbs6dlUiNMAk2UTONbdxpHg6BoxqLya0aLhAyFB
u+6NLfFGltKebjaOXV7HgY/diHfeBUu6cn3X3kaZZAjPMfAYz43rNNsRSCs9xCZ1FO6/nrmAIfPQ
ewgMRJjWvl/zw07YCOrBPTWyesgm9gADizA1dxcRpj+xOdWkzdoX0rOwBbkRb3dOaZ5Vw5EUJ8Ux
mka9Sp1N5PUfNAknrOvY7uOmT0ZU0lDjtvXROrgHI+307aax8SWVVvbP0cEnFmDi3sjK3EQYbON6
3A7DWpm8lL3uHvT4wIa8DLZ9ONDOXvwpI/FCeIV3FvuL0RQ3PBinWi6+F+LgdG27b8tI1TYkErGb
026tbYI/KcqLkE+lqcclPcWLxloVQsFqi/jxSCv/VbZzyuLhhyzS83/0iVamMC8XdWT0+TV6JS+l
BGsyiR+MYhcRk8B18+45mFgr5OwbEYJxLY3spJ0Wa30IxqKFnbuT9SULqhc74/VXF6T/W93ulu/D
NZrjooV3nTwGBSsabso/TZy/6oHrpBO1D/i7L3ZcnhzH+RvyZNRExVauOz4AEMJdJbozovqizZWL
PQb9K8+u4ei8E2yi58Ob16ZVXVUzY0Gu74kbHofI+fHVfLSFvZ/y5COoE0z+AoE5gqCKvpTyZOgw
aok9AQDxO+tERDx2lyueGk5+gwXMFlbIEKh4ejyht7q1L8GybA+jz5To53kkA+LRR9JUIYIF02+S
yJBjHr3IwNw6mN+9p79sP5CbTtcLSmbYNs3/CcLsaT3xHnq2XBnmW18tyUm495vKRi9mLpTDUc39
eNZjvptN0gy9gdxbNvadS8Cr9oZ8LVHuMS8lr33HLltDkUV+SbY64jnoycCv0kz+C4I9pyw7jhYS
s+/YuJofp5z4fCyhICCd3wDS3Kym2AcllFAh5C3Mq5tndx9RhSPT4EJuGpcUs1GG/UJMyZUvh8X9
9GBU7nsn1HFZB8CTpJCtxfTqYjtOjOZDFznxOD/eRV3bMrNxXXcxOQ01NrFBz1sfMwkvlDWLxQE8
Ot/KYIV3FmH8EpwfaJwPYw69zYd3acxbU7jZdq6LDw/n9NR05hpiUBlnCrCJ8TPZ3J5opP9PCv80
QpJJkHmBaAQDlEvxCP21jrg7iyUuYJriKVTFD72Sh7aZwASmi9aS8NgHxAOa0f8E4sU8mOpnIitn
Yi16SjBhciKtkrr4kxUZFoBiehtjyD6GzQNaMuW4afI7osJsMs/aZE7+3cHz3EQGfouJ8tdUsboH
3a/8Vcw2fmUmOEAGCN2zb94jPIvABrhLtNMxtA0Y9V6iNryQ3vywhUuTIXN2wTpzUQXLkh2u0+Ay
Qw/RZqK2cdTdZNU9u8L/SpHZg5Hp15rhni3ufUeVHRqIwCurqz86FH88LI264QOq2zBe56yQV9rh
B9b25p+8aF99u7i7Y/cMWnbxySAdkK//GP1tOfHuskr3luO/2cyJ+RNIFsOulX44CTuMCLGNZCla
V00S1ntLBK6uGFipbTH4JNyS7Yz8hD+rg1V7ig1OxCtUbvtX4FPfsG0XvUxd/dqj28e0d37tAD6O
/sTG8q52nAIoxpvLBh+9td7mLaeK5UPft/pbMEEQSQCDrorO0puc1ELO8saumNyLZ7drx207ZpI5
93GWRX3gVYoHQwiYGjA8w8VLMdvk5+5eVv/JcFBWwqJYyu31rmjzTdet2G6hb9XUAzTVL4sLgJ0z
jJqZDVaNF3TVZKQp2iB8kC1rPRRvAouLPsWIYhAn5h7NTtOSWMG8ve+mr+x5vhOXO69dXMuofQtU
/KlTvGJGxaEgXAOSY/xAqi3dgMw41C38TZUfdIc8ijYPwfASIgPgYVJ7keBHIBCXHsea7INLtGhS
Y8PkK05NudgTuT11QfMb2cFdltZqiM2fPix+kSyo4alPaR7+jVzcYrHGYtLdbCs+M9X8zVPkBS+s
ciLlBVmtbrhVOrjb43PGf7NRfXRKA/tcEUc1bLzTHQJWEulfZrmd62DMcglB488u9N6biKuGvjjq
8ktObfo92Jc+wgQdRAiQtt/zbWGRi92IB5rQMgs7KtFM91Z3rMYmQLWTjQRQnfzWezdYCDxCI927
wfikx6hm59gSrVmomIm96/K2xETK+ecNCx9MPccm+P6IU9YVFttgYhzhgPNDeQkbx+7CrZm2Ntda
Y6+MmG+g3YSAjIn4IPn1g4IK0Z4db+DXN7x5uNmrIoUjNVYfKmYoG0bMAZAtQ92RbA7O7eKbGqX9
E4QxZxFv1q7RX6rgpE2bd5oygm2lgq/Yj18HNhdNH3/LDKnBd3c6497TiGtuFAx6VvWuWFc1xCZW
MNZ57rJjm/IgDZjD7OFfIOwvk/IJJ83T9QzFjtCzyd2r6uCru6wo05iYiW9zv3Yt/abTZT5mCJop
cTAAYjisRsOWv0/bFvRFu/jb4klkPkGG6fRNRJjynNq49sLzVzaXoSLHyYvmxo8taG9xyiqBEHTT
Qv4LPJghMQtf2XKsJ2mzK5dAvuq/47q+dQN5BXLwIqf0TaSvoG/+YPl4y9Eej7lNUfWib/tztcfT
x7to7n9jgbNOtJ+CK9Y6icq9a1lffJbOTqTvAyjERUl+tkMGeW5Lz7QW/IxOuQ+rYdrzRN6b3N72
Xv2sifWCgAzaFenvteNXPyQHDuNQ66MVR8a6B4frylUFy3QDwtAeqyWqwa8zgOy4BCxdHI8JJeaZ
jDm+fMfdtH3wgsdm67UoKAaTUlhyWvql2vedBZS6bSTm/hwdJrqVr/3ym+gXc483fHa6//GC4a8g
vq6gpQuoQE25txpsv6qFZsLs6/NB4dMU12AzQQ4QmYwzqGHsnV0+TmaOvFQfSfTvgo5QBFUFDoEf
5yFPsQlKkT0LGIYMrvmjgJyqpAheaqosKyDZfY20EQDb9k0fi7r9APKPa6Y1PGaqi3Z+zhveh7cg
+TqG2NrhA95wHpUVOL22QESNyHtGRfTK7utYtxgJHfXq2Nal7aGl2MF0ag3x7FtlRJZ/KABjXksZ
vsYJS3BGvuRQptaP9sxLAappisPzNJSXqmt2nZtC2uJDpi6TqBSeVZtreHYhTbFPHeOaMJe86KZ+
RigcTNBfsll3QYIZWdls+dn4FryEoASnu87cuiVYyNQnoX3jxZCvi3G8VnHPfYicUQ4/Fcw0Kx9q
6H2DpZ4DSCNrJ1LLxMfkaFDJ2HokeCbx0iEIYgqh0AW/IJvZIIHpxjoscqznMB2eUxt2axY55bZN
ESXb4AGmHEncXFBzUxBK7xgb0UjJ1sIvnugbAIk6iOcZK9g6STIfFoDc2WnzY6K789yxFJAQ0AFG
hGdc1PtATm+JwW+wyhBnJdEUh3SByPoKkz7R3hJX1fLAqtla//eMERX9ylwN5e0RvPmXL9orN9Rk
a9vt91AnL3oWxq6qLfVQsuEn7W0859H0h4QWrvhA59sJcsvJS+/S89FEI00jIPCLtds02c6P7G6b
xNObzfL40Ul4z3JNZ2enOWGiNGZWwDBUhDFN3rrnHOwLnIc4M6sq8fc8pxba3pHMf4eI0NEhAOll
ZLarEPCMNHgNRpOVbD/QJG4HvGW3JvHzYSgoPZTLXWnKP02dsGMOHps4eTLYh5G7FSanZrlj1iYg
lzCfQOxYs6B1vRIqX4CpIhzkXi+teOyESbivs3DBfzd/OoLBE5hYyWlUD+bJYuOyAh1wUzWqoWkH
x7zXH4XFS7nOi73PViDiixmG6qeqQJUCFsHZ3vF3sZvxdsuhHrNS07xEoyL840ys3oplXBfO7B9K
k3snUpAewj8Z4zjEwO/C4QcSKcdYtV36aAov3g+KzEuc760yPdkO04Sblq9z1w9IicaPxLNaVBYh
qiLEisLjMgzxkQGWG64cLqrFZmMtcaqizNhB4EZfXqiMUCDV4/DRqML9FPJzdb/CgZkzrphrtALA
lTbj98LXsGdDrNuxfu6V+2/I56eewbDvin3mvhCdOae66PY2aq4ZpvM2bpnNrUVi7qDxnlIVvrqt
Rnjpwxe3LJj7bOOJQH227oOCjhcM83ZxbA2IdtKHbdL6Sj8amHhD4jmrWdkZAmCdnGgMex+txMCZ
OvxmJsAomBzLONc/pXhbiSDsQwStYxWeqn7y6QDpLuRjHl3FB3rQ9iVvI7YQLnUVhnY/ADuva80V
Z27fRJHkZ9v48QpnW4U2vOLefO6j9OoA0VrcTtZm6odDxyWyMoxm45fmn4ElERuZT3pTaGkdu/40
ZaCh5vIlKVmV2ekvsE8vD42tj8xhVMHdZI8SGs06KmILYBQ9n1jA+8X2MxARIHb3Z2IfscwBMws4
MFzGzUYd3EngrEDPpu0ECdRK98OEVZ41/xba8lXUExAEnDIWadbJBQ/s0HmYyHVnwYGYyf5stRud
gSicu9T/p/gBRR6yhMvyhZN9XC+3SxAzZ+bDm21nwH9MZ5dmo09K8BV7DT2w+RxQZ4SkYwBgWzll
8N5KWWyWK4uXz9va8P52U8nLvhdL/dLfpoHOUJrexQOmHafjYbTXIkKqrVyB7wQ7vZNGnHIIEk1S
n4uZOdzUYII4+poi/CgD+W34y9uqYniI27e5ij+nRjyoCeiTnWIcjmN0ZzvdOSInKImEHruL7S3Z
DNOdFxTUAJ9IIqAE1n7c8EN/oe+PMPwNxvMyYnrKksVZtDj1CLBLy/thV8JdTKbUOCAgdO2tChgk
hrHOT06EEtQ9TBUfymkKLhjF8XwE6rMf3HczKU6Tgdl9Uv+cVG7ams9PZ3DItE21FzXPSWcEF8Ci
nH7yYji0ZPR+ce2dACTPAuK5ZzQBbZzS8o5hSyq6rMKDUOJDOxYvQUGc3URtKpo3z7S9k5cY8B1h
QCHaIqZ7FYUViKqwtIZrVpOtrIoPbEY2OyebK0JrPcWEolTQP8/OeO676jlFtCwqF99edmA6fq5w
PYY6vze9T7S/YgXqrS1vfATbfuXohZAXNB/hYvoKNI4MXqUM2Ey+UfqmjOjTycDDGKi/RFq32jY1
guE472Lze3LGy5xUxY8x0YTmPQxud7c9wRlLXdYC61BnnzDaNqsmOoXy+VNOEoec6efg2zSpdHwe
dPzJ6VHn2WZywHbxcX+sOQofpIVVK50Qqu0mwvyS+t6tU/1M9IODtGnzYCfdApjSb155TKb52N4w
p7DU1WF+dLttHGfJLRhtfXMm3OmZ8rut26NSSwLnMmGsqWNf3WpUbiiEROkD0/XOo8qOptfPN2jR
881kLD0BQPvA1P/p4Ebr4tN//yZEQFphwHLw+fIOBIOpKXjN4oXIoJpnAhL2SjfZtsuylyhRaKmB
Ps2BCrb8vFdEgik0HMZjZNiX0TF5NEG5DyUEmgEk0gy3ECnUxFif/02Uct6cxrnPnn7whfqoVBnc
/FTmxOim5sxlr70UaU/kvfkxsjH67PjIWv+UQiHz8b88ZEPE8B7dC62nZyLa7g4gZgH2i/xx2nI3
ZH7QIIUq9dPFF5DV8smlJIpwuO+t0hRzeZ6G/jaFAi5H1zyOdFTtE8epXlIiMKyL/OEXY+EWDTmE
p3WqR9/aVOmR7QDl7jn3MNbcAteSUV3iFk1ezjL/DDu5rZbHnlKCZqv9YFw7yxeqSBCskffwl/b+
ySi9Yo+r+9JLCe9jyvsbV2u6pDPMdmYy3bBvcfPAkmTbyUQ3Qrww9YHX5EKS2Eym/LB8QDdKl7+E
KDCsJY57lK4HDTxCzgKmw2mZ1d9BirxUE0TN+9R9PPd9iRnIHH8N4ThbHMOkwAIbqF7U3O0sN36x
tdxkG+v3gNskP5eY/FXa0QFX9smDbVA+0oAR6WiPuomm5AivH8w6aX4Dt/+yQNC+TtnSq+cFL7nR
U/fbdMNVVdFuNqhhwNhMSXPnBneHNSRJYLsOFJU9ZfkYFIpmM8qEntJKqgPjxnyYiZZeSqd+NCsS
dCX/+3Hw5++wOUYuRCJsgvOmGcJmx+OZYRQbfeLzBpXPkfPlTSz3hDlcuKovKyHYK+LgGb15D1ps
Tw4vtKJFrG/BwYTujCWsYoZuCFKvaqXMuzXQ0lnwed3/90egguzUA5OeDmvJ5LgQRDFkQpEt8vqI
qWCBE0YGMh1ULmqLLv/9KS4dxN8A9LUK31lDl1vpKr1hudja+d03Z3Q3SvJqK2XNwcWbFZg/auLt
fqDvTlRzj7Yc6FABlS55U115H6zRzuZbjmHkWkCLHomdy6RTj0EHO4as2pvfDyV/iwivHb+Rggxd
2jrzJg9GsLLUMxGGFxY+VvBCWF2aRg53YKHjnZxC+8g3uCNWyb5oMjWKpiKZ27SUeAATvwRTdJJX
vF6s24hezPg072BlWhzz4vjfn0wOaIiDydnRHoDn1nmcgSH3FA1uuFSHW/Jj9IMHtvPoURhRYfE+
O+O0nhdOnVcP987JOmyPsDYAq0WYGzeyGIxDFJT8AsOA61Ulz06i1R3U2SBmVggFS/QAlS/J86cJ
2gVlAf28xqr8QjVZ+2gEEW1rJKGwS1DzVme3ZorZqJjIJWXOnrZqH6yRV5fdtsOvznbL78OqtPGY
jizIcMi89rRCcYFS6RlmKqWkYjj3/JJHgrXSluGfoSTNruuLrIbmomMSVwCA1h5vz8peFsyz0Bca
QYHCTIz77MyyGauNbbrGpqVa7+QQ/nN/Zz/lzTKX5FHkdCM+uQ0hoiTs/jY2yO6VH7g/cn5OUpBj
0z7AhfOQuyhObULc1ADylFt8meDc4dl4WIuDMgC4ya6jLjBPmonzZFZAk0LX25sRjrJEJ/6ZsCu+
OsnZ6CG3BJCH8QM1E4Bm/6Ci5Clt+s8wLD7DPn9sICetch7+Te4hNos5BXhHPAsH2KwAcE9LKEE6
+0KSiqaYzrwIDx8TZEXQLIavN6rtj+MAXt+rwelydD9Og2KR6uH7yI0kXEfE0ooev6vuw30aOkCd
yBmS5CcUH3ALF+DP8ac1B5uFtx8/CNxYq9Htb1gdwb3yijXsZ7I/CLkOkQqhI7w8IsNu05PbGMVX
1CTfDr64FW9awKT8P4hMj1sV6a/Uyi7sqPADlpF1kHlCyqqbNj1fc0txxxo2xrr2wReMTRbt2vJs
Q8baaMnfXBdyGytebFXBxZi1MHAWyqAaF70+6HnJp+PRyBFTFCvCEkoitSnzuq1z/vvIaS///aOm
6s+L48VC3myBp5LT5m6sC7xRTtsBpm3mG1l5RDcfaQby64UoxcmU44Kmtsx1H8ND8WfnTHkGzmqG
Upad9IBU4zd21GRtR6PeDPqrpln3QhMqmTyvO06l9RZJyFAAoxF/8ecQaLK7IVkw5N+lk5kkKP95
wMJbLDmuL6KLpJBB1PmxXJJMvEXoy8EWtZpyztQ23rZGjl7YQsDXM0AuRqN7BLxxN3XEJZLOdSD3
oUm41BRiA2RAFLA2tgUWc1IkqY/ZJ3hOcizIVWQGB5vdHreEgS9vr+P+E9Q5DTVzya1/rKzXMH2N
A66FluXMhz5hqbT0WNUe/xduYEc0VC78HbMdSP51rgzvqBh5k8k/IurwKzJ9rhKjvCTkypYja+3S
9Hq23OeBK/qhiVPw/f1vSUfsGtHqPVTBZ8XP1anYrlWg6zzWCytt2NQoc2OlmXVHARTfUcdApVwS
7Ms/qpHfUTMK2OfkG9d9P0INXh6Dytvh+12iwnQMIX9da854Pj3kF3yofB29oEYxcy+O3T1hLEL2
SmyMsmHIJWa8NzIMMlRsmFwkEeuy0sbhEP0Kw924QwnB2DeQhLBVr0GSg8HPGFqylpowz4eLMzbF
F+lGcJKzDzFP44csJUMImzUPFGN2A6qPWGDz+42rnMKUxTEEgqFnYUgwXoyb1LDafWWEH57HyZPG
lDQWw2vIFSIKZrw5wHTWXeX8hRBSbD2IFG4xFPcF3Qg6cReUaLDlfItiPn7Rq9Um5clry73dNd+J
wXYl7yHrTmSVdMBdz4T+7CZfQVvdfJCNeK9auYuteHwUUu1zEh65Hkb6j0hiOo1xNjGtcCzk19Lk
haP1KFedFWJUgaRQuzOhd2IifjlEu95CexkF74KSoXcTtMa0dpdERzSR0lCT6cJYsiAx8R7CusZg
vW8G/GGhw0gPR38dVBzD/jDiUZPzr8jmE3e3clPybbOXw2o85fjrJkQiMz2RZa14ocR4PEgUgOve
OgR18nQ+y3GirCxnU9sjCJcvLEFuMCbozHPhrrQeS1ZH8SSbIWIiZoilZ+EoG5eHtnLJ+lD3uU41
Xd+yqz4IMS5zJc4Fi+9wHl/nobN3eWK8GdTDQALHAurRaAf4Oj5klrd1XaoC5+ClLRUII7O/meDQ
/NgLjukc4HMejZ/ccMBU5cjxXY7HeCDhB2aA6Dk2pT15L251NB+PGI6NQNwMJTkHnfgamF/U/2U7
ULtvFuOTkpgQCp+0JGyn1nPmLety5iO0XDLJNTVSIcH10b9SfJlsSGrus9hZ8crcLXB/Xqo/Zt8v
G6aSqV21j1aT3IPGri9i+UfbywsFvJhgs/IRWsy8EWhPawL3/Umy60kC06ETjyKCPnqHpyRPqGRy
HZURLi+T6kJOO3+bu7cB9MN6shyobBl9CIFHf5RtNJ9a1Lh1wwsNNdusse7ww8gtJCwJX9Q4p5QN
d1dOdfY2s/hoKvtPN4AcYrtbH9MMXMrob2BBYz0o8iNcAdS0QtlLB+0B+qxpDd9dScKtDLDyKXwh
g4oW5oQ8OnQpOVazof56aYpuCUth3KG8CLqIa/wSnIZnPsfD4qB8dQSieRioV35kLfcM2HOfZZt+
5sLZGLGkQ6Ri+KJymAw9GAmLcFzPrTbqxg171n+U3nyPsntuFU293O/RFziA6G052kAa+pCz082A
L9gm7J9M3EAA8bPCPBFHhBCEnsoNFFPeUu5ZmYOJxhqhAlop1xb5K43xlziHNkdcZCab9thDKnMo
t6iqvcVjR2x8qtFS4/RgCdT2dMIj7XQu2RG33o9zzoaS6S2dy7/Iz8ChTaIZDWXs6yAU80qL5k8J
v6dKxvl9pvkicUxa9OZFTfFHhMcNVDJ7G3Tk3piiSIfC1qdYEeE85AaHdhYMN1dMhAYlKYgxGdbA
wYmlR+pUhuKdxmYx4edjHDRHyl0JAxOz6P86UbwZQQudaWkkZAJ6iYswNuuOrxtVsCVjh+xG1V/z
t+u+Kuvo/nZGrVZBS9gjcKiiNvoa6CtzWJzErwzi390wPru5IZmNed0zRa/mRB0Gpz1SfN18CX67
OOceDBJqi2B4B7pLwD3jwg+p+Nh11ouB14sQqGKorCAQaXBlTl0zwZHh5HHRH3kZPfXInvPdaNhK
xNPGyhT+oLsJc6QI5RtKtwKhSRoieWV++QzN4qFEOPuvdsA5LlJPbIcHTuGbNKZTb/MOnT0VHpo5
A+6b89yUL1YeHglubRVBd3LZ3kuSeXKVCGz3ija+lEMp5YWxmiXEEzq6tsu0A+jqzS/Ju5p0yLpi
oCcAV3zOHo/fOBIIzQrEih/mZIZGkRyj3nirymHczi6JkMWd0Ao2Zn6S/1oZv9lhJm/tzDl+7/mf
YShjp7vuWUzMlbjbsJiwLC97vAHnKC9+UhbCmwqMU9WlpzHnM0cH3cZqvL+1kx98L38zyujSx+m9
w19DGnPX1FQfW+0NDx6kHMab80ytHLVDGdbK09gyi85j/Gp7ivyf+GH5gaM4ezYFo8nYGcZKEgQB
vXbIc0U2N0raB7cH1mSaLc5C8qtudI+m+btEi/U0p1DmFf86w7dXSEOWF4ungKs29ATxgDv+rTXh
wCNqbwOjvNqd269zYKnzIeOkwsUJHdFF1dH+sE9n4NXesC/qiUbOftp3E/U7FF6vK9JkE/h/bu2r
ciAxO6xJwn5E+Jfo9f6ufRf03EQYyVoFXvWmLX7eaYnKH4fq7UdzM762jNk+OQqYRJmkvYItuYk7
gF+RgSJu/NEERjsnT84mcpNV71NEvVBFTxRIsiio9bkJl0/xBIg9U4y9RGsW6PxkJ0CtrWibKiDw
nBgc5nhIRTm9u4rI+lgQsYhIRWHqRxLjFW0QfgFjBxRoyy5JHRP+rVjagrOfmR+DxRnQQa9zEeIp
9axWxrKDZpuFBDbTOCn8vzMDB0SRcxwPeP8dvrUCYaIyoPChZk1A7BPmAPgwyUZkVzrjAYp57T+o
8Pvg2njmtwvBey2b2FzbuOk5DX3yP/vQJmKVKwihuWeWZwg9v46OrzWZM9F771GTj2zLI5JuZYih
quMGPnUbMTUnEDcLBJH1wKCG+5hLaxs9VQKbWD5yuZd+Q8u8RUZ0gkyKhueuhjZ+8OXwXOSEcvFj
wYOsy5yVeXd2dQyZMbcOs5r/Ye9CwB6Ar/dmcBWaiwwM9iS+aHZSbVl99wXom4J6j2AYv5KaIHXk
MMr4SRUjXkg2CwXvgqhIHqVGnA0CUGhGesr6mljC4q7GaxsF/Af0bL7QvFk7rcnVD5/KbNAx08w2
AzbtRzmifm34G6cNXsLQwREdP3Ueu7lp4a4NNSNEyGMA1zJ6hNT50Qj1ZEmQTqn8BA+Xo4S7BZ9f
pr8mfDNizPqy6e4qxK8ZRgOLo4pPdLQoNvMZg7F1tPMfrvv4zDka4nzeu2UJi0zZb5ATEK9VCYaj
Kz2WJOpRVFcYaFBtndnbVAX3c8UY4dejsXayq+f33YZ6+092QPdlIuRFD1AUWETsAfibarM9iM7G
XCgNNlPTgFlnOoxqQrAztqUB05M+o21YF79t19JWDfQOs4TNs9NT6eeG31y1XsPaEqtkFrccpU8v
oQiTNe1U5cCFOGEjg6ARVxkYlrSk8JckRbKhxA+DUWa8sS+JLl3N+0ZL29sTbs23Dq/yC/bXY4H0
f89yHZ2ofEL4jxsmUKPXpwhb0mnE4TmJSLLoTuOnpBiNGyTI//4Qu/l5RvR+ZtGVWv0nfMZ+D6CT
54PXTcTW8CFqmjcqe9xL2J5Kqast/CESMlYZP8eg+VBMq2CLy+C9IOLxKGtPUFiMvhkVjX93JFIm
t5/NYNnjZTA95yGzKp5+c1TnnC+alJPNxAYugNYqgnCh+KSbMzyZ2EKf6gAAjo+XPicBsuPhkq+V
/4FwQdyTO/d7BgcW7DEU8//+OLQVhi0pfOT86tikLK8HwEBrqVmR6hQ2flfjuGQaWQ+WHB/Zee1J
bKon15p64mKm2hn9PopL9rH8hzERBJKMvrkHCflxwXqw90P7IQTikdMJu3WhlZ2pO9Awp9lEtWnS
P/QRntTCbOoHUWhScjpium+yR0YCE2vA/xg7r+XWsSzb/kpGPjeqNzzQ0VUP9J6USMq9IKQjHXi7
4b/+DrCqu6Lq4UZnZDBEGR4aAHvtteYcM0fxrNAnaIMGOS/9baUrhsVYecWxGuH6dIAP55ZmQkVV
YOLLqpFzO14YpsKGqTCQKEtmB2mctkxgAp0+f/PLIygBi3hmXq3Y27kYWGhLV21BwzDykAcPwUfu
ivowRPHZ8lrlqMQ5LlUpn3xU4oyd++K9hqmAEquHW4qiyaIgngdltwaS2m9EjcbbCe0KoWTxlcs8
OJM2GB1LpwYePariHgXeQlGYRfnDyBhcNaItaD8SpF1ZHgdDXtmiI9YnCfCzFeQ7x1mYM6IZJloP
ZXAzSrmVuhBbVxpc3yrdX7ey8xCoefbCYQC1aIXHMcQ6fpbAjmaixhEegRJasdOBFh/V24CdHP1I
oHUQDfFOaPa3QzD8T2W/Oagq12rjMFKKa6kSjTuq7cYJMo3Rq1wqxEzto0I4pNW4bJwBHnAwVs5F
waO7zCxss5lDAJqjAb5qOHA+wbyvekrZn9jXLsTw0BwQKBhGdkFHMqFQ7aGLeYGJ7HCNHmgdVe3S
p2l+Zk8h96ga2BsU4fCBI+6i0H67leQjzOsxxuJHiux8hOj0NqoDssusllujHckvK6YodvRMB1Bz
6p7C6HGn0kp1KaVjI8fHlzJriuZY+059eZwtFtusxz0tRRXuB141z9hUbpUC+nlXq8pLKmqBijv/
IMbud5V1+1Yq5k2Yg3nrMYUrY3ajU6fsfEwks9418FwZAUkEndyKSrv6nRH9sjvjGnQMOHzfbo/T
tx21P6quKQBWK8O2bZBuG4AgqGxDe9VFA9v4oeleklCOu4ZQl5NVaJsqNb2nx42mvIcNatIubYzb
lNuNsNEqnlBlk4iJk3RAQfbe1a0zp+ZH3KCZ6T4ZNYY3U6Gmky42PX9mVBeBKpXeOur7uKQxr7fv
YMr8nziRHPijka6EDx8QOwT5E0UMwGzswUwyQKsheUIqC4c3K0U83Q6VcWYiaGxp7OFSD771mvnT
9HPiItx14wck5UTW0m5zLumRaSIKD99i6ZTXx7dUJf+tVUiqK1JdlhUjvJvX23KFXA/ORqb6t7GM
jWNhH4JSv8a2ar3VCKRXRtnq6yogt5eZy070sXVVCrM/eVrIY03fZ7ZK+IJsFzgYSekL8/jumL1G
KMOEEZQ2EJgSflVV4r5//LTSQONIhhswBiokXJ7lvImG/XRSZ86hYvd31/Jx8fg+ISKvNIUAs7GA
rysj0yCfJU9qHahfQYqOo4nS9slC0jSrzH5cDDQRYeBGxUcSEb9adOpXZGXWvB8D66iNJSUEcBSk
RrWHZd5Ktx5phYhm+eQZnRXL1uig1pcGzAEn0NdJ2QdXVYqPBErUslLRHuuhWb7jXMVk17fYDLPy
PJS8+Z1wy+tvKI/RvGVc/Z76iIQqyDAHNQdKEkp/8/g+ZitK/TGhmdYNH51Ur2pdNVdPkJ+qpHSP
I6SslQ1JCZG0doDqp7IEZni7hkfcBRVyjKnZUzLjHqIlEkXXvuHDLDfJDt6QPLutbPembe84dQeT
PmuF3CIb41U46NXBjkmXyXDBeJybsxb139rlenxqQIHMsQ+rm5KfEAeUgD6xDHvvptDsm6DpV+By
rbVCC3/QJ+QDb81dZTwStlX7arSRfiDsau7USAMTBh8vpa/oa6YlculWqnpkYYlZSwu5NvyoP/q9
cu48t7oh2rv5ikPMGLuIUp32wkQgz1KlSo9jrWL5hl+8okaEg8fCj0Weu6R2E2Mj40tj5sa9CCil
yFWrPnNsS45dGu9skg+WHqAv1NtXe8IiuIkDHy2o+9dR2CvTqczPjFy5eZMEd1bkYlOZmnoyDVRs
j6PL8rwFTvzwPWDYgsogPqpda+/1uqTNVqjBl7SKI+p95W6kBWz1lihLSVO0ywHexQZNAq8exZcW
mYuhGOVveu3oSUl68KtW3+GSqdd+P2A8qsbuNVWbVQSKX+sd71yWhEhHivtM81g75tM9xya9zwtS
E91FgeQosaxtwGb/sep6iAcHRYz7EXDiAvdseccjYLOB9Yt3Pc5+pf44/GpGdSLvsM9ku47sp32m
m55/xhKVfSGd+NUa+fg0v5HXrifNqn7q/aw7jNPN4ytRu+2hsNpwIjwmS5nJ4KXGol7k9Kw7Ab0E
DDdachDmbxJHgGHavMXg98idUapDbQQa235jHtTex+PY5xLLvLXx3JPKhPhcF+ARa6fyboZf7p0U
5VIFWPkwNBUbQ084Z9EQQ6SXxkVth11oZgMgzlbDg9VTrOKSXykMdJkghiamBk/7qBN5SdyQfQFY
Z/DR7StjfcaZlfqEyyZcq2EJ4Yj9RdTyqWf0hcAzolYySkIL1NbS0OVVDu2SQGFvH8QQd1ydQIYc
hptdYBe27dtjmTPqImPWTaYM5F5n2dItob/lOKgH1J0JqvqpR4KIIsc017mBXaUPUgyHLeFgpR5u
2RkNK3vE6Qw2mN3B2A9vdS+c1Rj7ylIM+UammnY3DPztwInFPsaQZyRtWs1S0y52gXD6i2tArACe
oqxJjqOu4eIydNVZ54GgVZfFss5CjRYkaVCMt15gSZRrWKvPYQAYl9J/eIORCqFMtY0dTZzhbeyO
pQv1s08MFYgeIXYHtfDqVRPmXUQWvE84Tg7XojeHilFAShJ9oul7UpmaqVw6PeYjJqfLoW3Z2EVR
zYUtGSp16ZN4s/Hk1IVDU/tMYtOXTHVGPjJ1sE/fYfZCYeSLjl7A4wsFwMV7oMs7etnn1rX6U522
7c1oaYhoIhQkvTVP6dgytrDzrwAz8yx03eGtdQmBSeOr5kjCiB/PwPWcbRgyudFV/a1DgIRjJlkU
eptdGIOGe1+oP0NjbBFfGlfHaZ79vopXShcW2zBSkv3jK6XFDBkylkZG4B8HE9oZ5OdgE2S1OIap
+1sZ/WDTlMwfEw7CmuRrfxY0Z04OsWusQqxVR3uVOnZQc8ybcwIZGsxIxcoS+mD8FPI5OY8g1DRR
tBlHVhGXnoaCawyB3Qxb00QKw3jE4KzcNZJwGDjTxfpxhWyzLzXpPRC28hcTew7DIbbkvrK01wz/
UK5b3y3Ghz6rQWYBDUC+mh8fN6niwFtwQdKpCI2eikJZj26bnbyus8ku0KKLg/lRrZHbEyW0asji
qhAmed7m70cj4Idu44gCWXtl9UuzZt7ckFBdkt99Vd1s6hX14cqEbI19cbQv1vCcR7eEgecVgWF7
bUeGY4Yfy03YN/dgtJtn4SZPxHgPNyMfvW2SsQ7HhRudejYos7YWK8/Jshs8D+vsyBjruu6/iKLC
Umi2oJw5kGFwkOEh/HBbN55cGBMrjrXJwk+jV7vHgQQwsKWnUPM5W/ArnFpdZ97gL5SckljJFQHR
trXJe+n0boOsb0ekpnmtYhWZdx/jmdbvo4nvha0mOs9aS1aPuzYA6twCvUia/eOz61yDhozvK5ss
VkjxAcCXxfLUGTUs465CStFUButoYBweX6HyLxe934WvYxVFZ1MxAdz0Mch/IvgarXY3NsIIOhiz
WoW8Ztn00KbdWNVUP7mCDRuiHkwMFEGniukcxFNIVUyI277u1qpWgAxipnfKFZpGPd5QPJfSvCb5
vBDqsMm9sVx4PTFTmYyf6CP7cz6gVRYWn7hySWTFDGn5RfCs2SQk1EPm/zIb66S2+DzG0D7HiFMv
QBjeG1y/b0hnx6Vg8qwjU+Wq2jr+HrAqz9Ez10z/7WtiMEv0qu7THCv1UhjqnZIH/7mL+v9xZBuJ
bq2otq3lNKZ8tYYCypUOm8OJEjpuphXuAg3PfB73zSaIVfUmcPeviPhlWEpvFRgR1AB7dN1VRyIU
tDWt2SHOxGtkGvtHHURGdX6i/4wFXGHApIA3NcsQaURSuN99SmTXdOF53JDXu+8wza0Lt4c6OyTg
TGVTPnt0c+Y53owLRLQrmxNm873rX6SR5fugjpsl9h5g6dHJI/vnFOqROzda7FY4cbz96FyE48T7
PilRIOrsPTVE6+xR3fja2M27n3G9hr0ONqt051rLtMWH7w0gbFX5QbErpwlCnppoynyRrx3p8M6w
7u8bb7y1uCJXQdfpW6XJ6TQL1dz51rHG6f6c8eIe60yRDq9kgWhrZVIBK30hPvwgWKqZVX0HGDEZ
BlTFsxt8ez3crjpvintmTcDJyie2PiHnT52E4AGB3NcmpFpj463vOHPjfd1b0TxkEe0KO8flVZdI
7TlTl43K9LsHFLYf6L7uNTy7+8ddINJo3wZ5G4NRP+Ti2uFnO0YNXoqyEOBUHvfL76zsEDvCpJk3
IdaCWVpaYhuK7JXsinzjZ6gEHq2WRiBCMxs01zoF1N0ic3zeK4axGSIt2Impi9GH3Xtna85WGUZx
CGr0xNIDXlFqtLWDYWMbqaDJUUQraSNB1tN2G06i4Ior0iG2IN/2dipQ4qrWIiB1uNfmtD2Arbeq
i9PY/MYM0jJnc94cRCY0qtG0yBcZ+nDpQ0RbKVeeZ8ctDyaay1d0/Nssl2DJOJUXIy4fSWVphERw
TAtqbqTqqs7rfGqWxSu1zYZF33fNOte5eNte+JIFGSWPFIdSxtYh1yjUOt8W7z0CMOAZtzps4+uY
8ip6Be2QT+OVcaG5r6ZqO1SxR1iZ76xazWBULPsnT6upBxCi33yO+1XIbundMT+iWqs+aWR1y4YB
9EpRgrOi9MNByeHmZYbX//0rrBPDocN3nZXwsR6/MehDtGG39I/fDXmBTtGZ+wDFIUQ8tjSPG5QC
8iwSB62zB0IUuteupqP5qsNpWUJCN+duDi9NJ23gvQo2cqjzpeebYt91PCnVS5zVZKC8T6l5ZR0v
3V7aa7/QxYuSYjboBDnoj7sOWVRZ5J2aMZcn1fX1eyn7j8c9PGyoQVXRH8hqL5J2+MjrRls1DHc2
YDmSd8dhGG+R8cM6sseoSFZGkoLE5N96LwNzkRSYSOgTXzXTc2APhxBhKpkgkIgRqsZtuzbjNj74
peFS1tEMyrLmxUYCMuMqQC9rujuq1ilia3d53HMwRoasyhiB9A/hk2spAwGuy9OXbunrz51WHiqQ
Km+iy4ItJl8bHJR3LzDl3g3zGCqe8+UU0JgaMxqRopTepQ4pTEPHfe3i4MyMsDyTBuBvdZNZZmQ7
28f6nVHhnALNx6iQxuu/F4mlrdu0XKCbZp6d7si1SXeZSLZ2pueLsq/Ma+aBUPHi4G4Xeb2opndw
DMS2x+DjCr04Cl2Rz3oY5IwvM7HITFrSsh+7p8LpN7W0DORvOOAen0qDIGYzlPZW45IBpXSonpSi
/gyEF54qUPIWiukvLG4wQLXRPmEgZmDok+mLrnWYP47XRDPOpPbYGDxMY9uU+rOW9TyVSmZvbm9h
E+E/wlRK/8UmnViZvm9iH0FbOtrrGgZ9MvTnZrT9y+OGnHt91TlGOq9j/crbJw6PN4v3hUpoTPwd
9X5w9eDqT3D0d+Dq5E/jQlDD9o3+tfHRMCArczqAaZ9bkHtaZRPWWrRktkZJbvinzvFUrJK9vfMr
lQZiEzVPqtu923RIGb8Gzl4lEmwPbP/dRgiBAYaO7lg75xEI1aKL0OQNQ67e1JBUbxlRaikRC6WU
ERkFyc+jCNUEIWR+Xp199uxYoVDkBpBRvFiFUIQf5ZS0XX5EN8r0dCIwPKmpuRqyrVknwbsyCmtr
27kOtlb336OObVWijB+GarCZkHb+ErrvfVTor43ZsKfIYmCLYfczEP/zApNOy9WJMOKKMzJK5a6R
9jOSqXMU2F8iUJ4OjVyl3WDXyKnH8jTdWBb0Z0JY6Iji5TOVDLakEkY7ztMvDx7SpStjIjlN11pX
PtMRCQJ373MpfS3zYJsmo/Ic+1I9ESTBlU2rR1Ou2Oz7R18E2SV9RYK30x0J5cNR6YXsaSH7m4IQ
gGdrTNiP8DYbdfljWUW4g0mi3akdrxTJ1Vkza/0uSndvjtHCAzm9TTDLnB432CvtFcQpyMB2A1DO
ak9+0LTXlNnpypNJwZDAo6XTyF9Kuy1Ks/rOVPz8oQxoXuO136Zx/1bFKGGDVJ2lnhbchxDTjZ31
+hm33MiQJr6XLQBjTJnBMdIHnw+NDUveD0+9CAewucRx/fMp5WC8cY0Uh39+3ywzd111IJq0ViWU
K6xb/ND/81dGV76GNmNfk1jpx0u3c1aTsjf+foommUT3lQ/fSRtaK4U1btMbsn7vzdNjhypLrvBu
aC+NcSBActoAuXmPAjI+2PhXTmh8Sw6DX7lb+YCACwTZEeSKOvTBGg6leqlqYBZWJ8svCYQkkg7Z
SKo5gLilTUOoinpKpzZdQB+KjJ5dX9o1mn8OCUTH2rF9bGUzZkaMKq2n1IqtX00dflgS77NA+LCm
kwesydMv0pHJPgFXvciIgn4TDo1PUwkhTKGpbBnY94r67kKOd0OfYMPp4NCIYceO1R9i07wUItYO
0HG9Jxl08WboHXhMpjNCQP14HGZGkub71pyUm1p6SVSZXR7ftzIkYcjqyNkxSwDetmxvHZucrSnY
K6HD6jfwh911CKPFMRPrlxKgKak0aT35IL23+JjLlRy+H2t+7eOY801q8XDYkggB6hBXSRcXsJ5T
/2Nkl39KdIcqgIJ6PdCWo7PEjZhu0C1fDAD40/R665XBe9fEGvS/MH5Gt9rjTjLhq+q6v3kcx/CR
q4OsxFeYsKHk4qMcUF2N2yjJgc8S7Uv5gwkGdVmKpOGc6bREopHtSty6NEbrrJstDOBep1GJwK5N
USbuBMF2k8b9qqGvRQWjIKIYPuKG5Cu1VId1gH37NHT6cMLJRQGH+r1z8C2bZv+VGPmzqbHgCE5K
8ktxofcG47sCGvxjNORS26maZ73oZuej/noHjW89j8mwE5bjPGFbh/5YowuFKrl4bGlglwzzxHQJ
0nXDHfRJ/0BcdrkM69q9PL7KUNAchGm9dSm8XCOtO5jLk1209e3DkMXVLamNnZoq7XuQgFDze+LY
FM9gfJzF7g3+Grlewu6Xj7tdD+43zac2K/OomSxFSB4ly1GsqOLotmp8iVze0LZKsk8vZ5FJfIyr
Y6qF66ANYCMNWvwhSuVAC/705x//+bf//s9f/X/5P/klTwY/z+Tf/pv7v3KE3aEf1P9292+3POX/
x9/87+/861/87Rj+qhjR/a7/v7+1/slPn+mP/Pdfmp7N/z4y//o/nt3is/78lzvLrA7r4an5qYbn
Hxh+9eNZ8Dqm3/y//vAP5rE8ym0ofv7656+8yaAVPP/4BHf9+Y8fbb//+qfuPN6nv79N08P/42fT
8//rn7Omaggl+/c/+PmUNX8q/uIYNjsJm+BPwxGG/ecf3c/0E835i+tquuFamoG933bcP//ISD8I
/vqnov1FV1UWK4dgDstybKH++YfMm8fPjL8Y8CWECwxKs13Ntdw//+eV/8sn+M9P9I+sSS95yCzg
r3/SIuCxgOZNH/X02hxVFRoPpRs8FGRu27T4+a9PZvT+9Pv/wROoiIYuXjLn04mjL0F1Pct042hW
FfMTN177pv9GSPNVG2LyGIAo+9Rvqj/cE+Zk4B+fAePq7PDpS5OOqnT5gZSjeVPEDAOmgCAEgF84
Nhb26B/HOFcWVVh95eQfp5wIZdunc3SHT0OKPkdT9JmZYuEg/Y5Et6BdW6OFP3+wX/oiPwOYg0ea
4TUhVlJlOzeP9B6+gcz2dIPlKglxRrqmasxtiA9LqQ83lUk6FswpArShItgIaeULzWvXBbKXRRjV
+zplRl4Kn6i4cc2qEM3qgtj7plX1uYJgX9GbcpeF6ovW66vYsm+mF69jXSANTEKXOBUu8JYEhNmo
y9ax9szEnlqhXgVzWCDfggFiv0lsvAo9yjW7LknM1V/UrtnU4ClnhgF5RuoLgqZQDE54Iy9gJ1lP
iD7LUqD4oKQXWndIgqbbSWzHHVNaWN3qq64aRzuH0GsHfnGUcWusyAYzz61RLdF0PusDwp1GieYa
U45nYoI0sg7Q4OGhR6OQmttBtfHPiWLNIfKee87eqchptZLkPlT+YYx8XjAC/5lrMmcJXIbbBOp+
F9+Aocw1QS/zyHKeA170BqYJJGamLahkYmdlFmgKGsSCSVQNDND9rWVoxbbQ9B1TOrEwmOYIltYd
S/rGq0W/TCK05MO0DA4ns236JUyjrcoyFXTehBMQI1Rs/CiGKQhJytZZKm+2an+rtnbpJGEliT78
lkNGdEkGaz6R/AYyPWRXY+f9WImyczeRh1pQB8UQWsldCYMv+henbuSY8gCyeohCUEj7GPKb5IMj
SaLcxnYdjf0ubmqSL+2noI+atVu0PHnAmy4t0RmWWOIq63uV5mfd3UE8ZF2pg1mBCPM33Io7fZZ3
VjriOKbkSY8EEqLRybVjHDrTqm6N9BuZbu3sTCa9A6v9isGN2wzWNu7i1WiHF5Iy+glJdsVYuc8o
xnEL18cwRPlpj6dOSQsMcAQSYrA5Ga3zHnnZcyCIidHsAV23tqS8cmME2KrRvfRscAjHw8JLC2Mu
LR35Wh99udjtaAdcwtiq1+zskaguc7pyS4ypguGER/s4eaoiwwK5ReKrU7iQzqL6lKP294Qivz05
4pEWz6UF4QcjyO+kbgWN3PHGhh6MTSphtVcs5Tkg4NRBspyAY4NE1PXLFEsBetscDIKMGZYYxAeV
KAk0SXINW4TXNOUwbCssWDYGaCW2qXehDCqWH696L30tbK4D/RS3PFQnCUWNWrb6KABlxr8d6tFF
nKCZ0KlhZwFd8nOq62tGAOE6Muu9YPIwejv4J83d9YN9EAJ1IsmWc3LY0n4Pj7D/5kb0u0d5ScQz
3ojef5WhGy5z5er1Vb3QEgvqbmysMyuS5xreOOXXRPDQ0XRUe4wP3lXtTmEKo6fAB5qVk7cj9Smm
3tjzAvgKQwIr3GaFfMFfThWGIfO9Awn33ltHm2Sl0hE006mmowifrdfnS5c52Aw0BLkiXazuLDMu
FrnE3xlqOVeAori3HukgVZvtigjGAhNLaDkl8s0RUx3SByJ4/RY3GP4fMmXxfVT6TibgB4J+Xwqz
hUZBu8iGlAJ3QjABiI+D5h9FXzQr1aBphhqE+c6yNNFHT7F8oa6eXFxa6yYHRcHAeeF77ovbK7sp
xiQefWahyY8V5eSwt2CRvOS1MeKPcJBIcvA2qxnno4anxoiwNvUThx7Wyax38oBTong3hkhgJQma
jV/Zy7AygqM+ZG9ygi+5bIt4C2bKurLSs8ng4gbDcYWq+neQKsVVRfQz03E1N846p6xCduiwRVJr
uqXje2Z8kqbpzdmIO2uDFreBhXCm72FEz7XMhmHbJ2smk4dMjw50sm4IPupNIIul2ru/sRejaS+x
JRawL1CMUOBBI1TEKaKpP2sB9aUT970PepJP9Y/eUp+40mxrDdFmAgmv4yMtTUM5IYSw5i0UQGUK
P+tU71NHm1uKN11UZEj6JRewalf23mc4TOiAwoTnmxKhGVs+DU8DTUj7AYmjYyM94eHIuA+qhkgZ
DW1IiSVdkEDZk4yCejBzsnQWjcTH0TxYW0P6jG4YqYMWg6kkSTesXjQFowose2dbIvRngCBfUQzc
cCX5G9OkOV0Uu9RjONFB04nE3Y85aweNrFbPSDeGsy0U1YWNe1YdG8BlOTJbGbV92ULU6hiVjh3p
PIJzZ8wXGYqUudLSyE9G8mxzbcqo+hgJmV5oGrauosHNo2OvElHZXkuRaRtbazHvUL/DQYn7rUof
3rAXupUllxQoIWNwtkg1nc0YYbc62PUiU7NXPOfOAW25shmUEK35aFxbMgzmJaoEhmcEJWmg6YXh
JG9W8omFZZnZ0kLeYqPYNYaTko7GDKvLOolIqevG5ikXSEyGfoAHW6xVFz1nnU2ZU523Ea1Y6YM2
LIbYv7kjY3dF3OveUBbmmJ1ja+pzAmJk9p0D9jZtnEWsZy+d42CFgQMaOuMb44m3zAyRArN6GMrw
Wwlxg2f0kWJysIOR8VAQrhyd5jxbst+tpqN4c1Q2DZz2a83JyH3x35QkJBQn/hFUGxpX22PfmG8D
TYc1fqgN3s6OBc9ZJR06ZN6dPQ1vJCzJpD4dwXMCuEwOslFA/BG4QtF6dJNim7vQjd3wFaxpBpHR
X+uiuWmAb/DQ0czB3gEzkPwzs8vXMem3C0JUFhrSy5XHcQb2B8ud9MgryTjQ6lK7q4gfUuKpRzVC
t7ruh0we0rB/gUKdXMZN26CN7isnvqoGT5wOy8JWhL1OcQojah6OzIJX4xjIlVbn20CDENpXidgH
X36uB8uRqnbb+FhX+4ppTEDUW9QjrTWiEHpUwJpLWlPYi7sXYobTQ6Kc6G3sKz3fthUScSNOP52h
uUSqH8+ivqxZvoEBqWOPNqvMIAAieKCtqSx1cnMJLgk+mqDah76K3muEeKoG7nsQzmn9sTyUfJyI
/NYEL9mD2ix8F1Z/ExMs0Be8L6FAtUs001obtWrOCKEJ+3Jfy/CahNPkKOvVhRnqwa6kgDINH+lA
GxD2aoofAQwoTyo85bQrEBgtSEYI8AzoMbUpi23NMrCIbIzBZuUpR7DeYuY4iBNy/clkLy4rAz9e
QeKl0LBF5GzH9YITSlPWwqie675cKpWzF2PC4lOwjsRTl6aJoMv1Pvr3ieyZq8B0dQ+WQImkgkGM
I398beiYpTY3MD/AU6prYlbXSBLSrXtgV4nHmgnbupJES/oAdY3aW4uIohv+ufSnNV+fFymiBmuS
sDrTAoV1WfN2pjf3ii5514j7IY8F/IdStXsIWSt6SHRlcA3ySnzgJlbzzWVIWbVl/Stowz2PQoQr
zjHfiEeiLAriVzIK9dFPNrHbL33h0/QxYKXRydQm1lrgp9UmxPc/J47g4gVGtqLQBllrBSspjJTQ
PEjWVf7KZpOGskjybWyoh8JwrkbkHDuzw1fFXiO2SWfI8zpbMqHAZ9B8cYkg7YjWaArqfSZc4xcz
5IXa9W+pazpriSt7znCHmr4FdM+lz7Hcpw52j6/FJ0/VMbRZJPlYXnD2kq8G3rNWoYtUEZMeNWKF
543rntuY6ZjlvistCRhGWD+juDdQRdP108cymLFNCimnaG+jHjfa5kyPCpetEpBQNmIxDftr5pSf
DqzmhaWdgry9+TaXIqVM5lzJL3pFMp/HhIgCS367NdklgxVYq15rf5qo/1TyjmBIYe/zVtMulcke
sg2gvtYTWS3FeyhR+RIPttcs4g7VTmP7k9EZYop9Q5PH5wgacTb+VvXGW/ljvc9T5iMamvBcYWSO
284BIBUu6oSxjdRLMumf045ACNTZJF3pDOCJcLeIRKUNzZDKxgoWBWcSCo6ov4wF2UtzlxMG5CYR
xkOImbvbCOQpq9Krd6Lgkt/mz6SYaDMKyAS8JoCfXodmgeUiJhfDzuAX4NReEh2OHtUfKNLG6FTh
YpoPBXYNJ52rdMmpwuhg9m26HSrlCY30Dnfub61g4Jhbz07VY9cekB/R8Zujd8RMA8YdTjYd+ZaE
CZxyxk8VohBxoS05hIsc7Aaqc3TvmlDOM9N4UYCR8gI1UJR2sx+LKjwpXMTMJnnqBuJRwZcRY6RV
mIpNrnsIwdMY9YIRldtiTGz89sa2iyzgog0wbKVBBxu1VzMqPxhmX/tuPOO53Xq6msH/IeydQ50e
vAc4sPW2Y21p+zqqto7KsMQihGamqSQJy73eMvbi0yXOOXcugaOQfROJi7AZlxmWNq9iMgngyFiN
WZNq1DjLapo1yMG9BOHJLju5sB2iMZmnh6OGEdpKFq6LMF6v31CYL0IXIlbhAFomSp6NQMgMSWCu
77ZB0l/irr0gRIHWqt1TjVSFSPudauBHctx11YZm21ZJpwEsfvU84wipLH3bl4wdBg7FzKzPJhYF
NNxI8tnPDR/wYB7/ekEt14iQuVv4rfjYWqO0K2Z+O83N8XMxN/OxBuWPTn97VIjutOPU3MBVgRUi
mLeOkA2Qr/2KsR1S6O7iIqdSnNA7EV3Q0kxvXgKKX5bt3XcLID9Ir4V0PkMv0FZW+ga6KFhE9xJF
wbKNQoIqkRyatHO0GN+fUur+pezHflZWtAn9CKAnMTxOaf2i7tmoKmxuV7Yr/CmCPDMHbkqjttRi
roDoA7Zo9EKQa1wZAqOZaamF1NKYaUBdiCnlKHlWbfWgGizfbWyvLLVC+lHDsWX+XUHBXToa9sa+
QHCswm2CGPMUpfaKp0FOcXUqNbktg+gU1fGTBA44GvK7msZw5Jxt3Fw9yyp6MpgMkPaXfJR19W1S
Z4tPS0ACLnzr2R8tkGf9Lc30A5xWFBffTVoQtdb7S9mXXx7gMEWz1qIdfzNoO/sd/sE2KfaG02HO
ofqr4luaqIeulivXkPeiTt46q9y3VfyUVOL/sXcmy40j25b9lfoBpKFxAI6p2IAAO4nqQprAFB36
vsfX1wIz381816rKbs3fhEGRDIqkCIefc/Ze+3fTtT9j1Ag2yrYBHdzu/gzRZ5uSVmGglWf80ZA1
sI4Q35IkRS42wvYB4BxCq1Dr8BK3cb+Jlx9dLpmymtGlUM39+hIU1dmNKcxMOJQagSxw5JDq1s8I
SD5th7lbotF+mDZtSquqKuMdQXWPIbiPPCipabT8m5nzi7tp3NvKxVaml9hy2H7q4rkYzKfBzC6V
GX3iUSAok1S6ByyzW/zNr1pYHYcxe0rg3mAcDrstQyq2I/CSBqAy9RZx1YvC4hs1vyEAXNZMnKGa
ELnTSamGTxNz17jGb0aOedNrxha8CyXAH7tu7lq8MksznNsuf8pjQTLr5BcB/RVLvtWkE1Fud1P7
6nRgy0nopjLiT6Gn6XXRSy8sMI6wM/xcpaK9ERwsGT31eI11LfwKUvRBCx+r0pq39f02pBULhsJ5
mmJtznGt6FTYUeV8gUfbw40LzQlCUKDzN1LTA5jnCBcwDaJ5SHy6WRxw8H0iBSBsp7zX5tuc1Udh
QS8IKGQIfWNRq82vgPHnQ1+EF/Jd8CI45RVJ1TpBvkQRkgIh+k3TaitDA/eBCr1tJkmwnYwnpmiw
OcfqjVDc/MFuiJZtrWOq5t91dDf5FF8CG8+bFQ7ga/D96dMJTv/3FnvJg8RFAROnOYJj3dIIn7el
jfanC6JdqBxFnpOJmD0NTvszZ3qyMWRlgL3OyBNjdbcnlh7JzjSqSNpa2XsjjD61Sid3FZ7hxXdV
Y/pNebZPJ+SWJLM9mLG/fM0WZ2a9X65lrJ0GVf09kWeclk3ysMjQ2o56mT6gWrsUgg8a+dJzlywA
zVZdLp/EAGiXJZ7QkZFOH9pUsAA8VTSCJpkjX5TKnvPaF2kkv9Y/n+0U30eDT7tahXcO48iWnYA9
1Z8dPcgA8PLGDrs3AqwqQO/qu5FQrtIdWKrpyleRCJlBRwaxhhIup65C4m5l6WcwzpvONM+o/7+x
Nk1Tiv+g2lhMTfxZzY91L+1PZxuE6aknheDKoZbQSuF19r2bq2iS9ZxfWBv9Bf3iQzaNvytCl2gF
EE6sFM/SRFErkluNburBrMvK1dtxk+GR2Cq0YDbYQSw6Q2yAqsp6w2VBjDtgQ8Cy1e5/JjP/yWTG
YWjCBOv/Mplx+6/uV/6Vff1zNrP+lz9nM4qUf+iATiW1KpMWi/30fw1nFEf/Q9eZs9gMaBnNqJb+
r+mMZv8hGYroJGE4tqOqBk/413BGM/6wjfXxpimFplrC/P+Zzei2avy32YypWQ7tWShtvDgSY6U0
//tsJh3zdDCWInUFotpdUSEMrtXuYETjTXF+5wF9TpXtFWltJUsozm9kwp6SFK9jVUoGuMzgw/7K
hOcSfxaAdjwSLigNLlNgHzgKTkqafxeZfGYjAJynjz+GaxDK90JDe7j2OaGkvyVFceG8OwA86UKU
nIwpeuQpkcpwAaG/5DA1kOzQtRPQLJbpGKRvWaj/ynKNbmGwj3qxyyPMYOW0UtFgJEQ1k4SmrDL4
VOj6J/EahiR7hzyhw776oREAJIzBdLOifOE4f1y056TnhJb2Lf5t9OsgS5afRTXh6n4VVvGjHK3P
NA4Ywridvjrk6VzoXXCTFQVl2SU1zc7sXSWQo7bGXUSp6Fb6Qr6hXn6f6aUsoKaCycm3Usw3s8rR
JqmC4D+2z4DI6MwaiEIIYNwx9mpptChHwj9/9VbvBVVnkJ+Fp0aKn0rR2mQZLA22SPM2T2Cxtfoj
LgdYQTTrame+9bPq9a0B3y4yrwINmq+RUrAQWLGJBvW3aprHEF37phvVF3FRug4jZ0qVofXyZ2/s
dbueH2hYjJ7synPBrlFm1nTsGwZK8pCrKdmaFh9AnWSoUSQn9JCQWsiHRv3Igot+QtK0FPZvTU/2
DKUARRIa1ioZiUudSAGbpmTr1TBVpfqB7HNY0XQKOuRy3BTIxKB2FdGeARlh2c7YeYp0Iuplso0q
TOOGAkdkOoKW3wUxJk9YbvhFackWpNRFI0OyMiiI6tDpPcGY5RzIRvCF+RGBmZrzLRPYySJreJ+I
8FDIAE+guNE8bZW9uQtJLrkHXiGK9KwmIj+snqo9gYI31KAXE/aRoblj8VPgMGfzPY2M76LCXcqI
8bzu7IKqwRcYOwfIfe3CPAkuxadGdCVeVLIk7ciLgqHdNo55SsVM22Qynimhhx0jfUy6WnOZCnk1
oseFkrwtt9XcXtnY+q0wV0AFJw7wgcZCGA44bfw10SVUOwAF+/rNDFSQCYrA1hPqZI0TJbVpxBYF
Hd9OFahPbDg/86Zz2ya6BX3iEWkMsTmo3EjEza7Wkg81AGFRB+m5KdPH2oovz0ihT73J+bijoS0t
AwehANnQaYUvKmXfB+ozMFVF745B032EeXxmLthAjRpVv84PDOv4r5pyRTFOvd11XmKNG6utgOYm
A1nxRupsUAhk+NNuEAUBWekdUbp9jB8oaT6CiIaSYQlydGrN1WdCE0S1vOfVGoM6qluoXoqhdwcc
zGtuTHXLtZbQ1QbhtNG0yVOzBrZj9Io3Y4wSNYlmJLRmeLT0Idtj2kDp1oY5LA+LqoHCni8dx5XU
+wTdhD0dFlpzwkyJv5RTcDqn3fClLeVzm00ecJ494sQfWYVhH5TKQbdjX07GzwFRKl91UkHSiNwW
I2RuHMNO7yEVz+zskOfFnjZAhKNRgyCDFBU3hH4ItA5tEVk3V2moLtnCTAwnzGMtyYEH3Imu7Oer
FYZvgUUpTgQaycGgIrdOoI171el3dTvuwzm6maZCcHiPVZK8ecLBBmY1tV2yTQxPpUNgDOMG0zXE
jBGFLLEsw/5cOOkvtEQ/WIfgl4RwZYqOlV6CZdo2MwZtq+1viQnVYSKKG4tmv6P1CEXCGR4k5Cp2
aWAHiYn143XzWsrlHBrRuWvV9GxGGsqpWNlplkCACQjkYS7g1MD0Egcil8LNDFAhB5/EQFo792h8
P4Ym18CxhcoqeGKKBkNgT4YhTG1nOaNwMkiNtW7QSM23mAwxNVSqXwC097Gu8K1gS/Qw9vXvhin6
scGpA6TyAH8h+RaUznws04NwICMpk96elTCFjc26TpKURc9IjsFL3dATgt6bK4v4xcTgMuH9vKKT
qnGAzcqDaWbFO+dJpoEGG316v9kWfuDW0gxrR0wu6A/E2lJaJBdXVnPicz5wdEKY7PX0ZOUwEdHp
x7fQUAe3LJyNmZgN9R5jbF1FOlgZ5gx9pAMdPWUv0BadXxN5ecTE4sWS1Y2mmU7GS4rFozVthrSC
xUDR30g0Xc0I+alZ0syvZPESV78jCRSsZECPgI3higohAu4NcXPwsLKo2E1gD+h/48ean5ahCh90
i6U1JuUmgOyODN0Hk6UxlRE7TNCbWj0XVuoZQVfA/k3gmOV1sV31gniHt2XDZ1R361ZcM684mJ7X
YsNsAOyGvfHWz3LZXgkQIs8pf1Lm4daiB2fwB0w2MgBkLJJ5cRpU0A3MZ8bu7XFaTLnHFkamcIEt
bFaIezPsaDrBmCRXPKAZYaXyLWXd3HW5+o7njuwfO5w/6XuXnVZ+lnhiH1qYfsiW8JTpqxJbl3Nx
IO2931a9/ikWw7kNUfrcad1CduT4hUyTPhsJFpeldebDHGbsuQ1Jqkwt5+dMhm9akT8OHOdnszbk
gZZJvxWMKUKncduI07qyKIE/KSOgqYWqXA9P1Tx056RrzrONUN2h+bICfrJti8PM5ZxlbxPFbh7K
RgaErcl1vrls6yhwCew1vLrM3yYjwWkY8Q1hi//RDORxFv3CulhdF2GEF4LhKUrM9itK7fwIr5he
s0YOOgUV+6EwfTHwppCEMrSXrNPhyDbN4FH8kNXBLOYB3P9yVHrjBwOr6ZGNGG8C4aplz5dpiX8v
lvZuE4RHPGuzVwY5nI0uOTYzmFE6S/G3Rg/SzaAVHXAeMAOEtyRPegdxBUP19FVQLdKyU8anAMUy
FFDgAWFv3hol7c7gcczHPn7DaTxiYNKiTVE16SlqOeFkTRgfOUBfOHZaL8yxMYY0B9k1Ym4KHeMg
F+0nrjYvTFPpd2jdEcMC0CXtlRMsn/UGCQvzrlkJXBvkTCHUL6AxF0ZRQCym9CVrSMvVMmgMTvII
Kpz5SRCdmxqsdiYW347pnc05zH7iz7vYOjqphlUn4nsit2E0gbuuXlWzuVaG7msG7p0S5UBBRyUJ
v7EnaTdVwZ5q4nWD2ztXtbKZrfo72LmdbQWbKsMk2qc4kJY0oCO4OGyN5HVCPxBHksah+I7kD6ac
Dm5EXZiqDYyV9cqUWyy9LJl6Hu3s5hlLGjok45Au5jYZtEM+L91GnS8UF1urQg452U0MqIWjoi3b
7VKWZHEl+AHWwTxoghc0kb9GE0teZ9SN2w8dTr25hxFookbpgrelsaKTFeSnqVuhdtGLDNPxeL+g
dcbMOOgIPA+gc2z/ceP9KmmTY7D596t//q9m4TXqhu7+40F/3vPvjy8p0amWjbj3F/nzfu+fN8GK
HI//+O//uPX+qGZObI8I500512ThrheJE0GB+de1pVj+edu/PSSOcgry+3/5+//dH3N/hoX5Ixqz
fz3Zvz3tf3T3qJVkPrSJDbfKzP2B0HAfNznrLZO44s+f/77nfltEPMgSBl5DW4U2mFIX/t+PuF+7
39ZnawoHsE8s6WQYOkW3owPx4/4b7hclveuF8xG/xspHHsOSDDiIRsRDLoJkLf70n3VT1bsUKJ2P
4pQwTbMP0Zfqn+EYVh6JdH+9RBStf10LHOt9qAdSwmYOvnKEpenkU+7frynE0QC2CzHllwZyAcUA
K7teiDXDahya9/uvIr6QiZsgI61Zf6lSojG536FkIYDWtWWoTg2+5bZY9w52ReInFtrKD2uLNMT1
2v1+fRHcf7/x/jM+/vHQS067/3rIn09x//kfz/P3/WVLgG2bZMGutgbOTr2o/D6Oaj9pRl9HZcGU
uENSmK4fQCe1aNmQrGhvZhQuD2gQcr8BToDxc/2Y7z/frzUktm4dwor/fMz9DlGT92KwyjOoWv8c
opRrri1ptPmsDwfCie+fwf0iXv8if/94/5jwLtEOwibSpCCq1w/ufnG/7+8f7/9JxNVf91bLema4
/3y/5/7ARJsdiGkX/IT0r6JglykTiUrIi53GZLwMB3FeICCPxrPTIa5J8/NYB1ehfYG8PICRPdVY
X9RC83RbuoATD9SSBxWbHpGbexstDbSuZS7OnMCR1g8sAdpN69tDU0A8MfVjEb/ZqbpNVceFMeDD
Z/AqUX4lT6qi4yubD46KpAQIbNR0CB2JQRKli8DDbeiKR3TL0n1TUGowVGYZvCIb39r677D43S7x
nixWj+C+rWny7sbxQoqkO4TZ+od04f7iItD2Nvu5oidywbnq5OJlvFkBgnPeoKUPkm6nTC6S9IDM
tT7ERqV8g8X2IRy64dO3ALVnTMmbZsXJ6O095juXBsO2GCAciPxYOtXxAPHnOCU4u5FQlEbjpqog
JSThTVDBFO9jKHwkjsfRMA8L3CpaSIdSyJPVTqSS64cgIe4gn1/6QHyMMfSk5svoJy8No5PGtJYT
2rXPFyqCCR6O4PhGdV7BpS5G1Cbi1M/dQZsh1pQTG9Vp36/gwWktCS7DwKlE2UxaelNHbHhtyT7A
vgWLfCVp9Unm2a6K6gM9c+Bk8fDMPhg0x3Jd34CY4CvuSis7LKpz6ifbK/MRVo32jEb5tcGRg+rg
UUcM06RUYMSVJ1F3Qzd9LAzj5xSGntri6U17/i2ulezPFS1nC85sYGuPvdyr2G2mrnbVke9kbPJn
2nU0Y8qdkcMQJ81aniesovTRT5nSeZmiu5VNcHENO6UnRsHofLur3gjfPZL4sLNUE955jIYFyul0
qa3kGCf6QeQWcUxkGzirWbG6pOriazLzF6UAS89vF8tRvssudUt2AYVlA7B+x2y4TxR9J2RwVnAz
dcygUd4+45z3Spq3aUCNG85HKp7zbLwqQwoekBFmqD7CIrli099NocWb1XddrO2LL1RWbjKbu0Y1
d23vAu3aWhN/GJUk6tl1HCK8ReD3pn0yJQZN5DPQuj2rj8+pNI+ljfZ/Bu5LCm1ou4ACnpGEfmM4
/T4lD7bKUtPNmdcL/ZgK3a/K5lRL5IT2R6EYW45BsAkCJ0BqLX4z0gtQcE0STWK22FfDW6nbXtq/
iem7Phte3HYnOw7daIKTXLH4tKhNZgImGTPV7aNahKyZ8Y8yNhhCcbqTltcFr2mTe+ooOQzYak4z
Fie6e0PnYy7uanEkKPyW9P0utQYPsfAnE36CswyGI1iOjTUjKrtRUT8YpPIEdAHZvCBUWp6UVvqp
SC52LrddEj4NNQDvTB6qxhvESu4xd6ZWX2TTYfNHZFLbt6USfsJ8tSqF39m4AGUE4KQ/LGPBXutQ
0VWxKlYrBEisUBSl/WNEImZajF929HvptGNSl09a2fo9QOIONiRfPmsJn7BjfdRpe9TtbKvVyrbq
dJ5BfYuF/pHpkMli9TzCZG5Q7zVaecvU4LWO5qcyMd+dvPhI0B0R9XIA0fauDqlL23IzTJjZUR81
9nRMi/CQqXToJlqO4S6Q3RXiHUBPiMvBj2ga3mTevVI3HCBvuGks/UI72SQHRrI8deN8HuzwFnSm
19ILEc2pCKmx0AUXmeGtpjWnYnVPxEuKD19HzZcspyngI1aL14riIKUD4+A4UviIS51vkgLCnVzN
QAsPJOcQn975mREdstzBJ9o9QU0nM8pCo0gOR51e2sm6WoN9Y/v6GGjybQhgt8gCTWhxKEGGhYp2
CJTgPKTKi0meUVnn5zpwXKFHW2J+CclVVqTKDoXLPggImDIKNKTBxrrZanQoSZkhtZEImoHGqOZF
oELiQl4spH0LQax91Lp5QEPSPJCwh+4PvewyXRK+Z7EmLz0stASnFYFjLmh93FPxeRyT4ywsjMnF
qxEl62BR7G39WDIxK/RqG92M+o3wDoaQFHqGuSPafE9K1SEIMsRz5aEAAppNH8iHDmP+VAeLX+nS
DRDb2Lq6ilguppG+4cK7gtrZtNmwgarKV9LTy55Vpt1ZQ7LNUJUu6nzW+BYEw+ypYLTN9gND0ku8
2LvZnDwa6avO8VbGg2eUqjsSvmgqrdc9J5l5SHBQIK5CHqRschS2wa7Mu+PYPuf9eISfeqsjcbas
0S2d7pDida0ClVlX66N8PyIpOeHFx9AQ+2IsdkkXfDMd8RPqxjcrsv2gLTx1mo65Te6fRtC6nd+W
uHxF53lKJWZ+WZ9RNzroNBM4bW5MlJEzPsnviJFhndXBXiobcwQSBDvI2GndZ+3s7RH5H4fRRaiw
hA3Em87NJGSz1SBo9NYtdconYhVf4in0yhGFUAcsMrkY48YxYCsJZDXJ2nEdIgCM5TsERnStBFRE
Ogkfi29K5ajPyVmynswIi9a28FmURBQXDArV3B0VsNALQrOFFSEgtYngwhTRM9nVO16xLapPieAy
rOO9lsVukdJCxOdmkUvMbiJwza48Efaz67zCtnZ1eAZP+iCsHlkDiTAGW0wx+BZBUqa4NXDgFkk4
RgnHFtG3IOp3xVxESrGdSDqmHjtYKpMFc1sLOpcRq36Xn9TgMUtNd0YnPVleOeDQIB4tzLNHpGFO
I38lzlV05lVpVV+o6V5CJqpRfDG1DbJv8xQ8rLE/Tt64MkLolE9HGtNzPrMAr64QfwrQnQa6V/Tz
uWoEAUXVRxvUX1TNmfAnEtDMVebn1gFSvXpdw+fdzBktcLq9NYQ+vorjTJ4m7rEvqsldDBEma/e1
bL2ewEKRT3uQpJmWuUEs6KfTrkTIUKaRW2eOa4pkXwi2X6HXRyx2PVogvTo4C1qk4rvEV5FgU83p
ngOf3BpGelaDxtWRbDky2JfZ8kioKs71ynyyWvVIHJhbmoFXFLxQzEVJWO7D3GVM/mhGsDNKhg/z
9KNPlpullN6ivSVp48+R5qb9jP5hOVngRXFksZHDgZogASX8EVkjjQDTy8IatRugQB3mm762mS/B
Ik6iey+66mQbIetRSi0xIgEjO5cSCSuqGyiTV3JqbGzWlObJZjhf1HSxG1CkEKkWJjlTdx0XDXV8
uUcxd2CKsQvUwI3xDOkgloXC8p0+T7kGzAEKdlics5rNd9RAjCVPFU2rGeBuGasriJayjF6XsrtO
ovo2qdGzDGz6naQFVOV21VNX/WerD9uBoL+OgqfmvNiMeyWYfTNadgBLdwr8FpuVA7uZJ03ttcHN
qIaIWJaKXxwcym+aDsc9CA8r8dUiTiuHlKLmkDyjo5HMt6ir9ks4nXhCRimhr4YcKilWn5TT5+i2
OSPBBt4/k4ah3Udl6E52SdAJsQATMzPL3EeRvqGFs+Nbhsu7oqe2QDh2trOs9nX/mNHLzwFSFhaK
aGM6qgjEUjnue8yuZqegjo+3aaXuDI2skD7fDXAxaGm8lpyMpmUXt4OrhNYDkFd3KggES6ZtZad8
k6DNT8g7O8ZVhYvIBYlqu0fIsFcXm91r9AxDY9+MnKPawrXHxI2B+Qq4LcprllCjSM2XuUrbund7
kwmUwR6/9Vi+afYG26Aw4Kb4HaCwDqTDYqgEqWvMffCN8saLZd6PmEX08gOcOV4bY2fLo4nlB1PA
Li0gJJiOyyxsiMwd6zHQAEngGzMUeCsWLzDKKh8MmQdn0yeNG3vb3sg09IzaKUZYvL7tbAL+25de
pnY++WkjJPz2GpCxwyTMbTu3UggAt5tDpAzPpER/K0varJV6JbfGd9jclhWrOFUjUEpSETFADezV
2wnsaLfLzJb3ke21+WWCZg5TArkdKQYtc7REOfU5BU7DmxhsWEfdtrcRfNeZK5zz3HSeYL+osT4H
YrnaauIOaeOCYDgFc+tm5ktYTN+DYHlLe8dXm+a9ykErUB6pxnPGBh5kjD85vR+o83V0JtLGybGd
iNsVyTWMrUcL8lxRKxghOICS5FwOHe+j2uZtxNLeHgUGC6VOPOuhpn/eaIYbmAs7X+BajuEycX6Y
iBc1BjZRRKkgB2QZs7Z0+A+JVM+K5dDTyAB0sUvqWNtZAYsEFTIx0vMc7dmjYHI+ak25A/h2Nism
vsjkZo0AMM3alWRjtk7rUgJFsX4Y9MatRHeo2hTDIrpuR98ucwW4J3TDLHSlPlG4WDd6AQcB9ROn
yKZgaQZC8yJqsce9ue8z3IgoxQDXPeTjZ2CTG6y7PUyFnqmBbhmXkeW3UM49nOwk+5S64Y2csJae
vHBcX3FRbxprjc0xsPAgBSjKfVLRQW1w2fHHyztlW95j6cZ9he7c4Znttb0z9H68JuYpj2Glk13g
cELtdlUP5FwpQOsZUMOCwL03f7IGRXrVMkIsO4MGFAOp0o/x4Km7+9X7RbTeSEaF3MqGzOipTEvG
sHnO4+93IUVYxw/kNuys3IIWF6vgcEWJGLoIY9zqI0SOtW3yb92Qv2/7P3VRSE76anteiCKJFUoZ
1kO8alWGcuknoNLUM0e6Q/9qoNX05TdpyEJpDrSStLny2NKQddKK/QCE3f2zwybaNe3n3rpxesgL
JbFf9ye5X9xvH0yKd8sumq1aKrvOrCbGSuZq5+a4blpJsZGP3wD1aA8ZkRTIjxPrFWIk0PR6+Abz
VXqIu0mhgwP4ZJjdW07iBI0dtkRGpbbvSUXcQUmywAi8qlfi+lgGgPRBrTXf4hz/Qka6k3//MWJ4
lEaW9lb3U35uoxZD7EAYZpQ44NTrLPPuD+tC4VpT4IqKJJsJgDRqOaw7mXZdxu7DERRsSqYRTBaQ
OJCzhyKpNa+/2Qv5To30IqrBqx2M8atihFu7IobJbvVyl2kgXNph8ZyK2gKIEql+bcZ+xUKmHY6B
R4JqurFI+zjBOvNmOgHPaoGJJwur78DEmd8sDgdFjhfCyMXEKe5imiXMvixMXY0uBf4FTLy8Q9h5
+XM6msauoUWgWxqyNsKujbn7pY9zewaFqG9zM3cbLSCqmCDoLRattzGT6gEr7XKc8sFm4o66L6Bc
7RC5d3pw6gWh3UYAZ533zcJnrppIjdZo+iOd3wYy0kKHWdVJWyUpPgjuOjzNKiAPd4jhDLp0Cgrq
nbVTuiGPL4B9pl6lRIuw64igmZT9TB4IKRykHWzwcm9Hmh8VqoJS4dQjWDAcHZJR4Y6l/owleq/a
qr8St+OE9z2Ynkp4UloVtMqwLDbEDS5MZ5LjguWrWGU5BC+LvvPivNx3qA8QV+5Q7W/W5aqqaz9L
nrKgZHCcbEU2en1WbLOB74Kj7MsB/EbWE2MISg43gSTWS20OsB2hUbfoptmuaAeHMLueYNiM+X+4
RPvUNvyxjQ7EUz7EttwtarMfmKnQrKUVOB/yoXXtXxbVOLOVSzm+BRzfZtc+SmIUCnBPNuhLArK2
ZersrRg+NprJBPNypMTeRBhPj+u8DD9FBxwDxsuDaJtDqjmbFr4MuoE2YoXcFJ81stgGwcKnYTzS
5DA/8uAjZTyvzfTGfIgkhupZNWik+RhqdAFjML96vVWqV00/VsYZfi1/Wl+ZdwQzTDGrU7QXZDXm
+1LCcn8hvjGJXhrrkdfCx9Cmr5PzTW9eOCHWbFhGmmhEv849sBhWdg2UMp6qxNzJsHzILJtYrxL3
8U8mrAgHIxIEv7imQbAicZtb4Aa+6qZvI/RqwneT48qPy+gAbRaKmjwV+MoMMgK1Hqe4jkmGSFEH
1Aqq03nqvKkS3yc5+/Stf1NQYX2Q2kk3nNfsMmKBw2/optV1nCDsa9039kj0V2gxIhBtUVe0wWun
XSvOMR3R4XbzOCML6iSyqPwT/ehDdsDUtRHlN3J7gLS3myhd8aQGGmSdKhDZbJ0am67RDh0OCnTn
HUqzxua3lLRqlUxsZdI/pdrChNU4o18P9YIjW3kU9qfKXqUcjkCnqQzGh7kiTZgqFLIStij7BSm+
l4fNUeLNllb9NBexu+bTonofHqK5J8rDPEjhkY1NPjg4KNM4O1b5IkqDgjvbmZBRs0V9CnWsHe2x
FI67pKq38PWHKuM5ufOeNBpN1+kYT905KufDmkzR4aBy9s6EXWuEkUdlXG1ZZlJxAAEMghomWYxG
hhl6vlBdYzFdnof+e6W7i+52zdvAYho+rYe2pruZQZ4TIL8BHYD6gtoj1NC/ot6+BIJon/ySWVsU
ZPEPK92Mz4iulXEnqoOpeZ1xVCw4V4iBX2P5IZOPIf0Fmm/bqmTNFsSrm+a1kBwza7IDFcec0ZoZ
ndQb2H/P2vAys0dPumyT9a/GMPpxy4GrBuTLDfuh05mSCFxO12Zazr0uT5n1ULHDGFbOYgwLkVaD
IsxvOUmSKTJv6E6XgWh28wNrkkbyQJAgTFI2hm6dQ707B6P0VLu8OnH95Y9CfdXs5hM1JvPR9lLh
YDdS9VQK9Ui3hlyB3dA3z02TEWaiuJQf58koIIuxtwtHJDMm3+bk0qNlGNAjMPffVrF2sONq38tb
luD/YyFHvS6YxA/2azXr29RwXnqrC7csjj8Dwp9v0hhb37aHiSXMVL9sWrCtxK+q9DNFno5nscnN
U97TWs4tcszMwc5+OPYpl3H83akwHSbrA0b8czj5BFRvsOEswzRbs7OzWPoPTWHrMjqKxqi4CY8B
2X+IFuzom0wd//4Iq0aO0ziiei4njhUSBbBRiMw+5j1iLFsPKz8bbHvXMaWjRA/WwJbAfiHkRL0Y
zvwM3vgCjdci6IegvNqwgIOOVf1RdoE3J07zQrM8g2+lsu4MRv2BA77a5EWJlaDVw1d7Ud07rTzq
6mdpWb1rZ/IHGcHhLexMfPMitnZ54ZVzpPKNVrJnMCHZMzlE6hTVt/stpmp0u0nDKnK/Lxsseaqy
8FHljBJodu3P9uCcyTCkLFivUag559ZShs2smF9MoL4D/0y6fbaAiWfVXy9VJEtHgB9Y82UMtA0R
2EPQpKMv14v7tVBJLwa+lkOvFOPE2Xz43cwh08nEMnyLfKiNqBxEZ0b5qypows2qgtzU0E/VenG/
NuP3hZyTlXuzKS1qfxNRYNcoLHMN2pDYOfO9oLMgwFCzyWUpW7oBwwy5t8gC8onJAMOCdppvdh8K
L2Xwj2t7bF4KcmQ40SguW7vm5X4TG0APIn9zTZJjlVTtCzzTjIYBoVz3HwncdPb5BLXv/mMVdy//
ow7/T9ThOvrr/4c8fB2zxsXX/9p/teU/FeL3//anRFz/Q6imUBF527ZlmshE/6UQN/8wNTjJCNaE
bRmaNODm/MXv0cw/GLyb3CscYZuqAz/oL4W4wxNSszkWM30DPDqK7/+Sr/8H9B6hSp7qH/Qec5Wn
a6bhIDlXIabS9PnvCvFEzwaF7HLQjs6PKVZQNRbmagaLgalVEptoA0sjsoc1ZFQ9oTBIe017lZ2D
ucaIMC0GFhq7iJi2WrXIYRk4T8bU1ZM4jhrGQSxLKBoxY4mUsFyDHKFENpjZbR3ehRI6OC/IyGAO
lx7t5v7sPhSJ77rDPLNucRX1+Ci3odm/i5Q6vdQAWAQBRujBQUE40e01io6KWxUUw0bxE6sTARv/
m6gzWY5UyYLoF2HGPGwTyFFKSam5NlhJJTFPAQQEX9+Ht+mN2qz7db2sFMMNv+7HLe9Yi15eBtYM
0nSeMWtfPI8YTFL0PTasrCLIn7+UlkMNepUh/4hF7LymGUKMWGyVE+xFtQK1y9KKkPe1ezGIbuwQ
akNlz4AYkrk+yhEiy1BhA2qCr2UGjMBHAeuzOMshBzfG6WAPsSA4MkJJPXu3pWfGrs+WO6necpe/
JUC/NmcRB7f8IRuM+7Ru5g3O0N2bTXIrfDpcVuFcc0DN2Ljd6uSWbx14IgNT9qvMMHSaGwN4KJMa
vD2JRdVpFwQWuhEx7TK6CJi2lcXrbsHPQwaFpYJ7z1knnDz1ORg0bQYTNKJOIb0twYGJ8oQHHC9/
K1m/Y2uED3rvZtL9JxKOiMmN6klgKJaXh/pyn/u4lOq5VCFddDvD3Xxu3bB3p23hDwT+rvSan7ru
DOCrOOn0hJ2kU3XucU5/XV/pe8+djqaevXTrc92MdEERuGfi8LOrOVTvcGsoZB+Oo9TcSCYYakcT
P5trfgWucT/a2glAx9apbe8ASqe0hoGSKSr3mBfOv4VS5ZEIeOR51guu+fzgWBwGZx2ZRrLjVwUk
qV6Tj6W2YlcbK3vD+1dhDv8ZZC6yZTEHv0nHaQ9iIHlJjFU6V5By4eytWz9kM4kg6oX5iVwfU3Uw
nLMEyri+7A2soXt67Xmnl4mxG0j9w86Z2J70O18MJMRTXEc4Td88sz6ycG3zZNmpSmZP7bjibafQ
UoBtKnkAoEyKD2s2CV/V1WdXs2RuM/+bpQfllOnyOhVeQ1DNfy907Y7Wgw1+QvyckhJq05q/TTDU
p9Kqz1ajdXHR5v1D1kkcGvaviYuO+55GuRkiM+JLj+vBu/FXzfdpRiC5NfBvQr3fA2mQYeC3fG72
eu5cApqwKBK3qttsDlRSGmC0DRF50BEOFBSP9JIXHImsmCWIfk5rkzYSp/10iv6TIEUTjQ3CNBED
0pUWc4kzUKSxVM9UrnCsSvR3IzHuSIL+TJJJ31uHv8C5ML3LMy5GPGzZ2RU91mG7f5dak4XDXFLh
2lodMeZhn8LMg/3Joqf2Bobatto3AS6p1XqA7msdOkc8LlC7D3LBm7yrJptbKRX73MGi5YJCSBO6
MWuMCwfI1fS3pIfBdJx9R10nrVAXttovwkswngyHtq7M838/BsfV4skePscheOvoB4sbuhijzi5G
lvGKHHEizZi0bDR6gcDqh2hlNe26t+f0aa0d/SztbOZCq7aSaRDSfUN0WzdRbzIO99PfKWnpnZmC
d22DIpYZa6tBp1AhgFyc15jc1SPKJ6OzpYZjUDrXwTXms32fEFI5Wyb14MNAHuO//5ZF//2YFT3a
aP6Edf5u4nV0Bmron9vCH861dSqyZY7W2VrDnAbvC3oFwYn5PAyeH/UFC7iSMOVZ5sDNHHNM97ZW
Y5HJOOEpLCiGGKawJyOA07sbzxO/pM5xsojISAHWRLxbyi1IReeHiWIjvgPcIpaFdm6U06PwjQaR
PM2jYl0jc2C7SX8ruR4StFADoCqjgjKGJWFgzl9z66jQ1vmA5kI6Vv+7+vobwJUHZ1DsNOwOJ1fr
3OsuZxakw/csx6wlgLvHge99D5qexNDnKDktJzsUlmschomKeoz/MfmV/q4umyBGCKJzoS5+mjaj
AplN4ZPu8xZREx2FeA7WtlYHlY53XZroHMmK3yaosc/YYjq3aCzn1m6YU5vkNfPS4s5walRje7wb
de20WKlzKr2XLnMAQlmmCXOLbnFTOeeyEb8ksIydGmZ1CrxWIOSoeWfOIyuboQEo63UXSMNnM8DL
qbufhjGnxx4L7q4b8PUhFSCYDewFJvwzXeEasAkAZpnmZhWn9kQu1vcsXP3oWNWDApoSYirk3+cn
SCF0jNZjA+mz/ClN5wlkvEntsbphd8MqA9VuFUBbFg7JxUAUQVoBAKvBOmi0o9Kt6r9btBFQPXDM
DUGZKy7GTjxMiqeBsdBL1KbcrBlAWacv0h0Nr3no96OFQ6ZIYxfyHQvXd+DrqSkflIXHePStx9m5
OI0Zlw6K32SyfQW8rQZCFnljxYw5L2Sa/6C1sAhB1tsICrN15yIVhyobT/PQenGaUxkyifGOYN+J
EyDtv/h9SoLBVAB0OFBjq2I8GTVY9YG6VppzcPm9hoayUUkmVV9IqXxTLflcrf18AZxE0aRVtqTY
KcPtBWhikUOtcoxDP4g/+CKcyCWLx2KmPdR1RhC7Gq1YK9ZHuWTr0SEFw4z4p28DsCReDsJ9N/ba
zLrW/xytbLfIlii135OEctH2Fm5jT0313uReJ7SuqPLW0BN6wZpCZt9VAFnA9rJsv9TYdcTZM3zW
He3Hkqg5xvq7X0fl4/kkXDdbT25bAaZpJj+EuB+pRpT3XSm9u6pEDnS0O1dnAwIkjbLJ6VNrjDe0
N5haM7CW0ZhBidk2p1xqpkEScE5aEYXS+i9XziFbfQ6L3uPscb9OLP91GEuwBvLZKAA6+yOIOESP
6ZnS44+1JhRWk3HVex+EVQc+QSoDWJIZT/CijiuXkK3hpyM0FdKAqCJ3hJOXi+Ef/LCLwVU4BN5z
6yV/DZeNjtXe4ZkpCYUEPf6OFpYCVGvmBUI0u86weG2om9/X4jEoedQpvkGzz6vIdGB+6A1baTt/
MdljhonOAcuZ7Onoy77diqhJgYjh2Vsw/eg48VcxK7IfMGN5IzvQ3SjwKsp2xN0FFiMwBCFFkxq/
xka06Jbvvi3a0PDrr4l8z+L2zQWOlXHVK178Q8maxrNnuTckPl2nca9U3SxxQXCO0Wh6cCr9k1VQ
Fruivtk9nGltJSonFKqxAeWWs7od9yZz7lD12dXFVXT0hfPtjEl752uooMZS3CchwBAQFl1/StwC
alWmX//7kTMleVYjiULzsChV4lNtOYcT9CbejoQV/QK0Sq/Ws7Zk7VW1FvgSFgUYzTxknZcWr7+V
L8ZjcRszIJceSUEocX6s8s//2CO5wArkB6/oEv+lHimybJMB+j42FdBXyz3NaaBKrD1Yh5tVWeOV
U8Ulc3P/ygP7Y+XheBAdrg6O0u08uZFl0zgfjK6OEZckIJD3/oGhCeHPA0XLGrjlyUBrmDpP9FBF
KqObOU2w0ZQeECY16XCpzZy7V5sQdbJJhMBFRwKk1DetT6Zmrsee50BExBsTPwuvpq2Ts9uwVm07
19rJXPJ+xYFuSp4ALG4D22dlQ22sBZr7EecMUEkvEjZzBq09D1odRDNeLirfrQqDQ2v+awRhVmKC
AL1N8JQC7Skb7ZC46p7+cEAZVCpORDyn4b1UvYwbE60vyOwo08yTsW64SBfxRRvr2HNwRWQtg99y
DILqXGZb/TmIDyKhxZ8ERnWc8yEE4+/OoRQoL2jmdocDkB5mzcaS0VyL2MZUy+64NyJNsAFeSqr3
HI+/pG2TAVnmj35QkSh8Al6q+Oc69vOS5JG9cOiQGVO0r4y4XcybLZvnJGmoIwkw6Tekq/BRg2JZ
YGBM6UVaI1gakfMlevxmXOc5cxFG2tF7dnqqrEpqWVOvvSFIo3VhY9xN/b9gxpqrwZohtcCLBzOb
FC4upSA7FVp6yTFZYPoycFyAMsS/Qmf77MRrrr9OU1rsFdtxC8w2VXYe0QIcArr23BppNGbyqTTb
HI9YihrTI1wHvjyhWn2RIcMDUoLrLKlqNvjNZW59E14HEcw2n81a/zOTpAvsFl84kWGK5uX2hTVH
HUpstqyPuSwImwoASE5/pE3kxd0MmMvkL7TIBE/JkN5lifMulubU68FjsTLq4MdbckyIgbJ2JNQQ
kXC50n72QO94Sdd5+75RCEoFlUQwvYcMCWfJy25jXW69pruaEwq6NsAIv7mZFZgMm9iBqbObhWzD
zU29R7VONwjFZxOfU1LTDSHH+U9u8ZUoLqsUTSCUhbh0auE5Sq8MhI7dMFRoZzqsTPXaN3CuluQj
m9OfwEu0ME2iHhdgYJbQEI15BoDyKuXyRYfAq69j9xgZKQY9feIZddM4G/Hiok+0klfRdQNjpRUz
ANxJj5C3I3gnpEl1WeyflWWYYZBxKtQXuXMceDh34XRAH3LJaulJoGNZKW4Opa87u3zTuk95p9R6
n3vGhVL5PlKy/cKzbzfrF+ulZzew6kNbMe7bH5qRv9splSgd3lkjWPbk9fQiMGMi2c4ucRXAoSm7
8jR8HsnolIK21s79iwObx/urNff/phakUmEtezp2h6OR4n6HDLZQBxKNOc7ipQ/xcSJ/rPar56st
XoGu0dKoLl26bWxagKYzj+5fBczDYZtYjNZ31hXsg5qwwZKxszYoh1X8V77abpns9SHQVvNOr55d
J/iHzRLlfh1pqBP1fpkWWhAwXmNJxs9PaUBHPzd9V46wb8aaTTFwoTpy6j8E1a8axZ3yp1ooO58u
oATQD+YJFuryKKll4EnNq8d3nnMDa0cH1IhcR74DvHFxCbftRDXesoW3+Vgfl6rtd6W5alCCOmzj
BaU3hNnCbM2f8hZqvN3ee3MN2g5z+sBarJj5oAXfb1WgU2PNvOUJ/CWzPKM6ffLI9Y5zltzZLV2U
PS2/44qIgOPrmXo5aHGYUWIevBene2ja5Yxu9m2o8p78Rr3TR/NPMBo3e/MfpsCnZpvxl3X0RlY6
6ev0LjRifUWFuEMHti/cP6YNdDCZjg2QxCXNX5fUPxnC4OHDaZ5Me7PbPqHrKKBffRLp7nLL3GSD
piReWAh4nzSkU6i9LReuCwj7s0xJeKTPqtHz46yvf6n6PJR6bz1gPhNjYt1xzqS19pcruruw0Yic
6bP25HkdS3XEyHQV0uUlYZRuOFGKRoep/ToFkmPdIu/bCcdik9LtICk5erfVrlWAYDGTpHtX4P1o
WW7sKr/4mOugBSYKw6bCXu7SKvW6da9AOcinKyPRx9yBL0hGML62MVV7K7MebZuXHbEiQbKdNaYC
ZLsq7zEwaJbTyVLPYj7a5pPdSvc6LYsAPGyJh7mdHsYUsQxfr/6+8ptaLHFrh0I7ajy5e9N7o3CS
lPTRy7zDRGKrGqf7pOqNHXhWa98Ck5r7laVVx0M/S5KZWd0Ox9r6WccFSKvtW5Hh/EiCR7HuIz0x
HCvLuoKtw8myXoB9EbopNEqNN4amA/+HniVOOuqxLtsYmNNzL6avcU1ACFvjr9Dqe7fzrrleA0R1
KVKz4V75ClON+zga4qEdwapxbqW1mu+DSqMDncFQt9PYK+fvJp1Zt8qLgYNi5znU5EjFvz9jp9nS
ZGXqP6Zq39yUJEAi7hLXSGPM3c+Gy7QrHevm6x9t49j7Lg0ic6KdErgshlFKY5tGMBxVJDJzjgu2
gAbqVsPZsugMFGrGRSA5mtadKi94XNIHXUepspVjf+ntjbAns+4C2ryhUn3XUf6DhBg4j2ueYvMd
MQWNaWByzYgLOP7s2kn2xwFLf0COafHS17gsOZFe+3Sg83GS/2jgJBCWSRlmvOs7rTs1ht58tQHz
qliuyqB2Y24GpDosKbAN29tAbhgDprceptz1oyH7QWC8oyGGVNlXOYpoJLHAQtElBuA92e61G4Pf
dYIAMS7nzIfMNWXBI83gbKbqJqb6GQ3meQRTXGOOu6N25lxhI4DPvAPuvZtS8WuwmObR04ZBMi2R
4xn/gPQ9BKq1Y8MBUGEuDYSknEeOIeKJnrddT88G0+f3VHp/Fp8n3YRi22L2hO4xP1XVXAKhvQFm
bxLjyxu3BLguj2UZQDqfWXNrnu/AeJO3BtJZSH1rZND8RXfveHKsaYg3c2WJcxWNBoUAtrXP4rjR
Oz0cauB7Nmbx1tjYR6U0dv6EfDiZc3fk8nwYXLK9ZX3WEzaHo3/qpNwXZImObpue+BR9SOMKOh2Z
AUvHfz5WjG+mUlwYVY/IxntgDBTgrDmgVibFT9ixpAtrrQ+NRaF2ESOM8lyQfQ4GKH0EwY6KveBu
U67Wbl5uZl6+D2oCgrqiuTsD6uFsvU6gTsKADe/ardwyqzgYCoAFXcMHusUvXhOMB84d0LGIue18
FxCkO9t4JRK2rs7QHVZME5ljhG3W8UaEGRaRefDAfkq+yjkDUMGtk5Qcl/KOFE2r/doZVZCEeYak
mKHeAg0pcCLmQ/1h/d/V44/DvZuuJ5q8DgA0Hnuj/kwhSUZboFKU6QGSPBXP+C19e37Q4IfyL3c7
dhr5yStSWhoTNB0a3R12e6hmOO2IHpMuX4tR7VYHEhy/j50+j7jfJu2mxgRTYBZUl0BSM7xLauaf
XgTc0NbX2tovxbbANQBl8iVNe2emWYn7x0cxom2V8peXxq/+Qiv3H/xm9KJ+0I37xLeyi1/NCTQQ
5xst3cbmPcLuyJod/1tKk0HwOdHklO1BG3c3z+X2drIcwiv9ICGUomRfdXZ67GqqWcHJGkuPWv6l
NwjeWknPrKOePEpKJACtpEo/Rlw5b4GLhVSLZyrB//i+KKIZuMK18f1fW2DYqRRXsk9PV50riMlk
JmMT2z1Yv5+2WvAx2TZxOxBo/uQfRDHlP5A26BPUy89JsO7mRusuqJ0REOnnZNX4DWS4xkff7U5I
cDTXrJ0P3DZ9mKTSIjD2T44+KZQ7NRw4MXK2b5wfrFw6VhpPC0t94B9vkiSubfFRbNHMdstfJlj6
sWtWh9psFUaRJsOOvDKqeirB9mfWwCIQalyTAgHPMtwoATPEcNbATy3x0fWLhEEzACpEphJ4UsFc
y37kATJFJSsDMqskYfyehnNX7Dubw6JM2W+kkQ9kMay4Ouk+bM2da6IBlMr4Y07an9TXn4omDb0G
UyJjvdp53oyfWh0mu34oIIWBO8F5XbEajmyRHgsxvDlBcAl2c2dQLT23Fi5RRvdFV5GRejLGWyBI
AdU317X/Ze7yAeuPWicYvl0WLFGP+FjpDSsCa55PDk0JS+WFfVO/1INd4ScGk1RxHLv1+vR3Vv57
XnbwHrB5mC5qQuYRQSK6xDiICisd3pBemXiRImrp62N3dg5bJVhU2SkDcJfzECD3G4NN1iNIDfgN
bCQYtKKjXxFCwGXMWT3FQo05MGo1vJsNoS5Cpzw/c1rEngb5aU+r+gwGHPCokXLtrklmlceeJ6fo
p+JhJssOgWAAB23fDaP7W7BYbAY6Le22admXGDwNPT80PNGdTMN/MhD12PK1R9HR1U71HTNZQjOs
WXL8xmmP1DsderXFadvySnbhg1p7DXyI85r4MrlfCTYG9BIdaEaB8uzazo5FaSSxnTdr5h9mszn0
DYkD0pufVPPxBOCMXedu6G/EI9f5HaegOsqyRTndtG8/0eNc2QIkyNiGmdXf8y5qwlKUsMkLvvoV
v/jODcTTTKg0nhPBvg6/xBzc25pHm8UMwJCyXaIpmzfWUWWkV/+Bc21O1Mw727vkUOWujdPP3q2F
35/1yvqqtydCgi0MYGEQWhn7wzVNr05aiCdrzLB8LchS1tYDIr0PwXOGdAezQzafJyl/Dbemf55f
87IAtHfcLlrHQUbTYLymQ+6EOexjB38J2gf1qTAcjJBD4zc1bE9GV1gR1UIc09UYJR4tCHQZ1Xs6
uQ+pNG5EIneTUYjDhqHMcmAjalkwlKU/hb0dcnkj1C3cQ2skbdkjjs5KHqwWfy3TD74c56XC4ckn
pebUoZs6DGiEGnO8uYDLRZxipY2cNOMtyX9maI7uYP/I48gWqW2TgAWO/E6M4c5JCP2w8voubM6a
nPN/nMxX3MjUaQaNhAg7rlYM+NrHFJI+uoZH+KRp7zF9ZiT1eS1BQGcsYtjbMah8ZxhHeXOP1SVH
rOoWpreU0RaBPIPHrkEyn6d/TF9sEoTl0M24nketD5AwdPDuQwHavbeeKZmD/Oqvm4VtejV8vHf0
G3MaX4E16+K+1oy3NoMOVCbWv5V8LLAsLzjPaDVuEaGXi2Ni5W0kxx++W3pAsyXd16y0QMbq35nA
NV+5Qey0gzjpjtybLLxw3A1fS00wBXfTCM/UfOnwI+xcyjyvU9Zu1y3fsY19JpbKebYzn793PeHW
lfV2OgC+nlPHOeON7DDSiGSRscez49poYMVoyEQe1WFTpDh0yOdZZexj6JuTqbwT21WQ1/OMemmr
u2H7MfU5abEg+bfQSUoY0T/ZPcqmZYkv19D/lpW6ABExMVhx3HK8Imo4gbSLa+8r3T9aZqdf7ep9
NB5NFcx7pxsY7XScbpU0vP0wDEjnyphjnk0qHOSfHAzUhZGSHxyJIdgzXY5UcSBqcaYsK/j9BY8O
EzwGqDP36Hh+EHpZ8rfLfY5WkzOxMlNc5b7ztHbTtKOjjNSVJ3CaVV1AcjRr92QhvyTY/PNQzIx0
4xCxpPmZy/VjtAAbz43222FtRk2CZdxPUzTVGikRUDmgRw/KktYpaLG/NX0j75xCf5ee8m+Fjh9Q
a+S7cKx8r4W2myjQD0N94NdgDuULjZaUEjhPtpp+LfqHoqwauKE9dp0L97MtqBzzUhKQNa4kga1p
D/GXU86c3xO2KohL8Jj3t4zJSvVGVrbfdCw5dyP1iveo3p90HoTd1LHynDvFAM3OzZsZGqkjqj4c
3yQGS5wicVA655QUQ16hCzMXXEveNSnZDeqnmTxzQweK15qXoq3fR52SINrLzDizko1lcm1Wq4qr
mQqxrlnOkucSqCHiL8kEMnhpKLtOoZ4t3cXTHY7t5eCOZ/XP9LUCaoSWHXsr25M8qE596uNWJTdF
99ZJCIP4J4CuaGQW3zG7ThzBzJIQYvnbZDIC+DY9QYF4T0vQhsXgs21U5njEIUFSvT54xI0AcyHv
BUO2EnpnfT77+hxbHvtxE5vCtB3QB4kOW+QlGffZLCNPhw24DuvwzgaBq5NW2jwbjittWxE82Ixi
K+AHEMYxd6j0PDP6qm6UDxScsp7SeW80Axx+WkQ46pj+Glpesx4C/QWU8nrwPVKpNMK4JqEijVUQ
GBoQPJmJdqG73zTWZvfkG7vMv7NdLyAd7rxT5KXtSsq+2OkT816s2Sa4o+pwNnTedKwqY9vCL6Pp
pMtTVPj8Dhqjc6b+YJtgz1OFD0O6so+N2myO6eg+65m2iaS8KAYtA0k1cm36dRfrhMa02vuzOuay
tyv0k6afMtrQH6VXFs///RC9CsDCuI+02tPxmRV3eg0bqJytiwvpCnx79U+qEs2U75mqp2V8MivH
3Tv6LNBrqWi355J15HAtCfeNRdYeyGRkIYs2MnazzV6DNe8IIuaS98lhKog/mLUT7OEkQjXWe3nt
hyByZF/etxvhb+X/3Bf2fKgdrzyNNpu44E9neMm+8/2OhWWGt3v7QYA6Yi621kzHZeyiUeUJqXT6
pTyDJCqtrSEFVv0+mbSG9EErQnfGYK3X8rEVZBVwiXQx1k/jkMECqCZ8QZYTPARSK55ziwJpGiSw
4adweXj0d7eUOumCG/MpdecXvJe8SvOU7O8iymdb6rd54exo4boOtvIw+oHRWFDTYDsEVzev7nwm
MXfkreNVEqwy0koLpC+HSXapFly/PmEerwzcHaaLq1sTeWvbkpoxrgWhFWZcdCug4GaEvN3hvQ0Q
HHUrxx09s9q1ITRziIY3N2jyavRW+qTNEK59bBgH05A69UV3MtVyFKLgu9Ty4ezohoP40rOjsvld
TcCp9mWtY7+iKP2xNQC/0cj0jY3S5wGsdU+24R2cguKdYhVWWPoE3Lhw1hvbDErLLY/DN/Enw+7C
ecESs7J0CCedP9pf9r5RqriuCis27fSr4wPdTYSh7rPKvMmFdRKIksui0q33xLCJ8o3QMjIvpCSV
00JpqdsiZu1Udfkx8ObHhdaJh95gsOp0Ga2pkfPRfWxAmJ2dHrTeXCwIBFVORs7l/VgEhNOJ9C5R
6sYO3w1l0Y8Lqn7QkNjzjJySY1dt0wNsdIXq1KX9M/l+8Sqgckpxzt3F36et8bkYg7VbRO5GOQvl
k0eHlF6yVpcNG3UF3EA3He3ola7P4zwFJRiUN3vgsA/ayY2HnjyiX97zZNt1iU2QZHJl6Er9rXPZ
orRaBfpGccmnzL4RgRmzHgTrKnDZOAI25lc77JN0Hu+ByaDPc1qBMxTAbA0uqDmhwqLgb4YEJWj5
aTt5Z+Qe9GoOqqAoLNKGloOzaDY++rX922ZKRXZhgOPsBv/iB/QpkZr8or1HRJVJ6ycrSVzp7MkH
VbzXaLpRuVphr9sVHNaR4IqnvUw67TE8wMSuV8XH6E4GECJ2yRzWdEvwqqk417oTFI++wULjfA3e
/NZ5qR+T9PE4UQCYtU3wzCRWd3SsUygH/bTO+8+cdysJk41HbiOtl5p3SorWi9IG4ooJCQDi1gWE
QLFvPXz0BuB7XBDZQTYamfAOzZhinUglPUq0Q9dIu57qvuVJmD3YNZElo+H6EJx6Wodm1dpr9l6p
WwSg2YH4FR2rRoFRz4QTiYyp+wyepIz99cfyQeHngFijAPYlx4vYsCgrrX0zQDxCSGD6A0LkUZdC
cU29kgEvDZye5igeh2LruVhI9Sripam2T3U7udhu2odap4NL173+YjDlqrIsY62jXxkW+RaIXKaY
1prL4rbOfjC40emhrTu60LrqarTlW5KQCaDaYcNhx71NUcLKb4zxFkIJXsf7fHquKjaxncDNMwty
5vbERUILrRd6dvtUNjSR9dljA2o+5qz9bizl3qnbrxyzPC/ffWUwMnlW8lUFajgCAF2POFY5vYse
MFFR/GWEfwVCsjyoVN53jRGR0+N863poJjrpb1wxdNTuTQ4SL3bwVlMNEnk4nR7bpmKgauhsYkvM
wmLjx2B8YR3mYnWsTllO1a6bIb536QC1nEqwE91WB2ZHoFnpJ56xPvZrJfeNyf5z3v44RTZP6EN9
q7jpAv7AAsahXLMEc+q0hgt2hdCrN922T+UxL9HpEs5CcVPP7UPPWyTIJL69yYrmeR7i0UUCHCf7
MIIhp8CaOu+cFxCiExYeUeyLHFLCSMhaBvhWU2gTMGfIdohblthvgyAgtlLSBGt5W6D7E5WNZn2r
U3WUNs52y/BGfJakdaS5QekLd0/yHJtakt2lrKWrXt6YA6HmE58OGQE4qm/xEE86f8NgLvuT35pX
/gGOYo6xnPw8QMIZP+oNBt361ExI8ZU2fLQNOSFG783PuzUuEEPDpuSHVTp/mcM5wgzVqTQpWJjt
f/kQQB3OE25ZiKJ+uoSOW0KW396d4qTaLdzqU7tS1QWAWVqfAu0VXeGvl/eQuWr3Z7EV4xcfP8M0
ZjM+jQWtjKnLLx8rxmExAqoNO6wDkjoREqBHbqp3Xw4d6rtOssxSxUvgqQMj1MVP5EtT8cmWZfzb
Wv5LW8wugyJ3IC9U9vk4OXk0zthX8eoKIlcSzQCH5rSToxND8bNpCE6fxCQpvjAZo2sCFxBg1yUy
WlBFuvVWUp7oByaLBSWqyCm5f3oO89zQD0rzoAKYLNK1Tz+nEhX5i9QZad61oz2p6xDz8xnfb+2N
6zHpVnowAhC1w9g4dKvYMSWH8nuWYE8bOyfMnODy+gQs+TEUK8V+rYNJqmiQiwpiLgXvlbrO+Yed
8dOuq/qCgS7q6hzutSm7yLG5A+3VC+1gTmFhVFzWxoCOldAuRIGnE9nMgqFa3IJ2xraJJlb7tISZ
z8FGMyHEc/TLOqGmpiy2A/O+yX15TCewIQxHRISnfq/XnoiW1X5Mhd1EmLnnnhb5zMhLlATTfc1J
WSFqRXIiDUXVTRIn67p3BkiJNa8nFH+UuqpuLhpR5sUrxzBXpheu7ks2Oh+wLc/TKM1otCA3Dm3z
VbksF7kzZX3GX/UylKAGMoGIP/NwFK3HZF3xsJ64TdD7uzV0/eptwfEHQJUyDsNn+qtqitG8P22d
XnpXb/CrVCYvFdqENNTCegzs0FwzeVT+Djl0WwetURIEzwkRux3lBaQUF/YLs89iYB0pNrS2rF1l
URC2LgdYc5hIbAv2KGrOgw5gDtrL95AyfrIpSrBfaLwgciq6veC1W2v+/kVzx1yDXNW2dmS8Dh3e
TZFhNbAarBKTDwh7AoZ+WblTdx0HuQoS9sL8cawsoErJtctz4MCOgcE5xWG1+O6PHWRelOuCP2nJ
jbgv4IRWbYZXfQSvnmI/J4+NXLE3ADrtHGnS2zTQrSDpszxAMv9SxBU3ATfCpEtRwkLvrJz7MsZk
fgv8so+DTpOsADe8sDeHlpsxvkNS3Y9LNz01UBzqkao/3iSQZJyOXRV3K0rLr6vSXyR5JgPc7TgP
i72cm53RfUmzcM+2cKhLy6qY1VGLQ0w7KPAqVrr1+A7jv3JqfNppozqdHAw2AzXyNAnbrO6p0KtO
dl0kPNPwUDtEyELPa+/FUolD89e01jkUTmFHvVud6znH+udzGfbsBXeMNS3Bo+zTzY1v0sFzHMy9
iky8VyhkY9yL+dTo90PNBNGxl+esWIvXRSaRsKw3U2Rq77jzNQCGemS2iybjf+yd2XLkSHZtf0XW
z0IJcMxm6vsQiJlBBhkkg8MLjEwyMU8Ox/j1dyG71F0lu1dqvcusjdZZySQjAoD78XP2XlviMFdR
AJ/uHDpOtmmhxLN6hMdpxN1QeiiRXeb0IZMoAJLo0HzOygPZb9rI0W/qMGck9gkaw5cas2ZVpgJX
3sMYMU7M4n7eoVcOLHBUxyiFP5EaHPEZ0tJg9XO6NwA8U/LhvNDapYP9KBss3yW8mEkusWRG/U5X
uVoZlXEgjAoICYU3BYy3KD0OlVI9HkLrguWSGXUC+COOHTAWySXUi2eb6t+YkrNG0Z5kH7WWvXQx
Y1bDSR5pvczrvgF83PfL7jh5N1hfCBGeewSFs8Mi7L10uXGZ/fJRL7R9ZEqfwm+6R0K2dkyeXM0W
KD0QEPV1iDg6e54G/OkZVefHgF4jtob7smMlT6olaFkyiCgdZ13eRaSQlYYNwU6hOMXoB41uHju8
IBrPpq/dRLRSPHNRoNuwJFkIRFF8YQ7fjz3Dcs7WWizyoHVyFL3GB5oxnAAFg+j8xaknDN9N0FZI
T0b9gZJ4V0rAubYmD74333lx7K58fb7F/fyjazG9ekjxe+b3OBQR0XU8XvERjDHJns1m8qjBMAcS
giu7dKvAaGez+J6wXda0lRjrRBgoJv+bBw3fq8YqMCePAGQAbU0qyIgaIhjmM56sH9M4P1BHXeOo
PnGSwsMZvc4zD7pHll9cJT9z2z54Dv0jlo4OUVFTQb6Lw4fI7a5y5Ha5VXX7rMf5gxGu8kyc6Ntf
hGN/wjlGpEJ8q6c1T4mk4cJggZjeL9cdKebo8ltxcVuFcljVunNNHOL8ZoaFEEYMmxHIrB0ReJ8X
BOOo+fHe6WpaWqG/1kk0FM4J+nXNtR45nn9zKM4gM097CvB4U5Lp1UiHVCeq7iD7iok+ou3IXcKa
CyNN0GiO1rEoDqh2CV4sYHvqHYwpP/ONOzt2XhGSMvjxLUzAqPdsSPeV0E5DbUvmI9490gdj407T
N8Oyp2QABNL009bNIWnSXHu0h6YPGk2yq/fffcZ5QRrj1dGmQ2g09yYb7tZDqZBNDslBVr+1QgBb
/Qj+qL32Ja3MnoEmsZioEKsM0pszbaqcp5ikhG0eW4exMF9wTt/a0Ilo3SxqUnEE6Vvnw73pNxPM
DbrjPrEddEFKdvNNS5Nils1mmGL26SRaW+WYE/LdHX1J657hWk1zcuEb40ZZwzK31i0T3NCdC1Ya
GKmFgeGpaDyc3lN1M41GeMACufJS8eLIDhS+S3Ogwqdbw7vOEg2YvzDctR3CX7bQhy0UGBptzaEs
7GRnKghqZWTdCdKLOawZxLYBowtCcDJrjdCexuroMzPfghteH4ln2Y3a/axj32XMlyNLll+hAC9W
lzEe05S07UzKc60XAwc9jlUqBl8C7lTP6X/Yg40HLrFemroiCHywu8BK+vymHdADpt57O4Jbr0he
3OoxKZmhZl262HpPpHtT2u4jRYba9xBbvezJmHA4j2myx8A/0MBcSxtTm2YNGN568Oe2Z+jPKXBB
U3RrN6rnLcVfunWB2aAePXMjbeOco2Pd6Y9jN9MWVW9Z6MBDMnMiK7xbnQ6p00xeoJFRTuu3ubX8
FsGKGPT1W9u4nwOjGak7+VaadGdUZ57iCr/KgqWbRSIZmtS3k2GRzyDbFzxiA50Cs7j59QWfk8PM
Cqp+pTjNpClllh5FwZhPVDAvgI32wqB+8cdjndrvihjtYNTyJ2/OQVviHHL7ltiJ6YXc+gyvGtJV
BmxMiSiSGDejRDZPxpRK4kw49oW9F9GGAKuVAC0YJv02bYZ3kIoo2WymYnG8z5JhCQStj6OTke+R
dF+hOe4cuetT9iCiLgm3pc1MUBNk6qq74bCLoL60vyom+NgDVsT2fg3Joq7OmC4I1QaNEEetT+SO
FIbHvrdLdE/Dl2nl9KI517AYfwHEfKuBJPnJfEfdvqVhwaSYabhh5BefIYJM7Q8m44RagK2I0cBK
4zHH7RFEbZEHHLSP+eCfkgjXBYkCj3UjAhw6y9Ru3qfzgqSzG25LRNchB79Si5Cm+oy3AAHAb1KQ
yVuchgNMvHwx0gnJuL3OKLmTudqWyvywpvzSp26I5YlrBIp0E3nOyQvz2yombk1G28meweVCBWjd
HGBKuGg5bRquArljSCIfbTPcCOEb/qs79IknhXbQc9yAJz5Ku4sH28yrmDFHdfQSOs2r5iVXjr21
pi8kogdzbp/U3ByquH8adGsv6aysfJu4TOawrNcOFekgs70uy1NpaQNCIuYqDShAXx6zAnmgk9vP
bsoZ1Pjs0a3DN8CYlvzQdfddMTFAaqjtOT1Cg6JHqmdCW5tTvYlbcSfz9CNJpnSrZQPBFWHG0ViY
dFSZINjNZJ3DuPhBMH27nuaXuUH60WDQLmKElY4igV50m0jwuY9GfsoyuuAo3lkAI0RCKNeQUuBJ
SEgDTltIl4IwWXjw8zEVNJMr1qCukK+qL4d1bXLiyxehXmzZgSQCZAU4jBQeZ5m4jMAbzeGT+2cv
RPfc9f5L13sEIDgkrsx9eNStV8kcVDgapUwNz6LAjWB7RNvn7nSru8a69eUpkhzs+6xEC03ERFyg
RbCM+iFB2kzkKO0Zr+hXTPquTnxj1dMpjpwbSybpCl7RsZoN5lgL9hClaR9KxkNM6dn4p0NLiopI
H/2qelV1c2sTH4Llj9FIXX2lePU75ZyXW52MGQsoCWsq5/kXtsfQ1z68HvE6qvgVKbH3SZLcx574
oKS5Deuc/HMjOSe8WJU6YBqkek39gX8ylAE3Q8PmgjRUS9aCJYKkH2R+jPEJ+7NJ2GP5ClmLDGAX
3ph9NjfmOeotMDF7Tpw/Rmd4Q3McdyjTRxKR1zDKbjPQ6ZxcWE4zlA740Bj9SkZUzVvJmDfz0V63
CWtnVW3RS9x7rXiM0/FZIq+j63BHJHlgxNNAsOOwjsabAZsMNwWdy6imw7eubVZ8U0v1rVXMV3vg
vB2Nj3NiQpEW+DRyNNnryJo3A5Ldymo5GC34Rempi+v3PNIy91eMTrdF3S3hqcT3JuTUFITsrdro
ztIhF2tS7B18FVQyX5GYSkoDSsRCSw9mET3YbnQ30hLTnP65r1GtlUo+q1oey3b8WPyeVYZ9qwYV
wOTx08xbFfgyCtEhEYHoT/OrJtkSkhnjhe7nG4cD4Fo5XhDiJGyLxSM8olRJv5158fAhkEBMsitw
O7UZLBVWchu2crhJMZRg7SyCaSZdyXP23CEHSVng1aGCCgOceKZQoLJGX/VgYdfTCOlYOZBcbRvJ
ZbIYvwYYUsp5MWzyBvN0fAtLCeHI2zgUZdT0K7eVM5BSYhfL5rEs64PbYMSKSji4TRx/5KSPW5pB
BzU72qN6IdwZrHzDI1dfLNEfa4lYk8P0OPBt2SZFJ7y2phlWUq99hKb7FtIVWwvdfMMduh/trt5r
en/KZ/PDiPt3cHF4krP4Y/ajW7/EyisEo0tPn4Cqtz127+SpMGVx8iyG7KE37FxZXsOZKs77CQCJ
3rFX7qylbI9186y6CWa4jvUBJeEkr+m4nD+iq3LmfU3gIMExw7oDRbgKCaIo+RSLgQGG3cMbJGfQ
oT8S9z91wP4rtk5kt3jwh3jvjumdnWMFS6vwhvw1BOC4w0kNu2vcZB9O5GK3BTndBiG1zbevVU8F
ulg7/RX3rODFclReXmvcacQdat9EijxqykJkJa623r8NvRskRd3sAEtHez2+lZke4GNiQCz7c2OC
Low52KWCfrhm248ujWKGXAbsS9jJKc5REh5+xlrRo/FILrQpfrJWO0WvbxjQ/MArktEfg8euiZoA
dqrqRBBN0y23NvXVV8STQW4IwMwSzzlxv0t3Ec23oTAET0yKCgwxS7MeFtCnMXplMMS0t2Nk8EEs
iQ8K5Sf22JPmtkytTPHiUu6vdF+jYtcCL4NJ5Q/ipGzkHRAm98QuE5JA43U1MNfKbJZbPXX47eh0
/Nx/J5YoaPX3fub+N63saEbTOmm7zyjLf1oA9ESHzBnHdhBWIF7gxERklyfOG36VGHawduEhvrVZ
qo5ZbnAQtqHn0AFlQ2H4ogQl3dS+WRLVUlv2mOURRzNjCZTkZJ8Q6oDvisM3xglH1mCf/OmFO14C
cppeSZrZC5l9Cyv96COBaqtFvR+xHvXbtiDcsxE9ozIxHe2kWzFs2lv2/GRF1tYrv4Cv3WTpS6rO
fc719Ib6kyXqGaXri0cvrwv7x6gYflYlZSR2b8oHJLRR5OY7J0k1guTy+9lrSDyHB1OHxcGwmrc4
QWwx1Ay8S+VM2JDT5ajhBO7kfsTjSzhn30ybkhsFIQW2UWo2843pFiPvr9TXFnrFjdIw65sfLqda
Ox+ejDi9JwgZ+PgmbE5sVf5WE82BvJrAhXi3qSRnbzYEBESRwSdMcF1SER+XIHIjdQgxg9Nc5XLP
OAKhb5qgug79vTkNh2zYROPQrozmmFXxrVskwD5BPKh53uvd+zxOpyb2jmEMQairs80wZF9a624r
K9qIxcbc+QUCGSYOK1I5plWSuhityOvGW08+IAbOIO0dk0Yj/aKqpuLwKcaAJM4/+5lYuGocRYAJ
vAxAvsQbyyBxtEWIbMyCOGB7jm8EeFVDhRTX2Fy7FAGRV9cL/Z/P9datEu9gZ3ETpIAR2Pn8BEe2
EeiOR1072Lv16Jik2zct8944/cJdFZ2GwT93bnJuJiSmfvXdp7iJ3Bb1QuHhcGT2FHTtNO6szLoy
jqTPH1FR+yPJzwP3t8QrrFpBo6cYMS+bsFLLBsEbuI9+E1m0qSEoMW1FDBXQWcchFU6MRRWZUExv
LY+y1jJkuC4aVKkTHcQ0r7iV07jYTxAXwRDlq1y2Ll030sbKLt4PgN+o3zSCSoDEbYCr/yic6EHw
eGJwieH0NrhjTXiUjEepzdhlUuuoYRtaNVjFse2b9zLfW0skWtj/TDL7RQtNJj0/iesSm+JaYwYO
SHOm0+N33ABtxkusQYcMKKAdlxzEItc4xqkgUolG09x7dUyG+CHNTDR571GRfTSOQJ/m9bvJfnPC
mc6hTqZWgga6ghZn5vljbTdXYqONjWjK57aCKWy4Hnpu18ebxRnMJOQPjwArPA4b6aBGK2ZW5+qj
o07LTTaqmHsZxPXFCjV/G5baEd7EZShVv9FYt4YqrAFos6sOsbd3Sp5U1uZd0enwppkcgCu57ZYl
sChTKlfL/OGIPFvT+PqqinRPkZntBloFKxsaMz1cAjdMIuVXghEt7/BNiohx85T5uyqdnhUNzUNr
aiRKeedatT8a33uaKxxgmQs6ipAMrGQzisGus2G21oKj9Pwc41q7IHHoylcvLKLXPBQ4MeYY/Cki
a/Ni0EpcNa4BsTfjlSAgw/7uag0+DiPb9d2SNhDSpyyotCSRxPfkIeqHQQ31TsbR0YPLDvnEtbfs
0yvNkvm2rRnleV1qbIaZyWJCfGJhMjs2mKaNWl9udKd5sVzSHuwp/oHob+Op5uUXKejf/pYk+ycU
z4+qBrMSxar9Rer5+x//D+ZT/vfvy7/5x39csmj/8adbdExVW/1U/+V37b6ru4/iu/3P3/Snn8xv
//3VrT/Ux5/+sPkFQ3rovuV0+W67XP0HUmj5zn/2L//l+59BKhmCiNr/f+Lu8Vu239MfYUq//sHv
ebviN91wTXNBJtEvtVwXPNPw3aq//kUjbtcm1xkDsKMLjnUeoKXfaUqW/xvdcs8gdEYYYsni/TtN
ib8yHCFor1geqjsENP8TmtJ/QilZLlHAAJZ87MY+TT6X31P/+CBwIGr/+hfjXxFtKNtHo4Xq/NvI
z9zoMzIxHusgpNq3ACT84aP5/Rb6l7Ir7uF1Kn7E/+v3GZYJQ8p0YRI7pA//8ffhSzBSWEEAC9PT
LL4G/Tz310l8jcVNz0PyX/8yYwFBVfkUVeXh669/sX+9O1Yf4fqGIVw8gH/+bS7EFQ0NGKRiPIX5
fEW8VZ9Tkm5DidvN+W7QuXUCyv1jG7KeVMcc8YqjX0w9IuHnv3vvtsEF/fPrsXUdTZvl0SpzdZdL
96d3LyJZYq63EKM486PUTxEGrWk5DEs0ZPD1w/KHzTGywZ84tScDc1sVZkQ1DvdSldfCDW+z+ZMO
KI0RB4/fonidgGOm9pFAuofGdu5MFNXSd86EyH1OUXmafaJUESY2o/8Q9wFQ6mvWT3twiG33E/Ys
jLdm0yxO8BJllltvTXZ+/dtk73AR61f9J86tAC7SCjKTgS0vIYC9vXY1S7gCcNGuCvZyw1I4EDXg
gyC3GKt5PR+3Rz3ZBTEKSzXs2jRZ2dxVzTyvhm5elRWDceUGy3uI+ZeT3gGLWKUYzCDms2xjdGIi
HDpFsIAvwEOh3/1yUpBRsAsSRskF7oYJoWkKj5Dm/UobJ9IFtY3gTfkLLWH8wi8hK2IhO2g27t4a
1n0Fyyk+d+3ZoVmfE52JGSfwkzNif+YLRtByApuMq40slUu1SuIU9AK2et1CgwYzmFGCCiSnqLjE
9et/JYTaEVsbQDthW5ztEm0qp7zqrNR7ghp7zvyg4FeZM0Ynh1J0YKjncuBJYBJgN7f5xL3smuCI
9PStSLtA895rD40kT56qrrznMLunaksoMxXQJBF9W+NhnEibZiLFWyfRceVwhPDbdmUTQl/jYKon
hUPBWkk+vZnWuCTyc8AeRBYtQ4VAAFWKdsbwJZgzNfX7ZH/VlEwVwnNr0jcRl2J5CRawpoGgIy+k
lzjMNKUU5r+O0FDmmIwqGdYh98UCaK5NWkuepe2Flz4sb3fmfpmJocqsbk10UVCgP477iVDQr3w+
Ve070T1+f8maByTB0gXRngHniE18XUtxfMbZSu8DC3H51c9qRSbU2kVOPGOz94czuzXJozZXr+Q6
TeEyYLxi+SXiguk7d6JBTRJ9G1x2DB0qfWwZly0VbRsXgWNyOQ1uVbILfPLE8oa6iGPJ8ncDkufl
+5brkCh7Bet8ZXaXtjxrPJFOeOGWIF+cajlcjYKjjGkAE4+XaQHBCgZYXaZUOAX1kRuOtu3sRpuS
LOPQy25w0M7NvPfrcG+T8DoOBX4XDdsi8xj/srxDI/2OucqtxcccLyRybaO30Y458N5SEU2rQOUa
xhGQJzyzUvB+IhQVOcwbzvcT41NQuLjGvpc2QtEufk8kiij1+2+j2tnN18iF1ePlLLYkjPGUDOcG
f1aBQhx916rEZs5AAH4rwStufadQS5FWsU6t/NTY3pUVbePU83OtjT8MSX+tK26VHJ9NpvBFZt0u
HO1G8KOF2NkghVOdMa2+Jg4DExpoJNzV/K1u1FhJ6c66b8yYVjG3Z21jPxXfGRPnLH9PUMZLtMEm
AWd9czWIXa87uc2rr6rmuMwnqo4MDDfL3jSOD671aHC5CFXdxiiWq+FbKBXg1kaHjFA4557iKsUt
fLRml/4S8ZOISvz5aBhMuxQ/kSRosLJO9hBjnF562cu62GNrKbi9eicBsBMBTqOiY1ZquBgSAao4
zXcmuczWJRTvafYBIp+WUwMuyfsspXW08RfPHcsQC15Ye0HZvudqO8avSxRzigV/uXeXB5XngGEP
ci7cPbykZXcyKlY7gfzewAJisIA52V5yD2vplT5p2xo81TZTUpbM5ssdOf+M12a8Sh6ihLVUFN+4
H1nyDikvdoGqwciF68GBCinA2LOCjeQEjId4XDL0ok0FS5GsEvxCrIA0cVy6kt2ABHxCqQ4HRmvO
TRdt/UZsByI5aPlxZNFdPGUkibZJtJU5vvAWUaMrxDZHMDBY1SL4a199Ei465i4uKRCjy0VBYZVM
xV7QJNV5rUnxrfdyR680WDLpTT6Ywr1UyB06cZFgyLhJK3SkEOzXdYMui2EI7zvjGg+IglTkHMSQ
70tED6jS1uCLgmUDKpkdLFcOTcvKAaHCmoiR1GfwUPnRTiXyMJIbrmvmZqQXAh33rSb8QUem3RUc
P2DfcWtHu/+tn/+Z+lmY4g9121Kf/153LweAv/7lqYr+jCJdvv1v1bPxm6c7juf7rutYUD+p336v
nfXfDMs1BZRSgZDPEt5SS/0HitT4zaCYdn2qPk+3wJX+vXh2fjMMC/IRkCykFLrtOP+T4tnwLV7a
Hyo6V/iuiQ0EsCm0Cg9oKtX9H+vZloNwbRY/yXEvk/jS+yq+oKQHyyOBD2YEWUltrngCem8tI788
+DOpCNSqxFMbDUrGmIUUn06/dwn+3vp5MgSG5ljnUjU5KzCRHUNvnk3l2KsGufuuNTLzXM3mSzy5
oLgbvCAM6ipy7Xr9YOg89piESPUDc1fkkgdxYUebdcWEpG62vjFv0U0mVAQdnQuRHBdYXdGT5zYC
X1l3JrwnXs6WaHtA8pVNlmp88qvWXnraFw0uHT659CkJk55S4r6Thb3rBjqcBB6/kz1Urjxa/6i5
cce6tLrHmg4V/pGDVyNAvqbeQFPrduymHjAe7XhcjOgwIOqZln0VYsSrq/Ld7OEhGrNx06AHTREp
AaZCD5RUGwb8/b7ovTzA8kqYpRPFXuCl5BHO0XBp5rNZ/ZL8JIp+ZfKlec3Nu61ln6lZOXv6O3KV
x+6r6S8yMhpRZcXYTmE5bAf3mtwZengTM0IB6u9/6KkHqoJtI/IPfTHfDxPxkvFPwiPWDrPt0dcf
O8O59t70OjEZ8yZ1AykmhnhSH6cybdF9huss7kKEBt7V1qigkiJ7KGuMsuXzrBXPyaTfc4etG0zv
QYuJLJgyosH0JPyBRnny51dnms/xCPM5sypk/PTjTN50jHNhGrmLFOIlr8IK1fEBZsOFMCj0HqIm
EIdgqSX6ymS2TE41vHC3vo5NeCg6jP9ZFKq1J8CvC1E+Y8t+cBE4e0n6k3gdkkjN6jCO5cd8ipfV
UVYeEYa+TTIVJDKvA/CCNs4NX4CBPftolg+eZ37FDL37wmu3kA+JLBQ+QBDVMKPHgFJoP9SSUOri
N0vS5pxMHXpc6KEQKgOiO++tzLj3K5MwV2VDw9WQETP+iIcFyFH+rExaUOHikJBN8lMqbYvB8hlx
w7WzwElhxaPmUpPzoY9Ns26kt7On5JKNfRloRTtgMdFvhEkHXmjTI2aU3TCz5ypOByHN71jcWznA
kdbiVBoZHY5cJ7tULrXzi4BHt4KbgnQkqtdiQLgo4uTGg+yw1j3naiXIaSbZPeUjVz5K1AMt9qXu
nuhRA1UD7bM15MRgkUoBp+wptzmIGuhOOF3ctwkTQBOgaCRSdyNr49SMXfrgmBlvB9ymXSP5xAu2
LCeYBMuGsVDtnUJG9GbiXNGLkGlJoYf42ycGAvCuPbc4SMvKPLotOhlCb8zjP/5YheMCPXBu9CW5
GK1xeTTAPvzt/9n2icRjPJ06x0MnMg4upRuCu3xltXF/FMsXghIo8Rhhds1so1iCLOJmjFvmqpan
X18aUKAIfhj+h/VdU93levNWN16zjb35OSsArHFFGPt19CHFxgW744/RjdUxVm9BENM6zakdG28d
W7CH2mYgHDZ2yX2bafEzb8EkQ6oQvbyqXGWJZd9wcyM9Gw1r1xX0yqToUijsezn66U07FtnNr/9H
1UIy/PLfBokw2Kbeb8pKX89G+zpkEfIH1Z8Ks6CVPDj5HYYBJuSYFCjSVl03cmpMoCzcpL6Tr1vE
BAHaEZ5YAH/xEln868s4Op8DHKpNUmGTjJQSK7/wUBinXLcR9xIDRI6tTLfWEaaBvZaTj6hVnCMF
wvFjgn+MznBFUrTlkieCkJtAFekmAPjaEQUXzvzSObW+Mx2puLe5YNzU5OiVdNiNYJT7TVNji4Rc
hwpOgGiqOGa0UXLHrbZpcH+u85HIFakNOP+G8iXpvLe6Vze95oWrFIKs6vBO1PkT1j55YlL4qYVk
LNudfIEYAtpEhQN7ylqI3j9MQ5MexXOStFAi1VzhcDJ2vmO3+wKo9cqIUO75OgoMpdXU51W9lQ4Z
yInnP9gjES1W7pzT3mvowWJOs1uk3aIsbowIwmkoURMygcPJnZonE6TXztYxfFSu+wIcg8rTcNuj
xUisXJccHtFg1RZNWiMCnoRaIGkOEdIYirgGqr/PUanhWZbK+eSCafi4cQa7Uxuk4ZBvxEiDRAr3
YSLCZszHR6sU3VPqnBvHvvVq291Cg6IKB2hLfCIh2gPTH3NcY7Cqr1jfu1Uo+HilxcWYxxYLlkey
rTdtxWAO+yoDM42wH7YhmsmtZSu8YD0T7ZlGOKPe5nMYq5eZWU1gVxJWFHxJMI4IXqBybEcbUAl8
nE88niwdWpetB82gDk7cZl3W+XRn++U5H9XtBM9jQwT600DJjvVEwtUY700rGddl3sDdx0Q9zsyS
nXJsV5pG1hRN9fjWMyofp1LBRWwbVPeLH3g5xHYoSg0HeLWDI0036A5CLCby9TlNYrV1o6lhCpKZ
j1Dg6DYphsHxUG5l7WoXMhw3Y9cYW8T9S8IUbiEIpEAbEe3NHTRk06+R+Bn6RrmU5LjdxtuiRDzO
TtavGd7CafBdtpIKOXWMgH3InDKA4AOSKsrJjsNMs6oL/djEOva/yGjvQT6ku0HZapcI/9aNhi+F
w4H9TBEoU6WvtafVN8IW9U1XEsbYL5Bt8iJ60Yw3csC/a6Ko4bATStziXykn7HXRkUOKspO1ebaa
m7a1ULlr2uM8d/UDMK7porfZbe+M6aueDu7eMBHdcEnC21ZHfKvi+FmN/OTRmwoigbzuhZEa06HJ
2ja9YtTpGfmmrZY9qZ8FccbujUL86fTknvRQP9Gzp/vML2/LQoDUtjr6+qRWgdaLzuaScDKb/s7R
uN0zm4gi2nqgpPCwY54mj0MP4y2QV7XT7I74v9BtsaPXct0tEIsmzqx7dxr2WRddYlX8tHTysrMI
1d/AVbzUJbcm4wGOm3Uxb0AYpHcgHwAEm8ORLLRtPdGoyzIL8LaGH0El5DFbLi57v8pPaCLJZzLd
5wIs385nMnOypvqZIB4HqtWDQeoFSTieRzEAC7cxQ4SNSAr5Ix3HtqOnY+u4Cy3dRE1D1m8QK9oL
7cUv9PEICUxKTd04NRVn4Q9qCyL9zYzDGYQbCrWYvtHOjDVrr2nVe9k46GCgma5iu64Bam5wWcoX
DLVv0EPbS1Wy6y+O2KYhKEpHcrphMPORda4B5AIYVFnr27bPfxZZxO3RZRphLaT1wFmJFUwItJeu
gaazKwt1SJhDGeHWFuQJN5p5GBelHtiBGzHwAhzNtTZ10pA9qEqUOMDfsEIHgGuO0PkZbpvdGLiN
77PkoUsCIAfHwZoAvfQMcLG/0wuqF76nt5A+x4X5aS70T6I62BFd+P18Bi4oE66MyGWJmcUaeXJI
xllYosACnxx6E5EXNWcET+PyIevHdETZVbHl8PTD48cYXU6zvrM7+9WvLPfOs9VN6rTqDufnBfnr
NqeGrX1zuLUzF4xZkalN4pEjU6tI7Isiuk6NfR8tOrI5eYvBp5aANoMupiAsn9LaM+4tM7vO+XMP
dpXyszzMFSRWwt2qO3Ohs/pgWuHgmut+IbeWIFzzheWqL1RXghL6fWoy2q/Avv76ogGB9QU02Bks
LOashRHrA4t1FmqsDz7WXTiyaiHKyoUtO5hQZgW42VEu4NlIb2npwqIFdXARE4NrJcY3mCTnbOHW
tgvB1gFlKxamrWdBt1UL59ZYiLf6YBh300LB7cHhCrC4cuHjdoByCVZaTQJybmjQO8kWmm62cHXr
hbBLrCiyooW6q0v4uwbNbG8h8trDQNxqVuB6qwnGYqDK1P2V6PUx0AEDOAWINn/pruqYU7L2p4U6
wGAovm069FsEy10qkIUBKDmyWrIU7XpHekyUXS00w4Hmq2mdO9G+7QZ3C6Ns0xpocaSXHOeQA0Hs
8H5LfWJujvmXydNCZeDf6W6Z/sLy+AMtLXf5UqPj6EpqRDsZTmDSAokLi3mqey284h5lqGZ4j2RK
x1vwA0jte6RZKfDyrIzx7k01al4eDXL2SNFNMbIUjU8BkCQseY6HggIOlPrRh3p5B4L10hYC9Am9
Z786l7lmbvOovojeprIZkJcseqQgtp7KIt9jTV6g//miPiTIDp6Q63bfWTO8WLX5mjj0SekmPJej
8WqkhCrli5KTsA8rgsHi2YPgoBO38DoMBq3l+Cg7juxK09n7y8do3nocOmHgPev2jA94BDpaZK51
KHM6UFgIV3qqoVrRytdwIk+sSMX3nHfJ2tDGT+oY2uboEjU24w2OObwLdviUx5ClZartsEshr0M1
25c4jCKzcsGHm5wYyEwbQQCuTc5KiQRyNabNRaKvgh1Sn7OJHzkZA3lcs85RyxscfOKnGGbP1qza
586uP01BFl96Syg1MJxuOVJnmtrAdB1308DHmJTuqx77V01G47pSt3OJRo4EJEbgHl0167X0p72a
0h/ukGBk6xAXaMOTib4DxyjocU68+yltPmcXsPjAuwi9N0crzrahoT6oseHkLfmnU3o3tuYZhcvO
D9E+aD/7gnFUSDoaADLtQ8bml0I4BBxZPHvFTDw32wM6udSW+6JpMOZ2635wUWoQNVC4U7JOeutE
hUmBjsNoBOhxQqD3MpIFX0QeAkJtQaQXZLHGnNoiP36RNeZx9EbULnO9twrj3QRZZwwa/VjC1L0M
XS4esXmSr0WE9qd3CXEEhT4X1j1Y54ckkhuB1ThUIGk7neZyrJ2KF/cRVwQlyWCuVVZh/SeLIEht
SqQpkefYQhLk+8tbJsCiQKtndNyn9UCabqVf7ApjUoHWaXLr55AbZr2I3kUV/fAjbDt5RcZpnj9E
Zj4BNa7FUS3EtNjYkJnCKkM+AtG/IwPORFvsC07OsM2hy09RQh+UzSmE1KDNycnMPXcz+pEMBtxY
IfExB3knLLbaaMbzGCNbT7uz54izQgjNaTrCTDAmhCjSUVmDLyNnt/2/7J3XdtxItqafCLVgAgHg
ctJnMkklvaQbLFIS4b3H058voOpuilWjmunrc1G1JNEgAUTs2OY3BROO5nsvayoegjyEhnQrHGj8
NITvoBSinS6Qqh7uMkRFw7B6rSelS6K0S21J7xhGqDliqA2s+N7tomfXwkgEUb+VjiibvbV8+t5O
D0OCdNLfCBsg21w120KAeLdlUJ6KEFEQT2Rb6Mg93fP0Gg3cnV6VK9+SiHvS3pfM4hHNHViRKLvj
4mYknFpu+OqgZnHu6PD0xZwfkceSh94JLnp+q4XiJu6MYWNlqYPSrqltaxE0kCkeIX8qd/VoCx0m
hmiDipPSFBz7+Yx5+5GQi5yHf6/l+r1eyks7TN8TLSXNDpAobzRcPXVsLM3wWevmz6aBXCjp1YHC
ilgwPpBaGVvoRJg6tuFT0LEzcbC7Bw24s6LvFgLNKNIAPC0GXrhbf2JsYsF8XGVF8wNZXEB8qfw8
JV9EZtEwzL9g2vmowRzeQvX/Fpj2vR4RyaOhv0Sl881BmQkEy1U8MF0ZaicBO35myu9cj5n+KmZR
bz2U54KS9W1WSbDLE3Anegh/nTnumJuPGZFlj2DMaU7Ck9oadcQsM2n9B5mVhyDwn9y5vliVQXHu
edGmMznsAh96u9/fmt3g7iPyDGe2DzBmLoGSedK6r0UAkGW2LSTt+69Jmnx1LHBovTedZPQ4Ew/m
qgIvkCAvMTKCTGtxP5BA0GWh4Id9mc0WUrmJRGmrDS6zqRlrRlGvoa1/7gMk5EFpMxHTd3FXoYWo
FZGCv50C176v8uleNMUhMmjjtAWqY0ifp5573SFkyfadIVPQUY1bRAhQ4noslOJOogTYGWl4DC19
VUk+JJ72ONt1vYNWFIJmZJuY3WmIdBO4dXsCjOPv4to9pLRN1x6KXMhVE68R48hJBcrDUCMr4tPZ
3Ro9Wosd3qPDdHCxomjRuYJYhEazQ6hpISkP6CBIMteVfcyTpgRf+EkU5rjRTFoobhZfFQ5GDrTE
xsmFjloz1quT664z7mcpOJqixxKnWUYvzOOj0Ac6CWtgzrtDkzEqdB2MeO20PMdUV/tCZ5zoJ58j
RmLp2OFcEpY40STxvnDsZDdO3Sf6C/PZwnInnzCPCscWQGwCgSHvgke4xOvcYiA0zuVb582btGV/
jjEYNkPhhYFOg98fXxwnHAgH8WUCHwos8wZ8SLwZs5NK21d24HRwX2SzdbpQgvcKnEMtwLDT54jm
nMk2md2668dun/XeTd2whXn6mplkx04P7jH5Kmr9Ssefajum1tOMJamPkvBNb1rA+I1q3uChcldW
TyW8NpuhMaKKRwrFee/DAFJ6XlYYvJhFP+7yyUJDB9W4yUB2NoIrzwMdzzn2metkAANRebyZwNdc
rNLrF2RMg0shyy/JEJ76yfqukuktuj0IAl0H4UT5Xfd7eqqxDi0a8mq8g2eLx0H6BKB4lfIM/cM4
Rffsz3vq569RDptaiamA8tjaYMn2GsLjbpLeWxBhVoBF76SWYiI4xEdNk+egMihsOq+4CkL1msjO
ZtcpN7Gpn6Mmekae8smo1ARWh4aByTi1VYVsKNR2yMAVfmKxmF55vhALZjDbWUvbfnDOHA7oZYfS
W8eA7xefTc1F+Md4sEIBCNJRUFR4vOvS0z958YYBwinumysahcCBGVq8enn2OcZEWbjsTqtiTGzV
HfJkrovEDEsFUKR5DJMMij+MgqgoWujm7aEybX/bzJjcTln2MhbOl6pMjo7QanbHbDz1jPt62eX0
xKKv2QjPWiOQr0oNs9ahpF0u0/DFLVpvLefkO+4Ea3+QaHAzoLSTJ4SJoIXn9tmNwLT4t9L3bgO3
/NKqUelgR2stmO9NVx0nd3VCJlenxQ08bkC3QsGUB9ioGrn36IPhDuIXzXU6nGOIFkg+0urDD22C
TBhowEZ9jxoYolW79YGUkmBByIiZTDbIfLDNzhRHrAtq40nHrWPEcVJowbq2ys+ocIhz6w1XgYY4
i+0/0eg/Tnb0UFagHK0IaTYku4GzaGG1KpLxszqv0Se+gNnuGevSf51bsAQZUPJRiNswSqujdHEM
YS67n6UFSeQWVDMyDUhfaTVUikGnA8R4dWUzkNv0fYRTqofcV0KbaKZwWeUj6hmeRIkEtd+rOoBE
BJB9HQRuSxNXO1D5g0nmEijhohHDzCcx8qNAPWov3BBNIi96rvXuYUCmD7WlZwADnHSheRsn8MI5
w1oJPGlujIthxR7I0KY/gJdC0ibd93060WehohwCy9hXSkTWwK5skv132BaPwqvI0rPqDoD6aUAH
5hxncmNMY7CPUMthyI/KRmCk12xWeFLe9dAY7k1gqeQDqseq9+kVZhpHsGJJdUP94pi+eZ0E+qrV
us9aZmiHWZFf3GpEOw8P8UbTEMaKbFTHqlctZ5CvAa0oov4Bhle4Ai34LYl6SB1Tf5VbLs0cNHHm
hOCoo0cPDEMATUrcjXTBfI5x8Tga7cOczy+WwztDr+3aobkMPg1ckaRRYcNsIgFMTsnoFadkCOx9
78NeklUroWJHeHtQDZk+eNaynPZyYvQwgAAY0Dna1DXYHUBQ7eS/OHRtO50muIm84h4bewk1uYde
lmSc9zlSNfHg3sw+oT4Nu0dbc7+VwQxsrFL/6mAEkrM55ILwN8ut68pTXxLJOES+xsEMflzvypXx
A9FizOiUyn9xO2AUG7eYUWuR+UQj/aUMrX7Vz8ldZbNUZaAjxl+aaOg7xblm9C+6HuwxakybLl7n
qgEym7QwOrT9+inTr4srh0x/m46od3pVgxMQM8esoNCeaw/T527AFiHp3jLZFjsCxsuQNOYBd1K6
6GVE3Q1ZeQOpyT51FhATBP63+OrYp6IUgo1e7YD2s0kbrNr8JGqPc6B7O+RrGhBQAbAfHN8zh2Jz
qJNsk+YwqErNP1XFzCy30MazBPMs6ODBchoQB8oM5VQZ7r2e107z7L5uE/9sIGPdQ8HjF3SvVqnd
JFQkqd+gG4bcy9aNlSqdn+uAYWYsPPCUX88one3KLnkJEtQKg7n4aoG5cBxDR34xRgTEAeuD+M2q
kShdZ4YUK9kHB7Pl3MoNSJoTjPsO53qkc9u967j+YXaGs9lYP6zJ+EqPjArS5njkw1Mho/azQzsE
Oa40oOi3x89OTl2gAyfz9Atjpc0Iw5GGZe5dFa5+hvoy9f5BlOkrFPjrsXI4sLNqD8PicS6oW6CR
7YtZ3FGz3Y3NfO970dqsmrvZJwIWn2HU7w1PA6vCwKy0AfPpYfPZqpO7lHR4NwsJJ23SH8KxuxIZ
8iTwALEFUH0qJitoPxE8g4vWZfaBJX8SHCLbyBqbDVRLI7BIe2K4p5kpn72xeIxzRk0ZQZEWzqBY
WwgH1f59xqZHD3kD8hxinMX/HKe01pF9YDR2OwxAcQaCAOkWFL2ZA1CL4r0Uqb3J8vAt0zbYryEJ
8hY+6g4xvQ1RKMAeaSMBOGyjnKinZ/Wml22yh27vrAYqTsvhaaN/yVzAZC0JTO5bnDR56WW2FxUg
3UTnsUzSWM0DGWWJTwOr5Ipz+VjOBUp43bGuHHERuTxFYZchkQXnq9PSlyJKArCayatDf3898MrX
LTLpyGbVJZpdqs1c2bST2h9OJGBSCHoEIxg5dNXHdcJkaDNAIDh5mcb2nJxT2Xb5xWW6sNqMcZa/
0tm6Tprhxxj7+kGKLr/KAqJNaGMp6TQ0dH385FdlI2EWmK28peu26et23lp4CwBSEkDrrCrfmvN0
RNjmYRSbUjYT7F4r2SV98i2poodab57Iy+sd7UiWU0VWVzZkpB4Nk1XftGgkKFpO35ByZ4rmMiLX
srFMVAk09EcQijxWXvTdGWKONhuRZ9v7YXrGtBVTc5vm1hHXv/IeVFBy9b9woP8XOJDxW4Pi/0OW
FaXpyy94en7iTzi9NP/wTGFJz+WkNpAEBdvzJyRIWn8IE7w8FsSuUC7Dxn8QQe4ftmfb0pOGzh/4
2r8RQYb7h2Hr0sBLWLqA6S33/wcRZCq8zzvEuU2HxJWuLVzASgwpFuvid3h6HUVJMAkVGu16tJ2N
aldgKzH7CaOQO/3aDl4CzdqbFeZaoFMrca/BsBy8aqW1iN6U2lYA/3OGr16UHgbVoV3XCKDZ4LMx
QvrUoyv3Dml1+fnB3sPxPwDk+biWKxU1QbctXVqOgje9+7hQRquKdEZAsPreu18CRn2Gf1NQjsxU
uf/NtYDiSxskviP0D9cqvHZEDksA8sUDPMYMMyfJg7OOpJh+/P21WAUfXgMAMNcyQIdZpgc67Ndr
jeTHVkPQ2hRTsW0hrWXBfeIdFddZi58Zc6wiJ/uH+1NUiV9fvcXSErq6MFd0P9yfnjroFMUBkq/j
d1U/ICvd5o9jePn9rf31lXERaTgsZtMx/7LCkMDGeTJj6BeLs0c7DBNja7p2wC8wXviHS6nX/+st
qWuR1dtShydhq8/ybnlMc5fCb+OVWVTiXC+xL3Hx1TMKZArKs4xurOSxrQEUiQdzOGfdVQZWIwci
39SvTv2MvN2qEPumfW2HhxDvXRq7FOul+9ooAKk9AbK/AlplkTVGZraZmBO4BrI123TejC+V/1oF
pzR7w6UWRj05Kj5HEJC74LYF99Ch7aI1b44jNm1NDWUi+zDGu5BpIu0/0AQaLPOt7zy2AdK34VVB
Jlu1DyZ0yh417Un7ZvwYYgS7EKmU5rFH2iWOc5yNXyPkNn7/JA0CzF+epG1IR/AwiREfeTZVlwyO
rY4lIzbv28o/UHvvSla/5Sgb2uBg+f7GG18Cb/oksBkqoKoqyPHvP4b51zVqO3wCmEWGa/JmP6xR
YAIlWI5JbOziQZcNJLJ5z9gDdWl7p/flnRsW30hRrhJ3bQGuWoV18dlHshCGx5togFzE7vjU9XwF
gTujCu/Q3f46eNllBpENW36nux3AoNde/HdP8N1HJ7q/X4tlrM24FNNgDot872ZYMtCfcHpQ8LvA
bpi8WteBc2ck3TGfUDdrh0Pbbn7/+P4aVX59emq7vNsOVgWeUJCjbmoUFj3UYqv6RS+xw9HnTRB1
xxLCb4PK9e+v+ncb3qZrbdq64/DiPlC00l7Met30TPkNm8kDBtarLHuuAGPSogQWlGWffn/Bv55h
3KZ0FU/JINAo+Oz725z0QK8AYXGbpIdQTXB0XWlZf/r9Vf72tv59FVf/sBTDQdhYMkEWRcZqA6sl
+lb4nzLrLON/uJ2/uxBdf+7IAjOFuP2vtyMnKach5XZi9zEzmLDAM8aSmjH7a536u9/flWKUfYyY
nKO6TipClmh/uFhLgpl2PZCFof5GRkkL4en3F7D0DxQ6zmwbHeR/X0J+eHDVkGWNlXA/CbCmAGiv
Kg6MNlSy3Cv8MtdNBhG1DHduJ9b4ZO9qBEYxm1wzJQUCqZSHEUOuN0Xsb3tf7nI5HkpLnFKjO1mN
e4jj6X7Qpx1mB2fHdE4aqHkf2hJWAG5cHjtjL7r0wWkJ8UXxdQ5N5s/xQ5q8AZo4MoqLofLByEDl
bdcFiEfCx6URiWqnuymbYaWhiY9r9Ha2fhT+vSiDXWi6TKWAxb1Qkq8l8vJ25l4LRz86jJw62SBt
Ylw1mb+tkI2la76maDx0fnNrujjLMBsVLWoB4msgApRQnB0qkge47Oc2h88TI/kMRjFB/QhI765s
vC317LpNBoS7c2RLwc+meF1P7i7K+NjVeFDtjhlVQJ9LxGnzqbUAbNoY1Bi3XpYdZsyZAuU9gTSm
1MJ1qD8V+kmU4EKsH5kNlEmBYZif6vQTGQSiZcCth7woPJW6lnmL1d9p87jLpq++g8lMh+960XyK
5/Hs0Ber6/QY6TFzTIRIENQPM32XlWg/llclM4U8oLNvKKniGpIvzYDB/TR7dMUlTKNG7qMZfwpP
P8Z2f4dQALaAYJFpXiK3dd1Z2afK9Q6aVW1kXW+4HEAtXiCIsmTuYDnD9B/rxxyYjmc+2O0dIqVJ
zxD1E4iJ7ZDd0s1Kx0/NdI8tMY5m2Ntye6QhziZxvum1wZE+r+3aUJSMTT9d+0PA8+jRw3jsUS1h
6NbcFOK+tenqN2Aive+JgEqnded8jPeds+1jsXbGr2VGP4YmGVLg0H3uK1IdhLo2g7uBU4MOg619
QoIXlDx9y4u6riN9BRg92ll6XS5Sg82tZYwQeoAI0Tu14cG4Xv1jQsLflN05cg65zi7ozD2+aW9t
IWk7hBcbQw2Aw7SkH7pNBRdLyyNqVxTjGYv59AncaD/RFbHPWKcdUQxYd5mx6aNpl+fy0PQm8ArQ
ygBWpAkjDFuLatCvLCO6aorxkPIAPJpJNHG+CACJc3KOyvgSFixWo94Z4XeNXquyz86zbNWkKRS6
6TxY+Z0CS2I08xqPwQm3whtXh7dWuCcZ4uiBnVSKOFRgSFp3aJ0i6+Bm9cms8OvA7KNGDbGHs76y
gvaQQzQUeEpypnxChsCZpwfp+hfbu6/mzzONxaKiGeI/22CzC9B+beWeCoB3M4ZoukKSVePetneJ
BbguOhXd95hO6e9jnKFC2F+iKIcP5Z0NeVd8iKI6btX+WHUceVWORZ1xrkt9E1TsKvVste5QcQC3
U/lQuXe/v/TfJUgIk/zryh8TpN6KdQN8DWNsMKVF05Jb3AVozWbw5n5/pb87Zd9f6UM+4zDkb1G/
pURJYQ+m4aaK+zXuwP/NgfTuhj7kLKjGCbvCl5nH9+KPV577D+fR3z0wXocUDqhpkkp1Wr3LibSg
k6JUOrG28wm8nKYjt3KKqn/IvOTfHeKODRHO4GClVv1w6I1diYqFpLjS8aqWkAOoCXYp+wTq8dcO
Bf4YVUYHN4IOsDROjZtmdFYVif8EU9mzIS2j6uuy+5wc2nCLYqL2ra+yAwPr3eBtNd84ZfiY6kDv
LWveNrGOvoWLIrVJCzbcRci2dPaXqa/PPaORGOG7vMYyBQiMmyIeBDxSihus6ree9xBE0Fop66Px
qgea4YBTHIW9q8lVjfqslc8N1VSQvKJSexLernOpfJrxJhi6sydvAn/czK5HNwDIZagIvfqOKdfP
7Ot/tRwephJO2beiQzsMZQhABPn7VpLDwvm/SzmQhDA7/6X3pH7gZ+/JdP8wdcZyNJdcFOJYhf9q
PZmKpwY9zbNpNdBnUinbn1w02/tD4slMuxwVCHaHwf5riq4NkSdw/qAiNPgBZ/ltfOlfGhaXn8Hw
p/hG8KP48+/vOznLRvtPzCQdpBngCK5jG9glmo7aQe824hzOsZZA3GBEjgUy0z3E/Pvuc6yDg2I2
MLMGvT3rjLFj5f5o5Pgoavc5nFGKRCeekX1vo8gOBydyPIBPSJMAC2SwpEkUPw0gIbh57kQlxouQ
yTHqED3P5/TsC5wTzE6jqPaL+R+CF4y+X04CdVcW8y58UAx4djysD1FygENERx1z2XjUn0xG9GvT
qxExCw3QYyUgLFtr+rPneycBXi+yUHHRjS+zjXVKH7joL+VvsjD2y7dWms6Q3Iju0xovZ8RqAWIM
tr01SxTf4iAG45eZ15MzzgyuiRYjKRvqYRhK4LC9imuGqqLHpNgx2f5aCAjYTW1GQmqoj70hyBR+
rY29Hm2Gdt5VIyhfOejlQan6txVgbadg4GDnpbNNdSjkNkrlskPyIM2wSNMzb29aIH25Zf2gm+WD
H0UG2rEjdpB++oquOMiohoMo0T1YPzF8WU74e6IgGT0Raoa869x5pSeO1YjxJHz4bWhOyIiqa1Oy
bHLly83j5rNOMwTFLtjXQqpvQL5VyhpzdzP/QWf9C3Z93r5G0XqCd7BNcziDhjkSZuOzm4cBXJPs
2fTbg2Y3WIFhoQVQg0l+WLOQ7B4PEGIcZ2h6U8xec4Kg/tbHyAhrD3P91L/kg0Rdv3GvitoElmy0
TxADcVqcpbK25bGhfoE6uLaJ1AoMlOSXWTO1LWuU9cKi7SFJpmI9xuideRX6WhkSX/qsfQ2nDKeO
3PmxvIa446fLJvf2IUXH6Jb9lZt4tzX7FC8KB2pDG+HtoS4Y+0mwxWVzizhqfUyFdpfn/avSdd0A
pprJgniEcVAHxzlrwKAhTY5DbImRW4JOsIHJJFCz3Ou/pXJut07OvzbmM9Am5jZNpl/ZmHQCYY6P
wO2+WQ0DG69BhqjAWmsakDiwq06Ch/XKk1DPsNVrFtUIR7AycftKzfoY69A0hGF9W94ffIpXyX+T
zUbwOlJk1OCW7zMytqEJy3ON98UmNQM8USqzPM5W/8hgErOFHlRhUwDPxJUIRH9yMubqWySDB+g5
W2/wjXPfmmrP84scT2+BkOzSJGXeh6PXTm/CJ3NEkb0bZLsN4WMw0W4b/JhRpY+LBxm3p2UtVyka
8fmN1+NhFAxcM0SibJNavMJl+0ZxCdZd7eFWHgLDxGfHx2HKY4TDZkPHxKroPOY5V/cCnLgs/+zE
7vdlSbSFexyM7s+fj83Z3b8WSiZOZJXicfNQAAFsfEYNG6/jOqHPF4vupREeVDs59XhK8pybhi69
213+8z3L6o2Bz26CpKYwCdjwy8t36Qoi9EeTVR4T9fUSa6EdmIDbLLUQCmtJVyM/vUQ5EZVOFbVK
B4ajDhBIZSyh4KLoYM25f7W8+uXGlz+lpcUjqMtuJSPveglGvnoGU8SnXC693NnybWDGMd8kGRms
iBHyEM473cTaHBtKpGB0/1RU9h2jTRALsbmReq1tY5J+RN8KICTq25dfzag4XqWp13Fd72GG2okG
3CjxC2ZUh4JvkH3Xgvqhsyr+OUruZTTVRybJPLVS4nYq3Wi9/FUnNK+YyQw4vQz93hH75VOHmo4/
O1KiQRBscYPx9l4KgD1p3FffiJ+ngtU9FI8BoIPtsqclwi1TMOR73BVR+tWKwtkG6SuQ712udTiR
5aR6ERUuEc/bcdbZ7HIKMal3xyIrjoMICBpRjXmYxLDF6xEG5GACDSq3OhQ9WCG8bQBt+MWmmosK
wB4qpgTFcdVo+LOOjoubM96qiQoZjuecuxjtcxU6LK9/SVrGzC7iI/4zoCC2odrNaZc8WlRPGPxC
hm7L5jmr9PoYBJPP2pn2RWTnOwpz45yB5yk3fjiB2S6IKHFzlaudaKod5hqNAcSMj2fUzbENgrdI
WvBCTePctRiEi3B4AggZVyVdgjFWhpvwXtTaQPkOw3mgyYDmqgp0G2yZBMVfwklvNOO6Ql4cVLi+
6zuAA6PPzlgOc185EMZz9Zxrrrt3ijZeo+e+TYDVbOwMTRmKBnO13LxW7kvNUSqW7Fo01+PDbAAD
+Lk8Qet1Hu6sRlgQh7iBuPcfxoh/llWB0kpxalhdAWYseKFwTAh1NDbCxjirGi8lUiSbSAgcJ4i/
I63PfWPOl6xB+8Ht5E1es9LKjmgq88m8y7F0FGK+NOqoYpRPK8vUDsvOWA6uoZ9prthbiDA94wfv
AdRhjA4mh6oLmHGFhLLnm3T6CQYmu3ZHiX4NnYtfT+INJRMzEAf54qoab8pK0fAUKjtnbRC1590L
tQlU+5CjzU+y19nEhcf2yNoNb0ZmRSmwdH0CqLrq9rLL7jPHjSB6R7hIS6btk8Zrb1P6qYVMEBDR
G/MS2tdsyIqtAc6jzxBJbWR47EonZ8torGZecSkzoHx55lCVF/4p9tAzTgV2L+pcLEAXo2LO7lDf
6jSeg/hkhvicMOD+BBu9cp71sppPy+pKq+kT/j5bvXqeLH84TJ0W4ekxHjIbSsk4HSxA2qu6R9um
Nt6W8KQJz1jlQwAwBaoTIamPWbXwOpNV3YBNsEB7rSDC22vsk2dErNvbui9BGWMFtFPvQHuAOlpt
dQuJrVkpIBSYsanjtLccqL/N19DgRDFie4Aw5UC+aMk6oAuNkOCyh04dgjDvGNu4DXReYj7WsQau
C+OVgWoNuKQSDWI3u9NFDN9bPi8PopD2sCsm43E5+zQntAFM7xK3v4A5Iqwyp9v6ogvv8SzhAFNP
MvfNbS4R4cow/16hmIZsUKDbuyAcP5dmv4MVfkiA4W3UTbHUm71RjvCJ6lnw+gx4uLyXKENwRLg1
pmIZa9BpWA0mWYP6GUJ8ixwQWbj6GybGWOMEtFnCAFoPWZh0nIdIZaBJ1cwbWqcKus7SzyxAFjUe
EYB6vYe+/JqMuLwtKcKyCZc/haBuiFlm+PNmBri5MKTTQ+HNhFpZH1v0FujdouFfVAifaYPVYevl
9nTUUCCAOHQ1razcfVhOQcchOEaOhVHyfSSvU0EMdFRqWAAXWedRdRMCu6D8dcjA3ekxszBi9ROs
GZbLLOfnoGKNp472osDOef7S23A7siDCmwgZnoZCmYOIL9tJT8Lo98CvTWSappvKrV8rF585n/WF
aMIWayLAtQKNHKhwEWz4XTwZhzGkG5sP9VGAXwXuHr1F8AfHEVKPesBm7KKeE0fXwUxsXlZFp57B
0Mm3IfGUWwx/W0KJnXfPlVXfNTOnOXYHGot8vFTi+wTP9+c9VKH10tLIayShbYlWaDe22yX2GCo1
K0jwQhXUy2+BAM0v1fGA36XqJzTrDoIlPBs+yBL0az29KnuPCNwRE5fYpWGwuIP8ALC0za4SlSEN
zownVki7vIBoWcJVB1WHi2InTtPsPjQqq8gjlu67cvfvqsiP9RbVFlNlujkWgybXcdQc810V2VdE
TRrDcO5UDrUs5Gp07wPX79CZFMiOpOV6MnV/P2d4nLhGvNElyQHEYAx+A2QRRPhFEw2xSrff5grP
jJHwhoE7rNgAc1W9/lQ7bv0Pn9v6de4CoENnqIoYiwE4xLStj8P3MPcEHX0DKGMnrsoshyJiKIgy
Nl28+J3mzackQcY1sK6WfL4Mu9ukYvc1YJaYRzRYzyaptx8MEg1bj/eAOK9Nh1zfRyn9QCW0gsWL
aiHt/UHrK7gNBA8LsZLEnMU6iYx7ti4WbR44iircT2H3ZUmLsZff/sM7+rXlttwrJGwXjRvbNKUp
PoAbPGoV9GIx6dInlhjTAZi46CTztshxtXLw9mOoUcOqz0uN8LO0tWXtK7X6y5LvJEgdrZoSW+C8
KfFnZPAug7o+auSRdT8Wh+XN60Z7JHuEroA8XJBLaIig1n5/N9avfdA/78Y2ABoIjz66apC8X3EQ
LCNvVpCsJN+0kf3WCZzrDRP0IVixdTAEF8TG8HRpAGwUBWy2JXCUuntkMuQA8EC1Uh8eM5wwfu6y
ZW+nmgfb3at20Hq/THRXXT2bSPcCjAEBHMcN8m42ljMHwwOjoDLUdrKKDWTW5aGCgkUiQuz78Nvv
b/cDEIDbNRD2NGxBM8hzdPcjMmVoMc5sTCZyS+h2pwqOhVKqmjitVpaOiZLZU2qF/W40TpOX3A94
YgD6z4utkWr/0Ly1HNU/ed81Uh8HZUzddgzD4xWoffVuv0NScbzASIDLSeN75wUh4yONDLxUuaU/
NNgNzDQAIGnBfKlCCadvmnZVrkxffXnxdCM9WRhvzIFPvd/qUExdgLd+Mh59IepjqIaTWKks4QS8
7NcmJjXMde9M+UZWoQ4WKjK3hl6wpA19pbuw9Iih+3hiPaN4Mm0xtl0tOfeSBWk+HQ7H726FV/9Z
0MRDs9dtHLpNHY/UOaUEV7952RYuXQcXK4baZ8So2l1BjC87vw5glu2+JIL6KPL6nUTDZV2p0lDl
sbEaaxTBW5OPd6yoq581YItgWKSsHdh4hQq/hklOW/vuATM4ylxJCAegyTp7XtZRjUAkyRWlPqC1
aTdMLRFnHvZ+Hfmnpfemz0MNCP68PKCl+IaxeecXnNNjjgh1GljbuNJwru4nkPioDpZYA6X02UeL
85heiCqCYdnO+MxCKiMYqFQhGOLhWqur3Ty1J6gpKPs3zdNSoCz9jrwXNzN8lNWQ0e8YfWS4iyEC
mS3PrbC/WHYYMdCjh9jEwTENPXNXZn66Y6bY7pNCzhBUi13Qho+B3A+CN7mkhmNhbNNOvOKdQNWj
TwxusugCtdRe5e7OlFNyN/DLVnUyjTfzRAsMNMWqUy0XU8Zvgum8nvTMzu1TmAok4l3OWV/dU1BO
p9gCye3WofaQkQL3xvwAx43wxtsiEe0PCW96I3titpO246UJyFwm7ahFaFgVQYedmjbs+gbQjSBP
Xvt6Q2p6sSdimiE9Tn8LChluKUbJIEbFxpQBDTJOyCqYWY0biCWflhgL8Uwpmcbfl1CUOBO9FsxO
l8DDOLrd/sArQ2DgjK5uF3GgNE5MjqRXt4EWPTgRZhpWllQKiTqDIJ7uAkTgTwZmTVWOXr/l68Qm
7EAHD9eYVqOO6RG9aQzTgx1BRYJEtrmb6UUtNwtnBOtCkE/O5I0n2+3ds/i+JF8wdrERRzVPdUCW
NHSqk03j9Ah2uldxHt797OequizV8cAh0Igao/QR1Jytxfwr+CCjRe6ww3B+uT8Ztp9K0tU1pBTK
RVVOEVV63AZjwM8KW+EVrrnHVx1DWPoNyRgdwTv1x66o7uEXip1vBf06qONuO6scoxXaTdwIbKBU
o1lzNf1YVi3c1tw/DWF9im1sKnsj+ZFVs6acmo2zP0MmdZPpCm0dXg1FtJZxZDkiuJbAk4vJmZBS
4+MZNVQTVKH8pRLVyXyYeMd0AwksQTGVO2AgHXYLOEJe0doJtsEA1dhp8AjMVK2w7OHcZ7zNUPR9
dzOg5xvG7bNRMUqaJ0o6MVl2vtLLZkYAkU0fk0iQ+pW70sC30smPqSqvi9i7LeEibJzcTxD19r4s
x0CXEiGyiNZk67k7u+zSVdPG2bGV0V7L6uYgkc1fYRvNr7MvZgFY1CCHWjp5oh6qTe0AXaBbgZMK
n0wjZ19jG8TmJ04lbkePBqEptBtQmHDVGR6N9JFQFzjrswNDq70IO39b2m+6Wr8dR1/g1gDv5Rhu
LWXfQXk/qCiB5TxiZ7G9N/SgOCIp9XN1DVYNRKO7NK+9f3Hj+jVSaYk7RM9j0h6WVbtkTMuOCSYC
DzR96B3mKHaDZhxcWxrnpUBCnu6zJeIZlKz9ir1Quv/9CWypFPaXI08HQGMaFuewdCRQ3Q9Hnjsk
cW9X0EAF1sUGuwG+ugVTualBMBbqAdbIEQCPuckmJCDKmgrfVNTMpSBdlqnaTEsylLnDznHwQlBS
orQMkCruOHiqib+q0nxGHXglDiRZ9dFN8TWIPQ/2k0rxGeUgG9g39yh5gGsw335/n8YHoNCSapAk
euSIMG08Wl2/3qiVCw9LBnxNJ0c38K7aG5kbbQpVnIJ2+HN+ItTRaqb+OdykWKTTbuJNY5KHPL7i
TeDsrZ//h7Lz2pEjybLtr8wP2MC1AO5TaJla8sVBMjNda+1fP8ssC9MoNu7UDNBdKFYKRni4mx07
Z++1gy1LdkmbvbSItpCjF29u+QY2I0i/VyduXwYDYKDbwvxi0Zc7VCOsdDvjZFOtIw+T8Gnx2Ad8
ncquRY7ilM9qQSmixzTFkScPoPTOuhWLGzcgB+ceuxOQ624dJF6zVXefK1pvlU+YiGqdh1ouhoj7
5bKR7fUJr4065hXAcShr8IrUJCGnLojQIiIR/VVLJ/2i2lDTZFMiyJxivbxO+viIqOrZj71ndSAz
C/pCNXvKd5dYncEm2j34b5P16HkaUH5z7fRRfHUNcmwqvKYm3qQuE3uDE8WmsVZzRXtabsXyalij
eAtjD3W1HKL895ck7GTeqY62T8RRELsk1svBAN5P+A+xOKqPAy0ebagGb2myB3lAgeKRG1/aZvfw
D/fMvxXjwOZduQ46NgWf/6dWTvdnUpey0N2YGpMqdcI1svjRBectb1l175AO8WPQ5t+iB3SC9ew8
8n44GbETxAHNlmbIjv/wsv69SmXiT9yGAc3Tc3Xrjylggep0nNzB2WCjAlgVie0wWE+WPdGBVHeK
PNxTdq+z0el3bR2Nm8kw+t0/vIw/VAjyiTI1g5pWKmf5lLU/qmUfil2TLTSAGz3x93l6NZJObLQx
eivJI8xlq0RVV2FOQYZuFkCG1Cb4RJqOHC6HMI3Wo60jhmKMJUtR9d3LpB9Nw3sRnlMcLCRAok5J
vUt/5ERKrDLuD/05SN0tKMPaGN8D2aARM/0EsrGYmVUPTm88c3ClpXQNHZoKWOXi7UxEhulrN53H
LqwD1hlIsr2RwexJN9+Q8wWVEPl1x2gTEOWBvG8umgATvtixfdKD+bnXNXaWwnclPJufoLOhnthZ
tniTmkMwWaTrWme0EAPuJd+cFOTO2en2/EJu57NH8KKN8kptHkNZFauySB4mUYRY3j0607wwWpsv
JDty9CnN94nOy/c51S32pH/JLYfNHYTKupgsphRqZqZ3Gid7yC1ZPD/UI105FuAnIrn97zFvP09o
Ic3Q4kkFM+RTB8xksW/MWtvpmvZJZXWBKQ/eAIMVNeCe/0AtqydAJmQlkwTUhdSk3/NlaRrZuxdj
oo+v1oYqDp/sqH3PCutenZK/H9Fq+DWX+k/ZnKFV/SkV3XIlVZWuGvv60ckPJ1bZiV6hCFx7Ldzv
trl6quCoEEtbajxT6rGTB9y2bljf5EFGbRiaXPPG8lwFWMAHCrK+54NQf1viXBILk1rSoHrelt0Y
36gHUk1A1ctunXGbNHZA8cjwpq2tG/X6ejf8Zc8o8OSOJse06MWKf2jOGPII/7cdV0d565PDgDQC
E472x+PrQbxZALoZm1BONWwneVvSH7poXhN525jyE1Ifrdoq1ApZ+XIILJt06lWGS/QJS+JSdq33
4pnrv9dlJKHhPvaS1//5cf83RQVPu4ueg6wNmD+mY/yhOQoKN9YE+N0N0yhOVXKhQfdHdeBUZ4Cg
h8kl0Od7umX3D3MnGxRycwWqymynsx6MvlrQqwZP6ompluHs2wEoc9VSpT3s5qS/23KVkCNzPCu3
lVU8Bzl9XzkeYj77T90W6bX646Ow5MruGFCTPQs3wt9rgs4XRe/Yufs9wk4zjiKR7tyJuEC6MOIv
Sq1GbFRbHofCfpwoajvdukuDhrGNnBeJ2XhuKSz/QeFlyqv595vEcjTfQKLNgIIu3h/6FZekHsjD
IxGEAaZt5mrLzLPve2pCXu3oEU03HZP/BP85kEdZYicMYlKpl+CTWUYW2qLMobeb+jFnnryH3MY5
UW0Qqv2qppiV296TsmZuZ9mNVyWvGgFgEqPkReqM+1u//MOdxOX9891RcNL0oQsvG13On32WMAvn
PqTTj74gc65B0jDiK0cMmgFSBH3+MkYOsC4jKY3Qv8hKYJS7905rVZsUVklT5I/j9Oy45bPX+Rhq
+4lsJaM5aEPZH3v8Vmf1jxBoEXoCqYlud2US/chLPbjV641eNUSAWTtNqy5TVtgn7dSFvXvjOvCB
asf/LbJh10eB85AB/2n1CZgnKefWdWYmhRIcqkEx85TpuXOIQ1TZQW4+DOy2vOagw//v2+thEM0a
K8tybGmFLPpAOKkJQobeDHeV1zyV9pV5PNPTiX1uCtxNNuv6k5ZefZ1o2FYQmNi5461vyQ651vkX
h4k7DNLgUva8AFDDlNi1+NDt4d4CsbMP6vjcgD89lG7iboIBpuxsw0Ktk+Ms0ms81OFGz2AyWcKe
YaNF2qbud8zpNiCjBLwnivET7YU9DtpTA7cHECjeIUhm876jexr7D7HVkK9C/BdgMl0skOHSa0cZ
r28C5Dcpp644LD7McNp5Vv+1sPhakKpyn1ZzJIMxjRD+sPaFKfYpCb3bqN+6I7emOVg7NpQwsYBO
uQwuy+iYdNyBMUY/wj/brLsvhCtQMUyraAo5UJCgEQgIfeYt4NlDXMN/3CzwnkngIlowOcwkGyvQ
8rHOC4YbbfbDqx1tVbHnxJ79xvB9h3b+FeGEH23mZzMF9kljcAWw8hHOGrkrxLtor1OHqDH2IiI0
wAdWNgFm7rU5G19gc2+0CYVOW91FpAPWHkEtzYGXutL0azpuasr6wvlAx3o10UP2y3qn5wwzU2t1
nSHzVW8jZyO8F+ZNAFfNDMmNJuOQ65iFL0OX4yYujwX1/gITYdSHLxc+F+JfHF5rA0iVU+dwJ8jN
BG++ImnruGC4Ly2dqzn84m9sSp/bt3hOYRecBTpobSR3QlbONwBBL95s3swdl7Efdkz4QAaJA5cY
CTS6qgBoV8Gv1J35ZumYp+lZvvUnYuNq17+GNel1cQ9ROGCO7pxbGb3FLy9r65ddZxvRuz/BHm6D
8mPAn5xZ6RG8MmG3PkneFQdtgxGrPT5OFqLRFGWxqw9H0syBlAdXt8l3XTTdOkZ3yHz7JWDOo8XZ
mZf1Pqf9A8HihCcTyZreZcksU+peZjt6Ey0w1MQ7lCSYrhbD2IclOIkJJ1xeQZjN24pMZos+RLFD
z3yYHBoVRndTM9uYvOUU5eNOd7ATeAjgtXIGPFYctDwgy6ymWwfrl5nw1ojoStsptWU9RMQNknTT
xGR51A9zuUMEdLGzaddmcFIM7Zh7d0LMt+MY4MB+QyW2tuzyIS3NNUGZ75olLkkVnguahWBDHdfn
IBfdGKK9qxaQ5aJ4t01nFTaw3ScmZhZk6skp90FR3BoZ89eyvXYCXll4HwfBTUH+DUTJfY3FNtaA
3pm3cZbeAx58nZzgzi/6bQyshHxQkC70qLwzC8mGTZ7CONilMZZbpu2Rz2YiGmsbdnezcRDpvQ85
Jq30X34szVZa9zBW/nnyL9BUthoBuUb5WOoojxNgTa9m9KlHz+eiABDdt1uDrJI6Q6P8GHvOPaDP
W2P4yUufsBxUJk395956DgiRydyvEoJBQVs1Cw8LND2y6hAagC6iw4yzMkcDnAFbv3Zxu/aNRw1L
f3kTzA9G81ur8DtMSJFuQsEj381gyCYSgdFKYY4M5uw+xVSSlHL9DEkUxctAG5JSJejLrb8kG6Nr
HnuZC9qntzUyaQAWCCH3XVecA/9s4BmARwIjCekPFrMqpjGAL7MK13pX3U7tqeGBrkSOJKBZWYgl
0+FXh0zeXbpza4W7DcT6VR+cPT4hzzW3Y+ceIsIHQut+MX8DLz1MQ/Ng4zpqXXDIvLjRqs7Cyk6h
HK6hzRP6cPFEuS/Cr9qf6bhfltrf6IO+yhugHnGz81xyRolOCpH4EIKNiwAFWbrtvZvWjLHxwx/i
mLwY7h5sCVt9vm2IE9KCuyi40ms71Ij8SUi9JDN4Yyp9r7rrrfyIoXjX2g293V+ASy5T0RxNGrvE
mFFxcA2a9DRN+9o2t2UkKogJmbfx6R3Qw2cXt/Yw7SX8yzs20Itr5tRCXzbwAFfErHF6aF1SkOgt
2uLoFtqDYb8mtH4Eo9FxOGrYWYPgq6zPvlxJArZQoopc70NCz4yTTjxYDQknSNFfYWPuOqaStvO7
N51j65VnDs8gRV90vHoMmFZZequPdP7RWjrLPppfu3g7ECRsBoL8H5xV05dNky8ylq1NhhXJxa8x
EEobvlJTtk89L1EPYc91uYy/pLFStg8WQ3eBsmOilYjadDvrxXOozY+NhrrSh3vPpTvBPzmNYtqi
IeQZozWarS2tOYgaHpBnVrD+tNsy7Xc42PZ6EwO8KBBNtPtcHHp9eAe8ZhCViK2nqMZzoGW3mmn8
dhhLaGZ1aGaLzTnbLGSgcmhc5/45KHmOTDc59dZdFaW/pxbsdF4CzdcL0mxdgCf+pGsr4pOt8sPS
gBuGRbGxDN5P776Ofvnspv1Jn4B1GClx2LTdO+S4up7cGS95km/IvV06yc8xCR5fgaCIm0dLD+8a
bUzpyVofpQ6vLgpmiY4YV0ubXgbNPZhl8tCP114315H5PDgf1VCcDVEj9tXXhgvnWcjmN3WNg3Cy
OrXFa1/gGhjoTxcGO+eupdE2p+VPc9B3wey8N56zSfLU5HYlaitN78PhdliSsyQoGXl6YFx9F1kW
E95sVyIjyU3/TudHvXfXtbcp65mvYXA7o6i7xma6h/O5SoP6LoTPKxj11Ev5nHrdBZ4cmLHR/oX1
+1cd9CdnKeMzKPDTEOKcJ0n2bGRUOlRNxEyU9nZuQv2BATzBSZn2vqCgRxJK2TYADrxPrIPOHjT6
KXnEejyvG0NjbUn0Xx2MHtS94TqxioY6IDIRDW7yxtF+ogxEoIWTZPKz4BS6/Bu0JJfkAIhvI2QX
1g7Me5XDqTqK8vmYFoAgyxl+pyEC8QiUluiipZ9OVd2ETw783L2ZeWQ4yK86mRhvvW4+DfkctmvR
GTTes4K9iC8GAN42SzEhopV/jMpSO1cmLJTvb07mTwc/22ZA8rOr8yV9ctyUDdibspNfk10Vcqzc
UhmXlzbwwKQ554Ygvhdi/rITDy8nWgycL9rYdwevkSTGIKuOgd2J9TTYzq6pOkiY8lsave23UdcW
e/ULJnq5LBCLexinJX9xExa0Vmj6SX3VlA1n4Kn6RX3VT1Bui3zNuZU0C/RywatfGtt0rOlGW0GJ
uoj82hUU8MSkogje52D+JVOiwsJYSal9VcZHs33MnPwhiReDx0HA+EO6R3rdgfkYCatErw0U/EO8
1cfsd3LR9fo+SpCMJ061d4YM4k857MYWdJLe7Qqv2QBrevRcgEW7yWLkzfTuLUF1xgQvfh3bD1rH
J20qHgHY1qhjWEnhLqOkJXR7dDcIHiBqi2VvieXTY6eV/9ebmkQIZjAjufS1lmJuqFx7NW9jfT40
kjE1wsIfw+wQjUQRZ4RO2EUebrw+X5G/dwt6ZpMRtB2XcI/HKHz2zXbXG6TgwGuM3eChBoi0mpPl
NJS3QT+NewKtOQfLbN4QXNvSn2Yj/xFpmG8XZyfVaRHJwBmcq7VXroMFjh7K5rVbodKMlgjVKx5S
b1w3SXEF7O4nkAEN7EyuE767kYvquEHzb7Xxphih7dXecjOnyTtrzskfi3szdyoOuCCT6Swj32KN
KhieYGLq0EHFFqttWWJiRC+vjVBhB3A7ZeVcmdYi2WOk348eXVJBSoYWvToN5sCB2RtKuul3rzGc
NlP/Mnm3hgNGS9R3MDu4Lcpl32nmxmpRQDa4pKbKbfYZBtaaUfqGEr6D89uVJREAs/dZUB74NZy3
6thG2UOCl1ezYKCl9kuK26IekfaW4240nEtjmwT32mDswKJp3aNV30Xuh/R5hpX1yRR9NQXBKsaq
yYH3uSjIR04IHc9TsZ9CGhLYurdw0A4GtKauo6+VzqB+unJ5sSOatFr9acBvImsuIcqD2m5sAInO
7LemJHCFNnrhJGI0JwMn+vRmJDAFWUOeb0tAeyUb4RYt7p2YN+hcSfHLtrSXhxWpzdRHg5+upoaD
CYiqObxgMQW6WUfPYFZp8EOYSnpS45JE31cvZiasUwigyijKm5jMEtib2zwlrUA4rBE1OsIrs6q7
vr4nECE52jNsjA73x4VDhppfOoaz0AfINnVlOGcdUtl6yYW37/Qu3uuFswPWHx1dMplXRpGR4FI+
G5wkN2hXH8pOlPPR79yOpWjce0YkY8Lnq9KvLnJMIZzlNYjz/Jx5YiDS3rS2TeGN13AMTsDDOH8M
8Nbc1NBukMQ662hpg/caneER+l141jJzbVNRxftMdnlz066vY583q8bL+Cd2ixGCXiVOJtqrTcTZ
FQ968LggZt+HelUf6rw5z3MdnOvBPetMUDizMean3WTuu1ozz0YPzCvs62RHc204RDoBUkxvysPg
WTbQPfc1t8vkzh9o+oZad+eZ/mca6efehFuV9tTnA6mHF8Jnlk2cWvejTh3UD+ZwUMLlIRvMfVNA
M5TXtDd2SQGiOzcJIYXDRU9/mZFHW0hL6DKvqm4xtqxj96W3nSof6rsSras+ptf2BzF4y5pjQ4ln
QfwsWu++mIMPHb8DE1iUjxDjPpeweKQ2sTfqUlaIs7cznZaSKYAcg5tzabCmjc/KjqIaoUqo4fob
LQZYHROPfrBcpsPyu73UucmyQGzJNZjXJr2E758oeRhqZzK3DrwkxF8ZoYyp/z4OFmXK0pKAgYZt
6O12+5vMJxwNqalvlhLUg5qsaTF9BDilaOWHBVNnlvMYpsN58M1DBm/5qJX8kFb727Llb/JQ5ytP
R9sgdkX80F1QOfpyPGdF/oFcFhJsxTH0RbutRTMytPee1UhVNajzqGWlJUGUaBM6/z4dphXVzh5U
KMmmkXFgrUZmIN+v2wWfBpkUZ3J/vsXNSofgiOnTTUbOhW1GOhC/Tv3lSoyiZBn/ahSqd17mLoEK
CDvUbEv9ZmPRBJPIYateV2IU4kkLp6vd2dx4UvNPzo5cTr570yjVyOusMd4wLtrHRnPP/sRM7FtY
oj6DSMfcsXioXD0pSBByOIyxpGaBI/FBWhVihD7I4jaWz8woS6oCxln22gUaVqi8vR9kj18pGkpT
O4xR1OxiTO59GO+n6XcnJwQ6M4dvd4i2muUSlur2UXU25Uy10hk9GzjcUiu1iCNt74U1Uj/LsUJo
hO8GCVJKaOLiVGNAqtGsi9eNT5CqN6UnF8nwBn0C/B9XuwtyT0lhRUNWAHPOiWVKJOkxlUWtS4Ey
tm9KedH2+svSLkQmEWqv/gsZCOiKsVmtDKd9VTaXZXlwCOK9yhGteouqV2s0lc/3EEQh9fVqEhBO
9SOdCEdpfcYcjWXC6q+uWGj6xEcSG6sEvErporrtId4Hc5jJBpMKXaWUUNOamWCtuWk5xPhE0Ggo
zJVUBtQAB2JA8zsX0c9a6BzTKh9gHyljQtCiV0pidbmVpyBwl0OYL0dHgAbIPc1BQ+nv1GMjetbA
CbHpxrEjZlKZMa/aQXD26/PL1MOb0OV4WQ071Azs25cjli8niAsaXuJp8NtvN0RBPADHRdre5IZJ
qWNSWcZG1D7PLVhTuUVtKo1Zfhgy2Q+QeQ0sIxzEyDeNICFDGZRyITkm8rhTSq8YiXcjaFrKaJTt
Eypoi8kqOg4a+ychI1QQ8rd2tvlsxw0roOyu04ke1lIDpCQOnImJEy3nW9r5gJeYHKmJ9sRhqbY5
wkYVQ5IeMI5Oe3qtPv2o2hIVliJth96JoZ7ETznZc4yKhOh6M7y2saRZy1miGn85WslCkO9HgVMl
3zdEWRziJje4YbhvG84Ye/U5TD3KoSZ+UouD48uyrqdP3QjuOq04zFHzAQLQW1kxPT2jvVX+nmZg
si8HbNWUn5el7CTJ8hyNM345HD1rw/QP6uPJ6NGxEqHr/d6ETUOmdY3+9+NvV9TsE0gEM6R96qPQ
CdOQtBk9HFd2W903FWuR0YbGw9KQ25qxTH8ritRMK53wVEYHNQzyp/ajX3J7LadwJRZyrbefvNjd
hS2k5UTq8FJ3mFcinTD7zIivpXElGEtI4VKxyqVk6o6uRGqMCFPqOVanw85iQZFj++9FUzr5BDux
1xGunWTw50Y9hlkChi3pWGzVIm815CNkrdvu1Q3f1Oz7S3SrfnsQYyG1h3SAoeYwYB7oIBvJ8BGW
1vsYOgQypv5VDVNAyDw01phzGcpfurncVHn1rtO0ivzmjZQNNhMDoYCtg6kkRsokDOKgWXVIXlm1
EVpVkclDLrcyENTknNGdJU4Egf5f+1JvHA1KTnUPkUAxrGQ5M2RJv2uo/frQuLqFybTBsH70IZFK
cZ8zHKhIyvjeqjvMQsTLuCu1SipJv1om1G2eAC7RAmyzmqffKIVdhN5i07uVRgKzu7DduhCE6isZ
XcUBVgdFnNyUnOnWcoatMkkOmYPVCWkzfC/bg5lRVWu15KVFTpyRC3VHztJQ/yyHuomYclrRjoFB
SnRBfVHWDqlD2DNFfK9kIZ96uFKliWoa9K/Rfa6HhhYDETeW6FzuhP4HYS6gfIhZsHiiVxZqVrrK
jBUjDzIIqX/F2vKBu9qRg9rRDHeYbWk7lgRwjOlE/IWeMTqRb0Q9/uoh1AgkmFLjVsnIxLxnmH3w
w7L8NrjkgKlWVWhrTC+WTSdFnEnMLd5Y3JaTtPgF5k+CtPYQbeONem7BoBAwkO9SqZDTBhhMHo8b
1/OXGtCpIbBaLtSSpz4XA5fH1myI6JSfP1FMH0InClsVakpjZkJBKoz3whnFUVWNHQzTGwM3GAo0
90a9ETWWlZuhYxvHCqkJCoz403GAuFhRvNKW4LmXatGa1vfUh+W1bYFdy7UzCSIsRgUtPAxOavlX
G5KWOocq9E/qIYkMG50EPiquNk51TyeOACI2JkOG2GpGnzr488Q9E5WHuIxfe6EFOwvpqioR0tRm
94rEXpDLrV7u9yJlIhsZZ6ilg+Bhd8uKGz6nqIFVLchb5cWpm1OpmLKiJSqOrsypbw6qpFTq5LEI
32K7/1LbjFp1yDK411BufO8+CLQ6JljpgvYoQ1Iq5YKe/juRFEOWbwg3zi5ZOOdKfQ3wxLeCVVTt
auoTVFIGkOq/CghsxMuwk2iTzSJPZlIxPPxrM+4IcZrbeNgnDd1WtxkPyrxjSimZk/7Ao7h2C4z2
S+/TipdebSkdtWPrMnNk4pSPjJNg6oT0c+sq10i3JZGnbiZ0WMSMf2u90TXARkpOKe0HcivfB0x3
+5znuNbn4qCuVVLB+E+n4Kge9IEeGusmYmZcewXJsBZj8QICiBJ7KBVnM3Fuh1oJsF0uRl059GQz
9M/qT0prmZV035zGvtUjOzil0lY/Qhfbawn+wXCOd3pFPhyAgo1nivOYGA8zzn61tNlSd6vchWp3
yWxCrY3bVDq2lfTNq/ig0Tx/uEkSbTUXYq304Upk9BhlJHKE9k7tzksDltnVpnWMq7tzWWus3PAx
ibLvI99vqf/FUT1haFarrfG7r5AvhUH8YorkqA8J3bXMK1eFacHWklZPpZFzdSx/kemzTslN18mY
WGruCCU9AlbMjiF1N8tAtRO3yUObRs+k1E5LSotGSl/MCRR+kgd7gYljHc/BbS2n9v9dLngoIBYE
+BNErnjInnmnwcm2nKNtT4RQJsQpSJWVE7SvM6duo5c2I7TeOfks/Ma9ZdTGfmiQc4vyt9mZ3b07
EpWhrKahh3+g8MIbwAlbX0efORpxx03woaQWSqOpLog7BBeaNfSZ0rdl7MeDMSALqORRA9XyJbbA
+elSpqw8e+pGU5gHpUAh3k4njChcVuGUBe/hghulWfaANphtNf2n0rP2kfTPBij4Ta2I9rWp3Tku
3dPEjhgVNM5lTt1rTWYEeRvGvq3KS0qqHeIGZ9NKhZR8y2ZX4dQhuF3dlF3HShjW7pMNMmPvkgal
rrfl9y9D6xzUniYfEiVbVFVSET5ZS8kapjcCuMEPdWeo0kBdBFVod/LUpp60ubQfQOU4ShOktgS6
enSm/1ImGXb05VTlm/pKMMv8oixlsFHrJJy0wVYtao3sdC6e3Ak0ji3NtNF851S73aOmR/tE90iU
ppxsCg19SdN/iZLFY7alBDTo9+OYySippN0xCOARRhwtNTPfK5h0aHu9tSv7bDkLzbjU/VzslFpz
aBiLG/Ji5Vys78J+nDw6BzIqOZnv1DnAT8knGOtiWKknUK3hCfkE27r7LvvauL+KNmixaWDJhGty
4YAHmDC/CaTPSklNLCN5CWxGUo4j/fW9FiNAZIkYdeceCdVbmXYX+gDfmjXGjW91YO8DmFqZp5Ub
tTp0ffNLfXJGPj5kk34w9drlOeXJUpJQab8iLxwOVWd+qrpKLTuqjkg6hxzqorspWwYPMwNyqaJS
2txlbsFpgIVVhlJlorFxA6M1Kr7FZEpt3g3SgKvVZ3WuVTe82sAIw7jzwmob2NpL7I/VenlRd/24
MEWdwslYT5n1vSCAP++Drtg+15MgPU3eP2nFcZcO7D41830wmMjNEuQ0cau9joH3pXYNLGlilZNj
vvYEIVPSQaAE+YGW3wV+8YNoAGTmXeffMQYJkREqwboGDy6olmvsdA/c8sSjiC8yWOEfcHhUn+Oc
OvhE8CQO85lKRazVIT8YXCpqJLXq2sXjri/7e1fKkfteYFcsaGHpxVbdGHJpqvQmOBkpooJoflvC
mY4sHtNDb0b3pEngHc9abZVIRKp8q6PwnkhwfiEFJFprhLpt1d9VJpl26oHqrhvpGZ1afo36pIdO
+2qEz9GZnrVa+tV/rv2QyjVxifY52HIZJKI12YjBehPJWYxafVIHLHvKMD+T77JoBiECNBz7ErmE
8jFbLJxyqVAflvyXRJ4FJukgqfI1EWUFouTwMZ+W5Xu50AxcIsw6vm27amHpZ5LkLT/9oiF5Rc1T
HDVHP33vfLKUnHsIFgGJVkNmWKQAyhKHKxsKQU8cMwcWBirUYALBjvSElBtLv6RGgtPG5vqHbNk2
mgmP9TIop3knhseB4xNdXCINOnsQO2uonsKhqs+Bpz94pEX8ZSrmRMm5pZccQzWIodRU67i66dXr
S2wyH8yGA4qXWvSiyAYg8Cf3Z5rhhdVzwrE+wyV9r7NAf4jHfTj5w/cpynbK+2lJThlcb1ZtBIkj
KiWOeRgf08Zq2VizbGVTODgIpxjLB+a67o0Ycl7e7SJI2VH3vnQZqgZnqZhydyQTIO6cQgYbXvWg
OAQcFcazndFcVR+WI5DL6C1pUXKdVqrTPuFMOvjebWq5V7Xf4lzk2K/MJ9jBRytbN4v5VFvxc9Qa
X5Fmn9Uyrs7MLiTYLcFycIDk8lG6Rr51o+WcJRT0qce7wJIbMk0Ud41Nn0ek1b1t8YFkhcY8oGKf
dCzqXETFU82MnZ3XWgdIrmVYq7M3t12B1dWtXqJCt7e5Hu+jgd9MRl2xyZlrqnrM9YaT59PaJy15
PVGXH4SZY0QZ2oekcx9pU3FpOK9mQR/cdlLyVafVwTcHXM4MqPK6aI8JrbGFvbgtgnxjZsiTDOKd
t4W5yIgPMrfMER66HvV7HcLVzgXytHGgMNnoClZ91hMvmfNYjoxMTW8giwWBMdNWJ98abnuXVXWw
Y3D8U0yWu2sNOv0FGEiPOiwfk19BEIwbzNjvrt0c7MLIT4Qv0gABDZSKlODw5ozx7syRi+XOS0AQ
G9NtWCK+FlG6j9KE8WwOWDGpyf/pwn1i8ngJx+43utVDk5zXS9KPCAJcKIZYl+a6r881UjGnSE9G
Qw846wdm1pi9epGGNHeRXJteePZmEsJGkB0PXui4R3JsP8dxDhAAwC8Z2/gchRBOZyJH015sbdfb
LvHEEIvAkaPBnbgOgHKGHWgP8tGh2nGbLGl1GeA7cvqq7trcr9a9UXnbJNz2o9ZdA7NclXZAJFhl
3+MxyTn4012aChKsOw4YBOiwTEbTjRdN0UE/1k0NxW4RJ6fkrh4i85HnIWy/urj4HTU8JYM+WWdz
tO66qX4j00PbDiMIB/WPig5M2VaswoYod0U03tFhomHdm1/LjMYwrZaNKSYi9VxIqK2Ozg6lqtOT
DIYlNSe+BiMPV6bAQzxC7QiN/jghaCXFJWG/te8cy3ts7crFOzyHq4X5eDeMr3WbXwqb5pDhouJv
DfFWuSG0Lruatg3+y8j1+h+eX//0w5YAc7dA3pRR6y0opIkDBkuR9Nmh9Q1QpoylmLrRcjDRnYxl
9OzPIK5IsmTdioy7tEgI6zEjBL4BWRk13BtXOPDKCaxK5HmO8dPP0A3vGYmjBpzxwxRt/ohF7wN3
7SbzgR+QBHBuvCgmWJ2st64k5M1rsxdShwbOC8m0CrpzlAMZtHufcTNhIlm3T64yh3qfcM7emomV
HqJG/lwdm3JGAvB86Hb8MKxRXeDf8PEgTmP2zmHD3i9980LoJNJaIC1N+WYx0tmh09shu6PR5T+a
4YeLmOJSJQQU4NE4u2Prv/TGT782P+zJN3dRGP+Ktcm4StC4sQTRzQtK4+UcYAJtsQ6B46K1Zbrl
pvM4e6OPR2TAwSVl3I7a6BhNnN8W1yAG040ee6YAAHXwHZCYw7HO0Daoy3zgKfNLrzfutkPvWABn
OlpVAioGf9XYEHo11/pw1UFDjHiS0kQnKBIafeZbxcWtrLeJHs65GHA9dy0jEoB9hLYHyW8/E/HR
yjvv5Jrjbb8QnRtTRSEI4cgxlj/zygiJqKGNp6UMlqPyK3WnDEtDf6Q3lpynGlTkEBMARrZxRtOM
tY3TJvwOjywlEuoDeSoo8wI1Y0gQypBql9L0TOSc9pYuhrFt7f4FEKq9byHL77G0baE5BRePHpEV
ufVxJDWUVtzeJAFt7diY8fLAABlpROG+98b2mtCjF61JlKJLenRSMrnX6HacGq/AQsNdyOKGxiI9
t7GWAeRFkJb7AyoemwtR+WGFLBdqdClPRm79F47+/wSh3H+WNz/zz/b/yZ/6Ta54E4dRp0CI//rT
E7SXMv8fv+Ua/6b8Kr+6P7/rb78XouJfr27zs/v5tz8QlcTU7L7/bMBGtn32/RqAL8rv/N9+8T8+
/zcJKB5OvP8/hPIp+vyP/c/81985lPJn/spA0c3/BHUByBxoikN6h4Rh/JWBojv/ieXPAlMJxwPH
hdT3/0Wi5Kc8w8F+Yduu7vm+NFH9RaLkS3gi4ZVb2L9gLfru/4VE6SsAxb+k/PJV2fzPgS1gGga0
zD/8HpGXeSYd4/s4ybuVm6Rv+QI7eSSyM+iGk9+hcPNCVkHrJYjSU+Qp6QsJaBjytez3hPLOSJiQ
zRKSApfJnnQqv7x6FnNMIrggGWL+L+bOY7dyZs2yr9LoeVyQQRcc9OR4L6+UckJI+lP0ZNCbp69F
/Rddt6pRaBR60hMhraRzRAY/s/fa80UFCgmV06/MSP/OI89ACqzhQqssWM312yLTbQdk6VHlP7LI
K/dZHu2Kcs4PmPdRUwijPnnLh3//LTXNSNwmjXJo+v/8J3//u0wQ8VSh6ZiTaM9y9tnjLK/LWOza
nclh5aBa8wefo7VgaXf6+e8/H1zJSeWnOkMuDT1LjumOsWSTLzNTSsCatbZtdNPp5wPF9HSKxvq9
Gv3PBGOg/hVE8FZGw7vnQSV2Q1jWCN3gv1Vu/FXhv+wKtTXEW0HqOzV3FUErrKlenTkgCQ7Vx6mN
c4YaGcN5O2CR71eozeIl00x05qmfDWMEEM4vfz6w4z4aBe1Z50/zuXHR53lGWGxV52O+0FenzP7q
B1Ue4K6ZD6G5Z55k7CJG+K7H10LB/0bOm3cTUX9QRuOcQ9Ye7EwAxsC+7HqIkKG7nomDRuOZ3NzG
19e+rF+tLkgeMoouwynnQ2MVBy9ounUZ1kunGa8thheQfcVHZDUmSR0PDmtOzAhxecBwwIICHg0y
lWhVNihKF+9Ma1ODZ07zqHS7tvzCeu560g1rJhUtCoudcrO3ykKiotxJ3ZXo4Pdj491ZfvUQ25O7
T3si5XEnERwVGuy/kfoZRiqf0jl46329DFl958BSaeN17i/y4ey9SsxjHMAZSGpBJRKy/ghDxhCS
/FCykvWLn43y5C3paTFiSFJ5vO2UZN8NbuurljwaOh/gcP670sOwnsIOD2uHwDrvX4HFkycDzxx/
zNWbM9K/0F2te/h5G40qPkWIfgQzEWxMtlOkdhDiHdXPvmnoc9/1LoNt+1lVZXMB8MoEWfrJpyWj
ryim+W4FE0KbA+Xk+bDX8BL63vg5mGOIKxqNTdP22yYyPqeguyPFE1l89OXOJMZFPSuD0bDybdw4
ggx1I988JOMYvZp+cdUmQz/fIp4zQGOtCvHRMkFhYEkHMLu8zUTbrIw8einyHqWI6Ty6iYHBoUOR
1w7ZJgpdf9svpCHWdQJ3f/GSS0gEQnreS9yT/GjYpA93ur3xHEbga/r2KiFuFfUNJtB0loiV8pjA
Mno1StDtPLHXljWiVj+a9ZHYxiIp04vyGqBkKfdMrrtDPvA5Te6DdZvIowkga51UCkVmIA4Mlmsk
p/K75jFZdg31nZLyZkzdzo7jCXJ9E+27Pkh2omgJZGam7ORDeVUWKzMu3PEwB3+hZcSqwoYf5sHW
Ard6zYnt3qXon1exNVHgJ1x9Jhz8aDTwKVAO4P/YW7mNgjgzPivjASewc47t3Djk0XyIZFKfwuY2
oGTCxSjPswoPrPf8lUmZs+HSxXPuqTXeBeSDcbKzCrO9kMR6VA5aYnZBYOM6Cf/QCHi3Oh1fyuhO
iJxnf45w1icglCsm+z0ZRbGOSsRqBXTLXdPgGjT8gT256b86RpfvjMKP9sTLgL7sGdfElDYbr65v
ypnLtbQpMN3Eu83pzr83lHGre44WzpG0fzHgSiGVnZ7ha1Svbi/XgxGijIaWOQl2x1MpbmNJwICb
0GIEoBiHPhLHuRWHRMXGFo3DS00srBorGqHUQk3qzFBrlhIcO0U3EkdZaW9cy16NZArUwbHQ4uJG
3njvVgCHZnaiVd9Z9+YUTZvCPlJ1gRBr3fLqt8QNz6irEnzY6yKt3UeJJ3RCD6sDG0FZYQlaKofN
j8rMbaxrj7CFBFGdhQK66sL6JL3oxWrIvDK7OVqTlROeaiw7uboMBErdOZUGqD+K+9YNH6KhIR5T
+gev6Um2cF0NKWW4zL3QDyWEytrXaJ9qwRBO53+G8eyWCoVPwPuvGfesisQgK76DqzsXocWOiB8H
2troPlX8fE3UMGQVyz885vq9RbqiH98LEzM/Ys691TGx86x67cVYTUuWiOtRFeogLYwXEnv6yoNI
txocbz5iUacxU/06DbmSOyKRdzkGkc2QzeFO1g298ozhvQiAo4asZcreQiVno6T00AG4C6gXyTuz
hYqhaDFPRGDSCZOpHe5c3vGVl3k1AteHkpUSva+4Cyk8jhJQwyZLu2d/yYjVuTBXjgn9WdTtKnU8
/zAxkuJbvdIjowkkUnxtC4X7ZVCXQNPNGt9DVffsh7F6CUVydhcU+8Gq4ptbprtYqc8wwzTTkpOe
qMdOOurYk0S/Gc2eoUeM6cayjwjcmIIkXFSWzHgHCpgRpllVR92DzTbr+b0iW3wfNql99dzkid2l
2hljCSbHbneixB+XOMW0ZvT80o/ztDE8+9UbZLU2ChZ+mKZfzHw+dKHpEhJtkI41NI/Y3rJtXKKX
wSp3ygAdJWEWX1hjL9znD5MT4eCZzw53Xu3Z3WsYh2RkRMaTHtUvK6iJ+s1HQj+96ZsARrlzY+ii
sUaobAeNfQw90t7z4TnrHdT+Cc/XOqYzKZxrr3LjBa/GwOkIR0Hm9A3ck8x9WJrZKBJMTusMMin0
E30SyfSaTiVuY0oH2votutJ8pdF8P0iIdXsWTVclyZcl2TW8yhxD2NiVxMokN1G6IdQcNI+jyPSB
8URx6nwevdAazgtZ4hwPqK1sM4YyUwRIEKbEhRxY5wc7Vwft4IV0rRHJ4KfjRhpnsfPhOKV3klZw
bsFo7lXfsOqeuz0u1+o0LuVUv3wYTQ/NWO7M0c4rxYuPlIbhqjnUJ12i+CL3Rq8JQHVOU6eckxYI
McOaqZHlx/oUVqBOk1b5R4VIlqpkPxXjH5BdBMuQrdy3SG4Hk9xxU/js58SDXVvksS5flz0TrBdV
jNfQGl4IjKbryr1gIeD2Bdm9fIiVVRAm31x6rJZgLPldphONMb9wVnbp04LazWOeosCLvRZ1ct/E
xaldPpgT5guteCWppJLrrGsNXgHUW9OhbsbuZwO1PalU3QGbcVbukJw9BKpR197lZpivfz6kjv+O
8vIzlHOJdjPHl9tX6z7UKVcQ0Tq+dSw1FhIwKesIHNaq66pT1ct6y02EAX6ub/EQFcShjK9hvrBg
q/hTlJZzZpGwSaoMztJsPfktYvI4LfUOEodcu5jacmjPUTheeh6ipN0xdzXt4vDzO1PPSJmHFtJT
8j1wtRBIbLxWCdJekUCnTPWvJonDFTiJeBMwJwK+W26w8KmNdH6bwM05E6tPOBj8VTn+rgK6XGKu
1d9j+nzoyw16PuQbwE89QDViinLGvjyYmkli3AoYR3LDE4Pm3qqc96qz+CbGkWg8KpyCZSlOw9ZI
rkbt80oGzn6qqm2X5jxayhJZmCP2WAenbdLOxxl4GLLT8NSwwD6b064ZsSzZJSd51RsW0PC7ih00
I3JQgx1FummJ76wtmrusT16MvqUUnRFdUU+j5du7hRzvZRJeHdqP7eRT0TTVeO99M8W1N3J2nitN
TrVwSl6AWendXPLNx3N4K0zy2/s8n9aloaEUzIy/yZWeKrlWfU1trXHX6EI+qq5HQdO03DMBZhmi
81ofy+vA50kAChbu9PnzH1KjKjfSHq+GDKPVdh5MzngRf/el+C39/MPSzLUd1zvUuflKX4TToB5L
NG3BiIafC2Gb8nzYJnP/VMrkmzE+Ji3Ubw4pfqTsWhvdl5LHBzQO1WHIwLKPXnxG/saaZZvEqJxK
Wx19G2M5TywCsRapU6SJr0PbOECNEpCQZNHqne1mz7VlIn32ao5mhMtdzQI81Z2kEGhK/kjsA6b2
G9GOtyqGEDFjNe/M0TkkaYfGTDaXTLbs1Za3ypGUYCGmECuZtnPKD2++TE3K2QuNbPSbtTsxS50B
3+3ZBLO0ZEVilMdcpjeqWxbpw9fyRnUg8tfLS6duPExzrNDPIE5uka47uc8WJuzVpoGesRpzA9Bw
Me6z5eodXHvc4u+pmw92LZTc1vKHixJwzOWpsofP1nL3JstCWH+4S+d0Wd3I6jqbMt26qbebK2xc
LhLzjmuxHcq/3AgPR+U0ziGNMH/U7DdspvFzxm1Ti/Sj9tuUISc6lToXf6raeP2REeic4nqombna
7o0VEpRFAqorE5x92OMN/9GUUrCsrdDoVjYhWHWRfBe85J9/HMzuw+TeVfwBTh183hkKQc85BJq9
7hRlZ/OaGIm9jQUB1bk+tI1FbSY+QSkiIF5+eByLx8l30De4vONOx2XUM8IM2+dqjr5pCCYCDn7J
LPGOfkJSFrKtU9O/2kZDkrdd/g28/G8Nvf5f5ln/YUz2X03P/j8cepkGTIT/eup1+Ijb+F+TWn7+
/T8nXp75D9ckws8DocC4icHS/554efY/yJK1IVE7HmQgtZAV/jnxksY/DEVyomK0xTSMedi/T7zU
PwzoX0C7LSZifPD/OxMvueRR/cvAyyE22Hfgsdqm4TKOc//TwMuwULcII4JjuZT85iTDOwe7VStS
niKGc3D8Kd4bE9Eh89lJFtUmzPDZGe/z1H2ld/9D4F/PqMOCiLgon1ShEWXj5tVJDEM+6+6aPnF2
qu/v1DTP28pgtaw9jj8VUEYvN2ASD9b/DbsE4Oj/eGEOcFDCln1em2WZ/wkhVqeqNEQObV+SeV8Q
m5cvRQI75HoJV5Lb3no0ja7EN0HGUTL59y3fOJWysRoK902WKLnRGCy3P5Z0w++Lbe337mrIM3SP
5C4lXY7IUYIZB2ozb0ev+hPHKrjUCyXeMpDNx3gSLiHL7Vw7dIV+6T2kdvtXPkPjn+z8wWv3oTNb
R60BhYganXrB8w4YiN4ZMkEJlYYvmZ8t4YgmWkj72nu/W9e9i0pNvpK27ngUcDKoI+Crjziy1wgx
brgh/sR9v3FSay8Dkk3bAv3+72AwzknkHQtPort4auJw14fNoxM613hKPs1S3FUwudh8YHztbrLO
HpRZrHqnOg/SuyWZuHNRdKPu8GC956+9qR99k/DGftgpEcJHKuVxGJ+YODxrl78rhic/LKjDoot9
cez4UPfUwE31OKfBt208EFiCzNFsvyo2xKNIOT6185AtBVTX4KOy1nXgvxutfq352ZlzOq7csfxs
O6ruEq10uzw8FDCmTe8Xm9BklcGSpiZol+9KskLi7ZcPFMOXElCBVv53o9t3lhmPmYPLNYneo+6U
Jc41L+Smc+OjV0FnNL1D0nu/YEZjtCJY0kzFqW8BMbgTMqIWGfwGnam5w3zOmS+Yx7Q0laTOPNTR
gJwgDD7s2Dn7LTCPzI0+Udae40phM8WQo1x+Rvk43giTqUEozShBQgZnNKxvjvqkWj0WeNVCMZ5c
9S0TCFpqtr+Cxr2OkXkFgfhsh/avIDCe2ikDUCUvzYjnA9X2uiVhgto9xmTtAJbN2V+BqDC8Xb2I
0127HLdQKQ9VyIIoJxsEfPaprox1RY+7NY2ChMfZ+Msvm6+k6vBR82DRCuJFG5nHMUz0bnIrBU2I
pBRQK28Ev1HXAiNcV6n3IPphCadmfDhI6++qofUZ8kmrvS88NEPIGE181/nNF6HBtgm1vTQrsaEw
djZO1R4rhGy7LqEELDqa25a6JNTZS5axryLSY9rUNaIhyMfms/Aqg8mrfRqWKW0fhfaxt6Y/3hK+
QSfG6ZTTowpBMwXqj3+hR0o9i7SAyGjPXlI0B79x6SyxNXiskolm4IfBSO+IDxZvMtvKaHAOA9Np
H/nFQSflh1omDkPElCYT5JJ00fzYty1dSzb+HmOWlN1SBNgmNbY964uXYiWVVonDfnaB6ysS8pYX
qDoCQquIDXqO9kQ5gBOAbcd7GKunOJie+6E4NREpFUtFCZpuYw14/bWZ4kBETghQF6N5ne+LDqsy
0p5tMgVUgIECcdMtzJtFuzjjsQT2V9380asPKvd+12FE7LDv7iHQWCeh/qTBHJx1aHFOc9agUFab
wX4aFWIBXPXY+mEPykE+B+R23iWev8rK1t86GRGXaT+L1dAhANcgbjamV5Lw5IpwmwQoB8M2mDZz
ghZcNTELDR1ShmUd3uW0p+DuG8q/5bl2cEr7LQkWT1w9k+eY/Zk6njU9krEN44cE8U7NXpd56s4t
gc5Fo51sByZBu37iYrcMH2rEkhWmJNvtISe5MrS/oECII1HZN+0gPoCGeasCX11MPkGeTMz882iL
oU9fDF+yjjadcxfq+1z21w7dzD5HhbgKdR3ulB8T5mo75iENNA+5vdFW1s2eol/5EMV7QFSvdCPB
Tih/k5guvF6IO3ASzrmekkNaZck5OpUNyjWep1yBZbhxI4MrOUmsXZITHCx6sgyW2K9sfKAfSA52
ZXx5VdlusFhi36u7S5Nq6sqk3CrbqFnhQ9bVQw3qw6WHi6G+zR6M2xDxA01a3JpbxxRcXU12Fugu
1oa9HCrhxQ/RFMX7sLe+3Ar1kmCSWJHNvp46+xCPOSdSntzFHWKmzFJwX/+IBgRkHeITdrQmlMT/
hegDmNOcvKRN/K7RcN4hbCPPZmR1MIDllULd5ywTuEsFh2A0YLYLu1ej+9QD6hhuQHPV2CLZ9obO
1v48iV+9GSzxOi4t1dQ9mXU2bJEuj9s5iNMnOpL6semPP79xG/A8gUxPvhJvTiPcVTdm+zLzC8Zc
Yb5grH8TpEFI+lh5EAOcYwUe5z5ynfbFdpMHA8eOb5BWWuvow40Yq7czbmIfrfbW74InwuHODiaG
11jnq5wFRbJ6LniiA8jGwCKs3r+rpMJg0HlkDdEMW4DYReH88iYshwVmiYnDZYNi5J4d9S1LRbBp
bAaRspgxLd4PCdo+HTMTqkBsG6VwLm2V/AYDuGrGcd0StDQsj7B+pMLvu5bEtxDAcj3Vl7AGuTa6
DasKmd1F1YjHdgnBQHmMSG1npyhCbJgd2P74ek7LpzMUiEGrZmxVFO/LlnNVxVwAtZPiZ3SqI7Rh
psxNx6eMI+oec744kCmPRoSfP+CJH6UZw2Di0QIZp3s7LBD337UTkhwzbZ6RMfQ7L5ZfcuinI+qv
8g7GYz1cyB1eT3Y97pwke+9ktreHhmWCWX36Uf5qDZbc+x7BW11grI2wYt4EYybtEySASXnznBaB
i2Hf2YyaNxMHzWZObTTJM/OLQZdQvkW90k5DuIaJqwglwWLpv5+501A5VNu0QN1e+f5GLMdFb3V3
ZhZ+xHHy3IdyT3/4F6iq+9yR91M3YdxuZsax0lvXEYMhZzG9Ze3NzeyanRQJcAUUCXZxj/g/R32Q
9rR1RHwdh/KU5SXYFv9rqKaXZhgelKEflMLxGhTVnclQF7IxM9sqHY6yd94iiGeE3X0z8FJ8/z5K
idnpNwWMoYJ3zIWUDcaB8OJo+DPG4sCW+KS6AiO4JnhPeC8dKV9xoKh3ZozJFX/TqWWAWUePTtT+
aZ1i+1vK6XXSCmvlVL/4In6dKvdBhO1eVhPupvTkAiTZQK/wRskKkSDBueZtbedbmfRHQYT0qhP6
USFXcsmE8nlAiUltkcl8Zv7cU6VlBl4r91SGyT61SafwMvE0++GdMBbyTXwoah8XqG5uKs/dVZWy
CBS8aUXqXLrS/sLbxaKt2Mx2Wq+jMR4Ww9bBjOSvAfuEldX3Ou4fcNODiI63WTwfhOwYVc3tW5hm
38IO3vsQOZ7Rij99jBV1liuXtA58HfVDbbUn03rJx5dsrsBggtoQwZInVaIytnZjFmUs740vzmfr
HI5k1cQ7eBoI20e2Oguzq4ohSqQTizMihJ7Y1A1bQKUNiH1QBowU1owMbCKmN3Y8jWsmWTUW3QMj
4kMz5U9GUH8EnrrkS4yr42bszLxdZaWgDcQrUd4vglVtbPqPbTS5G5zfz2THw+Np/5LOZB3GPDmw
lN1qy4hvmNpIuvDFUYeCrXs4r5FVi40p/3I1McJRxtXQms57URdcqaxLbatVe2nLfFU5MfjGlCli
3QOOCaSTQUWcg51morGyC7Y9ZuuMq2l2cLT7kMtdf7rGonkJslbfZInWp6cAKkdGHmaMl9jWPZsS
Oe7Rbj5oG6qWvYoiXrzl1nvV6m/TgVje+cVr1/C2DocmKF6qJVM2KQPEa7skGN5KOEScmuCyK9Zb
iti+dZhV1Aegz6lSZjTN21Y6IGXGnmV7I1ZxnrJARNITiOoblfQW1B7XS/6ux4oClLxIzx8/csnU
N9KU+WlP9FXhUYGMxpdTEU1UZvUOs+cLtNJvqa2vVJGJYsFDY1mWYetg3xERH7esS10ChVZW1hWX
pM6fmx63BQ8dfEsoshTpfTMtU2KEb4LbPTfUhE1y/E0xdGwHWG5Q/vP6gDGIeOk0GfkAglA0xZPK
B9QjzbRrdXQzsh5iG08EZCLQBqZwUisM44cgbn+F/bvrqHmDdD1GkweDW/Nc6NTkrkjGZrzupTQl
813d+txFgNwbs/lMIMeuG58NYe1QPlvZAzzkV28m9AX9RdI8lXn2OnI6hFgMVoYL2Nj0F9srJYRX
PXdmyz1aGn91fn/yqmJpG0YYUHWJNI6g7Yg7iKgj1qtsZ4bcWpcxtmJ/uEye843ttKIzUOChWa5F
Rv9BUGKEgNPGmCZYY7NpYm554VmcrKwKXVtTnZsw3VSz/0T2GWFuuroMFSGMbg/3Y2RdFpbmry5n
CdjxOlYtyytkb6jSjLbFHincrzDJi8sPLD926j/44bNrOBJ0ngkLyjRGIWxXTjfB2g/i/gwO90OA
zpAjvXmCM2Ubpq3BINIgLR2XTcW1vufiR62BgtlSVbPDNboyeqyoOvPfpxpMhDFiEQh1+FyUKgXO
iFxOpdCUYl+tGpeyYy51ufVkw4WejsWqiBkpAP9baxR9a5n19z5ykl2bsoaWZcVkF2HufgqMa6VH
fURHs+60gEBiei8JjO9tlxeEDWRvHR7ItV6+xRKmH6b5jETX+dcUqk83IYOsDdjJhZXeG2NL+82J
PvWhd7OWW6epm2CXqOnIzp+7sHNpCWzUqNyj0NpatQ18LbduKb5xviWbMk/nazGP8eLLs1EwLnyv
R4tly54Nebfyuv4pr70WMv+wtjOzeMhZBGyql2nkYVeFiCgt4FJ5a9zQVm8iMWR7GQ3xESXIcsIT
8yRnQizc96DmBxiB3uuhJEVhzX+tXA6lfLxaXsr8U0ZXOgBui3VIicARinyvSOzsCBQlxeJcVMiG
UHM7RfZY6Dq9RHSsedapM90yjFDHaY9Fs0M69hcnVHrpdkG0DJdHwsNj58NQ84eb+ZcfUIjlPodW
OxAP5qwZ1oCPn5qbZ06EOkQglQ21LFVz51TBj1izLSWJYnD1Bp0is2IYRuQg9mAyfWuTZ0Z2ZrAy
SDu9EtfHYtBVb9IX7gmShQmqB4sogvnp2E2kS4xFUJI9cG0CD+5nMKrnKQieECUptKA5HdWk9C4O
DCiFVo/HoxRbHbAsiGyyu9kYPdFkZg9TaqzaAC+dZ//yXQc4HT8Et56LS84A3anpOjGCx+uRBya+
ParLeVF40rP9bQSMczlvdFvSMxJVfyKc8c4JRUGsbs2iPON24uz8WAQ/29lClwzPhYrLLA618CB/
6vjw8zWcRnJfiGCdkTt9dCw4YmMbzBfTfg40C0NlsO6MevsQNTbOII8jzEouo7XrUjQa9BzuGvbS
hqSVGXkLPPIZis3sofSQrAq27Gzdu7Lwro4K8CAyxDxXObuIorjvhtSjoSNGJihSA31p91XzjN2M
RjAfZDgBE9LWtSyMdhd25jd0LB48SxCiS1DLJnkJ8/gZnFP8SPau0tYtaZ3rjxHDZkqzWqQka/wp
iJIQ+hq2Ms/AFMItYDhwqJ0MHjKrw7PU3vdLC9jquDqmAcCk3KyNw5ymcq3TdsWJMR4IjRr3OtIb
Umf8B49lvhGI9L4wBXkEE9sTZLYwdeLprTeNAwboaZMMNigiGvaXJCqhMlaPRR6IFyzCDLSy6YGF
qXpOvOjQDwaSmTy+2JiWt7CGzpY33+P9fmwmsnDDlKsqirjLjcjG+mij67cY3VLrFohwi0vsZ7ii
J36l6v7gqGbc1FF+y4POJv0h20aCZUTHfHWVC64cCyx7mOngBMK6DA1UxrmLeMsjo9K2os/O99xL
jIQCYqq1gU4zEetS382I0g5zzVazint5cSy8RB7hRNJOOkztcu1FFd9cn19CFnccyjQfyTA9lxQL
m0zIVx7fA+llWJBZMWL9N5t3IUmcG8RwTUqz2fpxiO0WfRfCAUUWRkP1UuBugqaUPk5x/NwnyYeu
cH3EpIaaBc9Bqd108+P6oJN7HgKGUa2pqHNF9o0GHreBTVdoLHnGbfu7Adp3HxXNihsLqldvn7Sc
oSElJbJ7yQpIwMHFnY7kZ0bb7vaj3KMyaNYNVMZdbKTvOIBA1sTFS0ZEd9y5uGn8iyNQ/IC8uWGN
dFZcGhjlB+2wd4UNuERbMtN274JqfncCC41VmX8Ppg7w7vfAyBS6E7Mthg2+2z+D7F7USJMoauua
dObMfgk33xx667a2DoPlXRuH3ImWBMrV6CHuAI4BExmx1CyMhyIWMPw5kynuKJDi/C2MHOuYjcWr
1ZNmlFjdlZTDEKn85idMnLnjWXGGMcBgMl6N5ZMp2/aRdFBALVi00pFtsCGquzFNo3M7zr8d4aW3
tMFl0RIq2PRjsKtsN3oCEJqYnrev7Ejve9tWOzE7HHCddxJVi87EntFiVpsUkO2uI353DXUdKeSy
xa9CSEA/z1hTiRP8uQlZ4pwQnCGDFUAmuQKbNm+qtqvXtT/yQJrq7zYiEcAlN2SzjEEvWhNF2L0T
v5eebDQFlZkixmyyC25c61RJ00KDSup4l7pPxVllnXtqoascieNbRWYaPySRRiGVBqcqr/QmLJNu
P8t6XGtGNvs+Vd69KPo/k1ljL+ZKt3vRoIuLwzv1FXTGEkFSN1fwR28iqyse+FW1SSwjWRuwE3dh
Ut5bkX+ae5hCek7snZs77YHb+N6sE30qa4+wXjc8RdAy4c0T5LV4f81MccN32SZLFAkKk3uj4pJo
mNzwrsRTd6qq+mLOFBdzMNVb3jRz3dMd4JqUZ6O1Tmnf20QYMAuq+gRTgs5vPEcr4FZl9JjzmoYo
2E1DOJ6FSzHoCrboPmvsg4OCZRUhbdZanWNvYesBnS24oOM4kidF/5B5oCinieaGauGhnLO7OXXX
iZ/zv0FhHgqt3+0ga+4MNw13o6ERX3idz0UckDEB+91LOqQL5EDQo3ZuSWKT0eHLYznutd7VytCd
lW6tDySTY8XL2zcwKpyebX5ymQtA+D6pPLxvWdaBfSjKa2LHtzh6TtVYn43TnFy6iokHy1kwxP4k
TrkzgLvpo1Pr1qcSLfWTCibqABb1u9kaHzM4BTC+4fHCwdLvtamzTR+hALCB9iHAFb8hZTEEdf7i
Chi3WXtJmhkCHTIdsorZ4ZdEu/kRu5A2xiI2ISIBpQOPEwYm6nDw15F1yLP2zhAZIQIYVYqZiJBu
ticAwSN5iT9fdqiLg0DRvKlsRnV8+1927KoneYRPMl2YuE4XlYGhiQb7ABqyQ18+rw2veKAOdC/O
6I47sI+M34dnEN01CUKw5QyxmFdcmNrDTAs8wkW8uZC+Ygwcd2ZHrKjT4rpvgza+qcL+zpu+2qk6
rzeUkviRY3SS1tItmPW+o/tyLLRo6yFAgAIokIFxto9d9jo0OJugpbpi4UAypI+qU4aWtxXD9KVm
K4HiCu4zqRyYpSbIgsJZ0IN+FHHUnH04tYes7r8jGWP0H3PUTnH1IaTNeMkvdwmdzs4HQrJqh6nG
g6PIgOZ4HJnbHsiKf7Hwjx5i4o3zhAs5qdUra1fNQN16ZtPgrgHlDtsRJvdmlr278xNWeTkzBRMq
6NnxhH4PHLPeTe2vUoeHvDHiK4EM+FtINPMyZopN48S0dKCZQxBobSnOGg5cFjbuZlIYc1wTYrlC
Gry2nBT3lzCfHEmzUOo4hrEVInif0v4wcjsQo+e01ryFLPqiK+YMXYHmBY1tzHxp2ThA4Bqcb7sB
CzuitEPQRkTUwjDola8IoAPpLoOi3nPkAW1p7FMOK29F3+E9F9nnhC/2CMOG+XRrHWJS+d6oWLIH
kxCMF8JnT6EyplWKxvgSENg1FqrbtinNXekakNpz/93BC48XHUJKNamLQbefmzwfO0GkWh8Xew8j
6ma2yJFgbocqURoTKg3ffBU+MpY6+jZ0/yWlizw366dDLoEYeWHAYVooeS14ff+yqL//e8/9P4ou
vy/jom3+1/+0lsSs/7j+diAsswJwPZDh5K/y9/8SIimR7VWWdu1tMOG/N2k9wCsuIudzNubT1qzK
cpPGHU/PhOXd0HXurq/bf2PvTJLkRrItu5XaAFJUAUU3tb5vvKVzAiGdJPoeUDSr/8eYKVkRIZn5
69eoBjWhSATp5mYwQPXpe/eee/ASg0/QoehobMi22cBkKyOC3hrvPClgl+Zd5aDLUqL/igCOIYsw
D4knnn9rTBI4RisQh+89XO/QHrb2Q0/j8pgefe6FLKR/kZnJuvCM4jnId+ODL+hH8vCfP7zz19m/
I4RrMuewLfTmtm2iP/jjh2892vgEeXjroQ44E0wgp4dqUWbRAWArfjuOONLFBjhCGS+86FcfXJD7
Ekat9maDKsZzjF0W1e4JVCRw+kx/B/SJYl9Y3zqGfBdSdXe8PD/lsyynfk70Isu6hwcTi7J1C5rm
WAcDB18m22bwsyjj6FB5oXOo8h8zPYvPJItu5rWZbevSpXMDfssf0ADjqAXARBMksOajO1FBDVPk
rZ28g87blMU57LqD5j8vcU6YLeUk3mrxvW/S7lznyNcmM8ePr2JMpXNyC0KhLk73i9WTqkSlAHgx
PY4bGcNPsMAbEShhnGz/12zPt//8HQD4+csd6AgePcsl5UyZ/0KAEfmzj2iKKyxq9b2F6YxXjlrb
osoNo358GPYjmpl7p9k8PMBXExf7IonC72rmhNt4+S9tEQvRT0wTqe7XSkOZtr0yBXh2SB/lYCtm
UpxoUIEk6xv42qiSatIc/VEzAknLeFVVLt0O6T630PZQgnjdphU29ZqoxlNaD6uscrhLBttbjWX6
KcNaIWzovjHUee5bEV2Q6h+MHq1xCPkReJz5+RuxYUgEgRb1729KjAZefCDIDZsuT0RUuQyVGCc4
ZeE9haH9NZ8Ahes8sVbJjEXVDuZkm1nmRx519rZxGJtVtjzmjGoXPcOU54CZOuNta8mreEcPoTSy
+xcKggPVzboIIAARptnTOi/CpS/oinYzSB5VGvLoBfYnKdLTignYfAIr+h3zAgK9af7acv8eDRsx
XOTKfm+mjUSbNpdbs6cH+mCLPtTwqABeQ0IyiU6c1kMCxsPpkYvT8aCpXCKvhi04LdNymA5dog9A
nvuPWO0jyaPspWRTIKS9d7EZHQ2zuDRRvw+0dDZjTwgD4ypvXecjEeLIAFdha5f733dsTzDB2Hfv
3Zjefh9jvEh+68nm/v9Cr/8jd6ND1JNrsUz+e7HXc4SSt/tW/K99m30rfvxR9vXPn/679Esq52++
SSSQNFF5SSVQIP3d6/j4G5szmhJ/1309dqV/CL8UVkePmBhPSlRh7HT80D+sjvyVKzh3wiBHqcVP
/4+sjtZfrI6ubzGeU7yeqWyUZML6S2qRYwZZGRbx/DpVNTjEn2oyD2Rz3+lnf9JdeSfH/TOxraP0
EH/51tHh2kGdm97brOQfT88mhsKS2NweXp3MGT4nrXnSxjmeo6dg1puQcIihYHfL4re0nPGMC5pT
jH2WTpDsbMLq17pE/9KW4R7X3jMJr3COC4YmRBLQCfDpVk9fvdI+socQREVKa+4Y08KfSSDy2vce
qLxflj91iv4oSVBm2h0N3UQ+50YN/tjYgVjAflnzAHf6A8vEuxy8a99Zp9F0954Er+JCSfX8a5D3
CKniXY0rvgdR34z5Bz2q70Xpg5XKPou2geCNjWSZp+XPaYjSBfOViUwSH6FC5TQvoLk2sOCThR27
9UIEJgEGGbOl5qlz5XNZxAEqhvQDOfW6SsY709f9FNBs63KOCblzC+X4rFx+FDuZXtqttSJWiYJ2
MF4BQw7oY6veuyr+fwtDYpGa3ZPRYiGS7WYgiI4e/fcUXn2rqnsfQtAZ63prRCD1VMB8idelOUyn
XA3PNQYGM+lx5pkHfwrIbyqfMsklBOX7jHz87GTEG88c90c95evc7GuA4GKTquSrEvg8GqiaaUo4
L66cbNmXiOR0kt9BEdiLB/yQcuVNZwGjeQ/dr+PyW0qLlk11oN7e2x1/4yk0ZSCM6aD0yyCmTvRa
zBIDjPQkkte6dpa+fuQQpUsmDvt+/u6wEyx0RE1luS2YH0YMIcVh1vANz239Rrf9nVPiehIo1TIB
PiQoYa7LXW+jBhoYDZWweTwOsigGJDExbfMke+dF+P3FsF+YgZ1Llm4sr23l3ai6PwqZSrKIip9h
zSck3DbBXb9gFvtzzptwlan5W8O52XHB14/lka07o/GPwAEMznbo1PSQFb77iXXqcnVIDXMF+vbG
xV30LRuba/gLGy18H7Wwp+fnUCHzhbZTrbLWAOjkfSvoByqjCBZVTViHDSS5zoaVhlVe4wCUWrzr
rH5LIebabvmWie4ezP15Mosn+QjKG8r8DY6qL8e76Wf0p4z5OcJJ2tHQCtFfznGH92CCL+5Wz6XG
X+9ECAcjlRzorK+0x/zJDALAunA5aCL6JiyMoIUiUBvNypL6kkruoMY8ghC5az9Ye8CccBfvCDk+
9HXzU3spydb4yjbRZJJCxJfnBt49lmRxPL4M3axdqFs0v9BjN91Wu/X2lbbWKeqguTAIuFoJanOe
/A8CtLa838VoT79M2W61aexEku0ETUQQbh+0vL4OfUVsr3nqB44s0wg4bcBO+xALFrQ86kF9Vto6
PKSPnW/vqw47NW80BCI6De4eM/ivNFKc2WB7Zf2JKKIvCtSs8qPvk7BfpCUhLajvUBFesTavFeT1
TKRAYGi5puMz4qqdneS7yeMWM1T03Ri8Q82AUpiMDAfvly6M61BbB2GaR2Wd+25+wfO5T+3pa0V4
fTPlB/zjR9szVhOgMZcckD9sVP/isCMf9fz/Puz8Y8Wnziekjl3OlX9Z8THfx3ZIyMJr78H8wQVP
g7H6AsQDd3iRrPjEn8PIKBTGJ5Hsp2CIDjYQnwQCaTk4m//m3Tx+21/fje3DabKla0vp/iXPL/fr
gVZUI14hipWMK7j/bNQAYWAsqtTe1RpWnpmdSGyDugo9OP+KqeeI4p/Ol3WnUX0bAAB1Rf5/Ufz8
WyTDnyTs//Zf/T+oYTcfqIV/X9a89MAF/4xt+P0T/yhl5N9sHwSDrxxcg9QNlEh/L2Xcv3Fs9Ezf
Qw4npI++/Z+ljMXfUeFYrrSpMnxH8EP/KGUs8TdTCfVIqFSUHv/DUuav9zV9WIs0JpN7iIBIVN9/
0bA3tgFbpqZHNCZEjgzKm45I6L9ErOLLkDDZdWFfnUSHBw9dGUKHfpnHtneKGDDYiLT3bYXD6g9X
7189a3/JhOQ98YFh6zGnEhRsD9n/H8/WZhvPIuotfJtF9yoNmvAMOZO1LR7itVrUW6/icBd643if
2cm2PX3U/+Z5/3NvwyX5U3E9CNCWQiGJ9P5yWeYoLQM4srCdqWlX1sPz7El1TFHGAJ+so2Wbtu6a
8RxV7j/vnH/52R+v/IdHm9/s8Nn59bZr2QJI5Z8/vOOKoio9H/1Car0wKG/3xEaam15ihBNurA9O
V//KAp2fyw4hMi5kJAe1CXoScvCB+Xr5CgGSfmj58JLVztls6NwvmEJP/TVM81UxVsF5NNvx2qfZ
pQ0iMnEj6wYFFj+064s3JrkEgmfJV9c1AfCqH2nbqd0joHBTG3AkyE9PFy7jv53j5bC1Q6NbtULc
0gZ9yG8KKpJ4BgxDV+8cjbouaci6c7Ukwc6zgFiU+IjlG0QiZpFWj3e04OssXBo7EVtR8NAER2K8
TX7P1KLRx8pBgBarcpdzIi/MyNgF4VdZD48M+h+BCBKsVOFRzU7ylHAA3+GGwpn9FivfPcS+ehKJ
AS67tOa9d9X1hE6mF+gLIrBhjiUgQ7XzZ9vL9pkowHLJ0XZVuCo8t5HGqWqEepEILA4FTdOoK9d0
hY2dokJlfq45awroJExPonttlTg450BvRDhVL6g7OU1LxB2+n4fX/3yf+H9ufTxON67j2Xyax0GE
9eXRn/pD8y1TYVSSB5guwti5Vr1ACGh4pwQs3KomISESxanT8l0St2tx8LhTQNwlei9YeuF0cSNo
J7JE899qNDCywAwx5cZXQwbxIWvplTpW1B51OxAnWEXQ5i28A5V2yI0MLRiFXVaewFwxKWn7TYEU
/xQyngN/2xKPWfcLZDROyE3iQSNf0ya27mORfmaYNLdCv3iZDnYIsPEdBD7u09KM9lJC+gytX+Ns
IC6OI/cgu/Q7TVP35DLog0KNurRrHQM4bolsbrQ33RjxSIbJk57ugzUnCAMQtxkdITYFxuBCt+dc
3mbEUB8NXyHFdZntDDuEqCHLfaZgsXWyHO6iZNIoq3tcp+22Zxo1tzrYKkFaDgNv8OoW8o+JdLwC
3hcdaAZ/XpBu0qKznjrRM/9XlfcRp/0dIgYRhuCMH9hfBNjHeiqIegRv7pvoQVT73yyVhBL/2avD
jQASCDMRmEKanCan0T/fCKXdTmOvnM/INe8x+aerPhQzTguPddF/JJo56SmXICY4Z1+DEE+d2nbE
Fi0HXJmsZdLH2Gx2WDa6rzxLGwctwFl0PBteVOAbYJndlr19TUbrYe3P9zpJmbr2EaPqft4PHioL
8MB35be70iKj3bSEcQQ0dx+Tjiah7H7MgDBMbDAfPbOLtE/mtRNO4kAXe0K9GZoc10qDIi5+FVA3
dzpz01Wb1QTntLuQQrUKOu5kzE+g5kb7kGWvk2uSKYUBaNGrjzg2qXaJj8GZnA3nOBj3c5VbtNv8
4Sj74t0K+6M7CxRNVTLcofWMUrnbKnDTjfl7xGlOz533OIowEPnmjO7yASeCnhp9kMaJZZ7wIUPz
inXZvxAk5eDRfUMFcc+twDxOLhzMB4UumzJcKNqfmCPq8cpY/7kUjYeV1a22Np2sfQeMZCVLuK9G
Mx5hihAZ5qhNVAzQ6HC2MxsvUGTisqGsJiENWCdlP/FH/Qh05xGn04lvA8hQNHHkdDAp3RNtzvhF
CH01R+cXiwW0/Gb+RtREuYFjgpp8HzTyKXEc3DjsAw3AiW1uIvlAhHaTBDRlnb8JhU2K0th+eEl5
DmVn7AnKUEvNjHxfoWedSJXMbfuKDFrcVNDV51zLg50We1WkcofxIVraQRvfFeFl0h22+XgfCLc8
YVZdyMS8ZXIYL8g0011boCtKGghBvNcXTZTapRrm17Zo55dO040dk/q7GWjSpBSOcryrzKBtkAJp
uQTj94j/TYlyhmPbuOHAGYmc36KCwQAfo7Y5ZoXMSfZT1tHncI52xdZpd9GNgD3O8WgrbTvZxWZf
nNkP4F8K4tSGcN1og5U/9rGMTJNcjwPikxbFbWkPiOUm70NbbIqt9rtTreWuDpi/KzMlhk4J2qoc
TId2/l5FunxtRxTC0ZDp1Ryi9hckFggbQGiChHtMjGMpieRAuYIpRBe7wkmL96omb5tjAxQ5j6Zr
AWe2Iq4FMB8zsMY/NIpgx86f5XUGb2Ql92Yu5RbTEDC4ehTZhTxAzCMDoNJ8VuLWdMFHNj3AqcJL
0XR6ZI7FiE/j5m3SwtvN6qcsS3V1oLog8uj3tSZtNqDPvZpIQ2HOTkdD6jeN8WDZd1W+DQsbrpeR
X4y4hUthveTCrEgd9Qfi94LVOGKENuKUq5Ylu8KqqoPtOj9IiMisBntaAqW8rFjXaeHCDso2pra6
fdSZ+zzCZ5G54SaseiDomHwanpIl3jDjgQZbmRC891HwE/oSo6PJu1GCjUg5g2StEuNiJq4HAZFk
klQy0o5odFCIZ6eqLX4ZhhMQUhVnaGKL+dA2Qjyrdnqz5vDTSkx1U85wiiWaXhtXhQOiqqiLu+8W
AMzn3r6n/vwNt4631b4mZrhHptMM8p085nPYGukWKjzPV+GzseT+xTADYzPaSXKjOfPmNM1zztB3
MfmARXrUyvhD/XmLfvS5cuf6NNs4sN36Mlh8HOAl3cVj3cCHvwaWMi0j4xBZfDu0L8CRmtVwsWFh
AVP211lmvxWTjyufb+fJj836aqiR59kgQwOxDexysemwpyA2yPMbWha98auJflofGZfO+tEROXyJ
bA0EFe+eEzivmNDeW61W2o6nA0m9eo3lqdsaVfcrVbSbZH4tp9Y5Wug5NR9tOyZUEnp8z4k2zxCl
HK0eHomwDGLPumTcoNlqDwYWUSJG0XR2mYR4atr5l87+OZdp/Dq0n0T5inPVcjt1dVF8IUv8w2SI
fYLku3p0JPeZk732wextstTdourQ6457n9oG/Y+C5b4s2aFI+6n6de3IBhultVUR2uZGF+2R3G3Q
2mlPwDN5wFX21SWwdJnOULnyXH7piwDtRsQUAnl4cLKRbED2KNYofVGkuhV6CvXYyxPzrWAl3zoC
3FthYiTdJ9ZEVV21iKtQdvsFilam3s295zAOxNOgPTSDUCE1NI1FBwlWBfvRa8y9mVj1wqyb8sY0
Vi9m38LlVtK6cjJSBH3djas8wKflsV82kYPKs4btmJIeesQUyyumRr0JTO8jA9u4BkyG0bJi+zN8
kNUIptxSXoz+ECQBSoiulFCyaPAZo7HxVRYRB1lszIKYwurowC3au4rpPJuen1S3OPL6K0nZyg2n
De+pWRmJKN4q3AE2S9LVKyHnygzSMUHSuUpwxbIgwrx3qPCM+as3NfVZS8LGRzvuVnSwxNlX/jOp
B+7ZLMUvnGnGK6M684TLhngx+ZQaPQ6yxx+RFj9GJLsLAvDMVTSgaKpq/dL7xsfUk8NtcBxeuXX0
M+wULM2szZ8H2X6fGzTw9swo3LJzuQnT1sCFYO4zj4xMI/LjPdBSIo+qDcGy6DPRR3ZU61uyZ95D
y9uiJywvuJzLS9mNhDbO/iWtFOyoRDrfp0Fgpq2Cn+HgvEFJ+FUOvtzNnjtB2uKPaW43xqDbQxXB
DXD6+owKdj6oATpK23r7LJtpeA8OFm7Zr51YvWb1GD1LVBpaQ8rOH2rRYBpAJUHWeyUMZG9VhESl
c9hem7ppr7aJVlvM5ja52EBgNxjEBPoAr7hQwHskOm6gofmbhnplDYLLXCmTWIGK5QQdlDhxE3yP
+HbmyQ2PiE1Pda3mrVeD6TU1qZkBkzND6x0VJsEPVVgc07YipKpLfQ71AsqVAjLDlhQo0wZB8VVO
tXuc40AtRyXmfRd6P2AQZ/e8MNqDlfL1sYuNOy9z253bZG++oujBbEURZwqjOs2wOAIDdG1St+c0
N6Pl2FJAAuzIL71Gg2wZVAEGTjgvJdsASQ1VY0pWqWf196ywhrPAbMtuHiIW4K3NCpFBAYyfj5pR
8gMZcq2qvhScnFZ910Qb6eSMw8HvLP1k0F/aqO2WJQ/zMXeSfp1pjA8MkdIlwij9agZA36KxelhQ
gUS5Vv2ePOSlPQMqgsNJnkDFoPkV+bBFOMZxIPhp2MxaC2ynrzKAHlziOLTDer560LYXtAzTHyzY
yN3E+K0sgnTFJAPcEULJxzABR3FFdpD0ilcFzvipSaDT+GhgddoH6xQ90zmLqvLc9+QaRcZE0K/q
N3nV/EohAB6VrG4W7e6tdCDe6K4jYcVpPgnvS3dEmraouLngGsGT6IghQZpONmTQf7NL4G5ZaDxP
qV/ckUeTixbKla/a6Oqo6RjYU/GOgPaQdbI9mwEGsrKLD8KJ0dzMysK+UhP2ZncHRNJDi9YDhb6Z
2fE7TOhFEhTyVZkOg5lOHE0koceSOxo+Eoa+NhDJPSJ4Eu7ACUhzsjW8UCNhk/E9jc0FIaj23QF0
VY53Y870juhqqF6W58CSV987Z8LplqGgCwbs/UXefIZhXv2AnbzJ3N00yuKZhxy211zJVc5jRoAD
gILB8XYIhfJjrcrj+MXBJHRWsZ88K5r4qcqe0Fia+6CGPdQErXsohMEabCHWNiZryyGTZVZEYlOC
bd6J2moo7ECrp8h9LxwYVjycCPZcp0V2VlZnTus3S4OwYwgAJQWVryPx1RcM/brROtkArQgVxSgj
MmmDYo4tWgohSn0XH6mGCb5U+Sj30fzu5EF9RJuIU7XfJkZgbgw3JFyAUc7W6LPvQVSmBxGLkzVM
9jIMzAbuhMMDFHbEl/QcQHkv7TIm5+YJ0t5zW/QbO8KiRXtrBn9tWweTJvWym1GT+zW5d1WV9yfa
hGv8vMVHwlPERgSYKxla9QjKNq9VBQu7dfNrNLCNM/Vxuyj6LXJdSWRyqxD76r4w6YaLNNrPEnaM
z8ptEVD3VKFXLVsqwGRy8o2XpiFCN8YKOH+f0spAXtlO4E8hiWLFrF5gshiivpieG53zLH3LdV2s
53FWpwr5FgPAcCMMh5xf24AqoUkQtqzz6Kl3TxvWqe+gYAb4iddtDgA774W31jK+2O6AXjetX2E5
G0dtusmqG83kNoKna8rg2TO6NzsK1KpmpVlbMYim0a8+Sj2ilx8EiCEiziHC6mSjoym9eRnnRTsZ
1m3ZOWsPQuutFmNLXG9LVmKSn1Or8i6mZkqKc4kc1iTJTw6NJoypSy4A0sYDCtx2k+YND5RkEJP0
rr0nN+GZcMwDJmJ1MLppN8ReeK1nM8SsMH9pJju7mDL/lKIudrXrInpUc0N4o+Vep6xI1xhmaOOA
+zSh4X8nrIFBL3EVyoFFFevEu4dN9wAR5qfGt16p+mq8ldQzFONHVK8LmqTyRBCdyTwtY2qaNoff
m1OOc2nRWFl4mJvo4DJnuDVaTfeSgB47dX5kbpTc83pyCeR8BIQYPTD92ZPbGj+OxdoagiUwt13H
/69zVFw9hjv8bLa9LUgPg+rVfU/Y7SQ2/7zXLybxRiCd4vE02h3yZBXfsw6Bdpj8rGckc4y/9YZt
KwEdcdG+ae4dGtZbM66mR9guDpc2BfCYVNE+9KyPeC6HQ4HpOV9wAlw0tazOftpXVwxAEwYfykJA
61yYAvsZQVnPg5p/QJ2MT3Sx0C6rPjn7bvklMPLg3gYkhCpCTzqlw2NPSsKuSjH2lbE8GX1tHEKr
/8iKcISF6ELvnM+VTXxuUMmvXTg8KbtNL/CVPrA7NydkxgP14xStpEq4WadMnGG2/ZzVGG+dst4R
SO2QI25TQqSgkNHmHPuoqPbD463k7XiXtd4YIWVcM/Q4BdJZHIRg0PPIMjyUsSjeB841BJ0SQRjQ
HLHSsjg2qvPp5Qj7G03PhWzNvWTfecnb2N2CsomJGlLVF3TcC/cLe5f4NI1IQqHS7kUVnn10bYU8
oa93GbA2pGba3uuBqDyq4Y/Sc6u3NsHYis5PHrF/TKuyMIKNdasi39vJ0JhfHJpQxEUa0QXa+3Zu
iSIUbQ8HQINdTDLbOalOO6cy+eVUzk4xur5UDAjIjyd8kO+6/t3A2gySEVhM6bIWbZfhhvcBGhNn
WpkdYlHDeKoyc14igogPXhiMm64Ig3PZkq9oRsM1T1PyFPiU4JfB3wKu99FoV1hnOKFvIjuFWWg6
F0d1Ag+BxWYfkyQSAnggGADXWpebl6jsPgKBgXqemGKrvjm3dOYXlm/lX6wG6zEORCLX1NisBmC0
N8LsgQxiZl6YzmScm77QG92m9dqG3LqfY/pKue3ScTPdkzPoeO+3VbgkP6G8FgAPrhq/ozbMnNq1
N7a6c3D8VMY5GZN9lajpVNOCLSNnvmESw3ZTy2yb1cN8ADsq2iJDJCywDBnqzcN6cQebWt7m8WvY
0FBNOKy7rvM6ccA+/9aHiyg9+qIWOy8d1LHL3b3OH48+JOUTClMMQfNQP+swvcYDRpI5cOJ3p6Ct
NJWIvokEZ2Du0x3SaXPLyR2DImpPL3ivlsAv4jZLfnK6nFF95tcmkIRN42l4Fxj6CAmhgxxHq998
jdGjn0rZtYmytH5uhDkQlUG6XOT26SMI033vY369CwsBgYMUJ/rx3h7zF9GHoYWlzJevrez6hUCK
e8zAAC3SBnJsFPmc0yWKuNJ8vFXYsZvGrvJ1Oj6Gp4bzVEZfclBNp8rI3nJieNaWQ/e39E9hEhDT
Nq2sqYneQ7d8hVttw3OBKpJwNx+G0cISmgbOMoWVsBfBUxKm1brro/oJOUO9NALEno6Jeb6uwvfB
b+4+v3rv83Afcf2uMZUhBmrjN9ENv3Q1XabIzlbuuTKs+AY2Ir6Ncfmp8fdvfcOITjLfz3kanOPI
8ang0v44MhRXNc9oPmK0qc3qi9Uj0msS2965x07Y9rlWiXOu5p/1I3LWKOeDzWO+9s1pWth+e0tE
7R81xjeqhvMckJXeQLfTJdCOxjRmMil8c+eiJoKFFGNyz6393ObykJvte62VvyJtEnl/WpZvJMxv
q0dyoUUr+chKNj6VtnMrJ2islKJfmXRVx141T2ZmhU8ubeuSg8IVC/4reSrdzZxxXLr06sklKZ/t
mTTMEdqldmL/5M5dwkpQogTuT2zB06FvxBOuGG9HV/UXBbv/5LrjVaSzfMHJWWNjLFFgQP2b3WRr
GahS+tSbjxEgcKLUV1LPtN4MPeL7UO0lp4+8jB8dcAWSaJe0rli0eE+w09f1s2VSl1c+9jgIgKmV
xBdD2xH0k1tCPx66Z+Ru8aGIG061fUsoBE0hE5QPav21HYuYwobkXOSoLS0IOt1qastjV1U9fr8K
5WqgmrPwuwQRex8fvV6497YvHikeTkfzxlKnsjKf0yJ2Xt2a5B5BFWoF88iGkquXYpr8jXQ1bWRo
ut4wyyOnleghXj02Rao2oq+B8/UJFXSnBPFdHtEyNmHXCQSGeRDZq+xqvQcg+5ZNKFM9NTorzG7Z
osI2yeGlxwHknfEY7NXgBTxdgq5gMRSbFBWqlgZSFZyKtuNoRGqEarHMoxxCPwvRf++n2IYnk3TZ
uQbBSZgFGGXCAXzRB3vV6n4lmp6Sz30NIwYsMsYsJNLgY+DEsw6b3qfdsujyFvHFrNa6AGJpNRWp
YSZBPDL86sHaInSKBTkOhn1U5xdtiFNITEdjYZcElmh2MHdccRgyn+gf0xALZB3ERYl0U6kxWoa0
EY74cX7q9eNPEzAMoGSuRUZ4X4ucqyo/yQ4jYXkbhlmxcNPqRHT41S6clfLFJ2pkeTZygQTMokFk
D8oghLQ8FEH0VDnJB0Ed8aYPnzT2jpVPMbSq8ILUc8GRxKc8yH8EsF56n0FXFHsHJ0uWuO7DLXBY
GqFxdmzso6nhN0zSzZfOTFqOjX/QK+y3+TFOyUzcn3Hp2sisOH8g8Mv3Q1EeHDGorxXpsEy7253l
KsyJQ75lfmouQVNd+6AajlF5G8phn6XVuCNreoAW8Do31bTScmg23UR6bkn2VhxxgQ3z6jJ82I7c
XkvGSb3J1Q3Kjuamxqyf23Lv47FY1ejad/FApcdg5EpL45EXAGr+MaJjEShWrTZWofdh96iwaVHx
77A4nlq/I1Ybx+PGHw5ZzNdeaTIZpArejdo8sZz/MGRJKkpNTLUyUOFkyQUlI7ZISnfWkUteDyDG
UbkBwqLbOxXDXtbTiiSWpvkGe7ha9CG4UeUacpM5PH9sJ1wdtnyZ9g+fMVECuq2gsLdvhYzLve3R
X2/Ls0hKe8VdORzh21ZGtE1ZaBe2EKSpm3jR4iyjl/4Yw7a01m2yVhaMahcmAakYnDpmca78BYRn
EVWmPHfhe67T54j7BhYF8VPD3F8qIRjjtDTscWVQOlQJw5GC75qozZxc3z6Ky6eona6DnrEFGefR
yclXizeqs58f+K3socnTuvikvSWWTu18dFW4QiuabP2J/jJyMcueyYHCR2h55pvyE5q5ufuqLbbH
vGBexFiB1546a9PibecCDl8nEPIwsH13a+TEvrpanaLmp9OBqU9qHkHDL81VojWwHQ6wJ198zdvK
Oqa5uI5M9uI5zq91NHzYWGwKyxQbfHYfpp7VIWjDS9kbajeWwdpxI7GzPHaPHlTTBhgd5iNGtiUu
mhkYAGTbKdmMo1hmMdq5JsbmXgPqzWqsWVzz4OaXiPy1JuOsLRkGWMRpZBL1vE0rftWFzwnUHeKc
0XIiFwdSlIPqgmnyOBUE64fKbEY+sCfSODzWYUKysjnvSmP6EvWPhpscN2QBMOVuEqiofeMtfZq2
FW4N1FZgsIFX2VE2ru1RUNjlDtCG3Jj3ca9+JVM77KwyC181rV8B1xQLgMSfBPUHMJ4t+pn+bf0B
h8g6TBinF8DW3FUV1dlhrsKbj1cgr9bKzp+EBX+ZHFfznmL/t61qFzCtvurOPxmqEXtPsOhWbOfR
aD5IWaBkWh2d+5owgSENTtrsBSHI2ZrjAKPrbNWW1PZOweyuZQ9fF7PEfCCJJa6bl6lzfWj+9l6W
rjwaXvqKqvnFzlAHsZ1B6rZAy4q6uYlq6vdkVAKMCOd7izHuRLh7hCl6XjjtdIGwEJyn1o2f4wDP
Md2KNnkacHhsnGbVtmPIACJEihCKlRx5KImaqvZwgz+rMDwpB9WiM4fhU13ffQJEpVt4z12af8lV
98zmDgNM4Q/+L+rOZDluZM3S73L3KMPswOLWIuZAjJxEShuYKKUwT47BATx9fwhlV+btbuuyslqV
pRmMZFIiFQP8H875DtwBUmmBiWSF+jqli6kjp76KbG3kHTtcCLcoDffQ1spjrw81wsgTbFd2tpq5
O67dpadNt8mY/OLdZ5EQ5+DUQx4c1xOOra64pxMBZx0nDiByooUNodPQt8mzm2pMBZR7raSkbmfq
DnBQIh2sYua6fWStnKqLtonTOVv8GAkFS/xhOx1sBdcZCU/N6POb5j4ZrCLqGJ+YyrdlSZJTVfFC
HXOTFUiCsRV2f7HB/+KvfBJENsrVX33XPXf4Utk5LGn0tvbkxT2PcsRTIX0czUUs6f7LwIwJ/+vt
YlMZ/rDlhq52cdP9yACAbjCipeDqjeleac1PlbNCSBeEpQ9FZlYDNzhQNX54FFNZH1Q9rclJyFZ2
OzvcXApz4+naMQbBaH9RkTUH0dR8nYWHLgL8OQji9DvrcCZ7AEQGnSyFsu9Xc5FfOMALtnvdN573
kXdT1F3ayAFRUoyATSCcEy8E/oced+WYKViUwWsQQ43E0QAm1v1sPooSXYTizFtr7dxc2L2yh/z0
olE/VB3JpVHt3EoY3TSa5lFk+Xs56Nbd7TsjqFXyaRGwXQxht3K57a1FNH9Gmb51SOre+p35xTO6
jldmxW5Gzz9VqHWnLMyCJA+X7aypwX3moqOWWFcugppOsILV2OdU9MRg8MdmZzQtfm4iN87o0aZt
jKoNCED9Epk1Iw+oE0+utQ5NkD8W9KcEZgZ5N7Z+jKHPT5A3eYP4jGfxE57jXr8auvHUZKHAY+mY
wZh1PzmjySIaaLV83X0zrdzY9CgDgVVxz8lQsK7TIVuxCkifxkmnsG/TaK+cckfwgNrmIv0Z5ZiA
PJMhT5bPd5zJm4GcFWBJ6SuuIujYc+D3DfaBVCP9AcNtP9U/ioo6p9BkevYaCsDxS6o56xBwqgcm
aTvANOIMJMCnrViwyNzeIVF4EZWtzsJ3X4kcWP+2MRoAKXzuMxDCIrWkv/VrL7ICotMwSM52+BpV
8mAmxfdGFM2TqPXx1lQc724dNl9KwvPMVpQU1g4IDL9NAyOr3HWUhHdXVvqbFP1HB7ztp8jHW15R
5RRdjMaiCplNokQIHh89LhB77GAiR44FuSrMLVgwjMY94VbuYMiDMbnZJW8IhGk6X7tObiW2FpMA
+kmfkTgDEvYRxSavMD3XVREGQ4LsJJRlfOyLbn7jO+j9qun2+Axq49sE+jxiHHpSHnEM/Lh3UUrz
GlV2RPCG2a1jsmsQC4LrW5WVBv+pM4oDe4NpH/rR8CVP44uOR/mzIupz1cJ0vwtfQ8ozwttpCNNi
KzV8VsslQRGzAcRtnmrTHu5moyAgmTi7qoLoxNAsb1GrxNuI4hqFsWHs3SGLX8JpPNVL7IAaJCED
tKllED/yBjqoI4OgtZpRWm40kP/ruUTKD+xAQKIyQ/NiOpV1gZUTkPlCIp0FksO31b1sEZLXPnZs
NIDhe08Xte7G3ArI26XGY+GLOsElw4E1C3s059bozo8qz6OPtJ6Rh5IAtOusKfrg9sKavTeYGHVY
KO2KzPPJ+eb1Iv7o1GiTOMv5+Pg0ESAJnQkkiatL9zlL3JMd0oJJmb5YbmrfNXd8tzot/bAxzu+Z
qGhb5Y7pB94YIrY1Dn/6pwOscu1NMLjS8XV8hOkSqAJgc42bKf9wvRTzg5VnQUG0JeRYvoIlWhTq
DbhEd+0kZpMGLdEH8HJv20ZEO9UVwdcincZNp7wnXzflR5aFd/KV4+fSmhDvdekXWnU8siVF/chr
4uQoZdQEoyRoNKpBfGCCnhATcWJE9DRkRF1J4DW38MrIU2CFdrc9D2xp082bWYMNGJPH2TiTeWp6
z2GBUkEvQ/e/iqN62mfjePWd/G6rot2jFrsYuLR5M7nL42uTwWNXBEUkcNT0WruKXpd3f7kUmT1Q
zM+Er5bs1wbGDeR6jGwUjPHGC5O1++wtMhpzX+ptvPOUBbw18m+jMepEXIKo9XXtPFnZihuqfhtM
OborXgzaEcHMu2ZK/SZdV2C/6eI9lvbzlGhUf4OtUyMxZ07MrLz/vrTCu03eSkopEAXp5QYhF4NY
K2hSzzywVmVpUfi3uPGTk1UJjKycKOK511z9BCIOuT22+p2tmA1YNhk02ES/ei7LSRqLdUydlG3B
/BL0xpkcyRbuY2QZt8eFUCDzprnNC8pQHOvEeCnOgnVJ77eX0aSwRbEflGmLloZ9Y+Zb1TnX0Xd5
NEyGXxRXVbnOIS6bloUrcqxhL0OEB2WF9EsfLfOWzxPNuEGPO1V3JMPPXWpbZH1wmXv3TaV6QTmf
7svoncchvzrYfW5eN1e3vDbkphP4xCqCZwVuVQQMN/UaifDXnLLY8fS0C9x5frYY6q1w2uk7WQCq
qDreYTXLEa2KjH3JHff40LsuYn+yFv8URhPT+HePwP/x6b+//jfiIP/+9/77/yB8vmkijv8PAfmS
Sfln1uSSnvnPf7wM3/PP7xKR+W+P5vHnP//x+CO/vQd4BRxLkOiKL9IxXctFTK7+aLt//sPQ/w0t
oCVIjHQdAz8l+uI/bZTe8r8g6P8G5FuC//On9UDY/8anhE+axkKScP4r8PyHgv4vnTt/OQp3SqRF
wewbOsvwf9Wt6pAfOKFZWADTpM5zIIgsF8MZSY1Ed1tuJ2rUIDEORssEyuYo8J1rQSjMLSsy4+iy
sFxNlQ1vxerbax/l72aRkQZUGZc+9D5izsADAk2A19MEegECjQNLTH+aW2tcD9BAGdmFATFLYRAN
sbXzhEv8hqteM1uQ1jyQkOUo0kTyWTnQrjxIp24itWOjfRMA9a5GOYkT3KCdbjj+U9gzT+/TeGsU
kdgNmVu+gvAMOrQ+wusOld1dor6s98kinIyjDEa71jbcd9LsbuF1XcW+7NZFPPrHEKngOksssMGG
eYwr9NxEX4DiMZ0ZyVJmBa5o/7zwdttQKSOfXoTU+NvTE7NuiEvpHPIPrKmYRBftGtHJEznA8iQG
3KF6SuCXb3rR899efP8P9wJtOM/a359V28ay4SxufOwshvv4/3+TpUMwQZDDhHObeDAWW4Jxjh4N
kOg94w3LRmcH1CHex+wu+Sc+Z+/o69U+xAOI63XVjEP81tazurTLofqcVoX+VNEqPzkZvr6pI0kA
2zZrXTLtE99lnQNuNhgs9gVgZ6724IzPXtoSEVeOPF0t9Hlg9+tE98Y7zUNhWcNnuNAy9Gq5x9mB
V4N1oUEmcrTovWNEdHuN1A+0CDSpL9k4sZMHIh8ea2FttRJiPI3b2RAS5ZAYHNo/RigK4MlT2N7S
vrfvGbNcs+jD+zCW5tbHLLBVGP8A6ybl3THgTeHGv0FV2uPij280ZPJQ0jLWLB7sb02b3/oyVeex
J7CYAaP50mdAN8N6X3pVv6U7KPZm68AVl5Z+Niabf6YbOThZRd6fGr1AfKfeOtYhQdiRqFlT1Yyi
t/FcdoIFIX41fEDlSxMlnzUS+L1eVAahNFW353VvBWxq441rMR7j6GqZl12RyIPWU45c+wU+00mN
emCVTM6JA3Q2Rm3ZNMU80LEel/eWAnzl2lm6/c0FsyDWXIZxjO+yCowKnwABxVAOLDYQBUujxddr
eSgMkrBPN4qFK8NmFV8vkHPTZNMUE5WIJK5J+a3az8vjjjN0Wf76xYZq6atG9cBeLAJE5rReEGPX
QQBoFv5mbEV/Ags20d5ThtCWuFFMeyheHySlBtH7eTKpi/ysOXV2Ina5M3yX/TBcRxuhXqtpxG2N
wyVBmXGitC0GT6c0Hn7NYN32PRDJlRpxe4QG8aKOnxDTtTw7euf9sdBKr0hCDkYdPz8wQ7MfDnCD
y+pJBxrCzQ8vc25WV9UNDXPJud1m3jTd4gw2OMT811yyv8nifmsV/szOaeuhJdjghI2eo6YfD6aC
mPDg39EuEeyehnR8ELoef6mpG+16MMHW0zf3Rz2ZzDW/6VMENwIaIn1PaBkfFBpf3Iy/C0aN9SYW
DhsUnyWs4GTrOR4hwuhWKIO3w1hRbi0Xt1fFujJmVi9EzTK1cNJvSSiQ62ZXMhna1zrO0dxpcX/I
oJ6sI5njMWAjgkJ51nZxKOTKi+W25FXwte20dcKGtR4l6RnFmO5dL0musavvnYhFm6nUH25okRsi
ZI/klNxup4TlFw1NEgAagVbnuc47+eovSIkwgMRPUtMMbvChvmf+SJOYgDlfWxpxQV7tliAl+jen
jrdVXZy12B7P/nLJqjRbG6HuMHP39bOLLuzEG3hVa0sGYP+ErLV9lgOPpkkWSTFDTA3x8V8EIVSX
MYSsPY8i3cZTXF315RWq+SCEimijbDh0srGLZ19Tz4ugSWVmD3vDRTKfONoGikoOGC43dtYC7ipr
KO6+SDoiKU6OJp1L5sXORSwfNRjyB3UaFQjpAUnTi+nzQkeewsy5O3ZS+6XFgoOKuTJL1JGHncd6
3mBKZMW7gFpAtMIRA+vSLestIl6IY5f6tLNhNcQNQH9W+CmnJJCZrMXI1Ddts3s8IGNObnFhqVNn
qeE/cbI6/+pkxRVJASCI+GGNh5Xx/+LozB4aczNzWfHWBT9eDNtBz7vnx6VswFpHIX6joh///Jqh
oUVpSkXrvHyf38b9bflTeZ7A8s9wLXattnjSW2srB3LZh+XTbsYWlg4antflU0uQCxkVzOl0JKev
9qTpF14Fz4lVNLg8HhpL5ICb3hi4Mz2++Djyo+WLDSuX//3FzkKj6ITuiqDFhnOgAg/V1u0T6BL5
9NfXWOjIJ1R4f37NkoRuPr7l8c1/fd/ja49vfnwt1t169f8/oU1d/KvBkCBw/jMsYDqYC3UGNov1
8W9HtG0mDJE6K9prukY35whQN8vFa0Bhx4RQbuOlRiHR18E6ApvIG50Xq1UsKUrrTQ/fk1ap5+UL
KLB6qjSTUxHt2UnNSAT7pM3AIVkzkapWYNStC9sOXF8n8ubiTpi1mTX+mCVjFMneC//QuJ4TUEqr
WrR/zLPHMAz/2TlhnoYIhzZSusrctWP2PsrU2rvOXBxLO/9hde30bOr4MLxK9Wee75jWZXgmnKC7
SMvWnlmEd6JlITu1WPV4a0AvDqY5hImhI662koIyLwZDCxQ3C/qa+dcUOuOqrh2XRbr1URU2pVTb
Q7zu8eluqrDVLlAiQJFNtgeNrWOTVAWPmjSaOIKqrva4+03vhN3nNxwDrCs5MLZFC9sxqUjDqFyU
QZldXU0yJK6EbOvbqmI1rPfM9BnNl8fExZXPNuRaah0gbcbf/KbmHBjLhXCdblNojgQwCH3q4Kmq
30tf48wtZjdIwbG5Ueb2G4AjQBm4dc+MUu0ETQkSBvsGcCW7DvA4xrgdbgNGOirbnI6XxMDb7AqL
Ds/4NedVvM/hs20QUU83M3aCMOzNWzITzT67+rhHFQayu0jUvk6y1FmFSU1QSIOAwOHN4Rf5cGlK
0ZO3yl6uIFUG8Lnwz/2ch+e511EY40Ka0z46dV3MoqFtMQfFIKcyY++NyCJHlO8k2Q7yYvhyixJt
ujaiIb4l/iw1gl0cfG83i0qZiO0kvrXxhXqURQZyKV1VP6ySZVQClPloOUl/C+cIaV3MPsE2+mts
Gc09dMN1NVrvU42gHeyAf1EomoA1GY2PAtf8Tl5Pd8bk253rBsUVsq5owzoHw4Fd6UFVd85zVM2E
lLpuSHCvdol5voJq0eUkRXNzXHRertVq5z6Hk5wSEg8+Lrz25LGszZQwlDWokWjdKDmtpq4lxzbs
Jxv+Pqs3pZfzXhmy3nuZBJodJcndJOa0izrFCg+MVx+KLyKnNhIwFAs0x5D7eAP4hLhOoM8u4MSn
TWsQfqUbafvEurDfs57+ORcF414bVeLj8mu0RQG+KpTDuo2nFG0Y4qTGTG5eBnfMWwRQlopHxLVt
wC6tOj0uWtHXJ9q1r/5suzgG8/TcsOwIpOlixtFx490Mnps7CzOLFuCLbMJfpBIzbXURRzu1vTdd
HgbiDF5dHxiKBqEOOh+pOtBamAM1qjjBEv2aNbCkCzYl+9mAaBZbrlrny5HYuRx17I7IQQFnwmld
lhD7PbgYTQ2OTLNr+MUlg2gc3H1rNedHI/i4CLROx8rOTjMqz+CvS9OJXVxVyKwpak5YENn1jsD9
61qeOMzlqce9gSTsq4Vwplfpvstx3pSFM4LJltPeECzeQ8n9qC0sTByu8E5hP8QbtNtk/jpov9Zm
kbD1sfNIAR79qbLKfLaHV2J3vJcIc8nFiI0Xm/J2lXYNc0irj1/sqUQLoKgTkGRcRRUOz4NRC04v
eeEU4wKHZwVqfokihnMaptqvTlIJ/3Vp0KdXujXtGFEny5z6z0uXSYJaNQ+qYBSS3jl73tdUr4f2
QMSBvwGriKqmySlmMqmsA9M8a16yrModchu4/JERfklj/L+miqfgcZkdDgOVorwba0Q8ScnrJEG/
G7Ss32SEy8mV3FayySAwYvl0mGkTyft2N7AECR+2x/El9KvpGA8JI7rGOiB1ac6saomUC1t56IkB
JwetWU1p4Z/KIkVU6VunrgE8xmCThbIWr8sa01gb8TAT9TYE/fJR4wk0BQuTBYQAt+BprZgYXuOU
ZCLUzlASE7CEoW2delEA6waepnr/i13EpI/EVsUasyowWPv+Xp8b/bVP6qcl49OZtM940hscwq+R
H/Ws9yEe4ow4Obi+jib3b0m4cqDhCg4W4QSv85O/yNEh4IKxJXmN/TJhf9zJuoSDLseKXRPHHntz
spNLKWYI1jewWXWMp31es/KX0xlOADkgXnuZlxMtWSq4XLcPE/v4/RzjblWvMrFLspQ41gddk0dP
msa51EqcDAh516UyPnIj/PEA1RWCylwrAYbKdHSftdy7eBnrl7BjERkhET1VsGF3OjfwLX4PiKB4
FOZZcfPgxkvLLIHSleLWybRjcYZKy3MPiPaw5M26vksGHwkussbtzK1jU9a92vokibAVQPLf29oF
H6xxspuiO3TkPK+i8it92ZQtyIMvWlJMK2mrdFeYYXNx+ua9jgseu6yU544Ha1PrHZvBIXnyTbwK
lUBdXVc3W/XG16gyvjWlf36Y1LsimhAazdjJwH3mpLuP3E5gxywU4Ig3rB7593AW+WZ26dBiWQBX
MAoQpWSFn2nM1o/7zeMyZN2X0PLrkGSN10nZ8qwJV+ygev3Q+kocXcbjTc352ZSFdU5ym/qUTLyV
qZheof83D1NIElSiUC40ceKvRUdCgEgGmL9N7gbUVMnG0dx8r1pzWtGK5CdbjRef6ddNJTYQWjMB
YW+06RUJjUAyYEz7rqU5S02L8e7CMKiXZgsPNXlDfcktLyKTejmiH34aYr3Hy1x770k5NccHOzgX
JtJI7uXUWMSjzNxO1kOEjoZs2vwYRvYGbU5xnyZsD+yGGF7P+WfTIVe2ZCbIr6tORC1RXCFRvHtK
/Gw7HE6NOX3zdeuaQsZETzmAqUiXsMaMIckcYtSP4q2Zz7smqupDZTD+So10fqqKeA6yrrwV4zwe
Z4IkTsgVolMcYqPTofb/FqY23jOESGO/jA6PCeu1IurNoHRNkzzXBtUVGy2QUc+ezOJLOS5zKfYR
1C8clkIzeY8us7OKQJ8drKFvOILGc7g0ho1ZwtAxACcHod8Zl7C05XWekbpVecf4YUFrFjlGkR79
0EBAAZsh1LU9MG9E/sW2L6krrVRpyWoM7dXEMiXAHqUfs7Qiaz2fsfUlP9k+clp1tcA1NxxqiQwn
HB3naegpjRwWyDvTqgm51Ez4FXMVnWEi7Iuubt8hozD3Rx7/1sblTxHmn5EFVFiWIjzUKHy3JRu6
bbMIRBcGZYOL4x0jRbvy+ijQnEkdAcN75yoB20rZLjbuaOlP7JO1TVqW+6SNycWw6PzIu87uheiK
J+QTW07DMbDrCiZymfo3xp/xJjcx3pYs43Vf6Vdb/yobV14ts3ICPbwCfFdW3Z/bNCt2RUFCFHpB
N9AGIgzR6vcoBQyUaXK0Dhnk8Z2DW55xFLCTgfXiCqgCblvuSRs0fMSEwVrSRhNfOJU5FRKa04yk
iI3d6PnGLvI79G7nC8mQz3ERgiLMfQ6iJbs0Ha0Ldk24U1H5MfioflNGp3vEiy+4RVhUp7GzHht1
yHFmnciggxhNDNLk06ygCvYvMPj0LSPtGcBmkTFu5XVj9+P7KJwlfym28MFyBuel9t1qwHLQohyg
cTvnwpV3p3DMgw6x9KKGMQmESA62aQDdHrUP7MjWDtHv52P2p0MYPiUpVH0kDxxoNesvqSOwmwi5
0Y2BlLFYPs1oqc4MhdJzMtPzj82IxnLS974zegD+LQV4IMuRQxwf8x3E5juFn+4yd1QUKBxf+6H8
pToE26p5isWQfLRNH9gx0GSNVd2hbzWyvouZQHMEWhxpJdBqUtAr0Ru0zLY8OMi5sTIYewJoTtzB
xIXV3x+Go2hZQpmtCzmx6RxQNpVIU5sho003h5fWliQR0eJsG1Vbb1gZdwSGgXiHYLNNrf5HMmrR
GthpwWnlYJutcufYgsFrKx06gcOBaWppuU0i/1DlfU5xA6S5GD2WxwtVtMlwXg5zdConReTcklBk
lYSO5oOenR6XBh9zHxv4anhlnfIsW8uFtYftRu7UgPp2Du0Z2GF1s+DhrUOHsR0Au33X1+Mza5Yd
VJt+h+eImb/XErBQ84Ow5yNXSME0en0xnAn66c+pNbCyDRdG45xcdONN+iUDW50syV5MFDJauDdS
JB1SL9GdinAO3PCcD9/xyZgHxbgN5sSYvjTsyP9gCU3G0eh3B3+iaQDqMZwcf3wbwnJ4KdTiJSA9
qXQ+YvsVgcfdww+WLdB4BmJrMEfQaVmFb4ay/u408OK4p88XEu7tDdxbSGHhMJ9MgUoljqzXBBXI
BcU4hA4sHYeucPudi64DakF7aorolBfu8OJMDH6rONY3ntt/SnKAAGW7/EuSOH9JsXUf9Kkc1mtU
yilGRi5Zy1gpTds2SDzQOxxecJD9wYx4ATuf6Wzze/mzfh5as98/7uEoCOTG1QYSu9KsOXeki6/i
FIJ6SMLrBgX+vM1m27kCMnCvYnSTnZ8QREn/sJG1255bhzvu8jIRuWruMQ79k1t7N0t8bQYz5vXk
IkmOC41XHGuEIeqZBi+XqDARQurO5zxm6U4s0/x5IIMhmhJktBOjusJLWbAjBMw4pQbkvk5abrxO
sqCOsLyI1CkDHTPjyikQh9si+WGGdX54OBMdLKeZlmM5rNFuex1hd1JzP1Xlg3GJyDHJM5yb+Vw9
Icrw2O7cHSLwdmgUiThwWhJky7J6BWXgbZLafNaE4RFyX5HB0NmXyO+NExIWccDTAUyJlVHRgSil
dv/CA+zvWlUJ7lzIwOduxmIuCvf8+wIXYD3mDRZu/sCZOYfEsE08K8k6ldFwezQPmkshTKJAex6Q
zLZVTJvMxUXVsWviKP4dzTAv+QyRZcbnCJV0+qINHXmnSDTvUcdg/FF7cFpFBAtVJPs1xelxqZ0Q
TguZ0hvPD5hCVxc/qepL42m8XkXibxkrOVRNRFUcC5LWHn1GKWbKYteW30cEp6g7NYNlU6zGQF9a
k8dHuX/nX1mTKsFOSQdgH2mZwt8sYMpbLu9cCnryoHJSdkyzWQusuqvcSwgOKPMnPW8gHsokXpuy
hpxZ2z8bXTODR6VBXu66a+b5ZNtxE/SFfsICP92Q/FT72DdfZ9CMahSKn5ONJ8NG/ZnWVrlC6adO
IBGTDamjoFSNdAOskt/e7UasFKl+7LO+ZDgQrme33eGlyr5mov4GACM7V5ZM3m0vCf4g9LW71l5D
syBx+3o2hZalJbu5CMegcdr3x5lSapZ+orLyMJ2t4Pi0p6lGh2IbRv2cpAChyOI2MZQNC+fbE18A
djrHWM4gWv15vLOL1XYCbFPAAcfW1BxKvIqNWFcEap0eF7PKuj1TqHuMaHHFbVptbX7gOUtlSPWC
OvJRdBbujFz10c7b8DN7OViXMLXHI3Fqt0eD1lX1VzgNWE/l2IOLyi8dhUWBHuisL92nx55swk7p
Qq45O73DahheE2z9AUdWGL09FlEy01CTGTIkPS+TrODoEBhLkUTOTmtn4PG4Q0DJt0TsZkgw6a9r
UEtr20dtn3AghOhrA8dwe4QctBh7mDftdl7miVXM4pmNG2sn783t+hQNdL5ECVMMWEtZIGV96Und
PFg4+9edK6GYECXbUl+gba9bTFHbWusRGS8BGInlkqsDrW0/ICW5hBrjtA7ZpYC/ffcEbt2YX4xn
61uixs/G6CaaQkEac+h879rI2vASRvpFaXpp2cdeR29gtETg2jYmKK0kJosfhus5KY51PIpj8ouh
TXhyTLSAM3B5jkX7R+pXBcUVg61eoW1vcQROC+Zd+MOPBpkKMV/2GVksypuyDtKMWJ3I/qXzbzuP
VVlCVy20+KnTs0+puIkqTqTVLIzoim9uaBrs3Z6bQGhLubeBrs2N6VZarTiyWjEiJlbYA3KZoL93
4iecaeamGySu+zwDT6IBD5bVuanZbnXFgEbb5WFrdGMjS+JA6Pwh7WhpgLov2+vJ+MmvYu7oTcln
GeGhqri96CQQsdrENp2F1XOHknA96YRzdEmHtOnoLu9XW8e3wc6QEusxjGU6GJDruJTpbTETAd8s
4RsZ8WAot/JL2t485WtUR32OM1UNZ10ylkjCAtl5zZ9VMfstZZNNQbc9nNDn0NIdSkeUF5t2+Ejx
PK8bJx3XcTJDXNk+zurUKi/wJt+cNpoulqk+Qh9QhMT3u0UA5Fyqvn9hc0na9twnxyYKT48miP3l
T79S2tGAcoN6kyBdpigE92Ta11gJJo4Dj5Td7BpEyyv83ylWSeZlbTeYrNFqcHh09ftwCu9NCPys
ybJ6L233rTWZjWiN+IWFsn13qv6diSrDEIeo9HkZLYbWTDbO2BzNjFoAJ3qxjYoGMWhFfF8Tj5CR
6tLfJ2k3XR+XkmcQ1tFOW3aJcdpYt7HVzZtbo4XO9cTYojD+Q0VpGmh5Y13py1Htsm4DMWggWeOt
ViBnJmBQoXzyKSn0Rt9Nw5TclaZH7M8YoMuYiQH2zUWlS35LZkYXT9PHQz7HqKli29qqySazcVFE
yEzhytb9L9mSbKfNJfpaKissNsg25FCgTDCy56KwaRSjWKwAUE6XfLLNHZNWl076WbRafNQsAoSq
UTovh640nqOw9e88/OAoCibc06A9aSk0p9I1VlqUpLC++Kg0Tyzn1fWxoQPwdIQ0Yhy7atD3NArs
Hkye6GwoXg1iV2SWT6c0JWFRxMSEO8vtD/fykSXgq6tJIFY7xmnxycQBScdzDcG/YSQr6nvuVheP
sEY2fuiAcf5nJqoVaxNickJ7CxQt8oo3rxqiXUlOw25s7ekgu/77wwdWafY+1FnMhEl6t9j5XBON
nEtGHh168YIgoZTIJgBBI1Es/qs+xPaeUG1SgEZITCx3cuLNcihy5DCxcu8ZKOrD5J26x4hUxsOe
cJan2JEoa3ORQ22p1sJHvrSONGEjyQHzneoZJxaL4N+XGqv7IZuz41/jmMdHOnpeined3Z/wyrNi
iUXAzUz2aPqc+7rzMfHKwfSIW05x/1iqIM9OWAgXLPK8ZUKXeh6LB6JHdJsQGt9GM+QxvlUAe9hy
l/PlcWmwtGzrASIkduL2CiM6WbeR6NYzqbWrWmoZyFKpdvkYPCYZzmyMh3ASJJuCR4IGMNDkuuWV
Nv7CONI6d8mQHYsauPVUsoLixnoZE+CaTCWdPeS+e8+JHeued62t0b8KL9F4Rr8SzgjdmhESekfb
vjia+alljtqVRRGS56zZL/7i2axIjZUm0XqkwTG3WBrbbGlxSRN7tQYdeISdk584oQ+9+kZc7UhY
Pog+eskehZWjPWUOQ8Yimr8kg2vvLVxzopsK2s/0LbT9BciiZeeW+h+ZNvhjL1RQJuzhCa4608eC
twZCl+bEs9jsyIH+9hA/20s98fhoHE66w95vgWYj8GCmzoJQPlVxjU1SZrdKQIwembue5lQfXhjK
8yiXrOlQFKm11FO1GcNEO3Ouw8TPvXBtdSYmft57QZ2KrePmL5hQ9X2P7BhJZhUKNnM6FIW4OHX/
cZmtHE7ZmONdmDIv2SjuZPSyJRkY2qT5DOws6Kikr0w6EmGZ5ng/OUWtSl69Nmyuj486COl9BRnI
Lw0GVbmyCc8YfGeHABvAzjRmYkvms722pWnRyYftfq6SkDcVCxTMuufHZcZcc5B+cfftujmYuQuy
1QZNlciqP1ZWzR7EcE89em6KYVgce6KhXxUE4uBxaRXYuMwev5QlTMcIguXpcYld5rZNDpjs8ak/
RIRsU5rGacpce7lxPO4exrID8Z2CbCpmyrZFT7+y7Sjd2UuGuBKo+EcKPKQgOSbSDl3MtGicJ686
ygIowhpkp7cjPv1FyxDPdJOOz2boi2yT0Y4XQROmyeERFtIsg/t2EvEauW+1mZa1QbysDbou96DJ
ZVcKTuLqKK2LS5x332WuCODOG2dLZrJ/nXwijntHBZ1uObygG7iB0RyveSGQ1+S7/T2yK2OH76L7
/WnPK1C28xCUtQdh6NH1EBqwjOgziOX/i7D3WrIb17Ztv4gR9OZ1epszfUp6YUilEr0DQQN+/Wmg
dkTdfR/OeUFkrVWVUs4kgYExem99LKoLQnhETYaetcqMXDZbl33/LRaGCmzL5XDA9Pl91p/5yBFe
b6w0fZ08GwecGyiyU0Y6725EFemVpymS6as7BTlDPJBmgp/E9Sr/OPd+fyeNDOWOwR/KBaR+0KKq
nsTwnV/13gon8chr2b0yPP9T94V7FJwjFwYG+yaRy43eaLot47Df5VFZB1uyakeM0RWYAnNQl6h3
FEB5UEBFRv50U2Z2sxFWdqHJXd/6IoUcR0dzz+k1Xqy0L4+BUNrt6ewptovzqqLyMC8A6MJvwjX8
Mq+DsxJBVVtbPSbOkDhEvfiwS/wqwQ2Zt/KaNEoC/COQm/L+rHSv2cxda0u7bcHLn6CiSRDqNJip
MFnc+57wWrrUcCOG6bo2+o1KS/KNgnMVB8+NSz5/do9o2pwZq9ZhdEBlKjbWMC/PwZQ51wxZeB9m
4S4AdLpLTKiJopmKxzINYudZWQgpgdrXD0vMyUbAJKU0eurrigSwyA/aa2kRujvb01id9BhnvZEO
envgcsu5nfJt6PdNl3UBazEhhp5euyqb/z9DMArHCIt1RMa6ri8MM+iuuUNnDlv6t6kS8o1boYc5
eVw2jmW4QEtQ7cUeMaGt58LLHFKmKTx5MBGzgbGXHd2QWjBE1ktpByM4JQRqGZy0VRtERo9/9x16
dRixp89uyOPDtNBKssrkOdRLSUuK+dtinuqFFl4pyTCIByZseUF+O7NtpD4aHAOaihBj2gUlCb77
DETydpULhXE1MfUk+JneCHjPwlevvl27txx+2oG/EVFjc5ycKsN+TbiRXTFzswRzwEz4K1Y0dFYp
kQfccCCOLtp74BEwdNLKCZL85jaDc8TJ8aYsOxo3Sv+CJ73EM+KaQN+bANfTMWZilnD2o+ygyyLI
CWRcBD0KkQBwmtwADzVdzczFG8Lg4QFriACLOKgPOErh9yVW/ZpILz3VFVjPOPW/MBG8VGYj7qN/
s5mXXSs98e98A+DNEHObbuJvuAisw9LB2Q4SgXXdkFgvc8TKO0/PUtfFcvm71k3IeGXxQj4Ru7+a
eslgdHFr0keKQLK1bzuBZHNCE7xXCeJ/k2g3wRQlRrBlTTgvaPbGuu0bIWi7gmP/XerpCg0zLE/e
NGy9hNdgXRDMsH/Nk4knnJNiz2ghubplWdDPSRknkacIDdlxYFMRATwxzbw6VTsyw96vqWi4j2Oc
akt8TcKcFlsMsU5r02iDTCDU4oY+bsoLwgHuLzq6sPw24xj5qxbiDhQcMyVPuF2RVRWx+BFzNhza
Cq94yMD1WgfNae4d88wYAbdtEM7yZiCiHUp/b9uTRji0iKJ7gxGmqt29P7pIk0O2GnvtTgbhYuuu
8ocRLAHcMySfWwK+B3BNB6cmxLVM/ymRsTj7OfMxRWT2Me2Ygq5L0SNa6yYnOVmZ9u4Yx8zJXstg
GR+T69GQmuwPmyvlbfR5MOBGJw8e2w8Zd99E4lqvxHDVuzonw7BLXXsj0UbgOMuco7fUv5XiaR1z
JG0bC6bYVnUj0CaRHC2DvSFk+HsvBxMCm8lbuhYiWZrMt0Qb2CsCr3dLREI17+q4X9qoPS+e5F9M
sa0RG0pUcmRCoty4EDZOcZDBHlDtdV1wt7RXT9Sf1oDCoQKqwg9Z8a8tWQ8aMI/gNZWgzAjIWf+J
X9JL7iYZF0/khZk9QWunUyIXgSu35KUvNX7RMkgLIQrGKTgREnjWyE0hEFNAzbR1i71r5/QFdPPW
sZfqVBK+ZWrVvLQVNHiTKHcT5WM3ZAjp2/xqdAuW2HF4s6BFp7uiZXKx6HrCRTVxDTrniiNGnTzd
zHX0gr/n+n9Xubn/m46uNW4OxjS826Fv2hHy7/+tcUMCxl9XdOWxFR0d/SU5BWXkbQdR77Al9s+l
a/6uE/FOnT1i5MNxxTAZm3MK6epEkXxF/aQufVPBBYErcuhGIEAklvBiIwhPC+IMZ/rt3GDiAzdM
PlKXa1mcyqt+1DGBnx3YOoeAV3TjKyx+thMcAwRJOyNUQA5ibyCncwQSAstBdwULKBcbM/Ul2Cd6
B3PAHWBJ2ivGPIKamfmA02db/n98TKE2gPxvvb7ns+dGJkYQ+se28//7oBwiBhO1tPHejaeNpaMW
SGBt94mRtVsvEPAhZuMjtyuUQX2Uv+R+/IVPodpwK+8Z+nlQPrtW3dNzbzdo38vFA8nIa5w5xR+Q
n+GJrlr85MFH241LSCySLgNi6e4Cn0Myb+p2u+qVRAoAydfx0M7gmxjr5HAAwNxfBs/7NuWucQgH
ouBs4p2PIiOU3Uut+Ri70Bod2yaDvEQSPKY+1UXobdUgvoW9ydnVeC9ngo8EmaGa8Opk6Rs65uJo
5EuGD5qYT93nKxorvMx4DmH42o9cpubNMDl6RZUPKGoK/8gsg9yef4y2qO8g3aMryuOtb4Grc4lj
3DnJAkauqsjMkEHyDku4f80mgpO9f2Cwxk/rDBbN/4dwYF9MufM9klH2bTYbDNgRaYwigS1mdjQk
UfTrx2ws322FLS7NH3HewxRlTnNIiTh4Tgi7iL3pzwres/pZ7ix6vucg6tE61TZJUeFEQDaDjrtX
TZ+G7HKSIh1u/BqZU1flcOph/toh8hu3c/uzV/Idcz9hemwi6ijy7GpwyS/I3LgiF5lvjSta7bLG
3ZXZV98Pn1cpaDZQwBgNdv5RAWQqtWNm9J3qUNoWWN0MF5oXDZ923p6HoPNo9GcWFmM1o1Ryez2a
KA8GhhrQc/klYzoK0rMp7x4d4U1fk8GO9oOOHggz6bwnIbR64GvTrkItfBvH6fcYj6QnGuMDJAX5
V24L0bmCPRGrHAB9BWE+SWAVRYzqk76pP5gRvzBHQMrfZb9ixznPZFH79uzd6ygJXy1a/vtCDYqs
tWAfFLVxTiBOHNO8eHeMouDmDy9BUdTmUXco7Emdu4psb/4z+4zvF29GaF0DjdWBgHHkeSO/XZrR
RSWIJS2mrgeDGvSR4M6mgOP9IUDBPHZRDl/SXQqKX5alO+dyiY5JbppHShXnXQ5Hl4JEA4rmSzYw
fhi9qad5LJcH2pfigtAbA3D5Br1wfutbuiUxMIMdhaa193pYb5S6ybZFNvrE3kI70vPnZ5t7BX1A
NV+SJRYHQwG2buDXBws0K7eqMe6XEx1ZWXpv5tK+pjgSL3kZPUVOuLyLRtQoDjny/BjWYZZGyaPK
IokekeQ5tAHnchHhe0T+8CDmp8DKr1WA6tXPs+24jF++sqcfzESHDaRCF85xXz53ozxknXcIRP48
e7MAJJhvBBpgGdxhJ0R3hRNr0/qTxKE7tgfalMMe/iY9tbqoCJEonWPj1eGT4uDZGy6yGn9uub2H
+VNm13grsjo6xTEgn8ntSBSz6OFIyjOSwGdNzR06cus849iOFYDanjpK1I2/ax2zuGG2KW6gKoRJ
BqWDUXWPhKXd1MmQ3ZKlyG5LV3cAJmZ/v0zMvP52M6oYBuGKHl3Mpboyuo3BMeCcpOhAAhyPW8OC
jNuH/scco1mpuBW9lGN3jggV2DVZI7arfHM0Z6ZXxmWRsOJaRwS/Cj/8MuiKXL3CcjcjQ0SMwsty
bxguobDpX+AB3TsVw+pMBuN9JNq58Zn5+4B6tox1QWsuaf8wKvHJ6BF54sSUj67GfCClk96kTSs7
7sz+I86Wp35s/4CZ0f2IyNxWsxKH2YBTCpkSU31c/BkqpuTJVAFUU9VLEw/pSyvjo4f8+5qA+BUy
gTOTVzbJf1l0LCoitBR2p1vEc7DpFvVPLnsQqe0P32UOD4WmwQ6TOxsU6tFWTHFDIbJ4J5ynTyEK
PD4I3qup/rQ1aNFOeYVtBSXWkhOQNSNj3yr7X2lmBofZEdZtYOe5jQgqYJeUwAUpIjsdlWsyGTwU
ef8DzgLcgwGO6JpRKmcetDCDK64nLevSY8niIHmOYwguEnfk0Zo8cKRWKm+WUX1ayRSiOLYZZiHA
pvcWm7/YQzbcg1LQ/b9QTWjviSY4W6Q6jlQWnTdHQLl5sOShZWiG95HYMzUxFP77YSFQO/13F1CV
f4cAFl+qYRiv3eg9YKAEtyYa32g4RwhmZ+7a/IxRqUD8JSRS6mWMHckf5TR7pKTtzU9oazv0RmPd
7WTS7l4qwWirGdwQDXDUDBtr0XiDCt7D7q88OE9551YBd23kgEpHBmAdpO3HUFn70Rf/Oim6vXxW
BY3WRsw8eH4IRQWyrUhJxzG6NNqNsPyueP+QpofWfenp6QzK9xDa5XsSLudbphdBe2lwkvap7sAu
V3kAfiafGH1xMLS4uu5jFX2LdtZCL29KjfRKh3o74nrDpQVoyS7K9rBebnrTegaYDcNlSq07s1M0
jSmMpUr24EtMhkuI/ralHr+zhdsqu4UzImI7ckv4VVOPAlU3zdZFoYMlvH161HN2HaeuuOd1CBlE
l43cZ7vj7CfYBosE9rgqQUz1RXXCKY3UQ/p44/1wmLctzvLbukw1gYiu3z0bAvP/4M9E8TDdJBfJ
p603M3jbmJmo2dePpVDRuJuz8qkNRozVkTIuMgs+FaZfZJmk8YxI7c0RQD90t2M8MhqHt5JtorQ1
dg5ol2OtaDDZw6evryUtZ5nqGS+nbXk0SEs9O0bEmKbNKDxryNB1CtaAG2A89gsHUhPcjdD4avu0
OQ2O68yMDBmktj1Ju1Mh912DIFGCqdtZFlLn/yxQscLo0UDPgW/mnxzDqd7qtr8JWEi5lPVTw53+
hIaNdsHMEZt2+UfVTA/B2PbaiYl4Em33UgjvKXtBCep5Qafap2UIKdDHf8yiQsh/DJvM/96l30sG
V3t7At82Jnny4asnry6fKL9rokLq7u40zffSMA+lPs6cIarepNonMHq2SNlretMY4FIu/NtcqZ+F
HZJhH/qHOlcpj2zBY2D7+8Zyw88kRd4aKufZPK6lrNVY892ukblmwrv47TLcTC1QsSgdTkK3JrCr
FtU4nSdnometMcWNYXUnE3PzVkM8zARJaoCb5RqGDr3WoDi5QpPf87K6m0r+KtpOQxcIPPFswHZr
h8ChPb7vBBL9rPEMAFYdkU0SgMwhssUX/PT4sG5wou0yrUzcMfsIQU8buHFSDqtkBulEFbghODO4
0N5MNznYTrBi0iCvRQxPRDXBsa1RONH6cm9z1gXElzTq78a5fnOEEYSRpHTtW5tKMJRpzy2FKj1T
lgl/S3QW8xA0kinSuiRNHobt3/DlutVWUu0WWVLcZdQWuHWy306PDEzakvZEIkM6c2zwcxIOp6j7
BREWo92QNPeaim7399v3foUBsvKtZ9O0bbzBTrVrCYg4lQVQtYYkDBpNVbPcYpPubQmqxmfUdDZy
3lz8IPe6C6YbWTDeSFm4Lm7LkZWEy31umIb7Qy0OVHoEDhiFJNJy8hhK+P3RbbPX0Z8MMuxzglzm
Ag2j3tJsqOdbiah+T6O/2jpsAodUEfDdD8DKyDh+K42Z7gWU0GOVWz+Rvvbsqt4IEJHFIPcMW2t/
aC0wzk4cKLKsCgb6yJqbHU3wYoeA+odEGHvkB0nuAjgkuih4xaJx2Fr0sn5FXAk9VW0LcL0YNeKA
PTW3MrSvwJr3Q8//4XGvfxhmEZzDmsDbysruTsg7GqJMfAQBJUTPy9rkwVNXqJkZZvYwv5V52X2T
i2nC1KC5PtrvScfHL8fEfOHeZNIYQ7ajMv9LOQ1gGET4tBu8E9zMcNuakCOHamnvvcCp50TNU05V
9jB7UT8oS6+9mC/CdaZ77fX45EaabzL1URwG5nNEJMOxV9UviKjjvzY31Evod/+QW3iywzI6Gn36
XsvZIgk4fjYqFxqRjSC0i83o7rbUi9xgL6v6hL57eBSl/bEqd1YND9JA+5x4v9RIQCvUO/Zvp+Qt
rZpuJ4LR+UJA7G48TiUEczMNOF1u0Fvz74uBprItGQ+mSkw3lQfHqVkENFGreKZhemnL2XoZjEyd
eBLBD4aV8ZjJrNIaG2SE2IubiBMKyewhbPj+HX8Ve2sWJNn4ATRjf+gq5pkFctAuVSM+ndbeDZrS
tmlNAhecZewOtqmSY+KOf9zJgVQyrRx6ZNvk/bl/bWZ+0IQHBhaQhoJonxlJc6Hg4UJmt+raNi3Z
j0jn1qWM8/E0B+mfDsbXtu6Qj1eTxotwtAMzQk6hlSBr7cYE4imrKkIx7No0LiUDibWZWNpfg3I4
p8iePWLG+izjtrmui4EDADRMVm44+o6L1syvSxwXz0FKrozRD4CZHHO40Yvqz93SuPd8ip0778TJ
tJcnY5K4Cay+vqeLq/3jqIUnGoSUeLjrcgugWdc4SJVSLpGhORpqB9KbWUBTF+3O04KxTH6bgQGB
R7Krmy74abib6SHS0+1mMatD4TXWJhiNjOZ0LzFUOQr7nJjyh0kU7RRbdMN6W+xphEE21zLOXgRn
0S7ttYaSciEZ9zq0waucVfKCY3nEdlt6lIRp9j10furfdlFU4Sctnx8+79QuwH+1C/tixENnu6ea
PJqls5x77Xj/2jQoP1QtnLu9PDPCn2l8igxkGbd3X1vmyi5ctpAUwkPbwNHm4NZ6KkUUQF6Ox/U3
lfr2N138YReZ0Xm2ADfs1i6h9sMYsCNaF/C6IHGRan2eDfWuTBvlGheoN084t0DGyxk6/BOZCbau
8tJzWanvwTwUPwZ5SbwsPJjl4B65ARXXpv2KEcuBE8Z+iF3SnTHMpGikW9sirVIv+SCsg+3a74Ye
xhgqDPd1jn6SK3J94UIEtxiVt4kU5245r7PghsRo+H8sobUtCsbISHea3L8uhS+I6hjHvR97GGAo
8VPBseK0bvZEwgl0vuI5LgjcqgwflrP+R9nL4CmLvriMjbc4aaYbSRfutkZsuCEg+tjKofjIyjR5
mUmXye+pFNNvI8Ocs6XZQjB4Nm0aq+jeZRZOr7YA78n2FZSucc4ygtLymBErXTRnkyCQeoKg4xMT
kb100ZJeLPqRquEjXG9LMyL0qzmjb22ytjnQJMUHgQ8BLGL0EuXhhKeWTnpoNOfesNKHTQt84tG+
1FpZsS4Js8JbNzMeFxOD+/WHmibDP8Td8G8RRT+twimOtpWqmxe3FT9Cy/wTgdOL7U5iuyzzxiir
6sK4SjyHFeEM7ILLB1nH4IrKN4m7/hl+I81se5mgCubRabS7f1yZ5I8O79mZgfzHVCXJs8d8CX8r
lFLqbohY8LeOtF2Ge6OdoETDDPfFupE7Q4uemMC+I+OmSFO81GIiF2JAUEPTLSRVQTqfiIOQ/SeX
rvDn39C/fxZkubyq1tqnCXTC0PedT23Eq2zmC9KYX72spcln8SxzYj3MrMtf0ftiNJhx1pi6vsut
Oj/3jvNzqUL7wyShY2sVLo+2sr2NzxUtwLd577EB1xNdBsT3XYR8uS/QmD5Cq4+OoQIMZXvuv0E3
1zczSg9ezTU3AIj2bfanN209K5ifHEOPSU/eIdJ2Gqc/56SQiGaMr8z5F52mgAPFy61nxF/Wc0mj
uayGL9JcszMPcfO2uFa85w1m7FnjeFZe99xx2byuSz1wtfKJ+SBsnDlY1pIvOtJZ3HeR32HOZWTc
5xgVV6rF32U6jlhwL/8JVldZ9WheJD6sa92K4jbXIzKnwTxBL/xlaK09bthka1czrmfd4yAdAz9B
PAfY0PzqMesx9dTlYDej+chY7YPDPPh59uGY3EKaLcckhXncDMY3l7SzQ+5EyyH0uV+3jfdpFfMT
UJXiRfkivkZR+Yf0gfHmDqe2RLXt8IhvozTCmL1Oq8OR0KZGBG+NltSvRhLPTcFm29xYjcnon7JM
7CI/49eIYvbEliupwOPkW4XF9rJkDZP3GBWtWrCwYS1JHl4Y9DuP6e8OJX+wDat2uSvDOa1G4HVB
FXnIsiC9EnbFdDBO5KtrqnbrRGhsRcs+YSTe9ASYwNzBJqM4a4vg2hkRz0QYvuQM5J8GSQzFoqlt
lSRxQTI1Wk1Za7Asdp0/edOQeuMRU79+oGk5VQ+anQNS6AUUGcWmaKD2IYrCHjNDUtpi6W13dup2
4Tbk8SFqylz2idZLgLNvr7226AY1sZL6uWPYR4BLBtr0jP5Pc19abJeh/ILpbR4iPaQL9AKZOek2
1ryfBs5M4V7TwGRr1Pvj+lWkN8kiG2CJtsi6TN18GbXAJBxw1WChnfajMYib8mdYJqqDPaL/0fbF
zySsm+N66zWxpA8bb9RhPh1oF6HHVYnFtcTVQrb1qzTzQWb6qNcIIoSMoev00o2SOx/dD8mc5VqL
sDwPRqkIocIVXBAc3/MEM1F1aaPmtJFudl5P2zDro3uaOf+auFiAEmTRG0joR2KMxQ+nma9xz1Ex
42t5DLMoTwSiZhdkiuUd1/1VKOc1NQJCrsV8lfSAKcS4NqwekawgVcXy2jekxUTU1dH7mlABd5aM
xdHy9wVGQ7Qa34K+9WjxkeRYlPJNuBmyWHdAsYR0+M1ETxGm2KaWxvsF3iDsFX1+N5Q7m4EucTsd
5kPN06l9A04fhiLGRQ19eeKrzmU6oUxPvftSR+6ecMcITDP2Eqwy1HzmlR/IvK5fpT6ib9dq/vQ2
2W+WNor+5xYVY/5A6wXnW6tV59x3LnG6qAs0/lBqSbufo9dP6PXYhgK5Q4h4d3RngPeDJdznPKW9
DxBgz7OJsN+1KC3mNDBOg0tNGE1EBXPVjF6okdWp03RWugDBvRm9f8sUHPz6TwE91x6fwiZqpTxn
JYhbEgeWZ79eblGAg/4/rzpAg/SEVu/bmktVS6u/y77TyXv0MlXQ7leUhywG+5C7fbPndM7vuOnM
G+3uNy/1hpuHh8SZZfEdYrNfcJlp4I9vyqr8XE0gOPm2TmqKW+xiCVn/JwrydyBWng+cCSF13Jjx
rdJalDrKDoFPuEOaxfHNdUlaJbv2FXVkCzmoTdR1XbwBkn0+WNGBjaLvj3WePfvMXE8twbZze1sd
LetXMhWPNl2y0+qlYJT/P64KFKvlUfn2r5moo/PgWu+AgGDb6s2HPjTDyHSOD6s7zRBTxHFMCID2
qln0IraB9LJdqZ2QcnVrpoLTo0nceicsOVzN3HYxK+sv3QKfc6f3e6VocZdaFrAuvlYJVNZwd934
c1JY2yfLGNP9JCZObuvD7nFaWaKKyN4Ca2Jyb9hVQVtsh2xsyAmW1a3sIheMFnKns62YXPgyxFjH
QnYDiXdZ/iuvDD28Qn8B08G5TtG4pc/moDcCt7EJhETiJIdxl8uEzqUu3A3mubu4ZbCxCkvWZdWZ
FOqXEnTu1n1jXdpoGs7FIJDdDNR6tXqZ5778tOilqLGD5irFIQoKCMcg5p54yjeyLprj+tNHod/u
HdBCWDCs0NeKJ5AnqTDo3CdyYzKRP+Y2c3WvxZRfJMlsHTIzMfehVtb910Jkx0StYZOuRqYIc4ku
2WQhRUI857vAatvrulDtsYe3eKzTsfjzn7Vi/YqYTTzi/vjamUzBmqqYXtfFCY33IcT/S+6u9eIZ
TJARXpb9RBoCDJ9tNEXtrzqeT1mXWbu+bJ0DGVjqPfDUlqCf8hUF7DYEIeKm/sR8PMjHPQxjBte1
DC6rrVcTYw/V3H4z+ROfQnfO/y5iro4ovH6YIv3hGrH4if17xwB0/qg9kgrACZfX0C5JDGRQD7wK
mbtslfvSBVx4/BRN9MhxlviQtFAImN+9ClBV0CfprUQpYua+snZJnfFXczoYJDlVx0YQa98OrXdW
a4dQLz6iyJvBiKx3vDM7pMnUGliVLIUuaJid8+NW+8yE1YXIrH1Xsdtf3Mx9yWA+MPS2LgRb2pf1
q3WZunbrGlxO4uiSzew0q8la2MwGo1HJQ28w815U+pSmoHDMkFF/HjLFbQNpHxs8lduoC7KX0nKz
44xwCfAXZqr1GKxjLNgp3kZgUyY5xeSc/ne4dKBkTuW0XLOPtVAiRMJ/7orm2UsEkSiDN5/WEZFb
/VuHnX80LMc+wgxNGTLJBGtOKK5uOpzphcRPSLQDNVrg6UI4B6tVtxAG4VM5Zru6TewDfqj6uA6Y
CCFF8JszyjXHznhYVBaZvv9VGZwEUlYZitUiPnWG6A+LNlgpJX5nwy/plTGJYQz8a/px2wpgHbxU
3mAUx19Zh91GaWH+OhomZvWc1D/RsNVvmIDor3tvECZM4sN1d9cewt9et4RPRYW3Z+Eq9YJFpd9B
i3kZelKLci/RSD+qJmy8K15DzAn1h1C1uc0py3d/p3x+/mb5yG/pGXMRiGGtN+aS7lU2dJdZOPkF
jHQfKgxPCDy5QfCibgLMR2gakLGsiLmiIBUylG27X+u1dXGwysCZn+iAo7kOU1tJNtGYbq2K37LK
LLJdPKXEbuCG3DcqCYhtkr/GPKye3VGPrSMjuxhMPD0EMroh2J0rPIovoop/+WiK79bELKoZIk5/
7pNtp5tOTLJ/5iP637D28aPyX6Mqzx/FgOAvtL7+e3L44NXFbA7C3HhTXn2j60BFOiMZX6jsSjV+
DVVEg97nwSiZ5x3Blr0GNNLAN8QVB6Fv7+vf6+TQjbN4Q8+HDxurP4gNj9FG2vTneWaSLm01noWf
2ltX9v0dfxI5SwE21owuz56b9vRuts22W3yXd52PAnWP99ar5pcyM+OE5xM2b2E0f6sB21LxCcmf
u0OE911M87j3jJbRchr0N6esgDcnzfyY0/kpH4bixXKHf+asGC70looXeOO0p2rL2pPftuXbh6+z
I+uPqIUUZ0NVK5RJujB4wUdkB8ZTZZKRMgMTxN+0LyhI2y2QRrlxK/OPZcl+13Z14jKMt4kwjMZ/
p8H+ckjdQ8XK/d1DE0lyKBNwGlIXkw78Zf0qHAgbiBKdMor0ShPk1iWhDrrmGYTEJCpferOFl8u8
64tWB+CMYkKpB2YC/Eq+TbQRsBmC8ToG3N/cERczkV3tfQkTcmX1Egz1IQ3r+txp8b4V28gcl/gz
Gicfzyp7/T7WJ+26+AKZk2tQlWmvenxsQkH2wmjKfea23Tax3VfpxupSobM+/QUmdsB8LjHNxlte
TIdRLiSdafpMP9QpMpmiO0phti+tDiqyyqY/dcXIS1fHmgyXEZAw+dwgCBDnOlMYyNi031aU6Xhd
2PpIB6C1gojhvJbQ61PblnIbRspf9jXC5BMBZsLRtjXcxHl0Sazi7HlxfC4nbjUSqPJfFCd1fL/r
C+YtkPM27OXLdXUBCq2RjTreETowRyUrhwkwrvGFJAQE6cnNt0ymE43oyClTTXDkosb+YsDds4pd
2RlATqRDlsvnyO5QZ5Z66a2ZqVZbZH/ZfEvcF8ccefpmsLmHZRI+dxmP6hnJE9nDHZhCXGonh4gL
qsmUvlhASJwYGSWlAd5cgkpRhApbtZsoxxjWFARxtav1wx4NsltabnQ6Y9FuuSjtwxiShKwm9++D
li9MjvuYAKPcZou1dZHUTUSmll36im192A1egOKOdJ7XYXk2GugKSgt5SBpTSADC8O6wTT8cRFFl
ZZBKPrfEDYUGBqLlMsSifavx+xEiEROVUg/yFSDDmSxFagjhpne/cM2jUC31JVKVJ8VTuLPyf6LB
jZ5d4l6PIyXC2VwovuXC8ZJb6FiwRnrHcgiHV+FlDt/IP5lGI9nHMvkKzn6DxKY8geRxccTX8q0d
oX6Xjl3u+0VYYMVp94LoedQk0xzQGQ0aaTmiS9HD86pjUuHFxtuQeCHQ/pRtzub0XEeQgczKLWeT
Q4XHnh4N75OCdhO7tC9sdscQbt82NqIvZnWSNDoCxQswp28TfmMoEVgiRfIbQXa1xcxuPi+VO+1b
VD52atofiUhObmBaL1M3Dq/MI49eJnDJm9N7uoRH3xYWolgZ0s2K/WcxVNXOm6nD2tpd9ovmDRaM
DVwuw39/Eq7g3ZOn3zaQlC9eOsp7ZATO1ulgHAzS1o6dof7Xs+Vv2iObdTxCNmP4TMo1JUFxa5MJ
bYqq/uernpQbvDIFw4jS+e0MTc1JFFvw0lkKn+9c1SA3MAL+XlRjvWfYn19bCyOjwKsjl957821X
8jm04UfmU6mZwroICbBGVNiJrW7m9Fr6D9mwCQWIPQ08G0bX9MjchuCVGKMnv5vnXQE9fseFyv7I
gHtu5dD/UHDTibhJ2w/Til6nuFx+4aF8bszw91wpdh79dxSI0LnkNTczxoFfLDyzCb+YVxqjJyei
72h7DPy4YnR7nzyG+1iIxwqvGfAf3bvE3raauLVUk71bhWpIl2rGDkogrrA/xtpOD4XpDk+BJ08z
nINjzrbxLbaGNxid7g5kGfc9egzcYOuSevrkWG6z78tR/TCY8QSpiyJUcP63EMhe0NCG5whJlT8j
9lGV/HJarwa6kY67zsl9WuoN/BOfyryd7Wgny8LHgkNyjzFNwYttElc45t3BDFHrdWF9L5G1v0pm
aJfQmIutMxwWXpvnWv9hDaEsuDEPbBfyMsscMGiSpuhU5u6ltdvfI81pbJvpmxMYJT7cjumG7VTX
qJaanpLSXqETex786ruFm44YTx3GqTtWdBuqaymNn62Wz6P3R0Qw1fW7UVV/7N6ZbtJ20wuWpoIM
TVDV2gh28ac++qRH8Fm6RfzIBbBjr2DJ+/EriJkbK4uIPqJG0Xriydhkpg97W6Xp+2x12QsWm50a
AuIsyVafy/9D2HksyY1s2fZf3rhhBofG4E1C64iULHICY5FFaK3x9b3ck7fydb3uvhO3QGSRlQwB
93PO3mvzwgNWaax9JVFuqYub0zV6Ntc4ZvoNJhE5lKoJ+FRCE+4zuhKRGP+ICjDTyutj1y0zIWJh
D3Pfvehmp+3VvdJ20GZ4uDQt8pDgcACPqclQ/GYGsKYgGGo7O3TZoGV23xwtT7RKqpdWAxj49+jZ
5xS9KrKkoYcFyld9DUsDC5o+I7FDREesnmd/mZGuwQQtI+9C6gJdQiP+WUjADowzJEtpluz4ph7j
fmw3H39Hpd2TyXaPkRS6RVH/RX55DvYcxBz251+F5OnVBLjfGUtl66GHUKCeqxgQItwgRKPyYM1Y
+ipBXcA4IfNfXWZPHGrL/I0B0LIencz9mtTvXv0096T1esv3yOyLjR4Td15N6bOYtW9+7ztorXLj
va+TTdxh01ewlDDR7p4HucmQ2WtY7cj7jNr8MMfmC/8z5Mx45foN8cXJJkzwWNNa444ub2gO5q99
z967nkDkPGyfwDUJo1CLLSHmpExYe6tpLpD6NAbULEw6wYFF6bvPNl9OeO+Vw3nKK01Kj8KVK30O
KqZYlxZNdE8nkz77LjR0e0WXSL+VkZm+YkTKd3BQli2nQAKJFgIBQWTZD8CxXxkc6ScA7PZDLcls
XYtM7w8Y2kU3ALcj1Qi/ZxZ/6c0ch3pK3iL2JmPfx0aEsWUuNskSBauC2wDHY+nz6fNp36Zxc1RN
naRwc9ipvXvIssY54vCqSevpLpZUknaM4Otgbo+uPErWaiiWEuNM8PceXJFxRmgJs0ou2qh3FO10
05J8bzd60zM71+eLWtg1Q2gdyGVU2crA5HcVa070x0OPPMO31qOhO3BouU5kIl5p5+nQMOloW08m
LZa96lMtA5Ng2sAvM4FGR9y/OfE98bFzDeceiQymDscuTtRXKQVfjZ75I/O76ayWNDF/P8rlowI+
7jHD2uBqKPzWqH2tHsVUhuW4r3L/gX/Ie3SSXUMd9eKnfFk6pkdEoYknd0jmfbPQY0Y8AhsutC/8
MLmraRPNLovzlf7VcmYGOaV2GpxpuaRS46EWdamXP9oR4GsF871bZRi4Ce+Yn/SJ8py2+U9HuttI
PxnPoo/AbAzVoc7Chc8CBdTcGrhd1HUlXpAYtKfK0yMG5OEAAwzidFQWbQuSg6QaB5OdHHiwhbgL
2YBTme6K0Bc4Kzr3PMgFlZOL9YsSlHDcZleZJELjobj7SWrcFVI1zGxn45AwSKdVGPvMr6lO5GRM
N1MwHs6hMz1883lrINDAIz/PtwiaWF1Y70sCpYHXuDvY9vDu4DI8OGS6P2kWXR6f25QTb7qqS//I
XT3Y5235PWtEsrbcsPpS+Ex+u8oD6mABCI+x268je4Zg1jIcVnMINedpMeFSf4Ld7WtGDhBVeBHT
8YQX3yAccAl6Jpc5pXPNWFOO80mSbC6q+x8HGITmKSYZoUhQjPxraUjHO5NtHcN61Clq5KhhtBFB
BgYnZS6MFzQh2nlWwjiHjJy0iII9xGdUCJ0REnBXhWRtFsBNYKPvI05oJ7WUiAJPvVHsUUozVeyK
LaBNhjBEmaplsnodo7VUjE43vLfNtZakZ0sIsC4OJit1CdvFAnaFMNQ3O6w/Vmjv2f+Gsz/U3tFL
0ttnW1Q9gteNPKKzEhjU/+Wr2+PgWjOoRUUtZxhKdaSWZE5/hVVoIbbO0mdC4paDYfIFW0bMf1j1
vo8ZSgGayi/or95DjUZxTMprlTaQGVsNSNwg39+6m2n/6lRJWGA26gD4eR6MkuVA1S6gZ7EVZSZZ
E0B6l23TWH8GkR3jQUdYYIAc8nTrOow+BGQwOhuICsZmlBYJr2eqpc6lA1XYSgZYH+2RTKZYwLbr
cjvaT3oSncLRB9sWuCbyqI6Ed6ezduEIIUP3AgqlCZ+c1cCuoyXyRE+pu2m9k+wQIYRriLfuzbFJ
hNcA3R7wk4n+Z0bvGDN/96wlJchEqH1wvakz2qn3L3Pwq7R0ZIiaG70ZoT3xHaHDzw6sNpy4ggSP
3iPcRK75ho3f+FM9SGMdUAPQCd0jZXHFrBXD+IBl2dCMkiovDDbTOE6QcaYLLWdnurYRTkx1qrQY
SUJETFda6oTbuphDMApuc5gcHEJVmm672SY4xOM+nXlz+qEI8cImAksTZHtMUN5zl7tb2rDlYXbB
/TgpsbIfpbspdMi/Ep9UBJBnSlRfKIz68ZJI2YBaMDbTzZ7mnck0RYD0O+bByJvUcbyNfGbMTulT
/GbsUFrFdwgUFZBXl5pS/m+yqSYjy0u0qyi08dXEWoqVTSH3dROuvdXBtapoBXcG27Rnawwj29x0
z09JAl9BfXHUd6ZomF078G1XblmFZ1su6hFJsCHm8jrbtQsaeH9swrWeQ7eDLgNpyUyqq0hcohBM
UExl+UMJGCduzongFRv8+VtKo2A9oytf+VY54iYgtlotU0jMnFWl/gbujCQgwRdDe+LBuwy8V29K
367H2reTZ7U0cYjW2E2py5uBTCJmzvS0l/pkLtZBMXPUonzJqevfqoBKY522VnEedX24zX8vmcjO
Y0hmaRf9QF+RUzby+9zBVC9r+BAat6DGvlvkop38ge6FMpGntJGOmHMOxA5m6wQlBlojulRqMaIq
WPcCdXKWdbRU9IQWYKRPj74W/rUu05/0r51Da9fBEyEI2lNpWYenuq5QZ0pC0tjb5jUNrfyI17g/
qn50fAlIPbwaNWnFEO0QvWOiWU2YjlfO0no0amtSBwLL2JvjNEkZPf1v1byQA4u09uZDqMNTsjGK
MNuKCv9EjiXxZASsSGVOLLj99XXLqw9KfuuSvvLRfsBoQBXDv9uSgnW16PQop58c1PSXZqkJN08b
6zZXQ3YogRZ4o+deeF6/Nh39Ma14q/mMHwPIvgwToksivwBqCeRlTCUElIa0XUp/fTWW2ggvbMm2
nOvkbcD+YYb2o7J8SpQ2q18rDfuhOZL17Cb+akS+gHzX9BjmOWLb0JXTnBk0N9XQCkcnXT/NitiW
I/NQ6eb3sdbsJw/h+TX1k4u6AsWNgkLgtxcNSPtsMPeG3ZlvNTmYDEh8c++a2GUYPeQSsqrElR3h
9Q2I8RlZJi/iPP0JPXrmf1E1shYEzefDfXV77hVhGe2suaQDHY9sZ8BTJoZDr5AaTkViuXd1Vdet
9Mo0mOccsLnyvexQpj26ZaDbDenVLHApEPzeuusmweNJmAsSKnl2HZd2lmSUQ4R8fB805Z9gZchx
nwgb2XkVqmGY3mATZgdeZoN+KJDPzbPh7dQJQ505iBJlVIjePEzs6eyxzxwyF9KHA8DlsjSauyMr
3VktkwdzwPVpq492TQkUu1t8PcxP6GSs+swKnqgCSBWZO4LcRnMtSmIn22KIf3oh6Rnye5AP8cHO
cFjC7TaJfFNsHD2WnBygqRF6fBHaL5pdPrt9EHw1UV/wUncr0hmGh1poy/pYkcK33osPjSeb+5r/
XGueRUoH0NZENj3qXxBRyJuW6rJO+wbeDyas15M+2QT5i+kbfxQuEqppwBhgNeTdEFAExcRbmAwC
Z0hW5TCZG92rwxPts+i6IG7aRuVfcOydc9mRVT9C0FlZ6dB8b0v3acjSd7J+rYOKuC8oZymS5DYp
pUCGacCarDjlZnxmber+J2pp+yC0+N7ZgBOjJPA3dmXOf+gOyQLmL/wTztcB7+POyQZxSMz8ZLVi
eSJT5ocVdsWRSmY5a72ePnTpwstzqHYl4uWHes710jPRjdahLHzGHpFtZifAS6taI04XjkgJ+74J
XrIyaCDCun/pS8c8lDZhz9CbqVKG3dWmIjcgu14N5i3XDjc4qm9j2rl1W12ovasLKAlUk/6ARTti
WkD0YUiFDwkw917SGu9FL9XCsUkvi5AITtdhsbWDWIdP+S/zXG1Y8aos2Vq3fH7r4wJuKbDS+REV
BseQgY8lktf0VLuGh5p60SAkCWZ/fw/dvciDCynIufdFS+hQPF/UrVY4QXrBnndBdN4DvCWOXD2f
Eu9tkRPWp6Z2hRylrSH1oD6uwMjk8azh34AXgSw7I1MINKB6/0SO/xBE3sdQskgFO0M//4We9/oh
iMhaOUUoSI6i+9ptNIdGRlrS8i8ZKqQOcm68UGLb0twGU89dJP2QaPNIt0iD8t0MLZssDVWRmOvj
MzNssdNG/8H4sSR9s/SrlSBpBMqbzI/y5qbaqdGAIgtGrYwA03KZaxSk+4hPMB6xttvD6nEPc2mh
dKUQ2i1xAZPSYeOtZfaRbur5xpqbaaMu+6GBXtg3DcxNCF6ziGecoRkjXALKioS2a8e0jZR3mKRr
jPsVJvws35MnjK3PGzygFY1z6defRATldSg7pjyLkTzBsbdW9IFptpkx0peMxB/Mvd2r0OrhOseL
2IFMImZ7pO21jrU02xdV9573dF58Dc2PojAPo25zYOX2VIx2WvKClNFGSwzriLPmmJf0yFat/xa2
cU7rHpi74zrZGzmynO/zEtUqXa4tQodkM3jpfLbifj67UTeuTdOc1rPUxiimWxbEQHqgvvhpoO9U
jRcEGSIrwhcpi/cjOodpEsVLPFTFC5pxbW3gyN90nWG8zKk5bLxEj7dtX/+l9YNFzE2iH6aY7uiM
4eV51plxGea3WMCvj4AjlWYX76F5/sQc5cR7mECrmlT5c6139QVI5l9C8JFQVnq15M5TRpjdyQMN
XqywBYkNsJ4BIQBntKzvtZORF/cP+1nR55DgM2j+zay/N4n/QNmSHUsZXeNa/l8NOuadMvp7fMmO
hLXgcNKYNuXsiaqv7gpqenRyHwwstaUgFECQhTU+qTJcCwtecNiPl2YQxsbEXLCrtSx7BxGEUKWb
n3LueY8QRPGUte+9x9QWZiKCU7lYmTWcalxzlcGpOgA5uZlQ1D5in2aoY9TfuXElp6IN3shN0Y6K
nEPlWtwj1zh2A6y0MZjf0CwPez8BexEEWn/muF2siwRXh/LqDJJKnQfJDyfqX0qqj/NQuBeb4/Xa
MKtbJc+WCJu4cVfgJFHY/sjnmCFZVzdngWsat5v1BwNvdI3DtDEL/GZjKwIYFOx5btuWe7Egfywj
B+E5lqejUTfOtcGj09W9A9gVC6hhDP4WuAVy/lxlFluQ2vsRAM/Uzb+CkkyarRXnIK1gl4PTjxNS
uSzSdy3XAKIb2fRWEjRpVgv53EHq0+iQSSu5FHVFBUUTmng1QN6rJMRkio04YzBFQdNFtnWy65JR
L3w5BMdAqrD92Cda3faJOsvc5lUarYQqmsDZIvvz/kLOa5xgYhon9UhQIB9nFTlIcMDQms2OYae+
6Zp02DDzJTB1QnFPBvBTU5h/CQLf2XOC+VgCHFlHnRc+V6gC7NZ8gNczVgGBgDsl8VELs1EC7BM9
2tJqWyfZvFzauAJaOFqatwakIDbYAI1rt8sXyC2m/aeyUXNiTa8D3ryToVkPKh10rCj9+Dy34S1w
Euods88OVHoHoHTuUzDONvn1x4ZTxm6oamDTlfMGRpf4sDoGaB81en6uZQCKvW5b+09DhNX+gw+m
u/ObngMSV9wqlY3y8SjYwfUwL7oc4M5y8f0EixmSUAJcpsrZmlDxqlDwe/CbckxGwbPyGczsYvQZ
qEZKbifa4L3TJziIjpFTK/PNaO6lW8exfzFlBYorh3eEJqf32rOPXhU+am3sb7nczOFyLBxldL6h
ub9lCsftD5CcRDy5v1vpZtVMRxqkORmT055IGevNdwlPWOWVnVy0vvzDdd3x2ZdLm9ineOnPVeic
a8ON78O4kOIyM4dU2JzPBcwYbthmQKLl5qQs/71kKKZWdYgcR/OXnJgalgHT/iWK64loGOc1HLUQ
Z2BiPlkeHwkNH147IUtrZC9yoBl+QgP1mCIE4r6ha88oB+mCBMzqcKFcO9XtkT2eVi6AI39qiNqP
6I+K58YBfjK4zrQNcWGdTY7mTNyt+dijEVe/fPU3fy1ZZuJ0c/FXJONFFKoMFgdJR9ISJ7BvXGrE
DDQtcOQ/dwPYubHNCz71WNV8TFXbsW4bRtVu+9R35iXtbBUV5AOFlUdvfeIs0tX6+oOpJNPYoohx
1JxFAPOZ7nMxnu0C509pOHxZ4k4jh9t0NsSA4FKSlziOO0i6vcuNo7UPpREvd0UFENbwjAFHG5P2
mpjWuzMv4vS5dK0nTrBomWHAItWQ/6N5EOMbWbHhNhmGd9z1Mwoe/Q+kuCOCdw+AI1iAWyPagdlo
9RejIO+MiqphlucFu4Hh31eAmKAseveE3zLb8PGjP5uiJCFIu34T3wKJM1KL08/eEUv3elLQtIxU
nj2y/JWeWcUtG4b6HaLxJUJ5t8vikim71cdbB1H7y0iNyiElmf+gB7kyFhK3sg4lvN36KVH2SRXf
RpIS6ITuo9h1zilRhzRSMwQz8hGzwxXjzMDldio0kpUpbjKt0k4Cdjzyw7DP1yJhLqNUg6L0maUR
Sx1dLWeTx16LUpBzQA/kzURhuKtCDEu68B626Y8cOEsMiHy8Ww5PJET4TH8x49jRzZOLeiTK17YN
MRP4/pX7J0XDbHePkt/jwGGRYEMykq69MSBao8eqrorUMEBJxriaIu3kKJ+yXHDjo2LiYL+u0+Dn
iCPsVdrCXombdEKUQ1oUmSdT64rXoQNm6PX2exY3j7qCO5QXJcn0cYj1y142sS6qu7FXTecw7ptb
WTxqWaHQiToyAUkPjlnT1SpGrI8lM00ltXRVUmJKe8JiLNMwC1rFTJWfcELGG1o+xOY6CDzTIakO
1EE3BUVSy5TWL+kAuMgoAVe5tdWjrRzRyPEmzDjvFhPwgG9+8VuUtF68aNffgzLSfSLuVFZP/B9t
6TYagZaZ+YT1038DdVk+61Ze3erYxV6G3dPXdXpZIVSyoeVz2IRo/O22qE+dhMgEhkVLpLDnQ54U
350kyL9bzXEeq3Q/GiCYKfhiNiTXPzSOhZeZlj3iK97pQ2PNt2zW7EPfm7eShDDwg3hX8Vhwy3by
OjuQTZFT4rqev2JS+ecw45bm7ICkTHZ2kt4gq5M5GV94FF8hYjDkBkjYZ83tjhkUcNV0rQXZyLND
kE5d/fgoaZnEDMdFGA+lih6suLi6Wp9fu2YyVjONqlWikR7myEQMFYtR6rp5bfOfS4f+tChztHoV
1veSGI6nxhXlGRSBHCnkkQ2poMC/Qx06o5fwp9vUtCHHEnzFiBfYhwhBJafGxcnutRPdhzn9Ukyh
AQE+jmY6Ko21qfLFRPURnxdZ8SXcZbTUm45jWv/ufgNgs86z/1O4kNFMuXjS+Dz5UButugq3nTZW
ZL1yJ7j8S90wfq00tMifIgelb/holLYOuutOkmcxApEMpIKCtG55JXKV70AHiE6TW49aGFZ1tDyo
b7deTL5IKT1UJDHnl1hb3vJ+6PdmBceitBnY3I0OED4CpfalX4z4zG26YL8R2tmeqlfARr/lnErT
uQwYEEl1RspliTB+XWK6k8nwHUrBtCoL3uCMlDVgr4jvuoXD7JA4yHXzhaNVF4k/+6749mtxlksu
gUpqSeAHXlz/HAZskJ9L0xrLxqE2SpGuKWlIBF0ZhSbejBwZ7QW4HLgHzxcvNAZQ3fCJzh2IRpOD
Rga7iJiaUzwUz72cwqmFzykhN01y45jiPGw5INUiJ31M1s7Mook7puXvMoK6b8XcwObnA88ul9VH
NRyeLO3d5JxIoKu495zWbwNCdk+pnN2koGkdlj8//AMYzMUxpHq3ZB5ro1np2dGKpYRVkL07IaeP
SJpSS02zyBJwkLO6zo7uNKddtNUbnfEzhu9y/DLCZfuoc3l/epDz5iM2erifczlhdJ/eahAsO2sc
snMimSToVGK8S2D2TEyehA1k3jacHO9ASu9v38xIR+EIiIrYbdyDlgTxhE08YkDl2I9JjDZx1oQv
VNPH2bPQ1ZlE1bBXzde81n6GaVKchAPVouLk5YQFGoTIrE6kMg/WgNcYlJQf5bdSG5gdokbnbCTG
8JHuO1cQxZvRe0aChnBywq46+C1B2bAceyaoL7Y9dbfcDa9WXG8xypGgoeXjnV9gvC8YtHedhv9D
PTehg/mQ89EIIsrzb36F0qKjoCFWS/os+fST9SW5xSkd7RulQXtrlmtGf/ekmRkH0bQcvorW7mHx
MC2tJdJvRAUwDQiIBOyhCHvkjYSXak8GZH3tF+deWn76yq5PT3OBd5YmHPMXv8pvvQn+n5NIuNOA
OEMO6/NuyxmgWze1Ub8M+fLT0vtsRTcJqZ0cTnpTfMO5qD/1VGfbIhfZdnFxvRv2CLLbhwopKlp4
StZoVgkHW28k2sTkPYuH9CzCbGeQoAW/jDxHLNuctvwc8s/ofxmNadn2lKWrz/IPbBHWnQSD2uBj
nKvY4NcZWjKqDqBDvoyGhJCyq8va2Sx6N9xwrJsb7lHe7+BSVQvVA6Y1AkHCD4w7MUS7JsLdZtIX
XPdGXm8Vt1ItmYwycPTgB+wpc1935C/YmTSs1jHS0JBUcRtI0UeeGe7/pyyxj8nQT+dNngIT41Y1
XF0vXKFw9s4NU8cztaR3LjmabRMD72UyIf2rZQadeqQWT1KoFnNcNrBDbRQTLD6fk0OaQnneLkW2
x17OnmsjQj9+PDmY08dhSB2D4jADGS3bVXKqPosIjxgkpo9HDHyircbbDxKPX0AOPD8dGIvfWisv
ISHx3SsYZat/hg7Rch7IxlSIOBxY4cpDeXBQOxc5GGR8jQHG0HRKeFPMc1cE400tVjXoRxQEz7Ff
NOtZkEo2IfK9qEWfaH4PKR8cOalDLxKeHTmrsuTSeE1/So1DKIfGftjqJ88FWbRykY4Q2+PjfxvC
5Tx1NnFUSLw2JlNWfpFhRjUBptupvAQsQ8ONjTsf7iPATBhoaMQdk9rd+DP4dVcuoMlw7rdaS6hk
EL+aEpFs9O3CyysfouQRcqBsrB30betM1uVIsA2IZQyey8Z7iQEbbkBmoWH4+4fqkds5+e7jGBsR
xsKfArWbYOQkcaI7+216T7um29PxoM01TlZ2pqNJONwY5BtT2thsuYwlCQB5TUvaqlBLdNV05QO5
HAe4JbfUxOmSNxE4HJks6pgRbIcaI6xD/+yNsYO7dpAUvcCcNzZLw+x/cf1++zH2zwPtLKgupRAg
Mq3vyJGanSH5j2oRCk4/hClpQtGPZBQT6SZSDp2AucNAUJdM7phYO5buXbooR0xF/s6XcYipkqWH
uOBATM5OCyVfeouTMDp/bOpTHD1maRZXS4ahhghFQoRreGfQ6eOnZY+8D8uYVvXLWcWvZRj0Xa2K
98rN6EqylHqkHI7a6KQHTEsHBkXOycv63wsJWXSXuwAtAP9U09R/L2gTyj1ZAa/SZPixv6lNTm13
2tKssdY7J+HG0FSSpj2VfFvVVSyRCktoEJrFATCVnRWl5CkWTClO2pztikwypc7WbUd+uzTn1wRw
4zBohr0TMq5m5nz+AAUw0CUnyyL07wjFZK6I5HfKFJbB7unRwBgWJ4geq38IIurZ5CPCYGvzOSet
SxLb/cj5NgA9PBJ/9SVSXYmGvuMOtzEhrgONiNpJLJqMpvkwJWl1joKIEQopRbMrDoIJ4LFDmkDP
XSy7irfckm4nEMnlxwKbE4G3XPjAcgflLLuxZGaDWppmWQ5T19y4byX0tDq2wNI9k9fCzITuzAfC
f6x7batTea88Cx+keUwFm0TZ5wQdcx4vTxpKsA+yrSXJ1KhD+aYAWjoZCUitEOAS8nLWxM//5Dyv
mTZKmHFMb4ZchDQ9lSKS3co2fG7jVkLSxmvoxRMcrLnaLTMCx9qv013CKPh1sOCrpm2Unwabhj8i
enM1y29nRplS0Ujn28q9ut94C8eWzx6/eqQ3CMqWGU/R1zxzGIWZ6XRWyUGjVC05diGOmKOxX5BY
l2rtPQF2gMwix+aPGfGpxSCyB6EyMUmrJTsKvFADR/BMkSDzH8ASyavQNZ+msDIZ2ybWtZcz5qgy
2zOEwo2yoZXW/NuVRtLUnbtth0ba/BaGz2FcgTX16Qce0hrhggu3bNOknrEf2gH3sXdCe+881zJI
NMvKH2zZ9aaukm9pyQu/KWtmYKbHzZWDXP9cl4gy5heYAcM1i83ppRwSfV3QMjroPb1TTSBvU9Fd
QpCfUHC/hF4V5Nec/qkadKiRxyKbJn6CUQLXixEHJbhJdDOz+170DECsRWwCCPAW3tkxF2O5B1do
HYE/HUvZ019kaS+LmBPWHX3t99xB88DGLBBhmJG7buCGMw4OEjeVhqezICp4zTZ0qbgWo253YWt0
t7aDBwV7UNsV/Swu6GCiw/yl76Zu61L03n25CDp1mLbtZNu6wYP9MvlSNPV0KD2oOlUc7SLfXu4j
cbfgExm+hZUb3enQsFSgyCoDuLvtt/dSCr8bQSiGVYKIcNmibj7dpc2St2+VrQn+7h447SJTDaCA
Zk6FiT6s+21FgMYltjr7LIwvkLgBGcuPgVIZKL3B1Pa/ojiuj5ruCBS7C2DArkIfM8bONR0R5rhi
N2C7ZRLSvcLvL579KAb0Gel4M9qOwF/Rn1SOuVd7MdMszf6YragBy1BqaCcdfMNMAeAeyjudotWp
Y1VO1U81jC8vkkn0aulMsz9MhJAwCIEHUjG8CgqLAzpXtSBKqNBIhVmLgEKLAlvcbY2Jpp68lUNj
fUVL765GqsUbutbu0A1oTeIsG5gzms7PPv5KjsTrIqQPHR30wxWQ2NISuY+Ki+fjRgpqi+g5qgFM
J7PxA+2nvq/IK4VPt+h3vwED3XOQXqtOE7I/0Eey55TZIQlxLkjwcGr2SWSRfbX4MYoYh5uThZ91
EwQSEafEXK5uFyj1llcCApHcSzlnJZcCoNBpno/t4sELslJobaUhML0r7hy40pokiGqXut394+AG
wILIOnMgvcINkSgxk0MaK9GkaiH5jYI7nIpTFtT1wUbGvGP08AR+YzriQgDGF2bVETnht4i5+Z1G
br3l5KYfhEVbq0kXzokQTsR6YvK+VnO+sKxR2tTeXnTarzhGvT4EfvNkz5G7GXJ92thQdUNH9F8C
jiOKZJfJDpx6lMs2XO2CuKyYiVKtDgcFqTAioqTHYASSJE9HfDkIlRgzqOXULKqEYfRpHxsjfcpI
T4QdogkOuZ5mriKNBnGqU3LSbSK1nVy5ddUxRgHHjDBoGggOiWwXVbygId2GTzlshYfrcPCnz+py
oiQYOFoW+0QjV6LOJdNsCfA0w1oxc3t+5d529kCgrKmXvZc5spInrR03QAyI86Z9gPeR8Cf7b8q6
oiPF7tc4hJRdpsMXOMDegVxfWOjcMYebkx9LGVdQp9bX2sNVoAb3IRX+dvZaIjucBPBtE217jfDM
GDDde+U4X0lkXLaJK/h3FOn4QRNjckWwK24Ws0Eq1noLYja6x4eJ87pjDdpdLVbV+iu/qUn8cnJ3
M5oWH3ELmh/cRaT1RLFeZ2ZuV/WoTGuYf6O91jXBbrK4pBXZgHlWvV6MNNNbPNHw+Pa9DY22Zcyl
d3l113X/0SUlJk8Gyx/7ZlORp0JIx7JzLM/Y6i4WLJ/O2uN9HAM0OuVYnSZL5tJXZvNVjjxuyyjE
bSBFZVONKxs6GQEjCInwYbfcVxGvKjyTWrypHw/UT9FK66OfwMed3cd+Hzn5v+FnO95/Q8+2DeJP
LNsQlAwWP//x/Tkuwvb//h/xH2R1hf44C39LSHuExTbM7rj0X/NgmXtszUj7dLcpb2pYqoc5+hP0
JRQt3onjtL31jfpnDgvn5OtZx24XPRuIQW6TgJk5Wg6fYQfFvM8t/Nq2xm2W+cFdQwBb32PAIwiL
jBOxVk7EWdoRmY4wNHIhQiPELM9q0ZIk3LhlQxiFvJcubS5gLfNI3MYiGK503/Ur06GWM5y9AKBj
02w5tjCMmrVNUYIuMEv9j1aOExewQScX9uR+WlD9Z4370K1j52j6CaozTssp1hj/c4s0xvq7QdVL
R81xyGqDfMRbRTxSaW1407NtoQ/5UX0hhHj5N1Rz/x/vikPTnVxOiTM3POEb/3xXOh23hM1oTccE
D9nH2gxuVl/VktvD70fqkvCcGTTMibAIcDgyg1UtDqpqghaGp6STKZxtVN3tAUEec0QyK/SY4zZK
RAPx+EkbzCLDEmJVQPa9YgORGYtgQiOhzjHatEyawwJGZ66NDeIGIkgaiUOa9VJ2qCtvG9kcOlp5
BrkkQku+diTBDNqpbZNz32r2K1YDGkBskkD5fWIJiV3ppIeCoi5Y/++vnKGL/++lQ3BqyxfP4OZu
/PMDbTWuZ9hJPuytLFpRGc43JQirZFcYR69BFIer79QPStf9ivqOVFjNbU9q6UTafTxSl1hQf/8g
8xZS20je3Ai6jR9oS5oI4gRpfauesv5GXn5eqkeO2dqbqczbtbpUyyL/khbiBoHfJxvLrrOOQ9Cs
asmshUBbPSIoRLZlJ+kR+Fw+nxP31qCDoX4kkoy9SRTLwdTbZ1j/2p1hirsRcvCoLmNkkC7fx+yU
m6gE1XNq8bvcO06i+sYAeOUkpIBmrabDMsZweOnbJKpI42PzxTBXM/OMQ8JSL0FLX95uOL+aFN+K
cqeeUqg7tTQNZhQ3FV/+8XwkYXjqv4BTQeOAcJDt53PqB+pPLElDOs7cYheTqnilj7f8DJFKz+19
kneBT8385yUVAZ1Ddf3xUP3pz5+rS7Xk8q/9/LvLeoT5rWfrKaVF6YGhkpltzbLR2ZLWnMmJ/5XL
bEQx2bLyYWhk8CwyKJmD/DOf/w3oxvT/uaQxcBxsTnhhIw3TskXfE9x7QVtCUnWgo1GVl27oFC2B
Phl864BuTiZxwrTFpovgTrxGUoXRVz73+YPPy0T+ILKNAdmikZ0SzYtuRtbcjLI4p20T3YtlZEpK
AOpCy560LdsaZPapXn/gsUIZYqPFywGCU3xcpD3kA5slH6lLO2EXNxoP8Ivzk+iK+jEjb9zogkys
wqdxvTRFC/9vTpjAyWXuMgKWgi7aoZU842qyDiEzmHMrC2DbjwjUQiRnRZvg4NxqFC7bIEzMTQaC
55FLqyCgIoacNpBX9RwJf8P9f79fOP+M2XAEtHfTdm3hEkxku8Z/3f8EbjxhI87fi6x55GgHfml3
nFXWC7E94UfyOd21AG44X3ontclvZUEeinYxp+OJ/d4INnBNfv+kGmrO5GB6kp2hJST1pU5xIKaL
vPUZnvPYVuKBK2y568aLujBoEV/HMtoKuTWpRe1UoUQa/Y+XI82rVWzyBa/T18lzsr8ik7qK5nC9
4qUPd1HnOzcYEb+XKkqJcUGOpp7CdvP7ebMFo9vJpNq8cu6OFI2p6obQO4PzB1GC4T51wBIyGMxL
m7bLItO+/DrjIYks0785j5j/zfthWbrheK5lIvHy//F+zBBpkU7Z/0ndmTU3bm1X+K+k/A4HwwEO
kMrNAwCOGihqVr+g1JIa8zzj1+cD7Ru3ndTNrbylygWTIsWmSOAMe6/1LXMXo8S7zW1bP4cje9eU
Vl4GW/R8+VFEf/qqMJuXP36UlIG2j6FjuOn6S60q6X2QZ0RmCeHLQ0nu+iWLOeCMO8CtPepFnk7g
EnmgzgVY2wTrhYtdKNz99BAzdLvFDTjtSKJINjWKARLJ0Ue6UZE47JqczT8+I8U6t5eU6TAxf/7t
F8vhjLToHuqa4RAgYmt/+QSclIlLtbGQFuhFm+zzImW4HMjWSFdqzzxf/fFDmUb4FUstcW0yk7Yk
m0b4mNTsyaQgRoRDgITpcjculQOOHMgUpnhSg+TKWuE4JQ1zSOmXo335gTWN1AvD7ZpzxaajSeXx
8sBPz7n88KfHg9wJ0F8V9qYzinhXYzrZibwb37I8Ze0VGU+Z0M0refe/fFTrR/GXjwrJjCY0aUlV
F5fF7U+L18CcU80ZLHPHDJkcyLPKHiYW3VeLmn2GUaOVuDj4YHqTKkpSNAS/F4BZaPGRZEQNmilO
KvPelEiNWdK9y3iNqikInnYyg9qTVUHym0J/mvDncW2YtwD1zVtjTkwWFcmtPpGi1U6qRFZcZmzD
1ke1cxTby0/PXF/BAep4ARbjvn2KIhzVUT5mMPxgGF8OGmHs7j/+dOw1+ObnT0didxGaoUtHBWwG
4evPQ1vV4ScawsDaWl2RbP6YmC+T7cx9L1KIEeV7CxeQmcznl+dEUZSToTq8qYl5ZoSh5hTO3+CX
JA91sgyPcNEQN8dJe325a6aYeERU5bvL3UprbPoxMHcud7VqXm7XF2KfPDxeftSF75cXM5f8f36x
jJbnTy+Giun3F4NMsdySFX2+vM4Epm5TEfzUHXSa+zG8vMcYv9ZudICHTPXQPqpqr90EtfaS1mRu
eKgeStNqHi5P7Vs7ddOmBgy5PhWLQLKZ9RA07/pCObuGA1tOBaMijwriK+7qUd/99kKF7mBUdIq7
y3Pp22E9hJN8uNxdphl0qdoH/uUupDG6CCk+gMsrGYrUH+jIXh5Tq7bY/eNv3fnr8MHIIaVmCFUa
7ObUv8Yhrf+cnKYQknBfIM23e7Jc1kOCigDqU/zWsTXAMd6w+iJsQGhXAErvqzgTt2W7pKzoDVr8
Vlc+AYD1MIElrzZ8iyP1F8srlGXvIE23ANX37qCCvMQaOV5fbg0WCROMild6Yqt0q7MHUuCH0+VA
25nsAZsyb6FlmLDWB1h2DqdmPXRt9RHL2o8pjBwuBIaG0+p2rOHTEGqIC6KX9xVJGSy+RbKT689w
6hc3seLQVIPpnKrkZAsrna7/uFvnSQR1vKq8eq1A/bZlXKtSl7sXu7HavnVLveMTS0jWqqtnunkW
DNa2Qju/POAZLq+Hsha3IdIkV3RB80LMVQNTlaTDbII6UYvhpV9pLAho3oiws7d9nBPCTcKTNxQR
MaIrcM9ZD3YREb1n1+js4xFUTzwL0JY64NMFtgGmXTq7Rwzmvx+KGJzd5eT414/p38Kv8u63i7/9
j3/n/kdZzbjFou4vd//jJv5oyrb80f37+mv/9bQ//9I/+azHMue/v77Qn16Xf/73t+e/d+9/urMp
oKTM5/6rme+/2j7rLu+BP2R95j/74L98XV7lca6+/vbLR9kX3fpqYVwWv/z+0Dqr6kL96TJaX//3
B2/fc37vKXwvPt//2y98vbfd334xzF+5ijBv2GhO2Jiv4+j4tT6iO78yN+iCSdqyHWEa7EXZ83XR
334Rv+qaEPoaSWYIy5IOqWVt2a8PKdqvwhaqcHg13SK30Pzl73/4n77BP77Rf0HHflfGRUdJhoLA
n3e8toZzzdJNw2K5pNkkxa0BaT/NguBLDJElwb3VL9j1x6E5LDhEmjL/UkpEx62ISRpCYO3nvfMh
jT72LL16gTxrPluLTXu/ekB4uDeX+g076hVrxpM07O80i/ckFjCxK/bBoLEGZ0vp3dyRjwYBCUsF
4G3WPFbH72Mn9rNe+ZmSn/U6e8woQeDS7sUm1OPKbex3ykBUTNAgqKr+I13YpTgNSnXoikr9QbLB
M2iZ3I+0wfLMTrsZ5wREsAEMZDhkdv3dyPLvNrUmNu/UROkr49qS40fRKNTlSxLA+RfvxyY6wxN3
gDcvbrZgz5RJea/njhdrQO9LfbovKMqxINmKvvtetsBB2cHd0Nm3+bPCc5LXSOELZUMImp2r5kaZ
jGpbMU9AAW6QjCj1IZARjuhJoSHzNDbNa213oMOVr5rfJRsDYzaFGCy/WULMFFsbY1GPGXQ4xlVT
3SQQX4FMF4QuE1oGFwCdCuxzS3FwaobkOMVa9I0k9Q+tXu5GKCOeSkoS2EIW22N37umL+0DmATU5
GiFaXfupC6TvUe2w0S8cWvHDo5J8F0Tegu4OWbnO6qafyEqGvHUnRXaKSE2JpfplFsYrGjWbp5W4
TbMHxAqRSmCslja3K1haKYyHmep/QW8CTPQQVUfqBzjzgIppxkyHQtvEzlifcBtM/CFzaFRk8xI9
0YnK0xyynynEfatD543rQoc8PdwIEMuwJomAWFXdZljTG6Q+o1FCNUoSs0XOxkVSOsxIC3bJOIh9
h0kY2YxzuIFaWB3jRFl8TspNkJj1lrSRO1vLxzXG7lHaDPeYnH1lUR+HqY2OXa99lMyWbgCG15PU
rGrZwUrvwwd9oZEt/usAq0r1NcF+rVm6eKOWduup0AmR0b3krXPAYdh6yRpsepFBlI4x7zF07YMS
wRGxnPgBTP2GHS5EMGrtx0RPfj5cfhasD9DQUzeGweZNpsuhaptyRz97cxE2TgiK8xAeLsivrwl6
BIHM1VGby6205nRPpUJJ3XYIy6MBav14uaXPZNeiX91lrdUd8zjpj5dbl0OBL8JbZnj7F0HHPM94
YyMqECYs+mMNSe1YR7Kmt1x0XAm15gbwwV0g7zmChvE+QruasQdcj5XESoOi4czJrvlDttDdnr/r
NcWf6SQXYDZqwbslQIhe9RDUvj6mKiIwCuNyATwX8y2oRNzaMZLnyaRprJQ3uCDifQUhuWlnhaAd
yyCNLx86P6k0QpC09uXyTi+HSXZ1hmuEN325L6SMCUAbKRdPIaK5fLlmSH4f0tyhFXEvZBHBcgEa
bq/fkaPlBTZQ7qaCXlVdEI2W5PiKnVKe0DgsvsBKQtO6H449qabHdj0E4Snpz8SUBwfkhTu0UZK0
646+0Hq43LocQk2dNmUFZWVZrA9aJqFbgoX39LKejzJc5mPfAUMlXWaj1mF3RMjbHS+3FuKjmmCm
J9jMj21aDX5VU7kGJzIelVlHlWLrkIjDryDrFwKEu+54OSSR3h01YxMP+JoizWiPl8O8vvofd1MV
JgP9GPI8VUAgixK1R1Vlqe/1tdkgo6m9VCPhy0mS2U9so0AAyuFy63JqT4YTH43PBZuZr5rnaNBt
es9k9VlpcAYmQkaMJep9whfbdfN7krL8pu//LTD1eDsrfXtU4nI+aNaTHdHb6sX4WnZ2d8DbDUY/
0Tdxv1I8FkkkJIQ5WRvvNdj4AgVXQXpcRsjaYtKdDlTSxUsbeQ3nMCieNXTALBUgIXG7v5zDl3PC
UHLq1SJ/qCKKJ0Ka2DPXW6GdFZvOhALT942FXamxsVpcW4vZ79BGX6dGG+ZufjnOVPvo/gf8QCum
baNo7Z4vbuI9DVjFQ93hZIuZhfgcK36p4KqmI28bYUFFoqLYNtF1S7W91UOgDgSnIerUyEF0ZUzx
sCUPBzd3Qgm/rl21iii/qCF5n3hobsb1IIueUMAIN6QxFLcdNjCXMn3hEmOv+dWd2RXilh4fOT89
2lhzxutaz+qBdO4r0VV3WZDah6pTcUpOjJ+RsRB2ZQWJV5TFRjOB9eZwGn1axzky6MLexjoiXmcx
k4PFzVNuWs82Ctbf7qVpbMOzljcWmobzohk/aAUkx6V7WKN0YF4EfqOKYidlAPYGVCk552G/NSvQ
xJgYgIJUzvuAsd2byyvCJviMgO7QkzwMEbjFOlKKjYKUjLpLFb8FBtmXGZA5AjVhCSrtdAO2I5Ls
MMel8tvK1m4VGnzlxMzICnqKiAnS5gJqkSafjSWN/FJY6M0sM/OqhZUQqMk7rexgsQAZdxMNKgEj
uFc6yrewyTtPw5jnm9YJWOt0wL/9CRL9yZgC6Teg31xBP45rGj1ik8mGyXqO3UWVp1CkLcoVJNQd
BiGljo8AE/wSCrXbyqneIC5dtkUEx003cYUGvj5pG1gtRJwQzgZANTbj01hIkE5G7Vml+akq2U5v
DJwARFZGCxByzVDsF1ZITYbeFwfxY58lkUtVEveSH0xWdNUyBbmBxqxo6M9DbpA30Ts1+tIy3obD
/Rgxr9b0XoGP7AUc8H1pMAAJ9HCUbHF66LQ08xb7WCJPspXlle68qi2KoBHjyKbE/JOoA8u+SUAe
HkpCXurU7cnRwvSnKcyXCEKHdg+T7aYxsYjSS/0gfpY4NdJ9ip5ljlaC2rcAPIUDUZRqNrmoYowr
uFKkEicDqIfmJu7q/FFXHOzg3SEfivqWoZdeO5FLe0JZPquBpEWa8QckjTsixaaTHqh4V4aOgd6U
iW+NDsWaHLWpyjlCkKo/NEN5gNB+jVkNwn8tn9QxBu4xYSuhGKQhHNB/xDa54mi7YY7Utjuge+W7
I7aLTE6WXcGMM6Psr0Uzzl5Ksg3JRlaEVDlPcDEG5tbqnVNQ0+G0dJKKchTT3qBCH4bc4nhTY2mA
kQ3oi4twPPw2Tmt/aYEBFyZCla/YzUcalF9WtHzKwjS2F+Wj4mgz66823Bl2ItiwruQtJjhacVjI
O4LParaYXGOFqBK/YInjxu1M/tRQeOrcK4BAXLGQCmCV5U2iGE/VHKebKZTqWzbZTykO63vi5ulb
J9CT+xBpzpoGYi3iOraiypsWUZFpm/8QygSjrCWXQw2yG9HMpykunsuoGQ+8/es0XWPlKZC7Opeh
0A+x0gR+WRTXadTtg8F4tkaT3BIr/UgaeVVJO98SEK657TjYO7qQ9V2H2N5l6xuTfI6qHekx6QBq
/mZ22bXiRF+yxbmkYKvdDOizAFdcDQpBTlKsMTe2hpQj9zHDxg+pk27bgH6ybsBvSs3PXo0e6/iV
j4B0ya68bnp7fG4qMhbVOnsRbVx6oRDo/Qo2IUOStTeXA7rr329d7gaJMxyQBF7/8XNDFiwKQWP6
WQzdFo3I9xB99oao1R9zmPX38AbH42LuGtJ3PD1rzyzd4gMTxmsyNI8xaj1qUdVRByWzsbT2juyG
72MSwaQ2zXs9Xc/+rFdv0vWgV+W0JeSvd6O8teWR7jYD+hIWPtrwjIrFKOcN8RcAsnXlw7aX2bXN
JkHf9tFbo/EypO0Xpp3q1OjGa2uXj2o6GTc0MWn0WlhrhP2RTQXmt0SCSm+WllFY3MLKDvDRTdCI
CMpIdcXD1S+5sML0ukxJfUeAcMU6dqPl0SEt4dcWDNJua8nv1MC+axpm4Sy7xxn4MllY1mBQLpVz
lpUeuaXUXK5r/Vst2WVA1Rru+tBJb3tlZLeVJvq3IO8T10ji9WSO+KgXMR0vB0UOE8pJ5wez9LDt
U2sk9e4xK616a2Kqw85VWD7ygscJXRFm1wE3mX0Oko6uYetxtj+FaltcOVZ3tmt5itL5bewaSM76
MrhN1VibvBW9p9DsT6t1J2aD6kYaC/YyfCbMK17TM9EH30UyDW4S5FBtDxeULetNZCU0xpOCBFWu
ZJDEOwsb/pwv70vW4E6QWXvow+wePFPsoxjrvD5XX50ltXcL8/cGDQWEwCVgnlB3ajaeh5Qt0BA9
Oa2ZbufGGf2iyL5GQ3tTdDs5moNCEuE8qW4JSgH8AFs7ANJJe5LIsXxHMwmDR+HiDyDdXYNNEKhu
4ULJm45la3wkxDOJtAw2kwP2XKkF3zNrLU/XWnGbJErC0jZ9kGGznACxuU1cOpweGXHmrdVi1c4b
r3FibyEU9TYt4jXjB+c4ZHdO3Q+9nOSuYIcJNCW1XXsqn7RRi72swkePNd4jVNA42mHvbHo8l5ou
V3tpuLeU5bswBUhRPse6pVw2MsDq60LCstNtp3Z4lmsEUaVe2D59mM0YG+a+5s8DI6Dt0sysDygS
yRIybIqI2bgrHJivPVjSccmuF9y+LFXaea9MDvVOEV5Fc+mlUXwVTDD+7Qhre6sGqDkYBVl99sVi
YIbFAA+4AIm/Yt8IfbHxPZM94VhAJ8sjnyKOj3p1GwQGHT+0bERd9l4vI4R5Zq/cUlS5a+B/T+Ye
I3J8Y7Xq4dCM6sSlJ2BqOMATYelsWh3wetnPlBlmQZznZG9UtZrdxlomr1icQy3Dr1FV9mEjMJTI
bVNxZunhwwhwObNB8CtwEXFpGaxsjXjfGnR9Q0bwMBBgIcjTRf4qt6yHQqC6+pmOwTcSb+ydEDFg
rRmNfMQfyQJwrsjn7skWA7l8D+75ENoGjHlGdi/N5/CgDCYCRjP0qbcRmZ7MN1mjMGZ3Kq7fu0Lo
rWdNGLrJBCIEARyYN/JQ2KJYD6Ks2hlZ9xawueXvN3wdSei1A2Nr7XsOBNd4RYprEcbMBwm2ArfC
DE1nrgBJ4y9QEX1s1uZwq2xKWZtXzmyUnkJT1QuN+KAt8avUx/mdX2DZVtxPfd4/91HGqB9/Faoj
r2tKY7woWlj5UR3S2grwa5LpbgodsvOQsk5DE4yy77kLTBg4SV/6pg5moNH3S7VIP2xUXzHlNy0u
rGMdwGsoKaGrjBcBsdo2ajvOWcTQTe5shdI+qRZvtbZ+xMXSnYYBUL0VMsLBkGHeTo2VIao8awPc
rH60nun6P5XURg7o20o3QADowfbKn/RqYgE+XtsoL65rJgME4zpOy3rwMB+NV5BjSgR72KGqav4R
h8XZLPX0XR3VwaU0OT5Z83YsK4XEHwtIFLeAMpAslFktCkWCZVZB1Xg0lRf2mtTLs0p1l4DIhSYO
dqByz3IpzA0qsXiTGxOVJwxydjL2yHcTgBDOTCFhbA8puZu0jllkGo3TX83dKy5Bew+wrXFh6di+
Os/Tvrfmb0AdxQYAxh7uS7Rnvde4WRhqft+y7mIAxwXfsaoadAenAbEN/EkoWxaJqHGEu4RM672Y
hgUS/NjvqPovYUsm0HoIV93W5ZZZk6VQ05WgDggVphltzTPn6rrI8h/FEhFhyg5dbdod/JMPUoVX
4Q3AL3XF12Ube1WZXg6yWKEqEcOHo6YJ4olCeGQK3dCAqK7spPDrsGr9Gt7MPsYwm+NQeFpS5xgl
FEeK2GG0sEflRAJbeJ07i+GLopy/I7knQRW4tkk9KXPcSIwPQIf2IIGTK4ky/Yzh45kkCfM1iJV2
28b1uKunzHy1nP6axa1JTlNFnGgzhxu7RByrICA84SVwsDudIOrOp3I9EMv1amsxucJzcYgmQRLF
8CaMwDzIAQFuU/KFo80iACti/azn8n2SwXIMepRdFcPfRuuq4RAv5bYba87cEYZao2OiDdY4myFl
8gEHrG1mqQP+16H2tZZYT5bpB+yf4XjXWTGVXnvK/V5nAHC1yvYN+KMPy6L7BeFrT1URK7cZDHC3
4Wp91QbRYtWkm1jR9IGAWeuHSPTv9GmLuyY2x4dQLw5BNGQwpXqWxSM2ZaQjyKXCPR0h8uwjBtIx
MjFEpPWHbNe1fd1BFu4+ZWNVN03+AQhPIat7WtecxtmSI2nlaE11674AbzsO+m2lls3Nwmpnt9TZ
e9eTc6r04Q/gJre6/lKusOAipZW+gqdTpINFfGU3ZeniT2Y7l5RUFeTZxL8wAQZ0ifwNPHANDYEh
5y7Pq22fBCkZPP1htIFuYul8q3qINDF7156EE290inc2+tVxHF4sLHZM9OMW+gsyFLvdxtmnTUK8
Ty0RLXCgJmixm+QG2trnNAXWwYb2l7R57WvSfkTcjrdVpvkLhG7iYkr1dUyt68XCVjSO6JhKAieH
IjuJusSEOngFWu932EpnO/zSMYDfaMY+D5XnHCu+R36DuzREZi1jdU8cNnBfi2pd6Ka58jCV8Y3d
aly8yUnRig+BKsA0W1CDfeD2jjLTSwtRFORUcGLzjlzw7i7tR/jgEuIAOWOa+SrCPkKvxuDsrFOj
mFIf3p7qy2BCces0h8TsN2Xezz4EX80Jn8xSDbdLSsapaZdn0JEUqsrKJ4HA8NM5eCND4DEu5LDT
HFYRDRW2kuBb5vvk0I1OtCMMb90yI7wqwD4cBZIMkhms5YmuQh8b4fNk6sa2TtWGGsTqVV26lyWK
e4/wN1COjcmcFFIusGyqt9DT9joIZL8SsjmYc2u+KIpCuQY6eawr5r3aopSU0UOFYP2GwDJQlKZl
bS7iy+pS2xyQYV7uOrZ+H8zNXrQpZd/cQA0cTKc2Yx6dRmAwdk5SEJWtu3LE+l7yUrC8Mx/oJ2tL
tdgn9fLcgH3BUtUdErU9agvE54HuwGC9qJKtWUGWJnWLYweLjSu+JjXlySBOGu//Pk/XVXpu3aYp
CCA0k89x/lapTbZ38DsdwVudpYHpspLlzVxrIR0JkpR0M+frVnQHmrjjTwHyvlohxsUW3y2q1BvK
lqdE2Hc2ZRW0CewRl67aNfpNEOfjPRWuh9yoNrDGux3eGMPvkvFGOshy9AHzxzgm9v1ocDJZINE2
Lfsc22GNWdn7KQ1blKoqpwUaZLKpy40Yx4d2nJhqAtMrgQ5RO4kPk9GO5Kwh5jTtqjYgjvVgGxX7
0SqZxKXdkn6XK/68tPz5IpgehtD8DLVbwZ8NewzJ3Ki1lE0k2tdFpnfYuGVL9TWX2Q6LKQwPsP0E
iOy5wk2PFJJ9WDi+VSMCwRaWMvD7YaDJbYgQwEOPMoMdG4NNakXTJnJqlSIKzzRjeYW5gRM+b0h+
H+dTBTBhM40xYmkRcXlb3RPMD+VAVcpCws5eOgNwld11oabdMKY+mx0LsbPaMUvbASEzU/cGtvPT
qKiiI+9hr8BouEX2NLQYaZi0BncIWfLEEfSUoHpTtEY7s7tpqXbGFRw9rm1RbJvQ0q/zyXyxcpoY
StkEGzxX0VWcvWtdip94CjkDeooLbNhvS5a7bA8eTSOvbztCQYiHbX3dZrdaafOxGLTdNBtMZ3U6
nhQDrADB12HQ1udcgwPvAKxQF8Xc8sry7nJoZhYxCz4GUmMgNE0VZGu6hfjwqfsj7U6016plyseH
ReVw5jzrRsz9TYKLVIB13yQdJsJe6A/aold3EaZufQYWP8HyWwVtuH+BjMGcxWEjjknefVPkwUja
d97nMVn0r1417wDt0LsR1NV0cXIqIJ8A1QAXON9sYKWbQovyaxKbLqbxAZleqKAYHPtNt/QU9wr9
kcCfHG+5zvyUU26Tg0PL02S7PQePlRWf1QrPhlbvnRpcdRbVu2oe0UtTLiHMtqOanO7arn8MMEjt
8PfjE1fFcQocbL8Sx3RavEWx/qgRS/OMmn/ccKXm7FDH8MbK6rt2oEAB44talRlu8xBIbBm5wWTG
FL9im0oXa9Mmv63spt1btEXyuhm2YAtviHxRNvC2RywyrAAxwh41TtXZuS2s9DDWyrsTsGFKrGUf
aflZUZN9qWAUrS06xlSj8MCsK+QJNxc0wQAcTZjvufb3XZPUG/J5r3KDFKKsDeVe6dLkVVKEDZJm
+NYvESgC3PT7SmmqW/CRmJhAiZXjUQMkQ9hFbm36KulPiS4TNxNifi36TN84plHsY0N0t5guYO3J
5HvKqO/MkU/87bDFE6NBDq5jD22QsU1kFIJsYmGVwhZ9qNsBRwES3ee2oyJFcwaibTG9vJFNUX3i
wM89qU79XYPh8tD1QtmGUW8+2ob8TMqk+cRhfmgLGmFma59T3EYQUuEo2wdVmPEDbCTkaGpsfIa8
51ilBTo0OetobVmLhnCApCGuGaigghl0oGmelS92Wz10bR181nhYYhFPN+w6kCEP+ntj0zZPrEQh
s8jRN0EHTRCBOQCuqPRgRYFR8VD6VJ+VBBQUUSq/i+tZolsyHZIvq+7R7j2xDnApZv1HoERkrasE
CmRqiiUg11ATYILd5FlevGiNeV5sMX822XSHRwW4ZmNo1ybZB+7EmYeDpo0PsxHi5Yxb+5Cqin0i
MXD04DJMp74ImLPRCYx5Ir/mJHoLMjt4jiVhtsJUj/113ST2drTEU8Xo6IXackKSQO1Wg4CqzZPi
BoH1Aiq+9UBN0D6vuGwdWrELKO0kaPJ7IxfXrW4RSt/biNJKvqy5mnuufmv2QaKBOFaIrNfb+tBM
gJd7+wdVRKRj1G0tS2Q7AKfFmnIw4TqOXoUTsbYuJtbrNdTABCNFOhzCLGoPNMsmOgaf+OUyKoOx
t+KHNoM5FeCdhi8GiG5lo/AN4l4l+6JJOQcqwuzJ56jWl0yruvKFMn5PEucdruVtoa25nq11HTY6
li7ReGLRKc7RNock60Mv/RhyBW1iq35Rtr5XtX6P1Jl8kigtV+roc1t+ay3yQBXJ4hqQpEt7hB14
YcIOn69DMlmGdxHFBfMoH1g0Ll/syvczCS6WnZ8tNijILtFQxOxLZ5ZHNl9C0A7pVgTKjRXFWLsm
yyfeeQU6Gp+dJq+XnCjG3PiapHFjmMM3JqbNBF7rnDq0lKtG+8Z72ZYm7aCpbB8AiwCHi5jea2jY
njzTBHzobCNGlzZvCgNWhl4tPwYWDUby2ij2G0lJFaiBcZdRX8FC8drGoPpNrP3OWe27qxFeSWlp
W6NlEgrTb9TfWGzQS1L7Y2VZtOmBThyzWVA16+rXxUppTMJEreLPLihmrj6qVI3ePoeFfgcBeVOo
yQfNmCNcRexHgBl8QagSfQ+HuFELzIitZduq+QQCXN6Fg+EtckigWTrfGY0xtnbBFRbgLcyq9jS1
iyt7uDEtXkravXAY4BnkE/NWYEAigHCGOxCVYjiwIFXfutChyJjA0xrS5Z7wgFcow/YX/FyXPN7o
xDdD4a4hjWtFDPRL2NyvILR9g5t6l2jOqarjmUwQw9gvXfhEoPjOtir1lnPnOsCcd3SscL6VKWv+
qQ3TDUjbxgOpZLqtnXxrSKpxrNwdcOFinE3K01IZz2g/oyssjakbpQFLRo0RRkqW+mHYerDe4DXU
pMw64SmO9NBr+iTx4ggwR26ygQfvCvhWLf1qFGRCdyNTi6bOXh99d0QOJLEIVB9H2B6Lu3TN6ipq
7BfyZ2m/9a1BH9Wdl1pc5dHdEvAnQ75vAd0O30lhMv02atOtNo/UN5MUSd38DpCn8mFu5wWn7xJ0
PYx/68GhNkAnj+6joEPs6mYVXNFbWPzApMBP5ya5Fcn4+8EmnpVC5mDufnugzeBFjCbrDxO3IOfL
3599eXgqwnmjoxPHzJ5OezlWT7NVFbNbCZ11igZ11IkpofZ59GOhVziWebKFUYvbcHawOK6MjgiT
FRi3N6Vy0GUjv/V1PTok/UwOj4r0MX63bepgEPu3rAUIFtADg8rgWG4ci6Ve6C86nXYJSP1aJ1QI
gnj7oFM4AbwSI6dRnZpCx4GCROplgtVTRHwd5AutTI8iolAXmkRBCO0jWVpcdwwgEO3NjWk7BywU
BY6kgGGrq7+jUKfj6pwrNVUZ0Z27mD2mT6Jb5LcS+54e4TMRxWe1CqOItNgWqVF47SLPZSwwFaB9
cWfNtj2tZgMW9LS3JoO2rp2t1jryvzunU4nQtWFMq/0d2moCoRW/J93YxRb4rgK8O5L4Rp22uTfj
4mFEvLFDR7LX6bMeI3hP2yqpaEiHhnMgI4oJllBUf0psh/7nmF3H5oTvCcAAEFbEECnwBQMCwzYn
65cxni86y7XXqWbvmmpvjlZ8LhMgnRg9QmRkoVtw100lPTATBdmmjSNUUE19G2SnItKftST+MMy0
wijHEFnE8YMBMtO1oP8RLljcj12VMAy0NwHZcICOdW9uDQHRhJWkSSM2yt8Ne76pqurRHGjVgknX
9qh83MVK3mmk/ABvDboynfVTpGT3uhN+FoLvzAg413K12eYo35aahllKoCwFWNLoe5n9qKai2FYR
WqQIPLcwZ78IVchBS5eShhNSX4yK98WhNk8BK6L6qycuFmlo1Z1b5cROqoPMd03OMAT3ydVag3Bx
c7oPZXef6PGTNOZX8I2W5+QZkM+iYmmZGNltkzNzPJTjgsxc/1KLZTsaHRqUUr+i30OFKNLzp6RU
j6quvw12x/fVx/dNrWLKqJxys3R0ZZBpHic1fltE749NH2wMnOZF3N2n0nBxP8d3RVlv0tz0jTGM
vAR9idshYf8/CGn/Z/HrnzS1/5zWdvdVrjLU9v+BjlYzkZv/69/lqv9NR3tTFmGZxX9S0l5+5Tcl
raY5vwI0lZppGDpLNR3zz29KWlv+imRFU6UtHI3/r6r235W0pv6rtuplwS7qAoGr5Jd+V9IK7VcT
yjX+LQevw0Vk+/e39k8oaWnyIpT9wzChIA+TuLVxHv1ZQNsUPez9GB4HW9F0KveOk9Fn3hZF3A/T
yQjmGMJvU5qh4Ye1mQGjTolPyv1BiWO2+60Z9RX2PE06+rIDqwKZIenKcPjqac+LhAvBmv+TuvPY
jpTpsugT8a+AAAKGnd4oUymfpQmrVAYIvDdP3xv9bSe9uoc94ZNU+qrSERH33nP2oaGFYMnNq7Ux
F6kqNpiRenQ4SBhDAMqh4ZCT189mBSM6rrwKpLimmDR/ku82pwb9TVqLP0nXFNWz5u7nyAai1XGP
sO0CDi0wCKb6d9tnFErrzDYHgwggEno5ZFtdButxRbvRJxYgmXTBgRY9QTL15CtGCPnjeRRzSsCn
8hLAJm7dle56qjuZM42YWM+yWud2dyC+pRZy485BmFiYXizJ1Ks13IDZviOKXu5m0qCqah3raOg4
VuSTYZM4LiePNb4RQlQXr1cyfEsUL8XnbFglnsbAkuQM2KE92Z+h6gPzRhadw5R6sgo/3VQopuCx
AUp2zCeTwXj4CsAzjW7x5DjTVWf5VOX4DSKSYTOviYxfiZcZvwVA5Og4ElbbX01qD5ToCkbOvjNG
VaBetFJIDFZhJmeZDF5E4e/1s/U8l94cPXndXLNjhN5g6wsBEYKsV2x7ebDJej+qGft4tYFoe57i
9CuOw4Y2SF3j5vT7jJTlABoDyp0mz81X+At2S3c9VZX5xDshw21NETaRsOl3/c0IW8TXmoY+qVNp
5mSKUFp6wGJXypx50LrpnBnSVdDnXdVuEKcU5rB2kCyG0WYW0XJshYo+RePaNPyipw2ITWz8sgkB
ZIpmstMH8wo/QmKgBjJLxCalGB3zU+iCsFLM0TyHdTlIgj4cd26KC/tzMF/5S/y52oihyGPwsXAW
sO+bAM1pHaiB/ZNxDPfNFlzooF6Q5c5gUzAkYUPu4lYYv8Kxa9CBThWqPEJNLYjlnD/aCebvuXDa
xP0om9irogMPuo9fteq74cWM+5gTRNv0Rk8CsLRKNIqeYtY3rjxdcCxehyP6D9pLMOuBQ4w1etSv
zEQF9t505WQ7B0nKtvobjanCVCFyP8B5lpoThx4C2oyXeqLqg7MEmMvCpBTXn8KtPEaMU9PZVJWN
2Yzhu/YSp32YpWsU1WZA6xe/2pmYGlBKdjlYdKf90q2ZG45FeeTvis3dXOrIfLaBbgDWEt7APNkY
ssg++pC36nNTzDL+6c9lUr93g1Nyn5Yjdy3ZIHWTIIhtO2kkX/TDXQPSiKUVqXxAcunjh5THcg/8
IoDLmBuuVi8pb3a1S3AXJFcgcCH5Wrbo6PvgJ9WvQZdZyR+q9pKaSTglcdZRQpj4Z17bcSNXdSKQ
CzpBNTQ7WuLjcOW3GrjWIx/JEYSclSiO8mbMgQWYpU++bZKg4UVETwIZAceI0F9Vm0trq6u8VHR6
Zjv6EhkryHlSNNEvpCXOFYL3Gnhpob226FaawQFACQN4Zn8pupB4ubHPIuNrbPqi+UkYhZ7OlYIn
cYjw6ARU8U6c7Q1Tyz7eayCsw3C0GhBq+0ZR2L9ZNjLW3xrAcXjNizIaPiW17MDEYqoFne+4qeW5
MdqWubTdeVA/89StiZ8LQ4uPLEbydFXAKfVQOkx4pElip8HVXYESRcm1Z5w3Xb0yUQyOwXM2pGe6
BlLf82Rysv05RXKoGSu3WUEnQcAOjtfYfaHZs2IRigC8NYVVrOJeE9UL8IGy169cO35owx4IyYg+
032xM+BFyPuNfup2I85gIk9KCPwxMH1KpegaqXHRPtrl6HHcLOx2utlYHUqAzK6Yn4bG8JH4hc7g
Du8Wd6PPTCdLKlD+k00yiYeGZJfqboBFB02A5trsB7le2U1AurOv66h/quQSlLHx7CQcdgNtxsxe
459M/L9Cskg9EN2GaH6VJmpEIFfZfDgQOhp9myAQmydxrQBiyHf6up73RzKa0gj99Gh+NtFM5vRc
KxG/1hERprfKH9vwakawBU5R4M76QeKo1mdJb9aDItKN4tQkoqw+WBaXUgQCGnpKowjhKJa5af8N
B9DngM6ogManhvzmCWGlZ/6FP5wEfys2jvZSukuAYp1HWrxMYd0NGGNKDpnryFelGQOz7Qpzn6dm
J7Zzn8bhzYX02b41jW9Hd+2OFV0lVRZFsJk960dMurpfjulXisXMLrcGLJf8plvLqrZVT1mCPCIM
RbCIt/F9JUap9CkqFFlFjHJikC/YQKyE1zx0y68sbvLmkcyNPsHGwoA8PkcB/SGguwCozqAWouzm
d0x8HkTjYjVb1XSu1UcxyYlQL4MJ2KEN0Pthw9O9PHeBlRh3rW0EouuhrCL/HgzUwAfBAUBv41i0
sl3K6qplBpgqWiN1n08EAoRZqNBXaJAUh762DCJeI5iLz0tQHoL+ieyXRzbtRj3D+4amsNFulIkX
5c4WYLDOXzBtc6EsqD1Com6bmwo4Kyc/GANyTsuB6N4pSgioTT0vtUEfDHU/f6rSce0fTea1zic0
Lobt4GpnmHtJqKBe510RJK8F4ABwaHCKxWtkJVZ1BMha0hxmTUjTHzoUHdOcIlAABs3M6n9Bgi/9
S1k19MTzrB/S7SD4q45JHZv5oyxMC5eKH1au+aOB4l7/SDHHyonpJ48Ute7oIudDXoB4tcEA3Bgl
+GA9dvOtKYqIBD3dCDN9SPmP66xptWFegJQ60bSOLUdW7zmR9O3T2BKmtGVy0YdYKWwQKtWKjQGK
4cYfa+GTOUkF2joUjQIh64q7Osu/5r5p8mBXVBT75moQxZh2XxzGKDSvkPntPtt2QYI4mYG0awPj
QzNtMBKOcz0lu6xJ/JAxvOnmOf1mC9S7uc3mxPBh1bXKZrLVNjHMlHWqW4l+l5dwiFmhOtN3zDO2
n9z5qzlCFKT8FHo2n/7vvsP/Rbn0/6gQ+h/LoH9Jwz/1f6+C+P1/r4H+4SvfsX0UUgCsMMv+ew1k
eP9gpOkpITzXpeCwTKhA/1YESfUP4QGnEAJGmOPQjv+PIsj0/uHDbSIbWkB4pYIy/y92Qpec8f9W
BUHF4mE5Hv8UpZiN+XyxG/4XOyGKtpL06egkw/C3dOZD3uXPmQLwZWQdYjZSEpnktbhVcdGblB2r
fKjbXcDIdYe8R6J4cbEPTThKZuyBg50GD2Hy4lpZcW1D0KwQG3cdydXnBtsQIr0FhiKLqzmmC490
yq+GqtSW0LRo3QRtfPUaa51AAdyQ8DGsbdT12gPFyuv3O5rwaHk2eGMRhPUhqotP3ZXtRdeH2RLM
KVCnrONOpFfTClJC3m22Y7vO9+ayv89ZvE+d9CtoBQAXE0J05mc7CDDlNZzkMSUIF8tQBcjF/yA0
+4Q0pjlph1CNpEmm1ZQ71TWqY2NnIn1ZRWQRXcXgHst8OFL+envZlsM1ohZbF+UCeizq8VJ1b+Go
02M/mlcLrFM3EwteZ5W1naN5vH5fvIVd77qY8il9zV1gQRv2euOIQKOzNl1BrNswW802c/u/EdiW
wzfxNqtUcf3+CidXQyQWyn0PDi3LGy8Se5UpaKjwUkR57fLHLNS9aAP2xcLYJljLrrV6C8I+vkiw
Jtfvlz7oGgCviM7W8CO7bQqJDXtm7yJPTv/t8v1tiRSfkU/yILJEPcjojRgmUrCJ2KBVZk4olwG8
bb5/mCx/YgeAAyvCTVpmMtdxIiA7yVC9FQ3yiN4kW1y16iINqS7fX5nLVyVplguJYQtqjC1xidhm
3r7EnfHV90UE+YwMegAIDC2kVROdur4sg4vfpb+14YYHKbr6SH/IDJ++n6BKeOX50DGYXHIoaZoH
ZJ9xQZm+T3IZnr8f77x8cOYKPGlQWykkYSOs1hDmG7Sxy/chz+9A7g7RsWn+s4MVczcgbK8hd49P
2KDsne+kxXoKmC5RtQCN6hDXFVK2j57ZOvQCIvOIXLZeu2VsrkqjjX/C133sM2xFlDiw5TLE/kuU
CuW62AptkrHiYj7oh9Z/6VoUdaMYsguRGPgRvTLYy6gfTmVgvzG+IlQJd+1Hm8g/bun2fwz7t2Yg
iRRHJft8iU4aVP4VjQMmhyAetn49BnsiWcf1MDr9IudGsJ5X5Iu7CAAz3KK0jvVwNFXWX8I5JY3E
9cMXkhCZR7jB+COPn42+u0amTdY5eHydLs8jMoKbzvzkEy8eHfLML3dekKCrjBOyNjozuUw6iU6L
B2/H7rm1+256jMeqw/gTVk+DYV1CF49d1fnFLz/rV/740jn5Er8YtBDtDP1ageviLOGukypQj7Ix
7L1EiVyECYgh2jCXmiyB7USA2ZGkQmMlydagWVEVX4DMtqxv+V+YzDcvDz8iZwye8Ebg9lWifJpg
z+8bW5QID/iZZ+JgExVCzMRI/pYSLbAce/UAPBnJgpmQTpeVxc4iQi2kVHzpO3deJfOn5+TeX6YE
L6OVBK9+E+/HsOjXuMyNG4rtdVPl+baa/Pka2125QazyK7ZImgJBGV1LFrFtUhT5GyV1TW7hFLw0
Dh36yIa1rtz6r5VGr301V/cw9jPkT/orlbxRuSQpBF93tHLuuWuO+46ErDR2ww1x5tPWTOO/nJTR
ufNZ8FT7K87KEfZlcKt9FR1zUksOhOqe6TLM97bLw23pKfchP05JHmCw6ElfnKzpc2LcUqOveO91
8+pk87KAje6T6bfFMWyjm57DYsNZY3xTInvPwRZD9Qzbh8ntX2QxZTc5qsfJEc4hdZblBpTIJhpQ
yRnlazsHP/w8q89B1N76TtOicQjXU2KtyBX8MVdPOYZTKtMkOXJSdzgPv83qK0Zk+UYbwnnInB00
EBdjJv1pyjNcfPMtn/CIeV5mXuuOBRGFVyjvGHLFrp2Kz2I0+aRz00CBRLFo7+amTzdlWJJTm/fT
u6A5Vfa8J75UGD1GHR3FjMC+hnJ+HwCy8Qkd3IuHwwUhPC3ppgFvUVrGIiBvjmlqkIW0PByfoztG
bFS9k/QuY++Gey/GCtda+qBSv9mWIOGovfHST/As0CZnE7w4jnwRqKA76Krf2YCtC8JhtQNKEDxl
2TIQ4ckgMI94zfWN4shD3dCOdzuZ3uXgF0+xob1D3TB1moziLRlL8y44m++Gqo/2fSnNe5+IZz/N
b4NjwOLMaqCbIf38xOI2jAtZPoCguLD7ZZuhdzsMi/WwJhnP+HDpsJRxZnITp2y3U9M/aA9feGd5
4RvQhB2cvW7NC+OfZ1dNH8InDKEv9lXvm7vB74JjrtH3MNuBSowjfB/WBdPTqHAuM9y/R6uJngUj
SkRAw9VLFghi7o/HJOLRIaD/Q8tjujshw/5CG8neRqCzQvVZvKLfO/RJ5N5rj86oI41dW6NoSJ2k
ZcDPZhyAVLvmAsEgE3p6sda0JwTauGMw9tHVFcPW7d+q73etGH55dNRuVYulrNHeAN9tpn0GdRFb
yitt1IUnreXWar5s00vvZZf9obYCfDCNF9IM7Gc0H484Xow7Fk9rLUX+OsrA2KHVmO6jhFQ/1f0T
d8wBWJq8MNV7m1Tb3eUAOKZ0CioAUZEXnJrhpYudn0EzD7e8RZtpBhO1dvJ3ilmLEh19+nX4W8S6
3eLPIA3c6v5MWTc82QS3N8ZnS0vvYFjwHZK0mp+Svj+nc0VPm0cd4HHe16Ha+V43sFqn1r0Oop+1
m8ubr3G0erF/9eP65jZhfaegRTeeOWQKkPe4QoeiPrwlEqms6vBCsOa9wELwGBS/RcuD5Zj3GRHl
tDIJNtriiViTmYcUX3vFvTXBVxRGKndBQ9dyuXsiPyOkp/AuSYYDATKfOqipTp+qocWpcxaxX31Y
9Vwvr3u1oFiKg8Iou53lVDK9qjkJjuynZAKmRx/9Ef/CfbaiHOlCr9dpEcf3yqiMzThl72OGkkJl
hUf4FJ8TTfqmpAMj8+K9NwJ3604FBXNuLS0ctc67xD6h2g+4c6alFuNvJv9S4JHTvyPTtAh1L403
iw8tYoHxTnMOrX85H925hGTsVvZHNnAGkvF4bkfHOeWG1S+rGJzR9COGpzkvgueiI36mWqTSgcbp
Z/I4BQUp8nMbzRkjcDRkHkjIkqw4Ds3rxOb0MQbT33lwOqiNy13qKQMuRdLjnM72sZ/qV7erX7xQ
9k++kZG13bNdZHhxEIZ2HwMdANQ1SAG8XAyboSBBzQwn54z/mba/G/nnrGkRlczjh/T2UMWdd2M4
Y3rQl0YO5kqLCkmamZ1HGzKjqD1m0SI+pzacqWpqqzcp502o5F5xUn0x3Li5gRX+oeXsHZ2M9qtw
WQCQ6DLeL6vsXlu0RIqIPZJN0T+rkaPAwjI0FlV4AAXlZPtAkscWJVFfNibeBjSVASF65NJpd29p
jkvsjXsnCYKX0TC7dY4Eb0dv8pMBo773sWz2XgpxfwjNXeSShyQWGw1IehDz0m0/VApH2LIxoXCs
m2mYXfwpRCHF0vOB1Yqw60SJ/eS/BMDM3yPWZ3vU86OuRf7m5/gOHf8dUJm8DRwaz9JZYsOWd8sE
rLwFjzKuCH3VGzOGMmj1wDxsjwjgPitOxEfKZ/Zp1uVenEIs1Ud0YFT0du6c+IAAE7H8/oM7npeT
0sOnx3n453tjWH9st04exx26xeodvxxpnOKDVXLLfMU/Lmlj/9xC/AgP05Ryusn0kjgZJP7OEtNr
Xk7+DeUykY0YNa7Icwyv+pimbdh5w0NTkcXcsmleF8jEqujN9OqnLAQzLsC9aEpkrnVPDyYnZwR2
Ik507WPMMmswBo298R0ONT558w+1wpITsWOCzf5IkLNw0hd/UHgxRhmfKsCEQNPHa9sYv5qoAKFW
VV9mF7DY2wlg2q4juZRbfIVnCElp4GJYnLP60CERX2kLpXS2eNAmq7eORJ0bZAp5m5CFhe5L8hZp
80E7fXRGo/LHNF3GIgYOblIjh/0kbb2zIyChTYq0h7M/QJzPsZM1Mx18caWV+9tE8JsNrBFZPkdT
/uCIargwmdt0lfzlNW3+kWfVU+ggS5YzQvIqCz+jpkV0h5B1X5YmRrAR56f0KnkQs/telGo64lzL
cMvxRg8d8BAVIGxmRjhhgB7H5jMzkgx1ZSLPeTneyTpcD3/CGlH+94Ue8qebB8ZD1qEqhtmNYYvu
/VZI296ixDVeRFB4KETNn5YRGC+0LtUeM9qXpYx4H9EaR0ZhEs2Da4KVujj7kEIRAlSbVMt6Qw6a
3HRBHZ10qa6is/9qYxy3VB4B6HF+icyvfU6dt4padkJ72MuiQUZUPpS2xKlfZPFPtq9PbQrrOZ5y
65wm/ePs1kg9mjL6mZvDafCF/SaIN9snQuxjKXEBMhz6ZJDC4VTU18RLPq3cEJToMXHFSWuuZdvc
k17Mh9jGHrAh3eIFXU6FBN3fG2VT7Ys+tfeAGoYnmVRvGVGpMGuGi8OoZ9XqtWGH9ZnUpB3GPNql
UFqg8wOCELwFbWQ+kOM7QmR3WOOi8pyrmDnexZ1VDtDWBucq5uMQj89tZCCOMqZn7fi33FARO1H/
alGK3L4vfRaCBGcKvo5pWZNCqP3Hgb7grg/sap0KK9w7TH3W/pwmz6Iak2fCIIil1PnA28gAdfYg
GBo1QY4197p+4+kGerIJd3DUU2mY+LzE79GBSWpwiAkQf6LmI/K06UDrEY04PsG/b3EzEh8LSwJn
kNpEy0gMif05W6ibdU/bm4RtY+uunLm13vIAK2Q7dPPR6byPIWsxV8Vmu7EQwG2KRQ4tu2TjVQsh
ERXcmobYFvBRdCwHhPh4IpDBFLcyrt5bN/cPNL24IZf3E5jaVkxqBELRVGgGC1S+1YAZbkrbFwPD
m8iqaYWCMkB9lnZ7lffjze/LH3iU8v6J2CzIUUYYHlGIFtveZUPSNI3pfqKozWqEU5Vx/s9LafcA
WMxhT0Q9QtkpeORZ+NuMm+JgGYD/TZxE4dzXe1sNE+QrFyaIsw/syN8JiAtM1fRFDuJ3CkgEHzsp
k6I8j4faDNtnktxYKkXCChjrPfVdlq76OAK70+Hy+L4wc1yoOTWwGOj9UDKa7tiWh1Jdgjx+QXwH
pyGur6BeV077ij68OFldqzEBG2ZxmjI8QmKQyNMqFyEn77sCixFgzzOMAVIWNp9TiwdLyVSea2fE
ORu+V9j2tmY8nrxGPwTIH9a6pwBqogVY4/2Ik5W285iioLyDwuhWcxYM0PlL+6ixjUFOD1jOfdbM
Sccvnmj/qACIDL0q8WAp+zHOwqV7Ni6s/aQ+opHAw6ushN2tNEmv7/ddlKQkOkIdR2NpvlT5BNmB
6RG9LsYuldzMvSlfORZsWYPEL6JhxYr9Y3hi9PvHhc+8dsPxjaEgtasXTM/M2Z66eCJ107pE+dS8
z9qLVqEq5KvBJHAnjWE6AeFV15T7pm0RZJMA/QnJJHpNc5cJSlHcfck+0WnXP3Oajq+hOWSbuKSf
nkfC3yqiM2TQSlxC0QPJitXZ9vQHRJpkRWetvqSBWT/MKsi2YWbV9zRNHiwkaqs2jtunqch/ZHRb
3wyy6Dee52C9NfVDbUXFlrjDgendnJBbe7UN5y0xPRyD0R9ca5egq7tf1Ec/fb8ZX91eIBwdQkx3
BflmOCc3CaquVR0sCddJY6wABKRgl+frsJQFdgcQrkyRPTc0JYlAEe6GBkRFiwUHimxtEsL8GiBE
RSdAxNa5GrS5K/zoeeDw2mkByAK0ice5YM8K760YOptbHQwfZdn7a0GaWNqrcE9YjHh2qvqUifBY
dli2vDYKT73n/mptf973nAjBp3svxB8qJMjk86gGwXmObW9p6AyFDg4BlqVo7r/zSOuNU9fQmBz3
19Sk1q0gx27tj/giMnT6fctRKxq8PxhGOHrQaHhLksOY5ude090pUcGtyZgqnlvYpz6b6AVV2XmY
QEbgOpHbtJnKSzM527am5jfJZOMU+9ymifVcuvKMJeOLzNd0NzUe86BkkuQapw/9YMGUVf0zjuv3
MLbUoW2V2ESRH67NlB4nWu6XMRs+VHAsAzXuKN7bjRL49cjDO9g1w0wvI7sx9VHLDD4sl8QpaMr6
iVZHDB+3CXzeLQmSNzRWetMH0lo5DA1HijLEiaTpOOw25tADk8l2kzUEjxxb/3AM1TvqBZIOqvY8
ZqAQsqDw9wl6zDXFmPMQSTW+EXy1lY46IFjKH/12Rkw7j0c7dfdmbCE3t5zXonaZmZX5j3R0d1FU
1rcKWRK4YJhBnRce7bbJrm2/8IhGonOwpKzRIOTbAZfZtlLJs13L9Oy66XEulbctNCcrkRjvbKbq
GtfDi5UUF4IOyy3RiQShN/R/zfZiNWA55m7msxg9w4QKD3Fg31m93wumpru8xs1ntmhewrB7Zw8O
jnOsThpA163UA1BDwEsdnXJ6cugxMzJq7WaEbJP6L7RpL8rj48CO/UuN/biGL22QzNRnl6D8nSvm
GHWRmpsK3+BWAHFZ51XY70WL/JWhGX1iY6OR3woDlEDiyBs/uZI5l53TAOtE0WwMyKZIF/EOlQgV
RYssObWLDYzbyqPNT18qw3lUYdV+iTFtrWTCrmrGBGbMHEhQ+Bwc+WBwuj80tUlij+XSEbQ/O9Xu
cU3Huy7F9+XpEVOEV49QFuc/LseMcBEo9+EulepPTDjtjpFft0scpJ9FSILjyORwJTGHnFQXguPL
Rns/+sF0NRpcBC6jdrux+p0Kog/fLV48b5oejtp0OH+ykKAd6KynZjz6g4wO/IQDjrPgqNNHZ/Am
4g69N5GY0zadYkq3NENrLr8WneVjU87dBuUY0NVqvjplGr1UlpSPXlFs5Tjn4Dta9GGsyI9pIIbH
76/QIVsbkPlLCFGJ6kNNF97DbFM2Gm5jSKbdvOAqxjAFL+9687YCcADJY/SNdQEH59B7RBWaY9Hj
8TIQCi8XDwfHyiM6Z82zxNifYcuFeHZL7OAeg5mqrV8NJd+uErZxtpo6fLCGuWD7QaZk8UKeUfzh
h6pmIJbDX5GE3iNUP9I/qwGU0DzEZ99x3vG9ePsEEethCl/5X88ZHzemquERU6ZkWxwc9c5L6my9
2cM6y0jCxYW+ZgL/FMcTSUQq89Y+vZhTkMYvWUYxKgvrmNUhhs2wOKSM0wBXEYL3jUHpknyE0tbD
aVi+opMw7TPDuQS+4V3HvsKJBeerjsbq4ftHacExtS0n6B91t6PX9tQTfGv2FOBuKY8Wc7triU7g
alWwGEY6IKir+daLODDNTMa3AdCdK6JJ8/r9B5GeaM+k3rhTBtyWrryWVUh6csapqE604PxL1ncb
Cf0eDLGHS+udPsGC+orQ+Bkg/+eC0LvIJ267WUxc1WngXS6pwF8Ri1j7GbHINsMUdmOc/VjbhF3R
F9gaiLBXJMHE7xArh4NtMKuOlm8td6j37YCzeO7hzIxYXV4x0pfHLP6DwDBZEw5qvUvuz31hEAJV
s5Pd2tI9peX40s6Otw6iP00aPBOG/dWMdvghrfyepwYIJCPctWk07lLCAjcdNivobv5WGyY9fyd8
AHgDmroiXkq356bBdJnAqsrN/HW2Jd3LcZxuPbkLu9aJq0sdlPYBMQaaOZYG7YTZGaXExuxt94GU
y4OyS7Ua3Lbc6envwMlnTUr1G+UYKQLa/GJ8GJNUMxy8ADIXR7cfi26d8jnCk+pNLV4Z5w8JOP6q
r/O/ZlFwyJlb9GyhqwBwZZS5lZ0dImAufedsmA8F+y4gRyqHhxB46kdcxdeopfsY2fgl0Ph8Ne8W
oRPbCXHoscix/IRlaO6rEm2VhGZ4RVC3caRDnEoxeSs1z5x4NWRDPYbHwYyAaLxbPOHHUSW/ygQ0
ijGRM2Ayz2rn4pHE8uKxVV56LcKPMNf7UYvsJDr3rdO2fPy+kC5JQVjc2IaP2TxNYE6l9VgU9gz1
SU+rYV87lbjFecVounABzvlZdvUNWnxC9I+pL4sHEM37RjfjvvYlsqVwGq4FeIT9aPS09z0sLmPf
HUNVvUiF1Yg+mPnPS0RvfGfVaO/LtNqUhkMRaC6/0qN5XPtuvnO19QOpb7tyhjl5ZKqR7wbgBHhf
XXHOffWMzUXROo+5uQAnsU5qiFv42qyDiuTJDqxry8Fn09S1WrE+aKxcGBgTxEXLpYqCgDfKFigh
Te9M0fMgyjbao9SD7ypr8VikyUdYdcbx+7vvC9g/8TjLZNXTtn6IswSbxSjOYURawQCArBDIPvEi
0ZDkX0QFjMWtNMdHPVTjo9drF5U36QbenG1hHPQoTkWNh4oLfDXjisFjRVI9Zp3CljuQBfRkGpCa
ahQXZwB9Xdr5LR3HaxyW056+EsrjgU4FHC6Hymmyzoi5dsKYnJusOIc4nlduAc46t3JMAMaMytrm
blRfiZcWK9PaFlOCIq5X94lIo3OdtP/18v0zQET4VmKTMMxWc2qY0qfEM6PnNAluhKvUd8RvT0x5
xw0TdPwAqHWJB2s9ClI3v3e1IjNDEVE0qmx4A7i5tkVe3PN5k6FLPsGVDTeeMmnfe6G9NrQZnExO
mneiflcAXYy3WHQwMI3yK/QxtBHHo++htI2t4xdiz4GDb9X4YZMyeuNcq1/o/CzTt7MStfvsksd4
1EoC7wAddDc8JOIdy8H5+9vZ+XQ4HZ+q1s/WVWdGV8It8C/LKbz7DZaKpIRfTkc/vNfC+ZVF0nkc
QsqlyuzdE5+MbdxEwUc3pvKEpBaQBLOVj8qvy03RpOro+PZwm0h4CTFvgcrrTwoPHJoOFCcXzwqs
i6APDfomtRY7GPM4dJLMjfNt0cT5CW1VyGBq+TI1qvwUZPNZMV55qXvT3E9liJKzGdSbYeWPZWak
O9Ny7aOEpI9+xO5vzjxaZ81xGVhl1H/Vy6WiZ7DORtxivkFkcjJVtzKgtjZ5Yb9Aul8MP+zfIeBO
+6E1s4MDEG07Opy+TD10pxCl5ykjQWwdFXa48/Launqj9TF6mXhjWtaesc0cSdp967N2fgtoMDwO
2n76/k40fXT06iUbdEnSxboVHU10a8BMAqbpDrKFwe7Ws0uTom59g7NgE+2tyU0uqjfrg+789txa
qtwIe7K2YSl8AnUcG3M2AvpTwAZJjArFmwfG8LsKblR3J2CNhxYHrHLQxghPh8I1OflNNiqHXBBv
VRlU7/WSheeh3X7kyFA9yTj7GRX1oZ/t4JXRp7GJe/NUJrgJaicdNtRhilVatbscTdlKMjH0fPc1
9aLxQdvOS1mn9q4tmr9uiUiEDWSELFAImjzuxXBcOi//ytWZLDmKdN32iTCjb6ZCQr0Uij5ygmVG
ZtF3DrgDT/8v4rujO8EisrKq1IC7n3P2Xlu+F/O+1kR+4UhB42JuvxuMdhcG7RpEyv5FwDi2fGCU
fvnKWBLX7YL5qzCeqEpBH2UpnZ6p+tvmi+ILYmns82Q/z3qxtcw8f5A1h4gUaB1tcXWgSMDqXYDX
i3X3Tcgg2JhKlLu5GP4GNMJpbtf+OTWtR9matwX/2sUT7MqQW5hMCe3oriIKF2AYN4+1HGJfj2ZG
NyQ/P+x0GFgFxUsQg6kksGfeSSnKy2SqPswyu4vqkhg6H1kp4iv/QBnchj6U0hABA5759TJ3lTjq
Y4UkiOzbsWn+LINEge2yKE22/c6gXe4UE09NN/7go1gIV8PdbZZwevPyT9eYxGGamvVUq/ojCazj
4kr7MvgLDyy6psKzdaztyXfFzIkc3muDlBfcilZsjQBU9JKhzqjs5TbYhHYHbmsyyMuoJ1axDnaN
LKxKNV0KD2FhTOdATOvIv1S/ZInxUmJuyYGg4+ZyvDBGj8SYbTeWTv47tmpMvK31QpbAV+Noywkw
13vy4enExbD5bRv8f9tB8+hK50wX5ro9uEMCJZmPlGK0hyGPUnmKbMnnn5jD39pMlif56SXbQmmK
f1V+27MiE5zncwfXYTuqWG6qvj55goYcOlcgfU7BOK9SL7rLYDdAGOtQ4W9SZlkqtV7hdAGqi6nv
hrivMOwpb8t8go0ZtvjWs+fiRL2wCzLWO1gTG9FxzodsfECqOdFsWcZdWhWfA+r3Q6ctDsRzHP5Z
ias9RruKXFNQ45JAxVxJmtx47g3SPFGoY589m56+o33JGpX4SVTMq/VvqJ4yhiGhHBWQTNe7eXoK
za8r/yt2Xq+ZGz3hXdFepz1UZtvKhneOHAzyrMGsjgczna5J7U+oaWZuwYGCtTfmr3wuLWw4zBeA
1IWlpFGFn/4F2dMn5zb/ZYKO5RqPDH3TcwO7PhyMlLGQ+B6ypDuiG2KElBOtixif3qubnDM+ttHI
okI+d9U4RgyDaPyzBckEE3et0yhaNrToIZ7Se75gg3n0PZNVX7njsW+HJ0f6dKZy1MLl1K/1gvfq
FfUbWiFse7CGsqyOH671Onsrqrb2GQd3XbPrLAY6zO20W2yW8CWMFZLGOtYi0RhQopNNF01JTAcd
gFvO+hx2zF8D3YvphQn9iKzpohX1cHet9lCyJZqdZT4MaxE3x6memY7t4KnpLYJygklOGVXWFggQ
OPu6sU5W3X2VjPUjvxXOuVtzyx0DEQB4cUGWMFLmt2Lu1QE01n+tqvUj3eSA7pZfHd20nHZQaGEA
VuO+EwhOtC6ymboS0JlzqIKQsc/Q0ERG2v9ptfmzbMblIJJ8a2ZFwgR61I9BYJ2L1sITVFN8L4GA
nTtxozp86/RNyx0EeiidzbYyTCSNREyA22rmdyUlrHofJLSWx084QQkd6JKKsQCFVJWB1J4IdkZQ
F+mmqvEXcdPWEtEN1vwRz1VEXm4CHKfVDysnz+5qDsRVdrPYJE7mkn2JMdCjUvX7Wc1fWTNUpPsa
2z5HUKHT52rz34ZtpxfG/yJMe9SGsZuQH5XBuDbcf/it7At37dZEF7TvwDswJEHT1DvMDTGGRQbL
3tbR3CDyMxP4deW9JQt0HFE776glKVEof6t82MdzwPiKboNFO0Z22pfvQ7ZRsv6ueIY2Ml2encF5
SXnHbtW+srxfqwmfU2XehzRrngUrwdw+JRh9woq7IJrwQm+ARVVg3bh9ye67dWIw4eylBulzxcuY
fGStaTAchNqIi6Dt4MtVIwSjADWhUcIialTO6XihSeP21R5VCyArHexTaY3IO5lR7VGkAv84+wua
vaG5uj4e2MbImmNm9u+ra+Hgdl4epZ2M7E7tqUWSjQPOO3Q8jazpJBh2JGy3G835jU3K7ObtPKMW
nfQeTj+7u0n081kmBOD6gAAEe2Et0htUkY7mntjA1qcB6Dl/hU5wbO9/lDNW7yorMtIhThke3Qhl
LutoruZLDsp9wzCcoWj3S0htq1ltvXWT/jHAV9pVWC43+mxz7AfYhdUDDstE2VQ7xjEfcv6L5SJ2
0pxBBS9EcoM/4L7K97FJy4YPVoeutmthdeW1JSLLBMiVlMP85hYbBwckqGl42mwDMbJaNwBKN2RW
qDOn2ueTs1H9cAiMlcyRaPYvHFWnRtOr9ajVbSwLbmyBAWmFQ+EmmAEyQluae77rzl85dSlTbo6s
GKzLs2fVN4GWER1DHtpB559w4xzietq1svqbw30UC/j/GW4MWsltnuSoIftnbZG4/9z8a86q577o
Tq6ySRFZg1DBDXJI4765OoH+7dJPLfzgbsFLSxNSmJ1yX3fqgpKWWS7Gn2ouL7P/bq3wB9fJ/xEJ
zDWRo6Q/ZKShlnhFVLYJuRca1FYvS3dWcBrHatrZFeFkLpxijYwyDchhV93SWMEd5gP2bQotp8x/
ubG5dtTE87JYqGNMzPi4Ty4r27SZafJrerHTdUbIC/1NMkSRkzYM96GiEUsApCe3YoLwEFm3ObbF
TkAwN4uWo5aKN8gPjqAt4Yro/XgFCMyoFphpMaIGphJEQIx0mHZI5JRkpCi/1GB3l5xe4yuYA1rH
uMcTjVznwIYFQtI83bsqfdd9SZzR4kcYsWbqcgRpWDldmqW2sRuDWsO3w2UaW7JL2jI7BZnxq0Lw
hTAb/xz63S6qWGnvpJyMh8UorLDu5QT4jzrkAnRK2yvsR/uEzg7k/ckhlqNdtrysau85on0Fkzcd
l0qn5wAr+9Vo++XJYKRlEQ+YDB2lp244Tz8/2QHB4U47X39+U/Xs3XOHZdy3D7W5kPNG+m+aT9yJ
eYlQx8U6GeWqzjBhQfEy2KfS9TcibCbRpCflT/newNMTpXr6r7RSbW+kOmjxfhAXc2y+CtOZD+WM
HLRM4QxgFsGx6Cm1b2zTfoAFYwmS+r6fphQ5IA1PQMQtI8HsAA67C5OaClaiQHhtffMklwqvcQUC
3owFfPC+urilEyUaAOogsd50NQ0vzN9CQMFh5dGtkJ5dkKSQ5tuGALVdOs1UAalp3sXU4ULri+ow
VxWnNiz7oScdfxcryiHRrrwd3xY7JLDNCbUh8kIfKlnlPDEas0OwH+neHqtyJ37yTJGMcHvQhnfV
mTSa8Yx2bWtLwmgFothwmMryPg/Gu3LyKfJ98exrK1rQI9+xDvaU6Yx9OZ3f566lrz10M+rpVD0W
g+YB7Ntg74hl/prycwb2uMnn/FPFxufQeRc4yAoWV/Khsh3y4AbYVod5J884ArF+bJsZSREjzOJE
u3cr/Qy1jFmJyzhBbyvXEKKpvhIpZgNwu9SAQuWIAk3RMgXtqsX3fr0oQBMh+Nx012kDs3dgmRtv
tThgRatvwLH+6X6cHBv8o3fNTB9ZuYAeC8iSyFYcWScLMDvr6RBcJQKOfKnVfmrHYO+jWTijp+jP
ZET259nqP9RYFBGZNwwFtObFzWfiZUibrVtiPmlFPsrCDS4Z0z/B8H2LpGE5jG1sRdiW3mak8DD4
uHHyGZ6YldPVr/2Lg+SNmXgfn2mi5SAVlGvtnd7GmhzL5UwS5kRoBrctYRi/OosFRetj84xGZXG6
cR8H8gvH2odLNs6rJu1PZcbGNZvBNdQxsvIxYTBm4BGM4/gDTUpyB3Q1vpqVGeG/tMB2+emeUiy5
++uFMszfNhYxsnmL9ClR7EHmbKtXnMsHl5vn6ec3HuV8g3WMvYUMcsdKxpu1Xn5++rkoQhkLNytP
rUB3NuhwrguvQqnM7BeNmDleMC5oRK0XC8jIMbgb/bwcLaItNnagV68DCSC7GL03/giqgMCIPxp8
ZKbDtjS1GkHPvmVcyf4Jprj7MiAiW1Nqv3mrDpiwkI0pBxYqEPB5MTwkMgVLs8VHQ7sMGJa2xStW
Pgxa0q+VQmqVumV7tNZfRVk+oQNoGHM0T2uA3QqUwvmpTajVtP6zdLyZAD4AGDM9spMoTEK3bfg7
eqv4EIJyvEGLmUMThRhSR68H3Oz/DlRdv/I/KrdB6dn7mLrnVg3dS0sK5q6bOHj0rtCv0h5w+Q01
OuIIcDkiTCcBozpM8U35ObC5coFzk7k7b9GtDU9Qu0W0nV1TiOMhw5O62sDfG+rAfaHD/TjiilS/
WweFDKF553oMOIEM/r5fxRquvehPbjLcUQTHe71D8mwbKr0HXZUeHMFillJxv+joKhp582Z1SSqh
nyFh96EGT5jO16yliHD0/OzHIj+XmE3/95OHwgC3/7QSxafzzwU91XROM6x7dUaawNKszIIufhhY
9O8qsMPFyPtH7fTiUYz5r1zwhNQQ768BSd/8x7tMYI1hekpBOChGg6woaTcuZ0lw5q6JTfzA4zg8
Jf6yp1+qHbsKEJmLEzfUOrNcBUAXoff91dBmaE4C9NN6+fnp50L9Kdf5Ex8hdfUbGynu+4BlB9xJ
jQn5YtK1JNNhggYuN7uxQvDr+jloh1ZP1NnPnIsq1TcH4O6iQFe8mEPBMpPJrUtJFeFSGt6HZHgk
QUKsNWqfY1/b4lFhtd1MeZAfqlpKcBHr74nGTV70Kb3WYiC60RTjbXBQaK2/jX76XnYzNvLyo+77
BXtQCiJgoI2oD+wW5fpnP/9ABglAGWPxcTtaRUREQ7ntp24541F9yKFRl8mQN1cY4mFbZNyCbN4X
LGAPwqq+dfI+niCZPf2EH7MIWSenccZoNEms0ExhPUMBifddQg+Or3oOHdugVpRIAJkyOLV+zQN6
CBpLTjiZBPcmqi6vjpjKq8busS+S5JtmQHFNqYw2Wo+Gzff2WeYk90C/ZxKENaS18oFKtoQWOgE9
Ky3/0s6JuU9Lm40q6wxY4+tirzAqg3tmxOh56nm951SJoNOb7z9bCkJ06xpX08E0rLtVLMG7pNw+
cNAxtkOKkB4x7K31uuZedfktrnz39L/fVB/crJ5sN6WfPEIj4Bv3FixVtF8h4xrx0HOv4mAUEtuJ
0yGwn5nRWGEh+Yj6VCbXwsjSa7ssIuJMxJ4FD/b+czEKYW1/LiPd79BBR7vjYBhclSjavavw9tTD
evqyquEw9ZwtHX0We43y71bEfX/z0I3lM70w4fYTivfhp8mQHX9eq14B7fOhTe+cmUwn+mILXTob
SWAKXQB8K8Oamvp3Xi/D6nL18pcASObWpLPYb9qaEWTLjjeQskNx7UfuJKojvXLnXI0ahHFhw69Q
nPW84U65ydiVWG2BlAJGRt2i2GnIk2um8SWYZLZd8OduM/Y0WpVdxQSeBB7Np9+3iLb96yjBcKIp
T0DIkJNK9ZZISC7ErF91zbWxDoH4434PNjxkksEjzNGLPQAHZFb96bRpdvAGrD7W2FzbqjRPOOTN
089PLTEDozc9ArOenru4RPHcMIdY7xK84NQ3sxZEsIPxoxAW1uDB3Rax6HbcuWBZdNxvRumpTQaL
CZS/R5ya8+kZQfdqYCl7W+IPBaPW9dJTpbWIwmtyRqVXvNEiF4fZg/CiVRgsB9wZm5Qk4jCndN3O
4CSufOve1TThtkpt/vb6Eomylue/SnR2DWhtmEtX3OL5M1EP9tx1jw7R1yEm1o69Kp7JCTesgxw6
/As10m+XeEV6DEruqqpQzzxFBYLvLrn5c8FUkVntUUuUetbVQLSumm9IhLRr7Oc3H2Yi1Iu6fsNF
yoSrcdu9N7W/W9ufEWNBNUipnPOYSGJ9nPb4nodnJ81SHuqHJAzvy/PSa5kB1YU/8NudmjuuJeNj
qjz81Cm9NHjPJLh26oUIPRMRsgbpvYDPn9TC+4jnFzsXTypp5l8tzbZQjekO7IJ5MzOVPU2gBZ3i
oEEt+dI9jQqFbJ8vafo1Cb7vfT63L7C55DVnBJRPJKT+HB0gC22MtvXxwNIRnDgZXdbBFYH3Alr8
eKeRiPNwEsltjrXkBo0Okkcrln03U1DI3myp3aR3aKSmh6ibh8OgAd6a0DBBL9XdvTcSVVGqvx2y
7n3DSZCId6pKJFm/DZaJTTbljBj9oglFAMGfVKEXSoVLW+3iLE2f6JgE6ERJL89gt9z9mLOYWSHV
6vl2c3RzSs/6KJ79W774TIIURDS7RhYljT2nnvaZkyOfxTI8D7qsfiOTCTAkDbu6jQEX08q/+7Bo
wsEi4ku8gxY1Pha/eRtGnO4AkmIGCWoiQJooL7KrICLbjUdP3UUP5QX5ySpjb50T0nLOlwuEHeNG
Q9yg4MvQCAd7MbnOb+hs8NOQP54zZjs7si6QXStBdiGTuRPVsEl7rvdDNM7/7yCO2gULgKmeK7HQ
AUHte6AY4IBRWI9gmPUv0dDukYarg+nQly3TzBxPkWiuI68PnRP4yHQK7gh9m/2YINnpJd7MyltQ
mzbau18F9hpzSXoi/eRusYZbKcZ/42DToMnjDRvY/74JS/fOuKr+qYBGE3GYJUGInng4uhSP/+/P
eFzV1Zbao3IgGMQ+DT29u+LRk88z1kdgEMVDt2R+yQpw3yof0lNBN4apP13uPnfSQ8KHcNXsT9gL
hFxa5pGGesexg+PYKMchcmziUI3CbCIjXnCApSyieVl/TLSPm9FS9zS3SUfMeiSDrYfuK64PcdxC
h+nTZ7tvvY8FlsDBd3h2UeRmqBDb+mTiBt20gR3ctElNv4u6vvVgKJ4ak+9qSQ15GvHt+Dzsl9oZ
SNokbCvKrMYKfw5x9jh9IFDyzg5M2UMJQpsdivnGkHFidKZq3ea+iqG3z9zK1XOsmZ/DPKX7dSLG
Hint/KDby56plzp31WrmLnEVQXzy9z9VWN7l9YkYwd8G8RkHkpAo4zNvy7Ck5W/xdkhgoBsvkqcM
asbBVpPJ1DePqpFpuO0h9AgGQn+GytqnBuJzONvTRQXZtkfUxJalEPDq3q5MK7J1XIJbXB32cU2P
1+Y5Fii82Mgd9zRm5PEkUTsRi2nbjmSOj0YFuANExSQ4csjOT1VpuRyf/2oAT7aMHgHszdj1MvqQ
NLHoKWW/8hqHZEwUjUnQoHdgPzvHUHlPoKXoIdPF2/K3d5Z0KsYcQgDenldwk7HXgjl7yoVyX8y4
fc/19KzRRkMdcw26prqjNkAwsEHOauz6VVae0DEeXQqCINd3uNCuWhqQLEIvFekkM2Z7WD22XhAq
dHR1PP2d0gT+bVcYz40HSavuCMZpmbUHMwlxvbcDpoYA3ilJ8knboy4JT1/I+N2NHjxEhu0d79z9
V6TmRJSkIx6ohnEKVu7wKyjas8Sc+B+bWWTG417X6rspnlk9Laq1FlltFhHW5O4spvSfhqXvwQ+0
3yKuOZA0ubntFtONNLLYE/TLYar9h6V9OOiTlWyRMyAgFt5VR0F86fw0PpPd8CbzJ06Skcfpxbr4
pLMmhFF216wfs9+unrmbeag6qpKgR8rEu9DpbnDuAQBPJR+yI5yzjLnbzAigBtuRVkv6C1FHTP2D
IVr7DwajvoPD5MJQ8exjyZqGgays4Reay0uMfvLRIVHhpl1eSgB6JxfS/SYbfG3DhLo/dowvNrAu
mTCX7rTXuTW34yqBQszfnfCt4bsmBYUIaGOdxRDHRq8bEbRpLTQwtLdkYIZHEpLNmSxLQky1WWRa
ro213I3/ysaBEtK6wY2Cug1dZFC7SQw6+VsZxXoLXgTGKt7zrn+Ce5IA9pr+Meb79IuUQrJPqzeX
wCoD3nI26cUBiiubo1MNmyKBqDD248WrLXzEY0HcqbwQg5fccLrAIi3cR740z4TliDOVQM7JE+mM
Vi//qkpvngs6u20sV81et6Px/JtpK8RaJibenL+JMo56snS3XqEghpVasNEywghZwAitAYYNw/JP
mbjutqvKi1+iaVg6QCptKwhRntmaUzGSB8meT8synKpgr6SO5nsRb3EXv6SmUDRPzTjkQ0DyrG5a
K7TIibFYi9SNurbJ6VW5YMuxuoukMU/x7LqRC10KIfM2TgIoacm4V3HGeFn2uJQYi8+W3FbCe0Im
+FRLBipibmRUWxVYfoP5et9xditUV4cQdj7zghkPnatXLbGmgyF6oqwC9eJJBHOp/6ctMPGh4Nho
XnLrDFQrmH3uGGyz7TCN8h1MGtneUimSW2IejVpBYeB72+h67v4qBvlX2B33lkvnCk33nzrlW0PR
GCVdH4Q4UEOCs7EhaHGEDw+E3dzibOxzQvoQ7KSFuhgpslV4REBlJAwqaG8HKFOeLjlxNKg21Vie
ehj0G33kKZ7Xi/ivdrOXvCeHzizb/jKoq9VqWM1mg2xPmsC/CMHbL/qn6MrmS41AkDo/G04Sft6b
9GJUkXaEIku9o5p5Mk2brQGkyi3VY+NYjlW8L0GCPsCtN6E5P49mBz4IYC4NcETaiLWZdSzZMRPl
zJBRbwkxBCdNz2pCpzdf/aXA8G/FLwbIE1QG+tOM3d2y0+RMJ47kh0yzPyhe6YXjBDuQVWR/COI+
pHQLjDhiwHah+7vBcfZa5jof+ZQqVnsfsNpSux8Ms4ft7La3ZVJi5xZVex+p9CzMG9Esqc+yqfxW
dK+eqwGk1bLiembLeNalthrrl/K62MzfRfN3hgFxBwTAwBZzqyKwZBsHV3QK2Z7sYUSBKmASAwto
M9J1DCF+k4U+QrrDFQ2BT2ztZLSPSA9fZJZg+kzHl4QeCbCsDqFr2aPGIBads+hdm2y6grNCPDrk
L3CeGFYs/toGMb0dssKCPlztQGpqcgQbLJ/IAjlliV0t0Ynqc/C1zNNrz/Zyk71mXTJP7bOCZQtn
2bFDBXcKUvM9G70ugiwGsmGSwSnRIx8R5kF5HS4mhG5oW3C35tX0MZEwZTR/VKMw8CT+Zqx6jxfj
LdRhdkaeWvvX9hDJ+HZpIBW3c5iMiFr0Ud/ISqE05kO5uKvm0iqbczvkwQWdPyuCTBV46aK7TctC
LSSyEYC0fq/FUrIy/86BI+sp0V6C8NRNhWCC9Dy/vabLNcns6WLBPLv4Lpl/CiXJBu7HQA5uBh6C
YO1imM0TRlYf/WJDO7hIuo1RyR2Hn/pkm8K9TFpKaI/pGmjliLdvg+7APGfeDw4VLbXN+efCLslP
He0JtFfncijsHepE5oB/jbIObgXm0Z0x4uar9M66GCU14mhW/s4aHA0xaqWd9fGR69DSs6arz9jP
4hNQscRJd1M5Q+s1rJxsvfybrdg/z3L2SVV8FaarjpoVuYntnIZSOiezIvonHmsa7etrsxJUOW61
lnp0xmujdPYDHqaja8j3iuPno/IC9cRKBPdBPEy71o69n/6Xu6YkW5x1u+imSDb4sitj66qSoL+5
J7R0vdTUGrQsRbsRa47XWA+/UrR4UWrlOc0y7zvVbcZdavSssBIrInQtmzM1o3toi54OeupskQAi
QKcHzhQQ0YdV/x1I9jTGOfk7ddURpik6JD//8Bg8pn6wH8kPR/Ffwi8i5FnKHMUE5zImQCbz22Qd
pBAh1040W5vYfVLSOwKjIZGP1EAE0DlOM3RL+1Y33tBPeNvSHcZTxxl8Y36krYH2fNTOsqgXOP0e
4mqq59Ar/uEfwaswz0e76hOyDDwVdg58ScTQO44EVVhZCOBSYgGNwPRD6cMz6LuHISXCloKCZhkR
pBas/AxArNe8WNSGrBk/7LTHgmOAYO3mGmDZpVM2mqegysmynAXkktI1EWTmJxhr6dmgVLzlfjjZ
Dm4qB0NXVmfm1atygsS6O0OBCDYAhZTt0NFYH5nezrNb9z2OfHV97N+yRo77eYLB17T5tfAWnIkV
0Li4eZ1g2Ie64ZGQAHskIERjw6Ni77wc0RBlZUoTeUKpi1fDtSXxLq4V72nH9xsnG+Y7HsV0l6QE
djKu3jORjG/UC/NxMPqH27Jqpz0oGtfpHfzR4+/ZAN0ki/Z7cPsyNFcslNGL4vbzk97lv+ZukYdM
HNxyDVM0zA2Gq/hS+7MVFQvm71zHdQVElxqCHJsKNcDGIRBoW3CIsOkTnQYTb5KV2hcXabDd3YtF
g8OR+x+8z12b5N6Jm+Zd6QlajwmxbEbteJKmDlErKqfmx8wwnOu4PBZ9j1gkmDmq4MwWdZIdML1d
CuBSCCpoi2cu6v2qnz/NTPtwyiI/JiMpL52EoDPD054UCadD2f1HhjD9zXn4dgthhi1FiKRS2KD4
QCDq+Pc6kS+JRhaIQrO59416j8P6uXAYMK9SuNwfj4BHHLIdGFF3GdhznnpM7XSCG76dDbv7YzTj
+hZ3W9tujMjv5gvIsxiEJN55jvhrd2g3+n81gjoJQtPyKC+1fd1gRybxTj+ku1yJI2Ao8pEMGMZO
ITa3AHnlccgYKHTmN4iugkSGFEm4jeQdLCJSLmc6xAUKdSft91a79rLXdDtbp/ehTeYT8FlKm97S
sKn7jzKzt2AhkLrrFb6+MkAHki2vTm1kR6vtv9Ixebac9O8I8W/rxm6Lb1imxBO5GGrDPk3uEnk6
bWdqabd9IJjgjDBuGyaLWt1pfwRe/qpfDkYrjEfCcS0hKTkfImMoHUBPTbszjWI+xXrf0mV8Torc
/W1otGThSBXMBzZrqc2sVjw1hIaSmkMLY0ZevhHncZzkfdYp3DXNGXYaM/tFG817QXddiRBnpY9v
SVrsChDyO2kigkEUPM+Ep3n5mNxjLyfmoQDZNmQfwoyhXXtfpOSVy3AyVYrkk271k+7p5ZkE+MdM
5s8mEKbaLlp/ga3BhBazNEo/5rU0BuJsXEgZ+DDKdLiDdd8p7tyTX1b/gH5ap0asBxHbOkudp4zg
e6bKDPG2GThNfGRzVGZV/qJleOr0/Csb6vjImgo0VSxYBDv6dDRto86bkUYzWbrUMeB5YTM0JzIR
1+BBxkX+gsKEqainvWJXgIWzGCrq7O67DzoVQS7lOx8oG0f1t3CXcj+aAWkXs86wrk2fDK1/mgVS
wSHrac1IZDPIkpNtoOGONQlC+clgr87QpBEszSnqnHWfWwZ4oGwJ/CF4VuQX9R0vENNYt0y2RksK
2WKt4k6bjvpoD4A3e4Jcko5ub+FPtPFsc9OST3Aj6A1WGXR1qATpn1hO2BMaxCEzxwjE9BoyoyEJ
YUTku1J48ugFyQNkLA5cq3ptECrg4h++urEiH8ccsEGvF19j3A3lGcSI7xCbjTjGccHoTIlAF9Jw
3PPr+pEA13zuK52uj/7JeK8keSE5GlVpXJogbkly6Dg0MOQnU89l7AUW71GXOBRV2Yjt3GvHxk7b
V/xkEV+xf+GzC4XiGVdrsTP7H7gZ10TgwHgyPTLjC1HRCJjRxs5GLE+G3Qdnqw1eCtUztpLdMdPY
O2JtHo+5A+yEJsltwK0cMtNgxm62J6+0xauq5CMrSoz8ypfUqNUv3zBHnIQYoB0kckh0Gathcgx7
e2SeYugcJwEo7mhY/Dc2hXvG2d2/8CIvdcGcxMhQLLovg+WwFAF+y1dcH3nN2hAHJ12bPhG67mGT
YXgH6eH0QMZyox8jAq/Me5wXpDD48j+LTglzcCySMd5Ek2jRLRbMeWNn1mMib4leqgHwvE5CYBfF
XQuEDJMWVaY5AMkaJ24PZJabXh/0J4fe/JZRJxWgL09Imu1mdENbymZnLgKcNT36ELnsUOb5EabM
99QCAkHShqNFss+nGQmaow8HsW/6aTexn4aJy7LSGh91/GHFLqHA8ZJcezepNvAS7V2py8NgJ82+
wVrQtABDxdwSEaeN4pJqwC66siczAoP5qXCbw9QyOVfVBJhPgLggZuVo6joc23baLjrUZOQHXTir
wdmbOMdZpfn7RYniI/fpFccjPPeASCc2AfMcq3o3yDFMZ5m9pVr2MllgXziCEAXJkTusWhEfOPMM
oXQtM1I2Jzhj3YczJ5SrA0FHGXqyjfpGv7TEcjU9xQDV76tqKeJ908LqmegxsPVJTaqMU7METKyq
dCANI/2cJGD2cSEDw2AdnHyfVUu3I3Ry4aCEsWtKDFVVMDBRts1X/FahYAIZxYgwr7qToMt0UTFQ
02+sILfP43yOAW4f+JCvi0pfOaw/Mzx8tUuO9ePks8AFduRoWhd6QZpSeXd6qGsOQVZ4ZLlrXcQO
ddHHN7vH3uChKm2cPw5l2KyPxwXqn5FAWVZEdkPE1Sq285EcSUtRjVfm289ZuKx43f40kD4CMJrD
XUy/oOu6bTdAsVo74qjvivcJ+15J9zx05c7FEnnQGwrfLkbk7dDHHhurRFhqfXyjSyZ5rUqbEy6Q
06gEb1O5p4abeB/gcFxfBzS1f143g/KU5qVWDSy3qqX/5EM7r4994oOEYqBIgQQqTPpqGy/L8iYL
pCeo97C6uqMbZZWP9dJIllNCsApjErT+ttpSPKVPvhpe0pr9fe7096YiTqxzCvfWWq/LzHHW7mA8
JZlX8lgkHzM7yGoJtk/Cno6Y15wDNiSKUyxQFl38F63g6JZI1FgqZVK0hulsbD72V0s5nIwm/5Ta
LLNQqgaAQhBsyP8pCMsZ5/+j7kyWG0e2bPsrZTn3KjQOwFF285kV+0ak+oaawCSFhL7v8fW1wLjP
svIOavYGbyKTGAyJogD34+fsvfYe6ODRcWz9tooEMZ5hsuM2Pc1w+vfSNnKk4TNTR41fsDVtEgx7
D6NM86j0NtgTzOacsPSs66yt9okUAbvrYGxDLdfXQ+E4C3qxNDN4Qxo/Uccgdbpd65PmiQ5ZBEIe
eshGW71s0Q4K/7MtLpVov4tJxk8yt7ZWZ0wL7EdHDnfBroZ8AGAcb06ZhPh4aMvfaXSYRzoFx0aG
7mJiEh4kqflOnGRJhZlXQYDMFY1TWqhdkpBL2eYszQ30KopL+0nDI8T4X72gMnWR2uIrtIpDBaHg
PcOuFubhoTT6/Js0SaIPCRClaXzXYOG8ZbH9tCaT2AbLOosWtlQdE7Vq45PXW9ZhUZc/k5D1uWuS
JwiBkpCHh5amdj3YGGVhR66up8Qe0YWYQnWy0m+rz53nRiT48LIBSo9kralaOz3FBTUY7YD2tYKM
SM8pONgJNMNeuyP+l9RSdGA3vqHyDcCLnDNIDj7IQfdEfvD0XGcVSiIASJAKSsgmaKsxkFoboYbk
ycr9DUf3Z0XExZIWvk+dV4pbhl5HJ4q+6Cl2943iSa1PlcJ207uMV1UQfDMTe3EQRjwzWNR3ZIW5
dCVyfL+RX++KdmgeElrlcceWQt+2fUgQa2165pQ6+wfxNhqHEdoFneybtafBZZ8bAYcpjYsUvs5I
kyZTWNGztD5cP/i1Rcft+ikIccqbShabtKOJ1WSTsfQxUqB2TmljosMV9ayBLe2uOFy/Jus42GGH
2ZjF5KGt1fx1l3Miv/7M2hnhasw/ffQQwdc5eLhrlhJmY3o0dHjxFaEOteave6shKer3p9dHq6JH
d0XM/Doi/wRRGx8sL/B2A6byQRr2IahpLbH37qVq7EMVdNgMfXKAiS9A8eg7qC/qvuK6m7++flZU
htwSL7ilY9AfaHcNh+tn1w9AO6OU9D8d15AjgbxBoqMDui8rzXtxiTc+h0gQFnKsrVeJE39D3OK4
MeNA4Z5Ehg81uV6MOeJXmXrpK31RC2P2a5D1/kk4xbxth86r0Uk8zE24qtBqbZ2UCDM7B2LileZt
3Tf+TTlAhYk6j2Z7qb3Gao4XruyPLCiiJUmG+qtmGYxaZEiXZP6ylOrHofN3W4Zd+uQYSJmyjwHL
zqtFY/IGAzyL5fxlSnttUwVexTriGK/0dKIF0tV9PfTp0Qy8+iWKXq49yaSTBvBmbDbXjmU1+S52
Il9f5AVxkdc3gMymH9XSgQTsC6TfoYCuu+/Rt8JX9jP9PGX4YBJ8Q1VrdncykhQkDe3LoEyjVwv8
zboMrXxHOWbjNxs0rPgBzWsXFD0HNiA1eO1eov7p+sPCGJv65GCMuX5pYlBaoyvStngGQq3oXmlJ
/zKSfLjtEi1/LmZq1twwFQO8JIBk7hr8WbNUNieUmAkb/hGzJdo8NfY4DKI3WfnA7lCo9WUe3lE6
frpt551qwVmyGqHgdgqZqTWbPKUF/8ax0/A2Lyv15Ljo9ubHDZoAvTUwlKJTsCJEPX2bzAHTXJDW
x+uXIa1MbTJfgrop1xkOmyUAB2fRFcJ5w5ADIaSJrAPzSfmWMOPh0bA2EPl0PnEWuCv6KmeP7pM9
TajgjKkQ7zDSrAtn/8NUhhAUg/DSEDjIWJiQCL8BJTHgOCc+rzni5dIeWzMaz20JncqOGvUWTxxc
dWEqgCS2esP7n9VSe7WDtD+GvWNQY+Tum0CnsCyz0LwhKZVXEIUGpU++i8MCjVtChP3UGvvA6S3y
Lv1mTYvDXXIeZ91p4eaDE9+XE2wm37GLO0MmH8Zsju2Vw0mnCt9VZwPOdTP/PSTQjq5w+JaGxg6T
5B1V00iWqMFfPejCS0hLfNmmNMOJYZnQaR+BwSVLhU0WOox9i+IUgEKFv8Idsx2NBporDbyEvPuu
RVSv8nyaDhN8G8RTnn2meY2prS8PJOeYb2WqaBNFTEwi0zLe9FJ9NfmIp5nX+BDZ9YPf9uIZKtaq
TSKqPZ3WqGEkiAnM2AVeEGocqBElM6Zec8U81gxUz5VLAPPkaSCR0FjFI6zneH19r/1J1qsJ9w+u
Ud761FtVTZE81H12Sy1d3ahGc2niWvLJ05pVxTQRMpNr70ubG9dBauyI2L1gkyCWJhxm7KtLC7b0
H1Q2MPC05vupTPozlpXsAcvQM1aE8RJM3A4lCkHkaR3iVNGIN3azZT1hLkpCkEOsBIz+58fLUsAF
MYb6Rsv99MUb5O/HAyPQttUEvtNkUSD9m5jMMLzOehyYHy9ImNIbS+T18vqb6RUleySL4EaXpvNC
WxtxEXLudAheC/EQaiQjCdbxnZlXzaVHY2hXpXNQhMMtDek+Nk6MQ3bsXTq0nn0xtBqU+Mi9GWpl
8eBp6uX6eGMISVWhZ4fArLJXQhUIhLWdi6ZNyy5gROPLol3709iBBiNh0WeIt+nSdh9ahf/c0rc+
WsngLsP5PzEMYJxYF/axq+NTZHbZg+F5Jwe+/pKAL+1odBx/euV3O6ySwyXHCS7MNZZ577lOLbkT
tEPxnwXTxczjO+6RDKGRBbSkMB/Csfs1cdo2KLtHmTPVCLx4oRQH9nZ6GGvgTMwFCJUc++INwXIL
YBIFGuuPuRRtSTfCrp7r1wri/1uCwgOtPY3jMmPx9LjdLHwXUJu1dluZ7WOeMEZ2aM0zuhrzhwzG
qHYOoulRt1Ho2xAxV5lWNgdls1zp0bkkbYo/bNTexw0LvQqM+7hi0e6G+hfEYesS0zMza/52oqYj
PWSZxk7cjtioOR+EuCRZwTdaiYKg7rwHGi0NsDyQO+38x+vmsXE7ufXZDn37HpcYSRuEzmrzXmoW
XOOmnNU5kDjY9dQlEj9+kydvKRv+vtV0Qrzmh7WgvcuSsn0EcKJg42Tw/PMPmqzhxRuTYmkOzBb9
qHOeE14eCbHBxQ0sgp7ZBnw14IjqXDpG/k6SEnsaGeiwbDjTngxNfaVD5XpD8Y2TY37vDQNxhj7b
oEq2zUFyMM99CaTGF28D3b2d14xiDT/Fw1/fvgURjb6ptYe7wAx+TWlzSyN7Ds7MbVhrQCKw+cFu
KeIQkEFrbFwNWhcUgSXmn/xS+ljEp5gBYCqH/CLE+JjqVvnQ9H1w8GzYMpxkdiiNKU4MrjoSrydT
VTtN6Nmlt7DciBvQNrTjy5KgyDF/LGs4cWNu7wI9wG5eu9NlbL1bz4zLx6atulPJDJ7QoW660L6A
bthliC+xrzyaUFavz8/75izCPlixmK2SgAZsiU+a9e+tX9Dq1uEg4C9LxlhbD0ZG/0Fp2hs28HLp
MdTqQv1oOKba5RnXr+uqvTUcUpMWUGhyJ7dlPa1MYutpMpsfGZYxIMDzGJM7RwRYhtv8pexfOgec
Qc589IBwbuA+t5qL26LmpMQCSfNR+BayAS2Rs53nqe5SzkeRPa4r+Aa0CI2LyEKqbMgf12eOnfXo
JyUUavWUdtpnRHbdcUSbnofkmA8iPnIaQAwQjr/GiBA1x45vuo5ZtyBxVA+SY254CP77/NW00mET
RHWzDomMWNi0wyjXIFZ2ZnlR40Q7IZLODkTCVxiiVvAT/ZE5Ondy3UTHymJrIP+vZWS/GqBdMtYl
5XQU3dpnL7Mmnd88wpoRcjsnZVPtkJOZ6wLKGR0lynAnYUQauByX3TrHloX4hzRdoqMopbJFUWG8
EEphFWMbb3ATth1vrspddQTFaj7Z5nS43lFOjB9LKe+z6Fw0tGm8TYmA2otaTvSg1zraaZwP58ka
MDpOqgKH7T1ZIdytMFBLtpGQrrfpHMO4fC6yunlQyTyu1Tmla4OuXzy3uI/8jGvMdUhGQzU7I7J6
Dsc7vbZf7BYtIkN4KpYE40FV7SXVLboG394lvKJ+nh5II+jW4eg8jKNcZlWPjpFOA6e+sF731TAs
LC8++tJhAgwHghCph5xetWqG+Abm7wv3+hZd2yu2zleQFRP6K0RYbjbVZw/MyqJpqXzSaoBqyLSf
uKJqGRYxLfiRJZppz7OXC7I/xA8lHmQiVbJNKrruvQVMFPcb6IqyfjYDkriUrz02Mufe1BggtLG3
TDCnApYxq+2oafE2KrV6jTCHHbgpt5yge6aDmrZPR6CtNZUxR22s+LKPAOHE3jsHuTNWOvI57GHE
lFGcZWyl+1hHvDu/x6oOk0uVhJ8BdgG878kB0c9JNpg6uKsPJPV+Fk6MMsJSKxqQ+LsAVsMCJG0Y
1DY/6KZK8YeSN0n/jplhaDzrjaD0FtbB99CVx6qVp76ARogDOwbVy2HWbC2iXJ2jN7cy3Hp4LXov
X3tmxO8Buvw1cGBh86eKqX13gaziRdh3r2DE0TVnEOB8/IrcsPOQJRdxh24TkETNamTNDoXhNpi4
DSQxFTTdMsGWyrJoMMd9l5aOB2c2bY8snpMtIqZXUBBq/ZkBvbnxa2igdI/sixLgNJRzH3UiukNM
lp0Cm4o8IvPvvdH1Fz+OM1IpOLloLONrSAnpvBjvGrPsWALUsMrs4q3StZqdzExOBn8fESE6DCZ6
Y1ZLqYQBmGwQIYNF7eZ4GliMVJ3+WI3gYGIk1S6Jugq/sIbBQcbxisApAIUadSFd4DN/6xsGR/BG
rQkz1NnlfIj4QZGeEzRqM4kMRzFw3TOBPD8pMOWDaOwnH7/yfcGbTORldip11iKnr82jKnN5hPle
Q0fvDiWY43c3VdG60sbwoIdxvWeLysi447ovgnIRpkN5l3a2Wo/WiSZMtwNNVT3OPn+WbrsnQs7o
BHcEAKpdRf42tbxhr2CwHzFA1BstekpJ6W3s4Fi4Drwm650eyAiDg5/it2fPA0zr0SvfelNIJtBL
k/Qdl2aFSTbPjVM+m8wc/sdJ79kBel98uV6wSjJj3HL9jQuKMW1ZBFG41vgGaPMfYe3tvCANb0YT
4x3xKOQjsXnWATgOr8jWVIHVolVtt49k+8PItYfz4dgACmqmviS3UsUvezAPi6Al9qP0dNYs7Yst
YiksxmhJjZK4DXaTRm3rMj5YFAQQ0jNPPnCMNrfoDeEYd9rTLEgL51qiRazXTAnGMc6Xkyez96nV
lkTPQ+Ow2RLGDqjXENSHgmgv7iy6T7CRRE6fU1YcxNqOBQq0qE1uyIHmFO+DK35FHNU3TO3BWbSI
KYfMXVZlBkxDqPgDQNWO0TZkbCDAoN+ymHqhTXbsIgedRCSwZx7EfvEAZrs7V6puF4LTAVhNVAjj
9GCXtX4qO99AWcZnvfRAZ606bMk4qqHdTAIXppmFFtN1tnnG5kxi7GzX6YO30pEs0fkTuPEDO72o
ACUMltJ8J8LmtU4Md+MYvKCQSXIu670Uev1Erk2zCkVzT9Ffb3qabnhqYMS2qHDrsP8wpn6WRRxE
7JuwwMZvYvVGpsoX3QOwS7MmYMpAxAk/j8sWGwQn41LvWcGifCUSmsQ6M9NTiV8RMzEyzQL01SkL
+mxrWl22BkGLfI1CXTBw2eJvRFLcxw/X385FKzgvkGbW9UcRD8AvbWY0pqM10I1L9CuJ/lC4MazN
wsfZPC+1tO+AAVdLMqi6o+oyLmpFY+H6I3BC3TemuVRCNHfxNNp3Y6F9EQOfX0yCN2gsLZRrRvsh
6QmgoCzN8V9zyBMUlfPB3ACcvbieu/86Isaow45aNHlLypS0LPZwU0iSjSj+27zuVw4MustQxiw5
qrDOVTWTgX2UavNlpekIJPuUClvT+2Q7GIV/sXxxhPk1PfYMT3HWeNk2C7FKXwsriOe7VCAxby1i
Ly0dOkwANM5XB+5r72Qld2OGl30YPH0VdStNpEc6dQ7JtvYNVT7q6iZfYYjTd7LJ8m1ROTcNy+dx
UHzBy9p37VdIAN+aVbNd+IHkGjUFbiSEk7DfWwQiuXN1lqJpScgDDZuWRCgwI3nL42KOAOQA1jKq
OPhE+y5SYkjBICF79YLy3DjRD5Q+5uEFfQjh6w9T10t8Ft8ezYcduUSbcWyaZWPAtm7JxLBihlq+
WwHZ6mgQsy+FlbfEeh8u2wolrOvlP3HLwZEmBSHJTbsNApFtGaqRK+T3ywpKoZplWRktga7hrepc
hU7T5EtaXPzFEQdD207XckgmOIXrSZlyE2fxxY5DTEeM5RYN2WNUbfY9Yblk11Iz4SgXBw8RT5U+
TlHN9cdQi04Wb5ko0AdZNmteM/CNIoo6J3DqXSWSCuUW7ZDMxugZC73ZhLzJO0AKkT5yE+ByAwZS
IZ3XHJtRF9utjTdqBSiX15Cg8GGXMpFBT+qmAszCMCQn6MfJOGZN+T5rxm3ehKwCkYK05j0MhVwN
LeibNundI7vBM7xr7DX6SDGbkRRjhRxJQS2tfbpUFxMMWVayWBvJiIIDzPQSlM9KWbeijweiYv1i
U4gBm4r9hozjYcizlUZS5dIy+ngV7P3YRgjCAHyKA0ZKRnua5kmQlhK47KuiQDDcLKN31XjgUDJJ
9rTJChEaqKKieWKGJC+gziDiFELwe4e+EQegwbw1KJ5xt/RmR+tcHXrX+uhAzlG8OjuG/hMBxtKf
UBjMU7DcJMfY06yFW9S7IY3uuni6x433QuG90sAGW03+LiU25tz3Th25wlV7orO0LglGUTocSplw
thniL6yQED5CH2JGulVtI8ibjnQadwaqRO5cDTyoixxzYSQJHtHyzqs+SSvItq020JK0zIPKmx3a
uXRtDta4qQOGEy7n6d5DqEkyjqvBJrbKatMn2OW65ktlaA+zwfxAC/5rYPctzAidEnZIpih3WXQE
y5/vg6h5NZHib/kTwsNkv0bPTFpXWh5FNBHbTX92ETc04mq7GQ4lx2xuDCjAejqON1k27EOdd8si
RXMfDHStI+xyEDyJBkegRs6ZQbnO7zAsisZZW6o95nBuJ1OvTlEWouUXmBL0JNnIpHtIdcZN5I8t
izAE8kwbc1H07rozg/llaeuk7JASThCr4LRYpTv3L5y3QSafcrJvMDbTkhNvVJBtlxvIeMcPFsp6
0aBxWkFUGBbMTt8k0kakU/4a4NzExZyHbJfm0ulpFmrYcZj35IRnTVujllvD6XNE0FxMsPYoMOth
5fcjvXHb0xme4ZJGXUve11R4m8pITx1ZRgcTnifLJWJm1lc06Lx6uyiQiM5/ZB+deMVhorVt1OD2
tB/IAyQo7d5nnRdD9EPScIzyOzggPH4xQ92jKccoxmdXby/4BqplOX72oQDIHddcomQKxJaxrhv/
pwkzOt3B6CyBJ1HiqeAp9XzEnahhNnaeNQuU4SPirOm+COOnvs82HWjoraxpH3cmsjAag2KpNaKk
+N0Cjn0s3CHcSBqsq7zBCjZRxkUnv9NpsOHZHOzk0CXEhfWqueEsBmZUabT1EJ6twgbKk1c6rKEG
MngP16I7Ko1hsAXrnSTxR4t2sS66O4cewbYuy+/KESTm+iBpiFNqCg3JaMXcIqKKnWwX0W5zAiCy
IqiLgYKdLTJbfhHQVS2i6puZJjgnHRSSGsoXgr63pm0uqUCflJZ91A7hJtL8BGnWajc2BUFpooeU
g7WxNI2qFW7hSqvJLmuCvVGhjw+LLwftCbpSXKneiMXBE3u31O5zF3iIz4BdUnE6qflcgZEJxvpY
qPEpxiFgcRVxBbOndCkQ4ahOXQZHWgTHKwVdKMcXQG4qid4Ki8pQ73UwbSFCfNV8pH2dc1rNCmQO
8tsSAeRTa1HomtgYdBGWYPiPpTnt/SlYh3xzGqiouNjYiyUkRjX9SnzrMRnGX7gnq0WSMbFCa43N
FH49rf0vk3ypxa5wFKUpBAJmlfa5BbypsiTgTcRcUkIbWqC4HyP6onS+KAZIzGPxCDC+T8wFp8/R
tC6J237EIO+k53+LLuU76eiPQ5NfpXu2BrwS6DjMFXhjLM7Tu2mz7Mt5uAl/gplPvpUM229c2yEE
CLFsI+oCwH7urzX/E7VICWAARy3cLbmw2uAdqBubWaRzdTOtbY0WY+uUruiG1BuzV/AFXmg/LUPp
FmiCcZzqgctlWNZbzWij7WSnh8Kwoag57gNJEcuUqMBlC33J0itrNU7erW/NPVflPmgp7Wcicwd2
yd4slw0SmvTOiLGud/ZMZtqQXXgIOvXFhOm2UFl9omU37pNUP3LTIZmnCW8Vv3gG3DkY9IGxmWps
UIWKIJhTYbLSfQ65Mexq8HWdYbeLkLuSg63wboJ4rXwE76Py05WMwTEpRcsg78VNlGB4ShERM23J
yG1d8Q7hQRMkyGGkSYUad6ZNMkEExbjxs684NpPVfaCIXfx/kuB7Cr+qvM5/mn/8x9fwn195MQIA
DZr/84+/ffX/Uc4vObv/cX31/ne++mg+/u07a5ARnz/S7z//+C/0eMkHyb7Xx/a//vyDp/+O+TUk
gb2GrhPwqzTT0TX+pf+umz//0PV/h86rOQT8WtY//4VTbBP8+YeQ/246lHgaVEL4qmRAEA5cY/qY
/42cX00af/t///eF3THb8TG//MvX/5a16V0eZk395x/SMf8W86s0+F78DEdpUkrHMl3n7zG/KDrp
60dq41gDaUajrDejayCYE3kP1QI6VUSndwkjXPAPyXtiSmudIcfLCnM8opwDvtCaQA1JVT/Ws8O+
wOq7R+q6uD50/cARJCVPYYJ/4tHS5iw3G8NjPOp1X8eH3KyDY+qX3wOcyLUSEmC7jTOaWCuSDp2a
hnRpP9mISw9/fYD3T6ChAT5cU2FxkEXGKd4HNJ8gbJs/72ZFwO9Py74gUaoaWI8yczwghB6RIQBm
xfL4BWPaOkjVWgdC4UntmwV3wNP6oFyDInTQ2hhJy1mbTjfGIirsbjZSaIG11LFtB4pwInsyp02I
wboWy5qIp1mQFae3NhlYG/Clo5kSywkFhv4UgLwUxS4NK89070bmcBSaNORkIj8BB740PmFzVZZb
wIyGOxVoH32b3pa9ba2iFjaV8VJF6B/roOxXlJNEYjI0cvX8Paa+osBw/QVqSuaG9LI1a+hnRde7
G5n9BksAXkH2haWZC2fpSxLFIZ6CxgD8p72Z3YiZVTGQ9zG6OA91gWHzc3RSlKlu8Mz9/eCm9CEk
JQoMDjTdeDcX8TAk9D6yaVuM9ifCp25JpiUYQHuW8JT+0kcsONAQWgllhijUHBDvEOuXIE4/Uxqh
CyMPQFhYkvYkWydzSEzrXrKZ8iBbdXp57/l2voL2GTETZc+LiJsKu4ZwNPMcBLBSCLbJ6Scs9ZEx
gdQ3jh7+dFInTlYjtoP9i8ptHmpOKn2RtfbBiONpEulzaXVv7Ryd6UNUds3hZAtt746U+cN4Z9ic
+vwEJ0Jvzlk9dXKb+umtl8bf0ZB9OKU6eYNGvJ58QRsdLHp+S9udbkYvC1YlqQd4Pg5dUNNcMqpv
5Lc3zlCLo0hyRuoVniMXcHLMObhEZhon9Ym6CHRjMxdHsbGpqhUehSXdjaVK9aWXVQAWQYDWqM5T
52xULdYIZBepH743HuHNnO+jZaapd1tzsnsbDFFurNE7f2IURLQ9uesE59xqch0CsBL3qPXucuqT
YovQOJgM3qxpyteQ1KIILXmsprcJ/GI88oTMf2sZqG8DsjC3Rk4vIkb6twrkvgiZmcT28NxpSp24
8EgWi1cCEc1CEXa0qkEgPRUGzRrwz1hXpnsv4mjQEcMROfIY9EweUWYQ0JM65mfUZjeRZvdnJa2A
EWebHf2SD4SRRMAc23sP2BGKa3EIEnZxCZht5Xf+px0liA+K0N/7I+R296nlWPMTJuIFLk+9dnxk
GcyFC9NNmLDCwRhoURsxVGBqNbH06NbSeDNJptVmKSXS2LGN16N6t0JpPF6PrWNizVrXnWYGPXch
PCdMoK82sWijSUgEuERSUOl6b+UQDQe4qeRLJOD9Iq6feGaqDKbdM78pXo2Ev01n4bhPbZKf59eO
jZhM17FvtXXv4mLTNDITJaJ3l7zvcU5Zx/jwaLXYpAx1a1ndI5Ge/AflkyMTV9UtjLn4JjUm4vmy
cGf0yaUpZQPHPvlVtNE+ArZ4cCuHfEIH91RmNvHCHzTjjch2iijMJ10LorvvkClnkYL+L3YxGbrP
Eyz7o5lhhLKCptg2EgGc4s5k8MQCzj0HkS7YIcR+doAXvxEWAAMYDrVJhWvRzlh42PKPiMR+wpjD
pK4NP25ATq8nJwvbyFje0R+hdUIPu2nvOCW0gTCQEnO4UsLyzhBix0SdmTiKs9aM5ln8MCktzo6N
D5gWiYdHYnDgEjQdRl5k+NotztI3khgx63v9QF5sWT2NUwqtIvHKb9d44tgIG300KGz9Qtw7BMBQ
MsUPui7E0qki9q3Cf+oqZ4ArcEzztP5w68lcNxqXO6kyiBs4IXNINOh61NV7LS2xiuHTHipDS15C
TvZwvNCrlxqGw97uwbjNRi86CGcA4+Wyakv7o4m6UzxiNZmqIVtjOqfElgP2R1w0XVDUGwSY+yk3
s/sqbvBAEnRAAEVNKJdR7WJCvwC0BOE5MeKzq5P9lOrSW3VsMifq1hSyKXuimmBb620PRa1sxLG3
51TBzjwZaJpliYzPCGFp0jotOITk+pGyGr6oU+6cotkWpeUtp9QyNm1NgGOYNBWiXZPBf4tOsOta
A2bcPMC38H17k7cBYMnOqYXv0O0MlJrTxYqTIwqz8SOMl4HFiye0uNn+jyLrn7XM32uXfyldXKoq
3bSldKmrdNcx/l66EKhqRSCeboFQMa4oCJvQGuMCKmPZGiBxHch760x9QZ6/bfnpsgKGF7o1KFN0
Zcaa+dDGKrIXLBgR0ISOZZzT3wyZ+lIcTRe9Z9AMZBJFFO827iLITc6Xi2VgXne/ZTO2J44fIBxQ
V9SjjxYAUhHvTLvI6G6kkFFW/uhHAKKnYduZPW5L5RT7LorowTnT+ADkcXzwZKstekcngsEqhy0U
Wf5wOif9//3NsjVd/f3t0jXpGlK3bJ23SjI9+5dKT3g4IaRC8uab7CVTtscYf49WM2UMSonntSkV
H+/1wmigFQF6vJ/y/MlPkzsYOB9TnTVoQOAXmGa2LPGLjViKjLLBmdMS+JcVnKBdQh6lHshNEHeb
btz4KSo/R49vdWB8qqffn5bwlRTyJIHhf4ux48sFlY8T0QRyCqjDZ5a/7Jj1monx2DXRw5j3gOa0
DxabARp/9Yw/RENdEj6a+/QKaXMA7Xjm+JWbVbh1hvbc+8EdCOBg1bTDZ4vtn6hszPWMoxxk4H0g
NhWLhWOg+Gc2dVK9eZ7s0twzYjI1o9oYDaJoRwy/2tTUDm1ZPkMuDRddyVwklU69aasjdhDqLlXe
I0B5ZZye4nnvvwkwXtFHjleVr90RQ7udYkgE9KJRSbTByWgTkkNqHNPk0lzy9kcz24rIA7i+XXxH
DBWyroQGpmDeO3xBvPpltYTXRoX+PPTEFNdG+hC1ISdF88vI33J3NVp9sM7c/njlv+ezeTFqFVh7
LzNohnLmB76SQe+oAZ2lNOm0Rc3oCG4bH/rW6A+O8PYOWUD//Iffzykm3BVeltxcv8OYFzOtDNfm
ohJjQ1vSSIbtMETjyogBleLH0vCjzt/Sxh6xo/P1ef0B1xf1+0XM/5gYBhqe7PZ/vI7fn9o+wwan
ZuY9P+33j0PblNHz0DuuBBnCAJx/BtNcurMV9NbrM//61tfnoPzRoGHl+/z6i15f0O9P3WFGFNr+
79/n+n/tRDdWHVEWzImxM5gkKzS6LXZ56eTnbiYHXR///SV6fbLcSV2e//H6+PUZ1y9TQ96FLsXj
X8//62lo+8+j4/uH60PXDxPNM+4xXRxh4SKHdoyLoaeSzpue4dId8iWExyWtiJMnhL8bWpoTcRd+
13rnbnIdyWxiwdh0ttqjb9WwKOHO2B4qM/A8lOLQ4GgdwxITw25KujXh9Ng6U+ug2ipcdb6EvcAF
TMXsF/qDaPKKjHkgLtU0RggAjLe0l4ynYqz1brcSdUyRk6FUKgLsG2b41MHrWrT60ZK+XLopvFIq
0B3COizkkxUtC31ItvkMDk/86iMW6S4q0UDWwpOryB2clZ7zDTK5z4s+X+lJnW+8vl6SIxytrOqV
OfozsasJSrvsfqpL6NjtT1rZ+rJ6beZBRyJvY2rptapJsFXwVE9FQ+oCdgYQJHetKJMtVEiikPDq
J0lF1p8gSCYJ2ruaMNyQMwweOoYo0Fg+GRDni4j+NylugW+AUzIpVksrhAvCtNGW4sdOH0Y37VZu
pqhKzdxcJQB/1kaY0gBNixVqCOCB/TAAT6HbVllMjdDkoLJOb1QxLwsELpENd3GqLKa8mDAJNCwh
RGWOd6KrF5HESmEVb6Rk6Mcph0WORodt9M3KslNTmA3XRIjLt38WTnhqAVKupCbf5g7g2hEWaiCX
GbSombOluf8OAYa32EAeF8O7XSE3SxdeZ37qk8uU399IxsCbaQg8PEKfWqDfdgE3lAvjSDrDClnb
ZxkXxCsYmOaKKLtno3+0CUZ9DMtnUjnTSx0NF0moDUF/GZeHRSnrMTV1qpZWlTNgJIc5uqkpa+hU
iQfbL7KLnZPzV440wqq2w13nt1j5kegtrNT0UcZW4yo9kQLPKuk12Cw8L152FcG94ainCzauAsME
twnt07imKR+56c9kNNWhar09fH8QYAzzm6byjyarthmiEqvs/KngJBoOi8TvnWddQhUVqtn1ad1c
hsTB2y6eHHPEP57YwSptBn0p9fG7qAeNG85EEDEhO9aJZl5Z1qmo4ajEY/jfjJ3ZUuPK1q2fSBHq
U7q15d6AwQUF3CgKKFJ9n+qe/v/k2ufUOiv2ifgvymGMbSgjKWfOOcY3nAdXY3pPwrSLnzJ8JuoV
a2UfkKzZERQ4NwGyyDeWOsC7o3yC6uZs48F/nSGmSx3QKcDZCoYoABXgpyP2IHLfMHMERDckG8tA
ZENADRmIWwW1WyI7PoYjS2lcDhfLKN5RWxUPXuyCERLvgi5kjcWvJWNyZTY6FDUNaQiBkG16gP9K
7ZlKKIEhquieOZ0pD7aJT3tuwIYMrZ2TeF48jtIz9wQUlBqbTJV1H2yTmP5EJWm4IWP2uenQ+EQ2
ElU2JzoW3zIrviJFj38E6hE0OZkGiWmV9F9mVs6x/5KDRUlWQhJyqcJXoo+P08xJWoUKykBSfaPE
f0LfkKlpvKsGQo3xmf8KJ/NsjnbPuA0hJWSXgqO7P7sJcmokF2NQtXAokNkeQYKVf+7dvmwd0zpo
zt4gPe6I31Ewi7Bes9p9cyOrJEV6Dnf0148MPBYPKgmBR3PpGmmlWx79ecaoGVXc/fP9293bt27P
vN27Pf3PM29f/33Onwdv3//79PT2g/6+x5+Xy+GjmVxFcBwZSbcbRT7Vf4KT/txNJzD1//jW7a6V
eMQr/e8eLYCXENy7/IR/vOx/99p/vIDs3uzA3Hhl4LTCCR2SyMYhdGRIRvly+7qaC37S7fvD7dHb
3b/P//P9fz/171v9/59++87tx/373f7r1//46bd3/28v//vY2IrtWHk13lMLGflyQwAMARCwlv+f
u0bbatA9lkexh2ElZ9DoHZqaKgQqIiCW9ni7p2qnOba3Gycu9fXt7u3B27eNDFrF5l+voRDnmX+f
dHsNg5v/8/K/b3y79+9v/+M9//Ez/usPvj0oJuDlK3s00NT9/XVv9/794J+3HqGCNUTzTsaBQcxV
0dteG6V4FVNxs1UzYU2bp5HtU6DbGUGQJaKn0Twr1OOrQnrWXdYTYeNrpyyqYL1hDV+L2IEAvejU
wBS0n1lFM0aUKQn1udhEjf7RkRVfunT5jJntUCKmbCvVO9anZ2FSWuJd3cqutlZljhy2BsBHYgHU
m0QLIkroXSYvaZnVR1oBb4zFl+RdCytlOv/wEtLdIzQQqJ3XWWdkrJc4HMew+zZasz0qfDaRNuDs
nNgb+MZWx14GLn2Y17EHbcTQVpPvVCcrxIyrJJfNfmlIGmH5HopyhQcIzkAt2MLEZrR1p4TgYSvd
SIgjwQR7EhMezZaW6B7Ca7ug68jOhev8hPU+3CTep72kNKei3kU9ylS7Ft99b72WGG6XTeEB6ZTl
mvF6ws2wIyQtBbbsx3SJkTggdYF5gkTbywm1GAoGv9nP2ShOvG0BRgzpSTDIR0xkX8iG3zOW76Ad
LP7z1gvyWIMOaVNuJPROTM0RJIBOPeTINra+T88AjdoiPRrXnTB+l/p8ThvtFLn6Z9n6PmNd/7fl
q88uCi8AMlYmYz2Q7CBdIwABuuO7a4Saq85mDg+eIseOBlkizCl6DK1ijJsIlpX+3fUjbW0qYTNj
ZgkDhnkw9LThd8GIoQw0BQQkB7TJl2Ag+4At+dJRNu3yAqqhtUDb4KjER2/s90O5ZAPKBmcBGw3T
851TMevOaSqCwYSeSkUJsSa2diKz2Ke0ZIWQK7Uel1hZKVR4bCY88ATuWBsau/N6ToF4N9Wi+7Rk
tjMwMUGWxVOr8moHNJBFl8jXFsbQKu9ROfsKV8Y5Vvk5LwoJR3sJqIEWvWEKSMAoUlZAahn00txM
WDLTL30ip96MK4P2HK0cyknYqjyQ/lSqDOmM69M2tfBhi6z5kcbdM+G21pGY0m2VtQAW5hE/O+Js
kU2PKRA2QGCTu5ni6D2xh485Ukg5tIsgCO9ckA0HJbNdI8bH09h2j7NZss6zaV9V6Bopmfnm3Kl+
V3LUJ2C0Hm2VtkAS77KvVMP9Y2nYlYwsBAWVf5Wl87tqXItoP/kgXecJW1iPHGvQVkNpkxyDU5+6
PrrP3NAJjAKyuzPVgat3Oz0SSCFEQxM17dalD0POfzCFXW2EWW2GCaWLif+WiQkrEE7fWGkoKDKx
tqZ5h3OuvJhT96BIid4bmvsnQbh2JkrgOy+eEUy5KbxCHYAMBwTMXntnKPdEUhaxWVPSQNYihc9b
gun0KgK6p1BlJf4y66ba2zg9PnqnA8jcRXqIx80P+pouDSWIGdiZ9+FmM82ifr72o3OwAcGAzBkI
brSWeK7oFFtvit1JwIa+XIceWcU9W4pZZJRictjO2JIPBtL+2kFKgzptcPx5jcickBvldbsWxRof
MldVf1HchB3dfBLpQk7R3k/2rpXHm64mJsiaw8O0JPIRTLAysQFsNaDVa4gMPyyMjQ3S9eVd8nAG
axFx5LZjcoi4gDLcw3Grt/go0L82ke4ya7B/ZsRyglJ/zMMkvMcDAOOu8GuUf0MPmtPszxl/qA56
CFivCWdjPW3gT8PeTTDPV1V3HgZpbU0iLHGKa5g+YvLJhzDbULQzN5rdYLAIUWzJ+aFfa04Bi+ou
EQyvJzei/+WiKU8jwj0wEK0IJiu2ia1sYuI0Xu63XIhnwuyMo673+p6dLAvocArdkLBqzeXCXMQ/
NYsOiO+PwKIwiy8RLBO1eQiqDxUxEu7RpfkWTp1AYcPeLEJ3WsvQAQaGS8h5HyepLl4WvxGBQ+x0
p42oz7N8aQat80LLAAYzdintjpzPqWZEFKYkzUjE0wVekUAv2AlZDhkTfp18dGDysdRFiLyi8oGC
sD86aXUJ05k/JAjRq246b61+AY3fEtk95Du3gxNsv86zfTV09xBTRQaDjqzErOr8VZRfiT6uLWfI
fnRm+FS7APwcWWvbIgWIZ7jAyPsuTe7gCThyqLZlatz1OrF2NoqjkfiFMQtxnOgsGnNzCPN8hbj/
wxIwlTB/aetMxcxxzedZQg6Hei/xLMzVrkfPPtQcA0A5mQQDp1rnixrVrFPsdk4UDKJNTrnrfYWx
Me09r3VWQC0Dt4bWju83BVCYVVtlFzv4N8RzZYPcy2ddlvaRgfY5NP1iBxWU0CnD+4E11UX2jMIH
XGe30n2GXzBZk4AFfG8mXLAqDQ6gQ8dyLLUj2DyaKRpDNURsAHUN+0mL81OawKSJFru+mOKSWKJq
lSbdQPlqU9VE1tOsV84BPNK9QSxAoPJmQMusP2iNcZ3b8Wxg69+x8X+LMuwKs0BjYYxHU59kQCrO
9Nr/1BrWsTZvwyuNlTvGsNXOGMIP3TQPvZ3JU09yiCbBWdRy5PKc5uG69fmlHS19BCPxkDq/wWKi
qEzJN2wN52dpIGTUC7L0oqombZsGfpGHnyn2Maty8r2qGWoSeEx9pXGE1V5hQWcyzFV+oAtXo7Hp
jyh24eM0mRvQgM1Pdpb1h5GGKtgNh4Aw67WvCVxRztlSbnLUdCLSCGJcl5mGipfxHZE6zZmf5p0y
37vmAz+xgNmacy1c5TSJ2pBZ7GJym/xmPoGB/XI59cfcLC8NYMMN0HJ7XSMldicHC9jkPcuY9Y2G
Ifv/kUC7xqnZUgyoBglr2LnEb9GqxKFp1KQ4JeCUKvQya+JkrUC5bwPj7HPZ1j/mtJeB5qSfNDPf
yGL/3YATDqw6vOiVgTOpBOrnocKBS1eypLdhvs4a/8igGD5IRtK1Gh+hKZLF6WHm8B20hq3VbbWk
/kozgGMYMAI77ql5uxl0DizgoSvdAx4WYRCEnfn9i2yiNrDicLzK0nwSRAYhYTZXciZ7qGxRQYVN
BE+sysiPIKhLDBnhqAL+wixeRMjZ43SDe+BoflaDydRFG2QwGNk9tFOS2nr4WjYYT7RW+Tqyh5hf
Sf/hZ9PivbLqfYtPH7u9PBviyzNQloV9X6wdojxPTgphyHKFQ0gy2S06dyylppVKSTCkKvVXyaDt
m3q62PSF6IHTvkJFzCB0BH465nQ7UA3uLT9n/56CMY+ya0MCBxqHd8/hf1DMaKliAcAiwQnug0eq
C2DSFpQY1yEnB0SmTOTW0g1moWH8U9fuwXxomIG0z0xgculDtjVLk4Rd+eTt9GHE/UCMOKHbsGan
8dEGWLduiZ8nJspwAsuXHQhm8kg746prQh0EZkeBBgJyYwRrfjsO2zzr30sLB6jmmSOlcRPg1Mip
JiIaeCB+EHIPUkId9a07LP+sknj2KOEjE+2Da2MhK7WVqfpjQ2sJmeF04XIMGH3RERAQicS7mUiR
j8mlzN85/BR/rYQryYD3Fb8/wUH+QDVbj18YHVAuTpL9Ba7iVcvsbaNn+dHH6l72VytDza7P3jGe
M/SzEP1c1W58y3rGw40iYtxJ9p9bGJcsG+DVaN8HRYn4LaGTyOzf0LaxUT2w6JS7aKYQIHMh8NlM
rLIKEjEc7FVZ968e5+BodDQFlwvo0FUPToKrN2UQZ+viqvntuZhArttJxXZp2KnZcOh1Ej/GEkH2
RrF0QsWzlPF3qCOmlgaKYRdauZtrIIHAmkMQYFjdOStnxDFA5+RXrMpfBKdD7DegV5OcsKRS5k/w
VR8ms3lq4UKtlU+6Rk3gqwlmuMnnbJtJRCZWaiwF4nfV2i+lYN5kvrhOb28IrIDg2WCTsUhoiPKP
CaphrKpr4xPXqlXZL+mJCwYBa21ByWypi6bxTY6+DMgB+E1mGqkpqH1FTDpmv0QNyXYmL+Feooys
TcbdjtBeU9d4CZ3250J4JoeNOTJ8A92ridtgghbYwzoZVUovmx43/vcXdJ+gOqS4zsCaek971HyM
Fi2Spcb4yVBC0NDrrYB2/F3cURtOasSr3VnY1c4JJRDHDjKXcXIA9WV3ZTTLR6JK132hxi1MeYK1
w37r0pw+DlMHVU29qjnpV4BBSq5rX6NvPamGJl5joO8FFPPTZ0RQFIPzjaoJnF++BlSIHr+z3y17
+CncblPX1ATNpctsoBj4MLgsz4jLoaknff8AZhIAU21VR69im0LA28ol/Ch0qNMQcCoHCRYh0Kkn
cmQBt1fvh4aE5dhMDspu2TJh7dgbE/KUVEOC7iIlwBqy68MEA6CYoOAgi4w2fugPR4KhD+OASNOw
idFyy+Gx6Ex11j4MEwNKkm6dhjirwZeYjlv1yWb1c4gtbWemCEFhZF+SJGNuMMsHK9GPXYS+CTsJ
kUnZoczU73Zs6m2jwV8HQjBuipmlJ0qi0wi238kXbr0/IGyFDML1pX3uFM3SPBKH0UtgceqvbTQy
ttMsxWzQ9Zhxob4Ku/YO/tsSVfqIF2cMNBsksk4GAG5EGD26V+3NHoC5pCeM7ZqcK08ZgrL0JEOF
htVjlcTyQ3hEzNizwFrBxMEJcuphOLoN/odwFdf2tOkIil7ZrGCrwXXNndPtC52BSEYEX+BExo/O
FvpO9uUbsKs4EM5e67U7W8ZfyIM+HIFRpNeKp2rpYRJctPVcCO8JkQ5jNaN+oXpSug8cOfEznBHM
fefpELvzVxSB46j9HMOWDrCbgSTpBm63GiuEf0aHamcmuNatBLNTTCa1l/gU4eon7WuObNTC6s7U
lia3iKKNMh1to0jM206d/VomtJhpHXzns4XgGOcYqhMboTOMu5HUO70L2UGzsqgZDhyjo2NZxTbV
UqbWaFvOzhwdkklpAc6NU2r6NZJ2YlWSAkA8M42BrMA1mT2o9UPUQ92i87NKj8A/hU289Rnvl2Rh
KsmwdelXFN78BoTI2o+OsWYkw/Xb7J/ntLgU5fxuutQ1NRrcWn7TCG7OE2FFa9tZRtSGv47UEvw2
pcmurZgMxxShJc7bVZ1aB4dxfuDoudhlDjOtdhjCvZUB3spOaqaDbonGf5L6qySoNtGQctDEoW6z
vgQKLrb2tBKhDazmvP+MczYxIB8fuWa2m1EjyC3KPXZ24ztcHZLbRghBsvo1pk/o0+7jqfycTYWo
g8gfimj9xXB7UrZycW2AjjH46hFLxX15L9EmeahHNn2az1DqVmUIRullrNLXNuwh4E30PCH3pvFE
3q0dQyupGWo3vxyDiBar6ee1wf4FxUT3mDMHo+LlOLLCX8x7UjZ95lW0h34Uj/lQHcYcEvKs34ds
HRF+Ys02463noIrAdoD6JU8fmgJ0fRzWOU+gJTnVKSuI6FdR/wpEk89s7qbAJlu4lkvxnnAGFm4H
ydASX3QzsCbo7ApN5ygabT+W8yUfus9EV3tN1Acovug8Y3EkOwW5Njir5SruKD/e5TnptEb44Lku
wunM/GSOX62n8hsc/7yFpXgOJ85mvM3pNsnqO0CJhnSNVWVXL00bo+0QpIVNG68PF1NiTzeTwVzX
rQRKtI3uNRiyGWyUjyKcf5qSTXZDT2cYNHWcq2Aee2hc5q4xnB+DjeLCVqQYCbPcoxkCgjsP+Pdw
X8TDfNUxR1FdIzOqzZxXftvzFMMaI5VkJu1Hju0nuN+fFn5l6HlUdIB055VZYCkp6EKVGGaTqYvh
LBnPN7Th7eYv6ZD2nX6MFOBAzyq3wF0cmg+TMUD3ovAYNW9dtREqzS5t9jQB9jKN6mMUMdlfjQWb
3JIxEVc9HuSzodvqDtCwk9z0gaQ4S7+SuPUyGQiHdRoUcbk3E/WxNNllDQAFECeqi1pcYVF4a3A2
90wI5crXIuOo4oKhXO3u+FceLZ8BTaM7HIHVMDHR01DXJv4ywLl9y2Uyt/xKONRCEe1KR1PzujEZ
7RBRwxxVmzdNStTGWBKCEropF/Yo5e9ajnt3mbK7UVht2xbPHp/tvqiZQScNVC7cQ0XM79gzjo9j
EHygrvfoe50+M7dRB8eBQSbM+8EsYfwsWaEUu1QJhP3FdYw/lnQ0ty7oCRUkmepkpB10NT1LV80X
d0Ze2J27qXKDMJ6i/WTLo07qOU04mqJYObQaeZJZaP26megSA8xi2KzZ7SZyLY8Vm/QN7Mvj1hcZ
3m+sGORBDnDM6COC7lRnSluGfsRFIdGh90P+iQJpWr1Jc+S0MDyFRsDpCvpLokYghmyhrEGppMzN
sa9P9THriG4Gv4tSOUO24/lrdqI/Mq9/jROWGQmL1Gv0JIBgTADtpI/EDC+BmMYzOOpAEM6MnvDV
g3ShmWbQ8SfYOSPhCst73248Ltj/+Vm3r6komqM2DDs5AONWy2zldiPDuqFtVx1HiUzC/TPBIFdu
3ZX2Fzuy+9vjt6e2y4tMP453bsWk1hQjcM4xR7xr+BsMzctMDWVAcRz/773bY1BXyOIyxc6zKzob
cVasaXDy29Rw6kJN/8+922NO1VmgIhyxiq14B/rc5ggHO56M1qFE9xtA+/zVxvoTyXBA+30YlErU
ZTDHtb/W7aFad+qjLqMy8CT5FLIz7JXfOeHOG4aBHp1z3xNBDzfS59KYIQ1OWv0qfDq/kqSOPil5
U6c5saZw1R9zgn3jequG/ENvzN/OWOGRqYjwISxa9jWhZyl4cxm98wE+t9F0lVGzjCEkfRDx25HI
auBDvkhRXrHUaldCCPPGugzQ+8wkejHn8sHw+2vXuGdLL75Q8PFi2FcUwuhs2XsUC1LMMxkRVnsh
ISOF2nhNzeIUNQN6V446vxzffKxbm15vFRWc8VDX6pzFoFUJ4nnkdFYr4TcX0Iz3fRqxc0V/Nisg
jzL+EXVZMAotmGlMbzq6CTuDWTwjiY1TQNSnifnU6v0lcRj3tv1pCGsyPfnYNhIw9joipsasoehU
9k4U9behrHsc3UfQQlXg5xHZiKQZQHfuVzFo/0HBPO+LYjMbzSsu0vtRS456pRHvWjPt99GWzC6V
e72lFntrFT6gULb68XYT9YlxsGzjiRi9h2ifN4u6NCTQT+/leTKH3yQkmOuoNH9EWvQ5WCBQ0H+s
u6QzyEu5SCf9mhmvbSrL2ms5+1RZvBpw35md4dQ2UKCBuPPuoqSOWE6gfg5NAJsR21R97ez8AYss
jIoM1bbTLpgFpbaNK2lTj87a8vIHx+yv2mDeLf9mK31ubPNlsr9z5s77qoh2FZprGs0W2GniXDEr
RNQtNhsaz+KypIbHVuOYHSxfg8fV7TIPHlrYkRWUtAXNK+eOD4siDB0BF3FwhRWtoIjdmU0Ay1TA
btNGf19N4o3uVthUCJKbQrvA+jR2VMbM3Qku1HOCQ1JgUD0S0/ihxzJ6cE06rXQ85KohvQLGgFrl
wiQ+Yzr72Kw6IMaZCfG7os8GnAyyM5C2aawOYF0SqsGs4Qc2GQJ3UwCxtHqgllZRwItcvvzzGAo7
fXN7MM7oYxq1+1vWnlyb7VUPMx+nAnWkIGjK1iFrw4k4kgkvdqOyzkmd7+oQD2kpkvis76EwyYOG
sgGnB4lSMHPnorqUTdVtuohiGhrir7mJuePVL0mFFiVtCUb3MuNoN/G1MeqnHKmw47brFuMAnpPo
M4oWBp5saB2NQeTQP0kz/RKTeVgRRTlMFFFR0X9V6PjRmUKCq3RweTUeTeF/O36TBr0dXwULaJ9o
X+jy+eUc+6eH13Fw+3KN7A+ogxKBP6MhmWcZ76FSn51sitcpeLUlJ9A4+clIGVRS/qOmEmdl1whc
PRFzXmM6iEvODLPASF8KHQfB7AdFP71pmeifNYlekkb6JsuZYk0TzZa/y5bX5fGuWxIMGGah07X4
2BR7sPWS0YuOOFBOZD72Ygkp8Z1nGoeKEUrXr4ce7E8UFlsSbXxSRR+QezIvQSu6rco63nGdIogs
u3fzqT9M5kQ7oZDbXqd9xwDW4OLAVZNMU3ikExj0TRIaOBLC7hLZiXYYLO3gIDu+MyGFFQguOR9h
Q5GPa52VYGw2e+4xmeKTQ4dfo9Y5EFLFpkc/mBWEHHpPc5BVfr/GY4rx1egf6d/7u9kwfk9eqI4i
8aoNwj5WAVhWHdGMtEw0xrE6lJ+6YU+mYxDOuiW7saKS6KaSqALH+11VHpNPBfQxZUAI0TlZs716
c0W/LV18OdGQe4/RbMODgxNgaXV9SAbno/OrZ40MewZDVG14NL3hQK12jhyMNC2B1WQrPBv4dQFK
6V+jg9aB5au7Nql5QX9zHCv2hDMnvQcRCJmzeu119soLRogSW7/nzMCfrdKDKypk1zQV5jmIxPy7
IEi0cblg11DIaPl+5f2bzMPf7qC9RNZEsx/DeF/kX6EjD35u+Ztwzt/JGZn1x0z6L3nNKNRnMmIX
v8w8Zf470LOBm7tK49+uJY56nK07v1nCxe+JVdN2XgP0EI9yuHiOWjff9/l4rm0aJAUTKvJ4rHMM
XL1wcQvUvB+iAJPRR97qKTvy5KMgRY5LQwk2T0vEHcOS1RQvWx/xYSOA06W2SyL3FPrqNLv2OYEY
g5mEhJ4GYD0afHwz0RcZvB9lrgc9juu11k826T/ttlawRlQMiwEiQFU7FrvT6WfrcsaEwzXxh9ey
ceky9Vv6P2zh/UfmMWWg4uEKA+2hRylhcW4FIvNffHu8uD6BNeAp/TJ81HE0s4Fq6K/QXMLLa5IV
OwqTZN8Qo/iUy6eGuQo4I+mb58Z7D+vxcTG/m/za+EpW9KZw7pkLTMlp17p8HJiibUTutEHfsa9t
JIDw3D52cJ9syITWXB9npuE4CoqPxM2e3do/g+26MhriY72jPn2YMwfHakL9D4gRhE2++JqlQHRh
5/MVtDDVjAdxqm9PxahAt1u/8pTaRamu2/Qk69gjQ+0l1IJfiFq5ZsudV6jgFhdWPTK07Jg1M9yI
dUIX4WsbLuFJRrf2FQmMAsyr52Jitu2eCUEHaSVBAZw6QNYQ43PAOsXr4FzbuX+vY96tJDDFySMG
YknzQQokxAP8yLmu/e4t6NBlxhGF2ehSeOlHuQuXdyRBh1NX4K+GMOsU7iLkGJgNlA9TNl845ei7
DPR3G4e/vOre4yFhPZVqZ5vqtUvdz2IsCCisJ29T45bnSIpjPIp0tTIyfafJgjwCNcxpK0qpFFPB
ED0VUmddM1BeTN5nlTIgHvA1IBF8h7SPwyhkL5nSxoIEiHB1IVoTM5JCP1jmjeuK7sXGShDdSPGd
AlAodLX1u/4hpgtVt5YB49zfghnNqN1UuNPsESSZPhwx+u1LcEBwgo0Vlqdkb0m0xuE4fmIjeAgH
Qj3EdRLFlzIzhhld/tqNDIM4u1eNqXBARvgmW6xplFkXX4HUkWkQg7eHSguHLDEIR6GKjWb45HrC
Wq5rEfzecsYE9Qz+g7ZS7+4l/bZVPKLVZD2ZOeveYr15Xf5IZTMUa89k/ODbm3xyiNvwzDOyoNB4
cyBtog9xDprxImzjc2BEO8SY+tiQkc+UYQvwspOV43Y3xhtZiSyj5bLSJMz+wbL9pAuoAk2vP2Th
/J7NT0Dr36zdv1znnPh0kI0peeCoPkc5J3eW9lDxLq6JunVKW6DBJh4cVx5daX7rziP+eLTWjRTr
8OLP4ilhxosmRnvUS4/jqRi3YVrvify95O30YJvFuLIaJBF0d2qmVMw06HuhYkk2VQ+djUCXTst/
eJW2y1rtlwBVtap8hrPKfRqh+BL/tJrCiEs/xxJJgK/lnL5PfvTFTJ0WgX9uK1xHH/hzu7X70i8b
DnvduvcTvKRlI0Ghn1C9ZBSfYPlrKk+GsNo+NGpJ2uNkb2GQ3CcEwO6IN+VAH5i8u/Sitz2UGfrR
9bpoQlK3OmsmNXOp6vS9nicvmlXZpxQsIs4+/jw1Fx5Rhtc0yh+6GC0Z0wciy0HbEpCGnmQ2bEAF
QIWYeSRGYBrOnRvnzmrMtHNqOTQkH7qIVZrtjTtiRat+aDji1nNLDTgAsxmZlLhLEK9GQvA2bqIf
CcTlJm3una5/xJqxa4A6yME4jpwjssGr43uW3GO6/zEPLM+iz7/pI7wQL/RNyfO7ikwOE3v8BUZw
M+R8hjGlmZtZzEkI5UYjBFtq5sqQT/yavkdF16QAb6b3iVDF2K1fh7x574eWFBaIlKs0xE4SWWKf
NOFjTZcvSsTvLIqSbcfEnH7Vu4WyhHyl8nls2b735J0wVd/S9dnDjUWjE6K/Ge4jUf8UTbZVGhOs
hPap73XHrOQVlq6o8b7iHpiZyJtT1SRPXZMd7VFuxAJi6iVrq6qqp5qmHC0+g61CsQUg3GzCsPiw
i46cGr2F3mNeakX1hNvuBxDode0I0prC9HnQir2RTe+cov0eJ9U06Y8wqgjr0fxPP2ZcJsia6ef7
zOI3JpIp3MOhJQM9/xYRYj84JXb1UMCdLLWKSL4SQYSNjWaLUQmAJNSs0qCD4oThp8HFr9W9T8BN
WNZw4bW0hcxS4uZIxm+iHZ8zUlvRRVcPUx5/MHe45BmZaAUwrmHe0GWkdSTi554LHZPt4V6nYbN8
VjKyzihCfhe+i7j/FGE4DajbCLhMdyBMhpVJam0z1s9mumAU1bRTCAIDZ86+TIbT6ASqvYWtmTSb
VyuM3mE5fDiG8TBU1F0RLmdYuugh2L+50W75KI1muk6ybTde6B9GQlY6exlETPLZ9lk8KUJJ39k1
Nf8bGt0nCxEXHbcXpu0tGj7k2LJ8ngfgMgo1Hn+5bUuns0SxVzPCNSTlCu5zqxePFQFMHVm0VBvr
ilR7HW1AOHbnhP7z2vbq6+0s7GeOdjOh669Djkdwmar2NJRq0znGa+1n2kODaLLWyPEkmXWOouc2
8e/0jPlfA74MOmd5shnJoZvtUlzcNMraIoO3w5BhcqZvzB+nKZl6xrSS7X43IsvCaD4WCud4/d60
jsX8F7Kj7pB+icykHbU3ssSQZjlgq2WqYxoTEw1/0gZQRU/HNvFatJDG91w0C3EqMtdzZVWn2w1Q
HLoiii4WKiJYI13BtNtkENGNHir8klQXMhRwgdZVAabcvEcCWuyI64lPbm/Ep6oP41Odl/hawZfb
jVYfqbk4eG53bx0o3Fcgw/jz+K7trLuWEHOajBnLYHHITFIaQieWZ6cjWVHCQz73CZWIIasDRaS2
c6bxYBU61ymfHN8jBafD2U3XBIR8DgtPYnUSaFluXbKO05vxFze3L03pMfMhOnbjqsRDuuiKI4Yb
1ughKQIQ0+UxcVJu+hAaJtK2NSBxlO9NxvT/dvf2HDuxRJA4FHTUIGt9LJYDS+UbbVE+326qHLvK
KlyU4LevSdpx4d2fiOYcT96idIk6NlGtGDdT76fEsicsH7e7XZ49sTzjBnRQ8aP9Qbx/68LJcN9n
eX5JQoxGnundUU82ox1MYISxtfXVk2+WK22MtI3oJFHreXh/u6m6MYRc4NSE3Q0v1UJmG3U+KgRl
GKLtJ6thnKEUEDNyOzlJKW4brzjdvqSePEdtZh7abtBOjSYDIimTe78BwwC4OwG25ztkp7noD+vm
LObhUnXdx8Ro3vRUecS7lFyjKtvWZoQ3oZ3KLWpmwlPT5itX+otuIxr0f6HibJEqMj4CDLDTO90/
iuWvC1f2xwSFJx90bGH2lyrUcpRP27kxi7cEOhjSG/HuR5UJ8837tLwxQh0JBtG0c3z85bbu6yCs
MGhVTNtgCUPeTCLxYhizjkqQXbwA0MtWrnM2cdHCf2/FvVdbxPWl4D+bAvog4N6VOS4zs0yvjsMM
gX11u0sS5QLMyDZKD/P936cYy/ME+p4VIVmLOmP+hHEpt2J8l2GOj6z1DIQrw75TlXFXtmgYItVY
UHRou0LsYt5TctEEke6vBAc/5Hh5mAjFOCYu4jDSmwuibZVaOdUll3ND54TOMb0wF6HiRqv5DATW
nu3Q1ij342apn9JjY8XR1YQHgUv61enVsK+i9FNKem1T0weOh/YDa8yy9UhZYwlPYrQ23BvTAym6
/o+w6VEziIQMWcrLmEjGXZPET3g8ofL6086NU7CERbHOIvxzI01iwHxsp/Qi+Z69eG/FdbFPhXfH
n1zfF5w4UVWhwzGzbmuOzhD41Llkn1yEb/OhNHwAAjki/qcTvbIB6Q4bvYEAzUtWgf7J3fA8yJlT
/3/YO4/lyJUty/5KWc/xDBqOSQ9Ca5JBEUlOYEwmCeEQDi2+vhd4b71891q97qp5T8KoRQTg7uec
vdf22upSmDrXlMjsVWfSUzNYwb8DuibGYUevABtbTvWhDsdTRdG810JzMWZMUaYJnlgnw5sni+DW
j8UP3WSQFTakVNmGNu0YjZOKoPBPhknlbnuxDdPCepQNEraMA8ACIeXO49l+IPfmbOhlea8Fw6tK
bn1WFoe+dPwHLGm//HoON+QkUyiKTQS9qhuKByOkF1DqVbhFu6kfHLoNuktjlmhwf+1oNPoYxVYb
3ZcY96z6jnbxGeIt9pJw2FW9gcjZ1hGK4cnYWmZ8G+L8QQ7u22zSjgeGgFYyIHtPzStHciKJ3BjG
MPzEba/cYWEgKP8OrJM/W2rz1eDOgPVmdt0rR51jDXQbiFu1m0KmhEFFKVdO8ZuVDdcpcOxz2/Ri
b9h805hl3tH2jAwk2C8vsstbG+vTvi4BYku0S1jXmmdqFfNoCqQm9OCaZ58NGlzD0yjMt2oGXyBe
bK6Zz1fb9vSUzQ/o8vamWwQ0CweI1pGevKA3O8HI/YHdpjxbotcOjJrhrwO+xlLnx3e0fO6htwRX
37230Y8fBw1Xetqn8caB4IEkFpHz2LjaltEMS401/iRZFOJeFrjb2sZd2avhB9x/nOZcNejwFZja
eTjQClq+RFt/1NMAKmYLZtv4suv6RxgXfIcGkzelCXCii7AeIJDttAk9pquQ3PRcuE+ZZV+AkIg9
RSs5DnDIdcv+aBLrY2TUg89guE+KqT7B1HwsU+kfWyp21LTuPpXmC3UIeRS52W9tPxkf8IfcStkB
FRkLh7XXpYU1hnLt9BgxDF0kV58j0jehgL3yh5/hTZXkGqy82noKJu2hKJkUh6NsWB4Z+gSNfdIj
pAB+7etPzBN/mUh9uU7wUsY+5Luwf9Xj6IQ9rj4P8SEbJbknqVYdS9TeVeYExCoaEwBkVompe2rE
MP6Yah86dgbQPYkXRH3ka9+FvzDMqfcELYC0rsDmw6BndqtXpJLp5npSusDZPnE6NZCSUX/QpZkD
uzk2xhfEAAtA8tYpLWYJURQdgPVfUXF9tnVSnQqBO07LR7nQj5jbk1UnsmQtcgE/x65z3MCj9hjn
EzGe3FtEo1+prQ34OTYuUx3nOXtpsWiJn9nbs01ClEBa9ZpbghTgZkm2mHfsO/fDGV157nBYWgMZ
MCmW43tRd5RNDa70KnjTlCnvpxAxpYT8TClBiyDy0YOUNDO1cfbNZ8g80RowXy+605hYd9UA+iE3
9XLrK3/HlF6+mK73llQUykPsnntml/zNLSO3zpa7PP6VhHBAuvqDaiNcO8gRN1F4SwogbUkTM7xJ
M/lUTskRJzgdCs/rLiUvz476UN8y6SDGgjnARTp7sreCF7jv7LEhwl+7UXOkOkPy0gKxh0YW00Mr
h6sdE7ZLAZysNMRgkO+029jSoULPzHTM8mjDpjEWZWT6Ef/OiiAsZGmqPZF3u8yJsd6AdsI0S0l1
5xfuKYuwb2qmZ+KxGsyTqPDyNwLriojwyzdOaC9UhfIexqo4Ox6j+6bmX8dkABUn/RU7HpEjkAo3
AKN/gQCLL1UzxBeHhkjUV5xRw/GCwtElhW9CZ98Oh4zbHHm55dENGBiBAKhAC96sE5CYUaafZaGF
h9AJyZgximwnHQ3iBaCLTmvEyUWyCLGuJ35Yz041/hja11a8a1Tir725c1fN6coy4Whs9ckaNH27
rrveuAe4TBRFtfp+qEbzTteLaKOjuO4LcDosvuKjVa1xc8OcQkmAFXHajzoZD+nEqLCpm2g95mfc
EcV+Mlr3V+cW56BKVtgjstP362vq4Pww6i84B9j0a3v6XFAL+bY2gQxpcCs5L4h6niswx56I1hme
jmWWaGTCBNo2qONtXFiozkOYhl6gdxtkbBDxCZ5ae2nws6yfQiA1O0TH/FPwfFalYX/p9HEOllmm
K0S41vimBouciOhcd050MsuxXmet4jbU8107gS+rWpSfdSo5Nyp/VToMXtECayj48h3JYVC1FAOU
imZAb5neI/YXMgsNqEBO729zL0lYePFutGZ3y43CfPZoluMPsXtoRKvvbcT2bfY9W9OW9OZxGQ+W
uiKAQl1YSedAWn2+gjxnEiavGxvY99a2iIEqxg4dJi3t3c0Ujyhx8/5JBpjFK6t3fvhJStJ6QsBp
n1vroixKkq2ZjCYYPhLHfWeGSZ5GLFYuJAplmRqU8Ia8KzYmj+iMHazmNvfzRzPFhNImrvvUcufS
w0dZCsZ1HU/MoPwWAd1gEc7HiYARrnHnQ047aBL85PzymSTHbNApMwuksm0JA4FY8s606JEc5TGc
3m0mLevSTxr40rCxXBVdJfh+sr9RXeHmtg42CLcld2B9kHnr3zssBq1w62Okd2+9jB+6RtTwHKrs
NDVYzTSaszhayJjuajtckI2ob6zg1iTtgDONCjMZ/XudyEqm1+WCnGdnZwc6g7qeuBbw3wXmcrSs
gE6wvWBIgvhIY4zEyoXTo8cfhHdgIlhva2Eem1Yo5KbZdeqHBG8PMo+gt1F8VxWFMnbypAnC6zAp
xGpJsMSPSqOD7sTOx8wPcJ6zZ1CGr6D1GQeaC9MfR/haNN69hpa2V/uAiRK1j+ircbrWdwbNVmDc
rclVIxE4AYZa2UFaraC6D3tm1tqDtCH1aKAoauNnoXT1ZZrqVQblDcG39tiX9lOEUOzT6rNNZpMF
lNHOP9u9BNafuC/As+lyZGN7SRP4vA5P2gL/uLE16OlcIzFxWK+L+JebPoSlbD+7Ced+P+/Jde1f
tZrzSl9W4qgnyt1UtKiI482+uGkrqPgJQIjcw15O3APNkSTay5wkB1DHVut591YjXl2aTNgrHQvu
SCiJDEPllI7EaXF6OnKEcM4gpfpVhhqA03Fv31vufcKm9NqXuWTSTIeS0ysDCd9GacvpsTN8xUQW
UW0iyaLmyd90Pa8Cp0D73mHoyxypNrhezE+X4d+q6RBeUDlby0ah4jGN6VBoEeF/oMOKqvF3dZP9
yuiQw5fQplVpZeGSiCx/iZZi4BDVwqXoA+eHbrDfhL5NS9krxmMl1BfhWvDhPXBqgukfsyjzPhLN
RsfbtanHylx/77pqkGtNGF9EurH6iANNileUPBK3eIyKpdEOHOAhBpj5LQvR5iisZYu8zPR1Pvb3
1Zh7B8OKiPr1GR4P43BNsCStvhdkcgnvRO3Em6mHRtHBQlwho+SklLO0qeJzSittVUDHillwu2bo
DpOOI0cROxoELD4qZLOIpuSFgqg7VT62KzJ2l1BArNUwNU+mgviHWo5ujkSkQ9sAxauD9NccJggN
ROLpTbehbYb5NY9R3tnIsvTAM/aObp0oqcRL4L/JlqKCs220R6lPm4xrpQaMy1SUbSL203gLXofs
j6sgYgLBX1/tC/+5drJgTxehX+lTYVyDyImP4yztNwyzOM/YXQAYQUKUnWPZC+wSAIOc/ol8Lw6e
WlE9Fyo6Cr3wkMGiGSbz06ZbZeT34TLDMIp8nl3J9reu7L37oJjutJERWoGaJKna9JEYMMH0M7rG
ftWcQRc950MH7NJsr8yuerwRSGVCqU1bXGA3IbX8nmdmGXozKnJsuoXnpbxrMp5gnLBva8ddD2KP
BrzAp6ewfTVIiwLcefMzCgffdS5GCCyXXTs5CYM5VOOquVfh2o9uX8+WrnibGPgZlOMPZAYG7kEW
MoDW4Gp7kz7lohvgq/V1+DpqY4DlejiOkTXcQ1x+lJg+ERpFxj4stP1kj+3aV2b9WjrXABbRQ5wz
3qiH6pdH7M2xzinOaA5EJfuyMsmiDUWldkbeb0wipheE5nxUMgmOQRzRwUk4OOcZssMa2d8S7hv0
mjbr8YTqX2Wi61fZ9Awl8NLZmjhlxchrgu8XhkSG+be4Tm35mTRcEXg4ss9chfQoYRe79mhxsdMc
yeSE/Fw3EK7jddwg/z3olllsTZ0kgKa4KM0erzZ8prWZDLuE5iTkzceiYK4WelVMQDgiAsdQV2HO
GvOGLNaaST32ZKZatbzklvHVlpNLPE7XrRh84DDJuY/UgJ6riwZ97yT6J3ZBQPF+/9CjPAtq6OFW
Nu4SL4T56bMNK2/wdjpiYAjPRvXQCPTIhVHmyymc1LI0KSB7HXM9qiabeVjNcTMh2EODz0Wle9CT
IL5CAHtUOqHJtkSJOXXgYOSgbWBFbuvGhjyWc6YNGDv2eCSgAinc4wjeVmPrQki2iAoRE/36zIuJ
2QXTiPfnjjEDnlPE6Wie42PBnronBU2Wythye6CuKErulKn+TGnKrWzLIJaWQK0wtjdFLOW6NO1z
kTiAisIMRwkzsxItYY2DINJ7XOostEVT7CzJc2Xhc8GZBWKlNT/8YVAoJacXS0sRnIPHXrUaigBc
DSUjUBuKc0fBKCMT8l/+lhY1txzEbrfI7vWsduhbeVtl7Bu4S1bvqXWoIT0uplObTfZDV1cbENPU
/t64gs0XnUIneGwGs9z7bXoZJBTTfsL4XzQi2tNvwfGAw3zRjmVwR74R4RkA1VdVi8yLg9myENFX
EBDHS5euQYbi2sZKaS3TMKmf6ByYa7I7XZLgh4PqWvD5OROw0RXmxrAssUyVxIGm0QexhUFfbMg2
UfVGNVOu/WHX9+OpV/hQs4rWVImwnwIg45hwGOY6jm27r4P0BGVNXzcoII22JkXJs97KQSuOAcEU
NFFssbeN/N12iu6MN7s9S1WAS9dgu9GJ7k4xEpwTca8Xa6jG3fd7frHNEb4dA4+CH2YcLicaWjUT
6xYN8NDU+35KBK8WnnS/DkZyrstq/tZg7YHLX4SgA1ejsumw+hG8UtCtp0zE9yYAqo0tJsbv4FAv
VhyGqygcqx3Yt7vIFLfYF+m5Nf0LdiUFvJ3kCzxi9tp0baqvMj2b0XvPzfLQ9PYjep27YRifAa4l
lwJ8WdAkc8fkRWWTfMqlFt1r+bB2zVSeVFQ/Tmk6PHTzbiqjoxy/LYUJSDSX+nYY/XWd+/bV7vqj
qNByg0XflzlogYCR8g4wLoVIRJZhzZYpcWFpTYUvpS/fCs33jm7lNTBoPZvVz5cnmXj41Utjn0jV
bSYjAi2spyty/eROWmh8iIVYjyPViWm4H5VO7xsPV7Kx2KCXAePHTWqh8fTd0Tq6o3GW+iCOVnvK
IwMOGFKaKMZwbkQ6IjSXojyN8AN2NVWoHJGZqeqT+SfI4KL21kYX17gtLaaegbPx+wLzaAV2jkml
ahRdLer/rgRNoRSG7xgi+kOkMWDm1Tz7ndrg7QcJWl3TtN/KoLYwtK0zK1dbd6SYyj3UQo0Bxa9N
x1OmMalTvas2g6OuTdkbG9P1g3XLUowOVN/HPq23GPLn2CTTKhHp1SsIIe+w/jlJ8DOa9PpiVS2U
g7Q7Jx31WBKH59gqfoR0K/i9cbXurKSHuWriSwVnFTtmT9iFQfgDVg3E3F58r9uFTjYzY5FJhyvL
qMcBwtdE6QYSVL1sg348UqWXFDbElvsdU92UceY6zb0Tc2d9q0ns0l4+4KNCp/yQ6jg+h6BnmgRa
DGIiw2RAZeCV36PS2FpZUx4tlwOYdFxtZfschAphgcTCLbdumIkuCqtRR1ruF7gA+tbQsOKSzBwu
AoHlPo1nETYFyrEYwbF2pXOoepR77gQddIwTBEguzvmq3VdAsU4EQo+nidMfs615AG+iXjYzdzlC
9d+wudk/kmtctflasym0ssa3AaByrixGitmIbhFyKSYGOc/6YaQTIoteztp86mi0pJyt8ALWJEI9
1BAmiR+vDID4zrOSWrqEoOVv4uR5EE19VxvVQjkhiOCuZXAOvZvmKA2PSj7nJSpCt8F3jnZ6VQ0W
EvI8rdeT4/U4hXN9O43pSxvYH+DxmMXi0CFEZUMrjrG1nmWnvGG1iyrD2rcIkFEOxelDq1cvk9G8
phZFD9MRkWSHIXH3teiDV793BAOHKr74JKL7xFrfmSjBEN059pub4TP2Cj4BPiVjDDRaM2D6LmIQ
cWej6ieyuXowRQDRMyvjdW6PDZuN0UxHb36QcZnsHVNg+q5fJZv4TpDoeYFhOV08BlRmFwbbGJWU
WtQTm8EwTSzksRadiKd87vDvgRQt4pPlW7D9nQemimB65wfmIfYfbzETDdEvzKyKXvfalcuJERVU
APdAtDvyzvAYdOiDMxetckTaxi5Oywc/C/nPGvWlh120KmixArQABBs5Gp7JGhJK4MjhjLF5xdS2
eNIVI5Qi/cr8aYSsWwncMBmXGedHbqAS4BYcVvRQpJTFFefUoRr2vqyNe9ODiDf/qCDb0PZNj+z7
b25cflRjHGzKyuBIGgRiTS6EqWnnrvVi2KFWuaVaX3WBVh+yCTSLJEhx6xjTDURKeMqm/JLRbtxN
NWYMY37wkD6vmDwVyzpykuP3g6f7v/oyJG+oCfoDA/ppV/EMhaIbDvwZ+3ycVqHNoS4iYbGQ6qbi
ANyjFm+BOtkbNZCRFurMwXqb0jMLkcBWVzneiYGgCj2gxxTUICzCFl8aIudjGs8JbG69ddviZ6In
b6hC6H3QzOtiZyBBPugXoieXwaXzGTPDivKyXLqDw1TcWaWNVW20CcAL7OgkxrtZhhq2XZQPi/kQ
59r2ewRys0/TF9Xb/koXqDXtHmN6idJJd/HsDo1D/47lB5K+hQGy6fty49jrfmo/krrCvlRsyxC/
qNNmLzTfUY0UyAAyeOWLykdBpU8IdbRTkHpgMMAHLolnUwOYFGqLnWkQAy5C91BHHPKV5Nkhqz4N
qM6SfqEzEqKebE/ET8mVwgdDFgw9bhSSweC9VaT5Yr/R8Jm+alLPtq3ubkpLVKwhiNpiyydkdTIv
Ku7OdWBBCk5fbKvivjb715KwtF7Z+LuRqXCITeoFK/LPUSBzlyl9BH5TH9qvJdrxBZo3tZh847FC
IwPF1Ts0o/HKVeSs+fO2jhSfcU0iU+yWb0GHeJd1AK60OiLxUQQ/fjhh/JwmYlh7+8KlaZ51vCCR
+2T3OVhfGzhT4LgcPoJdUXhvgW/jUlbRk+bpT/SdsEjX0DNClCht6V01+Jzs4gHengGQ9d2EyIhy
BezJrP901hE9DSRKl3w2FzVeBWuCQI6xIrXYYYmLU4BBNvmErsgZ6GrRIY4xlAGMIoY92orAQa8E
IyMQzB2zsD820b0Er9r6t9HHwBRiI160LqfOQbsm0NCvNnXtcrKxsYSTBBvkvfiTBhgifkGuPi3s
0b4HZHaPhWQL7OYH8enHWiKN1dPmuVTeG0j6Zdlogqx1BtWWoC5r0d8aWCFr3LtJjNEZBAljOhzH
KKvfDa1lGZj6VS/LCREM/vnYeAj1CiUP8KpB6CgOySRMzF8YxlADxpCAmEScWJ/u0jTgktD7ZW7I
aunazda2zecq45SZHycztrHnWezwM8A9rLblqB4cB2FFkam91qKkgkdALigytngi3Wii82zWKOw5
5zzl7g7ixvtgDPh1GjrVonxtCwNVESJ4q+2DdVGhV9PN9KnRgpubqpsZxK9VnpA1jk0fWx5TyRAU
QMNElQS+VQqMgroE0IH2o0/Nr1mNYqQfXtrom773lioJzyPAyV2DJN0abICzdbguavdsurLYJYV+
GPrwI5XWe51hDpJhctKa5JL37iOGWBQpWX9DNLNjYPzSheOjhE8r8PwLyXnKUx4lVQnXQ0TPYgAm
0lcY/cx5dupCFUpeh0YQkFrjTx4oO6s80BfD7Kyj2L7VDWFzSWEcSimeswIkFLlJsCrrJacdb0ns
n9gMU/nK9PxaFcNWSh8zoUCUF3oOYQEcZO1Znu5juqgBIjHARmNaflWqeB/9fuuWVASjod88Oixo
y/Sp2UGVCnYhy2I6555HRrgkPpOYD8g8tv/lNcmcVQeKvx3QQQ2MCeKkPllltHEcUDWhLe6xuYVL
I4OJ3cBNCaIqRNMin2VVi2UVMT2Z0vo0OlQ5vmXqSHzv8sQ8RzGDexmbO5GAPyOaDf0/g8m1H+In
iTEaISZUb4077MraHFZFWt1lAOH8ImbuQoNsHVxDtxl3mYqfcthOVP4oCf1y5IWApYQdz6Gj7kmQ
DV7VV1vNQe+Q0XdeN07x7kUOnTSSYl+U5zG3SOBcTaQYLbwHkSEqTVuszxkgEypKqjMnWecK5V9o
sopq42c/EBPithtIeCQL+nW2FSU5QTGyu04wtKZJwLnUXw9F4j1gyV0PjUkMRCfTkx3MWLqpeKpT
dokh+iRTaDjYNRu/HuENxFeLlZ4nI/Qb/tH0LgwqbCsdazMxBBuEsGuVZY+mJcqHWo/phVTNWkQM
zbX8vXHu9ULrbwYXT+rQb8Ru+NnCnkt6OhWtNR8pPknOpscLBtYKC1ZgdCw1Q2GgnyUr7rY2ynKh
ly6qSas9WqH5lBoEMqmeF4TWIOg05xTotdgYakxXPDEDjGGdlLrveaVBjO93/GvDDJuBgWmAHHUb
g7SNwPgE6s4UuhjnkfCC1uskKMflU6+jne4r8ayce6HsV9p1wTqbeC5Dk9P/RFCBMUqSSLEkjxr+
+MmAOZ3QSKRsrSeueJkj5NFZYg37goS5bMmyY6f4kCWvE/2yC+mOJYU+IdqFWncuBy76Ec+6zwE/
yYKXgmwPhJXVgwjMK84ZxN0uPBanv2Mc+SqrdIQTDxqsDH91IQ1HMXKxNngSyvZz8hdVCZFJI1R4
7TAFJVhCLfUIhbXqsp9IkbgpBuMhIcSl6BS5YDicaJfZh3p++H5rQvGDo1N7JZ3cWXuzozGZ7Zac
eatDQUBeOh9/sTlyiE4Xvz/1/Zb4dkF+P3AKG9Ss60jggAYzDPT7rbw3/nzr+2N/e/e/+pLfH/v+
YjQW+eH3t/3tY6T/wNCZcmLVyN46IHz914c4NP/13e/Pfn9M/vUTv79OxtXsGJ5/TPb95u9P/f7Z
/9XH/vbr//Yl/8Mf+/3n/cv3/P7DE8+J/vz7fv/GPz74t1/5+3t+/7P/9kv++AnfX/hvv+Zv///v
n/r9CRE79TqN6l/Y0z4HfwhIko7XPZLQXZWRFd9msNlJAVkmVnUTaVVs2nGslo3pmoS2EQQ422nn
B6cCTjDNDf8x+0VPbNg1Wb3rraI/NOk7t1eBPRPUiin94RC0eI9Lo1yXg/WSUqEe8jqyNn2rXSFy
fCoCCTd1wSGpnegaDczDl3GNDNGvchY/H44fqXKH3w9x2vXLSUQYDghnV2i2djXtGU67BcJbyCet
n25TK90IHXoL+MOAI5Z3qUz5qA3WuHH6ir0my91tW1X2Nv0x2J69cyJ9FXVmukW7f+7itjz0vXzw
caOD4EBlZ882dj3P8l2cAQoYjB9sAdkmTzQkn3UIwPJ7rXPnZioIkCpjoIER82BjPdrTB6Jwxc2u
zQ9OFLQMKd2MDm3QIK0jNzKyALmhz9Pfvm+eyXH+vEHhNNFz0TV8SxVwKY4KeB+n2fuIsoOQrO83
LQOKgYMLmlTSn7EKsAh7OqrByGcbSsyOLCNsjiNpRYzzXxgH0+yUyC7AsfiKEksoNGU6lPo+A+Yy
vMZWg8RJJpsgd6pFTPdKGeuo1F4mjCFLmvX3bQt7q1G4I7pkC9eGV6/NZioTR1ngLGyJ3Skz+kPE
qkt9QPiKNiXvJcqauQo5xdRya0OTENHPfdu22y5tMow9e6kHu4Boo0UTT/apP7oqxhJC0mdP9FgP
cPUg56OfB3JlhQqYsYlBfcYenGdIVQGFMT6NhqcmK9AOama/JJLibLwGXfju4ENGni8+vDBdpraq
51hCpl8BOXzKjMgwzbs7LsZuZYPLlVXvnGyjfQmH2eRJn3ovrOFrwE3Fk/MlECkzRkwOgZNQPGjR
z7Szn40heaPl+4aPhaKbSYPsG5rx0EQXo16y4sKdYcAQkxmLYqg2jHuL7BLDjXdK766uMd4mgl4j
vbglYD2Tjs11PpaACH0poXSTaLrLbIGoM+9uMktOicwvxVQ+0Xe3TkAMzmHbrVBdJavMZLqvE8+6
0NAUA5ABMkLjKtnXxzQnh9TFrbrMyehJHJ8BZ+58mD1wrk5QGlPBHb18g6qLBNBkYDbl9OLQS0mN
FY7F2hL+JQCUuSgLSq/EvLlakK4kkpClZg1ouLsHCgusKqba69J87jUDpUqd3zv4IsvI+wxoPkqV
EvyNP2od9/2OxOQSZUQPviVzHivyHLbKZFXptXXqZg9Vz9m1a/E6MYLf4XbDzRk0a62y3jXgenTc
rm5S3Rl9Fz0mnwTp3EyNGOKwqx+FDeo0kGhpMK1JjgCdeHbGmOTo1v8sLChX5TNinoPUjVthcv7F
dfIOjpUEhLJ7TXRubxfBJ7gHROk+ZkBiYBDjQ/7yQCTRZbokHFvm+ZC7dsFWLHURvowNSbe1Hm1r
B2UsSCJSJ52I/M+aIVrKHxwG9oFGzkk2xS+L00ZEh9exVyZnETwzh0Z36FK2LM4YX7eO4hXHpjpB
m1/GhMUVXQzALbx3ZQNoZjyG6iNjASJ9blRHhmuHbEDlHsbDxY1pyQvOVGv6GCu7GiKa5AOB3INF
8gKYsHE6J4oTtQeqSA38JSFxySkuEKgo8nXkJSGnt8C9o18M5Z9UlW0Ksk5GnwqFmyLcmhpB1r28
q93RXVLjXHwn14AodPYyQHTHhKZn7NL91IWd7o3Ou8kxeoiid9eN72jALOrZogUFuSfhx4hy4DrD
vmjtfRCbD0kQWRwcxF2akzYQVfZyqNUdp62Dj3+bUjt/LsfhbYCDi67bPkhE+JC1iCw04luoBUu7
oQGs1/WlqZJ1oTcfVcTkpOEC4dQHSLo2UmgzgtzbcbjVZeYeGh+cCTPeFGAinVfwRVg2M/N9moJ8
l6EOXJiz+9tOjU89h5rNeXt6KDL/dZqPux2l/IoYopMfoeBIgbDqczD3r8D2bwqU3Z2pq7NEPLLQ
I2PrkxbHS54usZ/sYKHK/TRGL00MMGtQr8LBddWTy8XOkW0mR76ha9QA/YxnVuys5cCKKenY+tZr
PE3TEtRt3b2qkCBCtnEkSOFHa4KYo7q6tbGLIGTbNcQa2FC0FyKfmOpcRomEGEwfm6J970XNez33
06sx+2CU8lMU1pfuKuy7c/8ykt4BA+Quyt1b2Y0vfu2c3FlZrWqMA4WpPqaJAJwK3wAehZ1R5O2m
G0tIHKmxSN15uSwIXMjpHCRhTLiF62X4H6Y1AgiKvDJ/GAhUQGd+zBzrRpoykj27ZJJf3oyiIWNC
L0HaBMHRES9tYj9Zox0BHWyvDsNY4NnuL9+eYcEYeP1eUr0YyTt40WzHRI+Zv34mz2g1lCiyjcm2
8D9yOFDhATnISdbcTGybD3HlH3d1p3IyV6mxmoGOcTcxvclTkkym5A4HLpH2IFisLrw0Qm7DltRf
xVS/8sGiuuNdpkeEQZR2jIznS0YRPi8uuSEPICjMQUW0ycosAIDk5Okss7qGTmMCj6MsMQmMLtEJ
Y61Ot1UdgGVtoTpirocZ2XsLO/Q+i4hACBOryhhX47YuP+qY4ojN8lIIL8UDHG2ibHjGgA9uNQXR
kQRf7WA7O8aTu7KKj3YnvqDKil1rdPsqiDYj8yDmRd/daCv7/zmzf6TDPo2KxNiPos2barx+oqXO
/zU41vSIev33SbOP7z//kjP7/eV/JM1qrvUP07BNvDK2MElEM9z/jJr9/pTDUNkzoVvZyEgJgf0z
a9bw/uEiohHCMzzXMSyXVLA/o2bnT/EDHR0QlKE7tuv/r78ly/7fk2b/Ej/mOMKljaSbho6e2ffp
nP41ra0J4T5nEUkzNEWtCja5MIHGdgSg1QeNa9rvfjiEus7dwINw5A6YKve215gLO2L42Jh3VhRe
LI3AoVTuohhH4q0KnZ1g6trrFQJ5fGQOZxFrAm1rhKd0bA4G49VYxRgxwFQEssIN7dKN/KFr/jYb
mz3IaUY+cqcP1U8/cC96JLYqhbyM9s9qr4OrqMhtCL3fr9ocdkxA8F9yeP8ZfvzHk/XPd//3fy8j
+d9+1V+ClfnZf/7uOZz4L++sv0OJH9rP+XKr2/SPEOY/Y4z/u5/8M9r4/3Hx2lxW//7avX6q9mca
f/xH8fUfTfT5H8uC2OR/vfbnb//jWibjmKA5YbHwGqbtwM/8z0uZ1GTDdy1fNxxS7DzHIk/5zyvZ
+gfXtU6eMhezEA7f/88rWXP+oZvC0rk3TF2YfKvzP7qUhc9dqf5IV57jnQV5eL5n+IZtIcd20Qg5
f72YjQifXxypjWbGPQcvXXsIMO0h9KrdjyF5zu2GgbuF7qpQVvXUThYeo7FNZrv0D0tz9Dtlpbiz
kTDtg0KQpsRgO5dQZXwCLmNSb4SF8qTTLn3SiwsgTtRQF9+PwQyLzNr54RamkoIoPgqCtwCglPf+
nKspIk9fQhD5iubMzSm2vwLcuMdUoP6vbILMRUprFr5rZ0Yuf4n9XLfxjgkjcZ4xGrk6yTdRaVcb
X+pqW0nIZl3o4oPwhXwurXCfVYN4LV1EQJ5lbhXtyfXkTStbAZf2LJCAkCKGjajIG7XalEGmJ/f9
UPwinbHdt1r+WnddvMuIX+2dSp5Ylqo7t6FCiNAKLw3wymZ+3wxVuq+98Clu9fQS9TbApnqOEO2P
TE4xO006SOccaj5qKNh3TCm3lfo/LJ1Zc6NIGkV/UUaQkCTwKqFdtrzb7Rei7Cqz7zu/fg6OeRjF
uDq6y5KA/JZ7z/WIooLRDii0fe8KJs9p31SHxZzZfPTksTYEs1pTMhEQNA4HqdnK1uYQ+3GbfE0E
ulqCEWnduzSAhL16M6mvQQpabc2BXdzPaM2FtaMCMVaIfZyYOayaePfXqJTAieWeZ81G4urZlmvW
rC33es2e9UyGtyhs37qIXFrTexFT/SwqLHCxbhaUUcmXmiPyEWo72zZjTeAG7s9Sjo9k97I6X4Nw
vfXFAbW+iaE13cdE5QLYsQhQXtNz1xxdlZCo2zP7WBN28UUujzTlpYl1/1dF7qx5vMx7g429ZvRS
i/QGmb3zmt5bojsNFTEvGOgDHTHQKwzn0K2ZvyIPP1o6Ambnf5tifiaSDaitJs6l+ayL8HPqln2o
e3TwJltGZ0VdiK4iSio/uQO6Ri/tz7pBEwU5Odg4VnYVEdFfYjDw6ZdG+yB7WgiDvgJ3GNgu2XZb
LMHeViQXihbsouwMNloCHquyMfIN1NhjyuLeiv+aFn8l1kGcbS0fgLVEz+X4zV71uxvZBU8kR5t0
NsZw7+liRkdBpiNZ2O/MCNhC639KzDTR40eYy6vTg8WTRnZzMBWjCjnVwGsY+ZOrlqWPZCdSIFXg
3scMCUXePqbz8DFDBBDDf7hJb2GmoAnHT4gLXkcbfmmr32JK9LT7YxgJ+XnTgwTh4mfGyrsq3bvU
nB5mHXw7TfLHi1qW/+gQkvOSwYCxUUtVJEmQNMlfay76kccGPbecuv+wa13RQ8A6ZOkn1OaokXP0
SBSIbd5ox0KDy1XpNATaddCudXoD7HvTuJaG+M2OrFf0sX/rTj+Sdjn5Rvyf27b4h7r+kFgohXSB
Oa+MuqfMvs+CFkNm2DBHNshlJvUHIvq/ahpXnTeK+xbg6zzqN5aNyNNtrJQ2E/HSSA5BSAZCv+gT
+xVgc/F0MBbjoVmMt2yCdryiQGpP3+vVx9aGI7MD2SD09qj2pWkeiwhurU6jEFWxRhjH3p/l/wgE
KZpOS8h6WMVmBQi8e42Tudzmpo0kzFrVK2WGbuiAjdLZmQHa1iDOi1Pcls1pVLnrJ0X73iIupyMY
CR2S04MXIioAUPYeNmDp3dUvhgy75/pw/4yJEW0ryBl9Ko8tj0fkM0Mf/8DYqlC9lZibsGnIeXnE
gbhckyo9tSDXN5lkuhTK7htbbz/a1l1vjx8avi4aOCgasuIfN85PVts/ZZaYuwZocNulL4mGFYS6
6twPGEQYrqS0v+dFkahtDV8QiB90woc198ieZWX+he3CQ6yMvprr6OrpXGRltZ3o2VT7PQEIfZV6
uqNFGrdpzxRxocKyC2R+g1l/pTbLpCrsjw4qFeRwJTRAVT9zG9j7ysyeYQT3B3ciq6LFn9ePn27Z
PQwqfyXqIjhEMAHQcDK3NQiHaQm+tAcmvmxYNiDr4mOhaZzCpDS3Fp1TXFcBUrC4urQi3C2NPR3K
cGb2aTfwTiM8J6VbP9kkVJG3SIJwScwcupzWTz35gP76NFtNuPXmSfpoCwiL6eHXM9htDn3O2pwR
wU8bGPG+rksmBx0aXVv+ZHb5QcQWSu0pA75F6twzO+b/3LFH5mtPOxXFHsd29WeOPGJRzPTVysmo
1PZCrnQuDm3M0wspCWqY0Kf/+9dZw4p6JQYXacW5ZCjzNATnSJMNUCPnQV9L/Cu6TUc9xp79WbSE
U49297foXMHK1FLX0qNlnkT+6Dgkj6Stel56ETyoGVuBHPpz6RAElxSCHKMh8E0l8q274Nd0u2d7
RK6qO+ATjdb4keKH0QFb4/ScokL2jxP0uF0eYu+x54YMxTWNaJrEka+FztXhoZO7RCPk3QgJn5n2
hPorZuBUrxzOmIVaUdm7GUrXUFUQCMbdNMXhTgj1leRWDbteL34bU5ojgH9guvEuTQ+oVh7dkz9J
yAzCTRMrPACt2mHfvKahU4dvdej9NG023Wdt+DG5hLgQuIWY84ssjfEJACEGfsUGExUGEb4ACSD2
u//6+sPI/3MrFwpQBpp2mNuLHXHlt0Z9YrQ14/OuHuYOD4MjBn+R8Fcy91hh2tpQOn62E2kF6S+5
hgQNriYIGcbOGXSwxaUneaa2EQEssev+QbYBb2DuYACujmO0gwcyaMSxm3Ok7fBL2gyeFTI0sPe4
Xpe8fPO6MvOVGQ7HpYr/ZUGFaygevJNilLcMqXn0ovmrNYt9WHjfMaGh54Zo7v7DDEhNZ446+ksH
uqWQ5GNpRVgA3+gD8O8HkuAx6RWAXqdDYbXRZbGq5oQDxYcavgd+Cl3NWc5mXDwlSfJMfRhDQ8mx
nRsDX5jjfRBF7xydEdSq2+mzHjirBxKxcjYFUywZoDKcVnV4MYRD2iVa1CuQrGYo2aWm3l5PwYfT
52gJnMVFt6w+mZNUW9sbbnUcZz6jBXdL5voB98ehw/x2qR2crUQXMASX4EEjvg3I9vo8SY66evTy
I9yMZ94znlmTFHDCe3yGuKD0Ur2BZZRephFloM02e86unA8YnKbbEmUsdpsAW6WbZ4RLRC2XSRT6
dUY6WCMeInF2FNgjoKzMYjWcZJFH9bYFDoCWdHnOks8kM8wtghT0XWFSI3TwCKOakQW569iK4LiY
xxfqdNdk0JhKyAMSIN3ZnPuXJHb/RBHuGW+NehMGkJXRtU5s+vkNiJLc9Txlhtm4YFzpGWmJXZTi
6kTMesT0iqrErFelG2jk5A7Qh0O1l+2SvG924Sw+Gyxqe0+EN1fUJGa3yH6xdmPdLuzT6DJ4HtHr
d9F/xQw5y24TGoe52WNMhLuUUmUmhne0m3hENIGsG4/xvC+CG1YVxRWKxSD0Zt4ziEGyO1R3qXVj
AZDuATPk8VM2y2Y7dhrYVYodp5L2MWx5+pUtrN86L0DgF3ZxZ2Mv2mSJ/WpESbkO7mDT9/Tg0n1f
hvXj6HKk9m458UGiWeW/uqnDBjBXMKeHlmXgpPgFiYodj4XdJzsRJ8MpG+2XxbrSZQRgnFw0qE31
1JjELeda/UEe+8GZUmNw4NRD8fovjnkAdVGxoLwut2wi7nEEMAjUveGPmWRv0th3orIEh3Zh7giM
xSoSNZEfZ0F2mbPky4Ortet5uvlRZD0uMXpZsyI4vJiggls1VhxmrNsKorxDj9CWhNi3AqIJ0vJm
/dbrEOtr7UI2chzBc8P8K3kG+Fkhr0OVo5yeueZtj+VOj0rX7MPXRnYouChekgl1NbDo50oWy4m/
Z+Oi7YBNlh5EFszQHZD/8MtieSgSdxu6y30aSesujMbxCXDGFSKhfezs4SnFf3OMpujP4AVHyKzh
Lp4LiDVJh2oxdoaDOYxXENbhKenC4gpjBCAC48KNxHtEH2nuxdCbZ6WzfDu7dB0daCW3H/cNYHa6
w/B7xnDmj4nbs74gG71xih8jRkRoBtWLbYGi0atJbCLRuJyC/jI14nlaJnlbEq/CE/mUmlWJ/6GY
nrku31QSJRddTo/ZlDDarYr4LFg/gphO061Sq8llSV5MkTr3CHnvlmU6LHlGqsb6QmChRdghcyj3
STSi2sXWmlU3LO9zmEWnycNIBUByuc6FCdsqWOmM9RDSOE5nBgLPFTXvjYdSi2oNoVc3QhspwBzx
Rw8hfhh8813qR2v3gko+Ys/MYssr7wNbmlArwMsOYLrHpH/KHFSONqCG8zDQCg+6gnZUFXcD0Vs3
9kfPQB7Cu2WN1Ojm8xA4N8QbRJ6kB6JAuk1Sua8lHonH0Q3v7Tw9qdJmRFUt1pFYqq1bTexuJ7Rr
0UBqZdSRAsO+wfQzm4/ZXXVwZSWn29yIFwAAA6EvE0dGUN+hpWHbQywMuJ0+PCqlslsU14IEjlW9
KPTbYEl0gYt3Z1FjcRWQtpa48bxLJceWpWbti7EZDu2cPNe82/PvCwmKoNsRHbcxmfBVRJcG95EC
OTl1cSF3A/t8i+yYk8zGXUtg5yYKu5h211wuU4eEkpBFEY07RGbVHUkPP0sruketwVD1brQnUSzY
WngS4r5EpeKSDNZBI+AqZhwxhMmAH1z1D78v45Q/Z4b7OpblP8Lmyu1Ch+tXSY0XeVVW/76Meb4c
iLdbzUi8GcxuBBoz6L6KBYcha1VIta4Yzsn6YmmO78SeECIoQL2yzzG+wSNj9We4EOfhkWQrUt6m
3nCCfrjRk1dLlLz3Gr1pYbnVvVsZ8ftai6kksbZZNqOSOmPZu2/mvn0ylMB3NUB9NnpqjM4N4re4
xIZlwywzqu7P2BOcaDiiBpLflydls/NsEOE8i6DLfaOp2bFFxrLPhnUhKXTwWeDxkwX2uDRIf6rS
PnSJyP/A821Wl0d/sEgAhOAg5pOF+X4/azO9MBdAqztk97Vo1WNnc4AUcetszaysgUq8IfsNP4x2
TzaP/siMNj7NzRsbVCZBThC8iq7VB9ehS/r9UdlK7IEsTrvfH5uuArebjphmqU1V5LavZo7Dnred
76JqaF/b2c6PVQPW9ffHxIr707QgMo6HnG56mG+gt8srqRl3lVJ79FPhhwqoeOn2oP2RRbf1WKK8
BppjnNBNUsxE5/lZLwA6U4lStrvDPhJEVRaMFu4Cyla/yADO9XwODAbQ02Y4zl5cd45808GIU3v9
M05Jl/MQ4qWYH1vcOkdh/cvbKj+UgowcpzUyEmv0A1sxdU3nrPSriMGRUTCPsplcseeX58DCDjSO
UXmYaatQT5RbOTKFsvqSi37VeQcT268MgOPJJPRwKxHLnxDmvk0Rbjc2we2ptPMRP/7SX+JA/ZnU
ckM2Hp7rHRFA1WXMiHJrWEa6zcLhZgcwGLEgYzpwaA7mJjy1QfxcDn36CfjmNhdcQgsoH99T4k7O
kTqkLfOxOZw5uBp5SAxjeI1bdKydRUp4ly+PlSfvyVPFhJXz1aJw50QAxvUSocBDiN6eAlI9nxk/
jvTJ+VfdUGqomIncBDDI8EjxoNeLrMW5WXbzpGR47hbnEboIQ8X0n6oekKMPP87SfegfAfrqfk01
GFgcXVPREgGGP3KTJ1reCStMWCNGL7Zyi5/QIWjUsNqDq+v03DnjX6nt6mXOpgeAPfNeTdDzy6yd
D2ZvGIcsSh4t1pmQHl3vOITDga+RyWYRD/f9nL4FiYD72aCMi5nlqRkHz+9TMgCw7oZRcDYnwSJV
L/0ZE9cxyMEsDHDZyZ33TsQfRXcZf1Jmo9q17ipbjYvkEti9c5hhZUZlyJntFbMPXMFFMc+gxs5O
QQeTbzITHiwrTaZWY7gFT2D7hSrRN0G/MOunTMroiq+yPU32tB+kOV+ywDjnQVZdEZ+XR3yU/dYm
A4ZDuBuuHJKaGSVLzzJdg2S5LK+asvElREz5bNvixpxMXzOXCq8lnnYkY2mPcdHc4WRHlq8m2Meh
uyv+GqVRPrIxHnahXPpd3y8RAnfmpGXzd5L98BRZxQ6WuH102vmeCFgEpQzhvisb5ueS73Ruvc1N
Gp0lpvWNENEfgzrtKzOpv62i/TME/QgFq5p9LwPXPEmO/mppq43duXdJWBYXrULTTwvb9l2pvj3D
JBU+ANg8iOZvHwyXNhuY4i0MvlQCeG+MYe71On1oAskNi0QgYFzB+OFnMhymSrPcyi4Vm6iaGHKR
yLOTrbqaHIRfUaLequUaOxOzMKuyHwdF0AdRcHFiOg/YtjeBAJvQCgZdzJDPKiJPCr+u2YzLic61
p97xTVyb6BUgljnIpK2eaAh0qyeKxPJMT5KTfTs8VzQMRKB9u6sVPIiwaxWSERAeD2Nn16QVOcZ0
nCZGsgEYWTgSjD3T+hI0MyefJgvXYvi4WerRhC/kvFsNIE3hBcNj15r91ezbU5Mi+Z4tXCiRYwZ7
5NgEY4sZq4W0idPrGInlUeXu2HFv+16h/8ek6g85qZ0p7MpQkjCD3HZKjSOOwOC/hLsFQxyVepg9
dgnXmGyi5dAmxMk6YC83BNpmV6cYrlistx2u92pwrRc+TTf6ADI0HhgwTNWcXDlYIABThlgEiOAC
5agyaZlwODTHpCZ+ZESSigIwRM9K8WWYQ8ZYySGXsH2RXcDvTeDxzlu8feg0y2MASy6V6XTjLj5Y
HUlRbFXeUbwWu/FPEI9q79WjRcfO+5+9YWdPzmMR8SdZHULCxyiiG7gGCn49RmXEuy5GCZXGUFBD
8xavBWwgXT+W0ScSi+LgAZQj9DS/AJ7yc9GNJ/J1kU5DNuoTSkRnKR6yliBvx20Z2BVUUlquWVih
8Re+BxlF/eo77ln25yZtfxTme+k4sBQwezVhTGhPYRv3lgV+oTXaTRkHzTGyje+uleUhiYuLkRJa
yVi535p1vVNNp4hbDfdRafaXVOanRJqHvsCij0EV6gVbPV8PeIM9jQ90CGxkwDGyopwAa4LKYHBY
NpkV1KvTUNw5Uf8zTe2PXdUBACZAzV6kh32M7TZpxF1QUhng7X4B5hUsbAKY9hcHSwQ3Fiooncx6
YBUb/jVBsKZemm+EuUBDoYXxZQ49wpA97p/2OjDWhsUREX4ZF+ffl7rEYK08yZZpyB4NTvGDvYji
5PG4nfHb+Qg+20OkzEOKLYPAI2wRJtSeqKGMJ633ISMCjATaPkG6VKcbqwq/o6K/wydXH8y4oVpw
GWbdTRiujzKmV5Q1w1hz0uG2H6F4Mq+m68muuKEXemMno8+dbcKo2jx7Z6JUH2k94zi5RVE6PgKu
9NH24DOSDSSBwNk3Roz8KsepGI+W8DtsgCpHTzJSy5qoNT7T7B09EgzEPn7NUyq32qs/7JJiy/VM
e5uQts4Xh8W4SJcHA4nILuydN2AmtGQsDnxClHBWLYF7SF09IwgBIGFmXuQnUb5CCPFuzrXeliMt
+TT3xi5XRHXbcRrcK3udYiwaL07afIcz7xlE0T/GGGQ3mdu+Cpp905RXwLWIIy2aJWc9R1rXB+EN
Sj5zIEhk4RvLNw0XoHY9QpijgtBCx3Uh9Ba+kebVnY0DRBQVd+byVRfVnesW4xZmtbMdXedn5rg9
TVn/WRb4GGoObw0mbTOH8mGmXnFzAFPTFFR+n3ePVgNQPZgT42GE51go6wLl/3tJ8q8olfMFN8h/
AzXfjvQIcrhNIEst2AkHy1WmLfB3KTqq2pupkbM8xjnBJMfOm1dyCij4pFmzLfwTWNWfdo6Y4hsp
dPo5AZgBBG8PwR7iSKreG856jL/o64EwnIH4/Kz/W0AznCT4YJaMfAAObIXg0TUD8064HolOfFe7
onGbA9bAmh89rDUOMUf58rqCk3xiLDyCpeqLKMkxUYROdiwnX7qOorR7Xghd2iZL7cd2jPUdzhsG
92iLvhQ0LS6/IlEnzcgkwEQLB22mXg0HXCH8OxYH5WoIySL9mAHm2Rijgm3V53AysedzIK7VQn9x
WzWcyiANtoQIw1rCGTuG+ADgd5PCuLz+/l4CkVqy9oDRgu+vJc8FxlZGGHC9nNIJmv+EQXfG431L
EAhiAWhZsRJCQhnxQvn2gOrruRbDW0YSFkJXA6/RALsWsV+L4lZCA+ONLvsxIXmAsNELdiZ0eYKf
Gvw3QKTeLNM1NuWMhQ94JhDLctc4jJzm9ZCAlJrYIGPmmluyfNFRdssncWcP0AvRGr7jSiJe5E4B
br1rvOrBjvXMCCwaeKgVZFI4PRmJTLCThlm9c0gNfJOFeR4s7SEsjv+W2fIh0IOWXdUTPu199tma
6eetNLU6/8yS8KdUFMt4d2FjuTaHpWaMOCLYSnX0kCuEpZqLexL2PzPsn0fPJrSgMZ8MgpO0ULyn
jmo5cE5Q4uS1dOqHLIdizDit3cyKA9/ou3c0lPeBsAGXtsNT/ysy60BdjyVVjKqCT2IdQB1Kh5BB
s7kXv7T/2X0Bdt1e+MIr6VYH1VHUdou5o7XDn5LkJwdeEUsMkhFpCnx3dOb9VMJTliEnjSXebKNb
10eBPmZ6fjOa+NV8KAky943VN9m39UGqcO+o2jmX88hClK43SrIdJ8Aq2HNt3xHmz1ywfxAcCrYF
9ijN95ZOMaIaceNnjlhO0VwB1JCHfiDandFPDSZ9AV8V6uLSmatrLV5zeu37MR4+euk1OwP0nR9B
DMpubhP/V1oo4YEhXhDqXbB944sEw5RkJEAX2ryOdfpQVs5uMhj/T32DhyilXBpGsosTuUZFMrSh
y0PFhno7z7Oj1TqfoUnqbAmVaRrVQbnu38geP2ICrFNLOAye9Rc1bnEwLLGGmvTXVJEK4UQJA03m
rMxg4FeTt4Om1ebOx2ufDazzVe1iEluiNZsO8Sg+3n6EPzMnbrKLD2WUiDuAT4omsUUEuq+9iODB
Ihc8Nt9cmfYX+mDscy+1lMGVwSgF+zxByZDcMSMXlglQGYuwOGNh/FHoJ7ZZakTnZkmd63+EnN+0
HqSvFE+5UbJnT82SctrR0XFwC8S7KsHwWrzks3XrRP455KW3V1nD9nigiqTL2zYtkl7HCr7BIBER
Mc0QmglxOisnMeFscaVrwYxVQZvBOre1E/WXQDRrw0TygZk9Vm/jBehzhG96tUcBTCEkYD7pwXsT
TaFPIYmNVOl4OnPMcNU8Qmykho/729SBG8VZjuIxZngckH92HBQbl+YrdqASDm0JZMY7ZdWbhXKb
yQTi6WhoMzYh0mAtSEeRAD+agO9eBZDGEpqZx02IjSEFV5ZMYfxkV7B+IQQS0zV9eEP7kczBN/Zj
NLesnhPdn9IgvEAS+TdjBn0guPm+bRsyYh/DwiIpgFQYezAYrRk1LTjnCptZVuz4WPOdSyi8xwLH
C0nPGDa7fHBuxlRwauJwk3NwhwLT2oUTauIQR0M1meWpDrBgt+hXiRROeJ7DqEelO/o1k00FYYOH
YTDeIZU/4T9PiQtCAEF8OpHSrs52YVyg/4e2DPCTwVGJhmK0ul2fM0Fw++ZJlBacs2oiHqeBhDOA
riAwMH4uFrPxzW+ecuz3OuYmhdL1fYjoLV8WCw4+X3oW/zGC+r8REc+Js5SALUt+5rUnjj2rMAzJ
1sXGfcvOIUHEHViEoy0AfVIj7ndpTvmYLQuRZ8lMgC7FIkFjJtOoEGQCWPPN1K0zpdqet0lQQzNR
EJ8hKqbb1LESTERiy0OK0IC4GnfhsJyQAbBoSRH1s3lqzlAG91xW/Vlo5iyVYzvXPKHVKaT5xDSG
70AuuCllhNSEAmtvNofEXtIn7sBd7pyzZFrelM6fpDQl8UH5LVm/DI2bHzdE6u28mjECTrzwLNv+
5q21F+YcuYGqzHAMZMXl9yXrJthQwV4z4UX5gCCGLRIpucwqV4oz0T8c2mgGRJKcc6f0JYHA5GJX
+Dlzdnt2HsstA4TgtY0xTlcWj4WR7tLRkI9c5b2i/MoegHmdTLaH7E7Cv3QvPNZYfJ0qsL8ygw9w
X+Zu8g4tyb43g1dS/V7BM823qLMfS/RH+K2htrT5GppiusVb11OchYrcst8fzZ6s584A7/n7I6nx
WJzC6W+RdXLXO5o2LUTo745f6xKA4z+1TrNS4nUym2SrSz36ohk/FEWcZTrOKXK878no32dz/Q/J
IjgJlPCuYbwZclwOgeT9CZcKIBi1c2eKYnjr+/TCHTw/Fokc3lryZ2No4BT+4y6dRjDhVRo/FHMO
4R2NBTff4ISHyENQ5LBOOIRR8zayBqmr8aVq1XcVR4ToyXCv5/Grs/IzfBVV43h9ZS+wn4rKYwm3
/JPYY9zGhWmSXoYSlw2SIcaGXvoAbfA5GLIdbq6c5QvbZYJHbl1DoHyk1EkY/bZtTLBVObuQtB1w
goQ1/nRiVOY/QX22alxMxSTZZvL9LvQ9IlSw7jj5NDPbcJrMvTmDFKi7DzCf16bsEEHZEqY1vNlt
r05pzqqV9SxVG6kviFMRzldEUIXFEXH2NqiIJ4FWtSkCRnks4HheLDwh8/RjSeIjZN4CFxVqp77t
dl1l+HT3+UEMSQ7kov6P+eQnoJqzh3t+sxgs4sfSoRlLgMyK8iUR/wr6GRbnHvkmc/MUVurkjuFR
J951Ll0cAF34X5zuPQCYOxNOOulRqrpPLXZOpos8LXyetAcqX6XEfEb1hxislajR7ArHW85Zkzy3
iaQHbNftTMjxzPx05RoDoSuhRmYo5ypL/UsXbD7gKdMdKS6bjkhximRMC6HOfQqdYEt6FXak8mKG
7pfZyS/DBAE6ZXLXVNaux1oHR+6Fp02/63a5qOE9m0gPW0Wdnk8w3pKs2ieFBkA6kj7S9JfWbf9V
+Ng2U+38CxPP2vYYzn3T5WMG1P6YVBWBpVGIELBFGVK81YV9Y8wOA9sCkGY0mLkJQqRGcOnlPNGe
bFv9xwdDn9ISpe7JkuKnwBRDiM8IxaWMCc22Qtb2S2Fld60cb+MiLNZo/QcDuT8UC2gTqo1Mu0sM
SVrbPCcyWNncVdvW2kinPobo3pqBjsGeXbH3wlpdGLDGm4SRB/X0vWVP476CBEaC0apZ0ePeUKbi
5rS2RWqxtM0xtRt91R2sFmSsk6kdHz0qQRPGWtR0JOmEM7w/Zul1jTlE2Qg4FnAKm1BXn0tVfEJB
IzomFURcRTdTF/fdVJZ+JCyQL3YdPOq88LFvNsfUHh7m0Vn3vdF7OJUvpRWOZ7NI73sb3IRpFno7
rYHaJsQbhIHGv6YDoQTe/IO0yWwn+uBkDBpuDr/CxC6ZlU75d6DSIDn7iWri2RPB3SIyNv+BN780
uQXYg3QUJwSejHTNR0NCGvEUPCWErB4ixnzVqEjVhU9VVuZwz7iBAB1oFNsu4MrFe4IBVW5n6ow3
b807KYT2cUn56CFY1JL6jmZSVcNnQzsI3Lz9Ex5TxcAEjab2zWxrGpkAmKvvFxXuxsT6ilA0IRUO
ufSt1s+E/WK7ZDxUwu87aOyBDQEYLjnJu8khQ+W11ck9PfyradlPo+HtwgaVJNs2LCBZ90fQ77B5
HZ8y968kHrYywmsT5wRLQ/rbmxVxvjPqMPpbtTksTUXAl1MYO1dQhjDZ37ArI6mb9DcBlW6TDUSq
hI2+x+nB/WmwlLa6Z+mtA2PGugn73DUImQ6Q0nM09GWUfGORzj54Jntbbxg/aUSbSaJgwVNCEe8h
2S+NjyDI4F/1+M7sNPyiK+NGJUWwUPFdPh7jWPtQFd6GEhdRbmavYUonWj3HpkTRET6V5TYBZ+zr
HpRNOB5rMgdX5zwSujSKz+NAIUVEgF9ZTnv1uvg4p3lEC9R/DzM6YzQvzLoL+U4w5sjTK2t9sgJs
5hdwstFlGCNCU2d5cOYnJ1EvTj+md/MEEkhWYPCZ7sbOEh7QsvGQV0At3LBG5VD+8C6o9pOywlfD
92sZ1zEwTaZ1Bed+h4WX3GM80MhYl4khARkL02hrNrjpa9aF9bHLIJIWdG12fhsaAUluik8lcR3b
MaCCL6OCSQ8Y1iVtPphceOzpk5uV2KwhrdDPMwJWEpWzcEXFaLcMwYmAhaTbPyPDQkiIdtisD043
qcPgzh8ad1kPQN205BszmW8e/3eqnMF84l6Iy+AVPFysiCwHkxARRh/8NCHvprDiH8MlzJBr1+8s
8QFqO792mfOSWfpu8YZLopijo7CD1GVepYmql3LJChFG0myz6pPM3lBQUnTtI/yS+xJRlckjZdPU
OrwSeciY5D/XiZk2QMcnjJ1dbotWViwP6dBcmJSpjWQ/wjitfPSsV4y/PI7HxWEIcuUaxuGWMjXU
I+TPZR3MRuduYGLuTtmNZIt9VbHW5+Z+txyc4EStTCNsuEXsrmbFdiIL8+rUtTGxarP1ELhlxO4f
5nnaoNQOrVA8VYGjaMLa50TUH1aR/+Im3RDroWegjKw54gxGQYPECBUF0Us/kH3eisfeTNK9LC3O
E2ivwNCci9Xgw4RHBttpmcxjFFGvTPlZidg6SHDxEukRUPsP1FlYCmcP4J9333rWLYVIvJUmVPZG
wVL8fUELiBEmgvcwkkvbkhx6bvq2P7mNt9Ghss8RQgg/J4gXjDXYh98XPoAJwRvEJQSHlC5E+vjW
SIaVldxIwo7pfUVMPixO8mC1k+vfAHVVVuwdI3gjWV/sOy6svTaDy28ykNGsSUG///c3SAgAL1GK
KHH81hDmuUtTSk+cTr7hoDSkkn9mk/M0rib4rM/+/zKvP+YLv1blulQtiZgOOKnvU4Q129IcCQ+Y
YXSzJ3WKE+IGUmfB/xvoJqQgk9CTmO4JI652iTv/nTxou0G0LrIL+vOxn68x08zOor/FN5hU5UUv
T+H8D7FBvevIzwy96GwRAVjlTEwn8lYWbdwSvG+LKk+xyPbIZACNMG1J7X7LvC6X36Kw79yoBlBf
3S/tcu00s1dnLk845N9C1cBkc84VZ9/q9UUoWuirM/4XaX0XTt7G7ZqvPoh/hGb1Xa6+P535Tlwe
zSUqd+I/pboPZEtczxYP0tTN6DQJpctYmZlYLMhf8B4HqLRLQ9tbBqfcy7pDTkfrcZFqy/rgkkZz
w2+syU2o4BCxTeXCU0yd4te6TknJS8I35FkHZRLz0FSCvxa7IFswePuFVe/HDlCJ9T/mzqy5ciO7
1n/F4eeLjgQyMWSE/cIzD+ThPNQLgsUiMc8zfv39UL7hlkp2yX673R2lllQScQ6AzJ17r/UttGI+
eL9xvpaip4TlnCyHZWqkwGQsJ8S6J5rJW5lRtI6Rg4/ceBp+19DtoRsP9ofHQRqk6EqJGxenGz9J
3MJyObUGzpeB0hHer9rLnrhOwYIjE9IXKDrydHhIicuTLTTPoDAPqU8dhZvimyyGvSwZbVB1gWEv
OM4gWhvlYz6ikO8oV2mlvSj2TLwwhxY+z9U7eqbnwOeKY5NTMua4D9GLXa12dKRPo0MzTpThxQjZ
4LKaF8C0iGnD83Ubz49tNt42JV88XXPkqUaJe4RcHEdzZHcZCVv4cUmvTA/MYT40LPDlPeZfGBnL
/prfoAt9hexJSUZDxOLUpPZQa7lz7tmyd2GGY6PO3H01oS7xh+WHh/S61ZB+ai+IVhjSYHcG33k0
LyM+YZ/wPwRszC8lB1KaXjTNHtvS+ay1+SwC9wiYFS4oc5NZl6+YZJYx3FORUcgm9VFJ/3GgUbn8
5szGUUqChY4CQiIcfCtLp7QhtS8iX80azi48ghlf28TiLIunNO8frM79FPb4PMNSzEdmEZzoeCS7
BTXckP8x6TP03oWDnaNv1OvE7x8alri0hITal+epB9LAYm2x7N8aSbudO+8DdPirdmkJhD1ziaYp
Uc5lhwZJd4n1l55cty3D6gHUEft+C4kaOKcAhydr7yMfKAYAG8B+oiJtmAlk1ngGuPbIOWjdjdGT
RmLF1tesVDPuaeaes3zmNTCWznR7qOMgXDklbYfKPkyL8L5Dvle26lMX6TfL8+5y/loWpd+BUF1J
XTerzOf/T7cdkllJnT8w/ZzqH5FhYNKnHIdLlR/jOEXLfipzolwCzleGM9Sk3CEatJr5NmyNZ+el
T/MfI+aBKtV3kwG4lqZAAfiNwzMa0RUL4U1ThMGZzJxtsgRTeI05bwbfZH132gcYKufG77+7VnQC
X/a9slIECxhjhMuhlPmfinjdO9k9aJ7ALCsfqthjamVFT/T6cDerZ3pHUURxR4kLo2UTjYj2p3p6
CDqCd1z4bYNpQIqIj3BlkfNzH0dn1hzxGNtCGL3PGvlU1fZ3A5/vghVlAIGm3Rc1Q+BocRN5MF9I
nPO3jfAdMme+uSXDyrA3eRsphXQx8KwhU7eZs8RtevAUr1g6JdT764hKsEQxBBDTWbuOXjIPSDiG
v+oNOO7xIBzRZaI+nMons+GsnKSvSUhUrGaPcHs+BdGu9FvsnWdgganKeUKo3UI+L+5SrNtVRcCM
sghAJyaDm0b7KkjFuTLrU+u7FEXxtCW/HmAA0y2gkTAWu3rLWeylyEYgnibapgzgisdNLc3Ppja/
+pn+hsKIzinujq76A72Mg4U3qyF3zh365yhNLvk4nwlkejam/syQ96pjWdx1FG1XiHSjK8DDVxxv
H+MZo4hFhMlsIEqAMZaa1jbT3pHh77dpenes9rbC7G/nKt52I5gtFGpWkK1d2sxjEu8tF6jAV8JN
axQESwcwy0bZA3GRisUITRliNdXc9hWi0p48McFbWlPWIkpplQHeDzQdCzc/hE3UrrxPvy5f3F4e
vZFXNRJmvxmq7t1P8ldiX5N1V93D78Pz7r5PDj/GmOSRERyb7mQyu+bIYCnOA9bygwluvjPqnn22
OgzQ0LGEcX8Lf/4kzAahGZQFZ2hJ2jrXDWoEObQP2oeMi8zVNrj6jmTynFt2VWOSBzFDcU7z2L/r
y/cghoMS+MisFkOAIZNLAHGOn7jgj0kwNzxUpxXLCjsE30AWfMtNLHC0wNGvemRk6lldk4v02hjx
U6TFQQ3vEREufsvf81w2+eLnkuNGX27CmkOkzKEoqvcpGRl+M2+OlhzRzr0mQzwnvIesBmNc0YPh
sbf3plnfOwSWrGZyf6rM3FemvfWJfayg7K06PT2TWCGQU5NaX6S7Cgmu1SFStx2HbCy0Z51rvQ2B
f9fZLBGu9p+NZOxujCy+rjSSx7zobpJsItJl8Jne17A0u3tl8E0ZNryBtrpLyIcOJE1B7EYPred8
JF32zZzseNV4b9Dq2Y8H9eaL74VD0wCgw6JgIqx7mVhBaEGHin4fHxLLmehRbcNFDTryGjP9yrwS
kICAp9xM30lYNw62p54YRVwsjZ7e8BNBjTN+DqFxE3lkFxR9tSkG78uFC7jKTIHjKlX73CfH0ATX
RFn92viIyyah36Yupb0RoC61xnaju2svG0wOY81r2sJfzD/j8ltqcc6dtfdek91Fh44MuUnJDcN2
vUrAuakEP2fbQ7oA+2bhcmnnHUgqjvCIXpndoHynqEX/bBY9MHxaRqF7icbpzhXZQ28SONGnJGT5
ABvMprwtem53qujfwRJ8hXSMCdI8uab5lmp2lVj28SGs5M6mcsFC8Ga2GmZTrLa0vg1QNj7Rv6PT
rmSLtmAQ/kbH+X6QMvgaJthRybpyrObbVJjLkvZEYs6nGJpXr82f8LpB+ZXixeGRBcg/3bq1eRon
R9yrvtnycBD0N945fm9STCdfuOJJ8xyV3tcj8O8UK0+BNl2ZNkk6g66w10iKjiGMyEt2omhjlxys
HLY0VlwK/ZHAV9G5qEFiG/JcmP5w0dDu2hoSCd4+I7EuYUG20EDRB4XUQQRKjk3VXJwOdaIB+nYD
2PWkMrilmUIIZUQ4/GFApSMkxs7psb/qjcMwiEY6e3jXs9WrxEDcOxE1WRl3CKfWeqwfEF2gF7f9
89z3p1GxqwYZCo5ZRfUto7QnekN3GunjYGvj2MaoRx1kxV761Nj3sd29I6IwL3Hf2qscxqFvqujk
z9ztULvzIRL3TuHu8sA0X9rkWMSGgHorv3VYl/dJlF9joACeSk46IjVA4vnoXKet/yOcNzPrx7qu
UP7QYRebshxvO2d+cqFQuXizzkPacUzOESQbuNHq5MuPCuNcu3LTNB1oZ8e7TQD8r+K69XBZfwJL
zHlwcQlW9qr0ihtoiquWw9/WadR1uhgP2fSvIxQ/QzRFx1qkq3DxOTTobxkcwgWZo8I5xNFKdRSb
XfJF/suXscidu05Dulp43SG+tNqs1jmYFJrxNwVLfeXge2va8UFQG4NeJCKbHSl9iWbRndhtePEX
g3PdFDDqneSFtDzoxzsjFAxM4ZiSD5Bs47Clb60dm5XdvswjBDZck95hXJyYhPid+8iEJpXDfkG0
iXLPQrmVGw9SGjizKAAyROu00de13X6XbvRRhCV6S66qIsKBYdOrAQmdsUo4rwsfBV0Nb9AxYVqa
F5eJzmDlvL2mNwHYcXZEdt2Y4sL3S2xiFoXbGMWNrDHb6JJEPtO5Dgn6u2os9PpmeuK9vqiIBcLu
FHSkglQ4VVEzMicDQ8ZaAf8qv2p6/Yay7MNfwnork7wPM30YgrPGA4QizBzXTYnqzSHt+MBFb8PG
OejQyHeTP3wCVD+BvW/WeW1moAuhoY3Wk0ZFfsUmQr3jEXMz+HsOoPdBmpO1XaWkGTZ3vUGBSJIT
agVf7LuUEOApSg+VxbkpnlLStfwClDFNNLH1liwBxrPPKBedO1tLpFvIe3lNn7Q3oEcSZXoWOYFk
URO9Z+n0aSfcXgqIYyHKiYEnJXUxF2sCNgtca0a9FiXvfxc0X5lT63tzbBaF8Htv+RJkL3NMBCac
jnvqhx4Jl2N4EWto4KwEXQtMQew68aw3CifgvbyNO4huQcj2jyWi3tJTfkpMzgdkErjEhRjkjYRO
u8/icDzHI6wygWZpVWNDoOLPe6QOXnTxEH/QIlhE1iFH4q1HTtx+1PTvVE8MfFvcFUN2J3r/1oPM
Tgglv8yx+2jXJpFYnwTqtYTRUCAR2IcuCfZsKnu1k+iRNok3EmhbNclGMh5aJdL7Shl/zzY4EmfO
sLbAe2XCTpasdeMxwTwWXflIMGS2xkLPpu/dxQnTv2TEAdWnHqJgmAtUh369pndwU6Hz38cMYQ7G
Urg38KakmU9PHHwPBHeyhuv+PBLhcecT1rafXd41hl2PsppeUshR5zR8MO1RsnC1SKNkTjMUhVvH
XBLZBz0B807XmbMlyiwicY2OLJO2U4Deii2163dlL0miEmZ5jWlScIYf171CUgjxxEL6llin3om/
DxUjW8FxCGN2TwYSUpFd6odLe4w3t7Qi42rKyA1D4Tjr5noaWhJwk/o0Lb84ZRqASEDfOjSmdzP0
lWYpCw/e2LSnn39Jt94saSxEaJywCaz7dqI/hwmGZuJ4U0uAaEheAfO9tUm0neKg27FhgV9OWxeq
MbP0ycRN1uuZisJG0lVq1tsyKyDp0uJoG3feut1Zu06FOMndTAZduwmeAIBXBvggryI4BgffGZtr
QkGugOIVjDriboUj66TT/t1FDMXxRjdHr1jyC2gbeg5Mj9oMOSiTWlYn8iXEjnqDUlDQRime+x7k
IIrfR3Rp/brp8ndckvZVdOvQkFgP9Hv39jzQ5na9lds14wFz7HyjpXwZJ/uSNHq6URltjdLr0e1Z
dLENVDODT/SPLBB6BVn4bGsnof20RY7yNniNYMDcE1s6EAmEoqoyo3Tn5eLFzwWNqjreWYVjEy56
LmH7wMtCgTj3eCp4xo6+z0xDDC1hFnKoGIBZzr7qw0s5kFFRV/TZRpVsckIZMtkxVCrL59b0LXzf
CBGRna4rBEurAOslEQpPxEdimyvokyW5WraPeMYW7yZv2IvfSsco70KXvs1YF29IHG2KuB0MHcZG
1LcD6VC7aIRIbkXyw5H5fU0/TZc5QXYWrGyfYx887y3RCu5qjuWEVK5OR0wM/KV52hsT6kcvRHOc
jQFm6gLXkya+E/9f+eKQ4c2JIqY3l72p2v0eBcBVuik/mNY8XctoJtMTRPhkSqxVfrUl+bK8Kpzo
JmhEsdMtyYsJzWzBuvDKjjGxsabzTjTG9OoSbxa1UN9auakr/rG6Eg9WZV47pftRVkb7nFeIGNA/
XFDZcNhWENydepOE8LzLtFbXOKc5/hlV9YyuNz0RdBeuEnsuN7ab2kh4SJxsONtThfO2y7ZbOYMn
DtLL3bW0eV+IG1kXFSdFvoInjkwMO0Oxmwj73qdtdlHzTFf8tsF5T+yU7V0MSXepMuN1HimFkz06
eSCXtBq623BkRi/cPVkOM0Oz6KOh/GArx1ZPlDi9ryE5uctQMQ4nJJYcg0tjgEaOhIPjCy4pPV4P
fvvEDochKLbUNhqhUifhJ5ueeGn8B7Pjnc0xbm9zzVDFtYqG4x2eCZ0Z0MqQ7OpafCBlqu84CGHF
mvSpWVlIj4+K+eZ16+Xbai6qp1l3zzrzqwcbCgS21WheW9bJ5KD61COcWHqngC1xqPdZdWs0C0mx
I+cN5PkhMAzo+REqKKDP+yYmb1mqZlWUyQi3G9lBEg1PMAOvPUeitSUS56ZRn8R0q4/Cs/YN5EXD
K3IUF9O5SlHdD8wJ8ZGG/paUQTSg26mujxXpBJt0CfIZ2p86dLt/y2psArM/YvRlHBc0hHo79YhP
CYeVgfh4yzAw2PRhZ113veftzaRHaJESFVw37Tcb4j6ukmhndrQwmjhcA0JBStOyKHpzcEpqe9WL
hqiLdOC4ip1pts27MuwLjl/mt8bbpVar75Imvul6a7kNNB/gqtw00ejhy6DX4xHURnU3PxZ+DFWC
TQ/rycHILWybIdbE9J5sctBxyy9Ni3DOs/p858aPplWsRtoba8MF58je7jIt3OUqzHB9BciEB3Re
/c/IDIeWgKrXcTaaYIroV5sxDul+3Fmzy4G9o2OUVPLHYLvjlcyY0Wv0YnXlOWttW8RsN+69NdLd
Qud8iibQASBHp42VIdmrYIL7Ynh2nfbcgIsEOlEupSjBx4WVXBtFq68sC0kG4A5zlbUYevKusQ5B
Wx6ttHdX7kCQqaiupCLsPZ6IuBMCSsGs5ytcciVcCJvDQDXuYvSNF9MTN4PB3lE4nX8LxyLZS6+F
cQP73aFdstaGo67YtYcNc2J75RlNRvBjEe3aKXfosS4+RYGRBZ4GYvqYWBpc4zk6gCsrMyu2Lw4P
PHYEt3pyNboKOHWakprRm6fKhiYz4N03gAlyvEND0pcA7e25exv61HwAQHDHTx0efLzsa9QbNMXY
s9eLbVH69MmwbC9UASzFC+rS95lzUkAm/caUMcPqfkC9rKoTXsu3aAgbzGTJV16DtVBQnaAPtv2G
Yf/WkTXBUmJm5UV23FbdmRSVQzNMX3h39EpNE8NnEwqmYoWOKnunDLq9ZtzQOqIPhOqZTJ5kUthL
nHyvyc9RCePPAT3RzoXHsPat8DDgJV57Wjyrupb7KRi7u46cecRNwj+4AxVqm8B4L4jXJOnW+EEo
REiOVD1i6um9o0H2QodPajMHyRcHGPYG27HPQwOKog2ih8nP7LesffBtCwWEhOyq/fLTYSC6r51c
XtJh/nBx8yA1RK47D7CIOs/44TJbAv9L4Zn4GbPXNjpWHbJ9RVFzov9PFmZrv4fSjXms0akbY790
ohrU9oyinOIgs9wG6E/8TNNGj/QLWJe84Egl56+8gW9PW3xpXQQTyNbFD4KxvgVTuO0DDc0I2YuY
yvDQV+0dbygCfDhi1VtjOOZuWqiccWfS5a9gaxvLLyqY6fH//PP6J95duvlDM3veBt8JJRR06J+/
BC4QSkA4qItJUbuhiRReBlGTIzsT5k55cWzb7EwtwGLnp1e0Zg/jdJ4LFt0i1z7jII7zUxsY2EMI
dNUIoJeQSUm3BvmE2EwuZXAWxYx37fgbsgWE+Ph0SDo9MO/PVnm56VA0nRwm4qlUdyTromstor2T
MR8XY6KO1IGnOqcysub0x+xhH5nH6qWvUfzRMgm4uwanVe+zQM3e5ybi2BmVrFTjWvphuA2M44iK
fhUbNqjoYDHj6JGwZP5tOMHz98Lw4zslqmt6wWfMHcuTmnUcKdlpwo4mW98AFQ4hzQ6R2dDiIJYj
Mawtmco82AjWbROCaUmfoay5gJ7kHg0KfAYMZHlZdqpCCF5WBzfXaYcdOt41DUhmE9MSUVMcE4YV
VqHkKfBo4HtRsmk6WpURMvbVXMcMkFP3rXc7zGUi+6pL/xPza7vySeGjlZU/tXlNhA0SMOZQE3YO
y98p0QbXtQ32g0RDvDgM7JKgP9YoTa6oRRmXhwlFWDjr656oXIZ1hLq27bWLUHwzJGI+tpZBdoaA
qgIxgMSglhG4NT8bhgmXa0SRWGVYDfse5tps6fSqpvzAPtAhhrprJZLPCR8gKq+OcRtI0JIds59C
cRAmm+g8oFipyyfHa8hWaZBAq+4YoUJhhhn9mKYfaRLgxdFgp8gwh4Kb2Vs0NIc8boloInI8X0pg
QyEraJsO8qwToHJ46YZOn6Z7DCni1gezektS6Eea1SHGXrWRwEhOca2OKM2jR1BuDo5MmDUDGN/H
kcC0upmaG1xokM/Hc9Lneh/UQfGYuDUyLLtHbh7ajPRZ1x7IRg8fIoXYeoLSnMWBcxWUbnhxin4T
NaO3gz8YYe/fsIB8q0RGWI+8FKhTV0yDyJmzTmKQ08NI8Rbi6XywMN0/IoFcO0MTnSsr32hV1MhK
yIuEa71KQ6xMSzgyZzOUY3R96HhC/G5L9i4CoVFqdeGOWe1RoPouhto8Nlb9GbBUrhMVtqsRoedM
VMgVfXZzKz0asS0CDkxi0W70RtKv80Jj/QrKfYtS7arPomyjoUY/tX38bAUhcDHhetupatxngHOr
NlHv9AbIcGvRRhAxyfnShZJBR6Atyxf7K+qihIESJXlb1RhOw0occUUOlZ6/K8sbP/waT7gf4kv0
6BduTYklBL4B5bLmIaZLvAULNW3NDGlnx363Ft4+CScfxYCzanNjPhdx/IISjok6ilOOFxQhsvRv
nMQWp3gKP9QUvFddnF57NOzWyVDiu6bJXrMeNNmjDgN1j83GOIUO0vtRBMnj1AwFsk1cSwk7V5NK
98nyBpzPRbS1uum1cQJevLKs17Matm5rDfdOK/e5cMZtZ0rOTXUuH/0yYGamgK4syv8OWg5EKroW
qCghwSQ7Ftz4pqblwZTCJzjSZsFx2PB7iyIk4EtS9osM1LNjjvZ+nKLbKiwfnU4nL4FFPOy4lN++
xJwskpzESBQNqWoeQju7H+GS1KjldpNy9ErKjtpNZ4c07C/ZQBhe6oT1ahaecQMcEj4AyAZVfElO
B5xjOEIpBX0pGokRrlMOveqnZVe6mCISojTzbrz4EZiB0Mou0qyMNXsbWg6IgyTUjNsYSSvqveG6
NIwjq2++qmeYQKjfx+uc44icsDHYnEA2dtD9GMpx3sdjSD6mcq01stsR4W5lb6GLhGhYe/kKq/IY
9/puUKl73QsGdFmcvAr93a9bYz9KxjuEjpJWIzkr1wo8eltK82ROb6jkyYNH0LJK54grsA/+EBcP
ScZTCFvBdJCyK1jLa7ekjZcUFCYkBXO+TOMLjjRCvXzO7YgpEO4kp3QPL6W/6QNzxYGE3UWU16LH
HuW6UG6scjC/y1jcUczPT83oL4iOcGNVXbOJtJ5eQ6e5h3ju35lday9ZbCnsDRGcmASTauiK4YmA
L9CPRrXprHzekB4XMOfpf0g2UZRb46UJJE5nndb38bQDroExm8Hh/SQltwvm2tE3e6KG69rilWvl
beYruhBeO18HMaApo3xK4mj49CrkfzJLzeehbsAqWWN5wXY3QXU2aUc3pAUFfute4gCDGG2A4j2G
KJWh8/z0h/FbQWP0OS0EmeX0jgnUyi8FGfS7qQ+ckyrm7NhbgbvviqI/S++cUhwdh8zS63gepm84
V44mYSdPLZLiK68c7FMjXWdnuwX2iW6JsKscuetCciUTuxkf0QoQT8do/ZSTuUDZTzFhKHQmRuwy
Sx4s51A6D4OTVWtkb9GurFsqbaMD+DS4100CHA3ZnmT76PrHJvPATrIfvbkJGdVz+uwKGTxVqnxr
qLYfzBBf4fK+WTOWFasOunfyoXht1Xs9Fkwn2DWOvqPGB18br1gcwsefBNz/FQf4scj4309+7z/h
wP8GSfiff/bfQoD/9Lt2n8XNe/bZ/Pqv+v+QFOwC9P3vScFbgj/f8x9/ZAMv/8B/sIGl+Q/bc0x0
R8JxHcsB5fsvw2fT/vu/mvofFKyW5DygpS34Xf/JBnbFP4R2hHKUcl1basHfohPWhv/+r7b+h2fa
rvQc19Wux0Dgf4MGNhfw7z/BwK5gCuJK7WnHdE2oQw4Q4vLj/T7Kg4Yr/D+0vcnywEO1yWpcnpXt
EefO/mYy77pq7OmlNUtaNAqPu6ieYnDrOGSLclsFWKCjrsk3kBtYiEB6H/7wFf4/4vS/5F12WwDs
5GdZfGO/XBlCCimkLYF6m1zpn68MGUES1qNBwJmIj3Y7jHcyHC6ZcasQ8K+VJultlMwqZPvccRD5
ZjqovlgYkFx5tyJk5IaFcztU4zUBm9G+SP0vtxf+dYGXnr0aEtBQV3onOizHWVOXW0vWZ+FiCivC
frz9/aeRy/f45+/ZdaGVw4a2XUu63i+fxhmNrq9FEW280sDKo7pzT9Qo/uMnYZczgtCCyrgJb2c8
g4seldle1qfGQxb5bOZmti6L3sdhyS+5lh9zZng71nv3gjGyuHN0fU9Wev2sVYsvwC+LWyZtmZD9
FgbaBwwJ54kkbhCTCBQA+u6HnpkLGmrr4HgFTYouoEsbzghOkRjtUBuHFONT+h8Y8T9RxP94T03r
v/gWNDx1pcG7C2FD0P7j0xaV6JHgTseb2h9Q09SEg0ed3iFSs0+FxkYwiAw3rKzs0+ASBRc4xp3r
gXmaCFHc/v6WmAvA/ddbomFiaKlctlJrYWb/4dH3oiLqkiJONqWaxtufD5Qd2PmtzmrUgqF/Unk2
gkMlNzlUKD2pPX8u3L+/DG/5zH++DN50U0jT9mwXuvIvaO6sqOIxmwnyY4EQ22AJLzL6Mtw6onRQ
c/SfTjJeTa6RPCtlT7sJEYSbnlCJJ2dOC3hhXcTxKSDlyzB6L9CjvYszWiewT8lZeKRxJ5ZhsrWk
rxaO2q2etIUWJsHLYKKOhYJIgyhetH6Rn+Jz8/LpJpvT+YQBfofR10XxUqidbwXz7XjsYy+7jeV4
CAqPgiPVfDvInJKs9w9spfGOBl+KTfzUw2Y9uWMUr5I5aC70lPHUWGLaZo2LI5qG7M6FPYaWuNyB
mUCAVTrDhgbMEqnUwPvg58xKotjmyziZMw4Eg1lusdyqnmbpuksY82WB+jJQZi8gXMuxX2XNoAoe
CzOhvCJ8KV3wkMkOPg4ZHj5SxNAbT+6yD+dTzEcutObOF/N4VgZNv9/fWQXb/c931hGANgD2WIr1
31S/rK2RsDjq5h23qKqsVejXxlXKmMepp+TerIdiTxKVWMvSIvwlVtDbll8GAW+J0mVXTsV0qMOe
U+NYMklSidpmCyGOQFy9yhv9AkUwOc2TaR0qFDxyNNVlAKOOpa+kRUe7Yh31M4gY1ZRbsCMZhmFO
47lj1Pswbk5JPN6QauPvJmGijhQFs+zpKMOiuYZnxjWpmNxbLa5zNzeuIyO7RSspr2bQ1BuV9o/1
EOpbz2TkGdIn3vz+y5N/Xf499j/Llnx7DkKdX14L3wawDrEg2Si3jHZ+jHUbEhD+wYgQdBiiZ00A
1UFW8YYwW8kJrN8bQ/5YutNt2teUncqI7w0zsre9xEM4Rxw3tH8yDQTQLmTnXVpukoLep9NGaEmW
EE+nb7+FjvHeuiMukJRQ5VLz/E8eOgwR1x8eVJlTMsd4M/J8TfrM/KR865ZYlofff3hr2Q3+vCZQ
LVDaK+HZbGTilydHlkJZLNN8+IZjRqvJjHZVfmBukD3ACuecm9vJc+1hoMpok/suuRJDIR/GUfTH
TtcYhxYumE+v4cZzyHa1rBIecNaccajFN22l693vL9n8yzLGQYDlSwPj4IKZ9/15NU2FzXMJKZH+
crImzu4jaxm4uwMuQTwg4GM6FJCdz/uJEiN/iGGPXC2sXM9wbv4H5cNfrsdyMDlQOqGJocTie/zz
9fQRXhv2RtL8eGpXXdC3m1ljPZ4QeyVGGWycMOd4h5h+dosnz7Befy7uleptiBN4I37//Vi/FgBc
j0OrUgEepdrS4pc4kQIWvFUK5DhRl1pXA79jEyFRm/XFCsAOjK4l4G9U6cpLc4woJqpPR3YhKhSX
RocZowQZv0eW6+zreLIOgHj4VCoKkdubR4i0y1REoPhH+65l/t3zOrWWvT3eF2hed44gGNQz4nH1
+4/lLrf1j0/q8rGsZYkTyhauqX6pazI/MCoUKNNmmJrj2DG4vhJgvqsUmFy5iphrr5OJATiJVgZA
Yac/BIk73iba2gZtt/FBG75PcTdeJYVvn7opoukDK2U+wVS5NXR+k2dVkByzInkiaYloMgoLFFZ5
8RTYctiUNoj9DH8t+Su1bRN1kBv3veeu0AggsswiDNui05cCD2bpz8F1A4WaPIYwwDxtyxvB135F
CYQvJdYMg4yuPhuV+QVuSnxPSUQ+50aP+Ad0+AKzOcZTtWFerC8VeR4X0nOPlo+B1eohqADZZFAZ
YOvwwHifbHdJFrCHUzOrNzNH01NGsUSF5RAJNf4w06jgw+VvEfvmJsCWtiVdA7MPXv4bkTnYZFvO
7X4LzdLC28aY3S6Pv7975q8PpeDeUV6bpJBowXvyy0vb9nC+OozUa6fhRCrT1xx97snLSLibCjAU
95MXMoVj5niXJUwEKOzkkYG13lFdGJzSs2IrGCPfRH7jHeF9FjderM5/c5XLq/rHZ4yrlFylNHmD
6Pr9uo8WwoiVIUa5DmrEGVZW3GT1FuEYLkHH9M5l0scr7LqQ5RzjtWj8YKdLM941lrkyEkMfPWkY
Wzlxgv+bC/tLBUl7nuvhDMYxBf3oLxWkPRHrZ/NirH+eJCzImdxR9l6ofu6pj7DZ25Y8pGY87CI3
vxdiBNLlxHe/vwzrv7wMZ1ldoDtwyPjlMqqu74HyOva6NnEVg5QT9qhA1qUxQaAPYT3LnY4r8yZI
FiVoQsd3JJkUVUQ3oKSUgPJ81h7NtKi1hT6DL+BNyAL9aAKPRik1fKAiiv5mw7D+chag5hb8h7LW
wo+/ZOb8sfwePe5RhB11DYazXLaqGR2CKtHoz+XeykhO6xO8GWbc0a8yDXETzsarqavseozcT627
hjRFaCPI2GAV2bV/bhyKydYhNEC7Bm7EMDhGuMWb1ppefv+Vy7985Wx0loNlgAxImz/++pVXogsQ
vQXAiwgGRyiVbxOYAFC7PQ5Oi995MIpzCYsGXvvxZ8Xp+tFaTHN7KZYWUIyWbTcrc+P0dXTfWlnz
VBfqHDfjt85iMdcWRIzU86w7zJd075jbix7EmaDqoo0/V19oa2AaogUyy1Pd2d/+5hP+5aXjE9rC
5LHitcPG+cvCXrEwgDhvw03KLFGQJee2aMqr/NbqvxN2yWPW2ze6ctHZaVrnaYwhHTsrIYpEwpsp
HjiiAA6k7XLGKCd3/XNFXU6Gi3KIUi6WD2TRj7czEqurFB4JFSg4xp8HWy+y7uxMrLOwpwXeZ8ll
TgdvnSTGvLenJN8NTTUCDzIEJt328fef/C+VA0U7Elebcyr/NW213Ps/nAuHfrTlyHltrcUYsIeF
RNRYoY8edpnZk9Vk7pXy89XPpoEYdXmYfZluZEyzfOG8XgWdFH/ztvz8uv+8BnJKlZwOLWd5b36e
rP9wUU07zWSeds5amdVXM1by2IO4J/zbXP1fzs5syW3l7LJPhAjMCdySADgXa66SbhCqIwnznBif
/l+g/osj6bTU3Q5bIcu2zCLBzG/Ye+241+zzmLqUXdCrAwNVHkjQpGFD574XTfGE7NO8g2f4oqmm
ekpc4dFyEstKeA5gouxVWZDEllJop6oSdKCturfIvMEIgiCDjmz0EiU9A4KtDvBWrRPsLOv05zf9
dlT+9PPxuDHQchlG8S/715uo4lRKdDulms8F2seQcjxJXdZFXdd40k3uY62DB8bY3VePkDOqh1m2
11LvE7rl7mygpT4varHmoFu8wjlzj4NpTujAKkTiKkGIhXR9w7Qcvx0VaAuGE25ZtjnerOONCJvC
ZYA9PzuF/iQd+TH3Qtk72PdBmZrkNq5WL/xEQNiLAMY4KlLbjvFXhiZjFNaft+FuTpW9qxLTh9Jo
/KWb1H+ttLgFmQjqZDTzZdSNXx/LiI52JuFQ93SVIKrbNRgn0xc9c/q9dCe/aOo3yJvqhzKhKLEc
RCN1aw8bMN3yqRDqNVK6GVTlyLc5z+PPkEYujjCWo9mY0/2nqJDzWQ1JM6hMN3t2s/CzrjX1oxqZ
wZ8/6/+6rwxHB1bOl4vK8VYq/+tZhuqIabFYLG9hHVyNYb+f+/SclhbKDCftfULssR+mUt8mCbVw
ORbIcBRoL2o9nWH+rH5R1dl2uvLYVUV0USK5S1IzPkATOrthBwCpXeJP/z+vmokKXxR++a3BGSbE
4bIeeNWLmvhsnLFyu3a3jSY0mtG6VE81ArXabATUFO1Gu6vPWW4+jg6z/3meSOaR5Hm7ET41+9jh
L/R1zS63ACOb0hkv8I+l/+fXfLtD//2tomSiguUdFrrFJWv9csdWOlU0XNPW18mDcKJq3Rb1Edq6
8+1r4rL8F51ufzWRz+WF3dFyDNXJRGawrRr4nJ1pfXJ6dH5g0hU2WOnrX17grwXo+gIRozPnpXK0
TH0dofzrUUAiwnyzjVtfmd0ZbO0YHuKOdr5eFG2b9yDiJsN6bhws2eCZsiuu7AVVYag8N6TGinCu
PwMO+Dx3PbMRMyKpCq7Rn1/j74WKTguO9IbDkRLvt7seZQA76aSNfOb07lF1cIsoSzMHWBrLreA5
PpWVJHq6Sd5R+CCnwJwOfdxYzgoB7VnXxleeePQqaXq/+A3vx0vF8jxLOIZUhtsnlkDpqSuGv3z6
//nChSpshzk6WanuL5++ipdsKrQ69ln7Cy+a4LpnkXsvbZleowpgKOGUX/VVq1ybWzeWXkOygJ0C
cgXOb+5ICC9eOt15zFtICtlyVYrY3kGzwa3UVk/5ZcIzcf3zm/37nJy2HfYo14AgGhSx2s8PBHk3
szpUs+UBgEb/PkqG1ctotmeal/3IZc9eeB/3MnsvgXAFlTu9LTKsYS+VxGibV8Kc5p0jYXU2sbsX
itY9Ew2rXRJsNht7/XNTh+klhyxFNYriM84abzLJ+E0m+4uSkmXHLy+kexTnkQQ4Fs3SClr4GTSM
66hlcrKnCJhA2WCInNXEvqL+sP9yRFr/URybND00xKaFEO3XQXmWOPWU5Q4JNKHrnEOyzx9t1Xm6
zcKIB15nR4d0nlqvru3mpYIjB6At54xkZvcl7txhd/sfOr3uQFnFLZzknONibXSVZbagC3SJr3Fs
8FgMr0bUOud1GIXEJ3YIiXbWkKkxC5JE6v4M95PIJS4d3sn3UTQuES+UAVGU3odh+hhGTbcvEss5
R0sLkJ8lumbXyoskgiC0swX3LK3bQnycIbuTLnQSL4iVdoyUCn42QlyFA1PRxCnOEJnMv+yRzN8G
Uzz5bNGYA4GcJUtzvVf/fcRM4GuSRiULsTvqaTEC9niXTof1F48KlHUOxbxE/beAhSQCpd3E3YEU
dBEhQhJ+OOXP5B6+p2YSPspYfJuI7Nw38axcmmVhqux+G0BSXUm7wqgT7qtJYy/lPpUOa9SlBtvF
rhtjS13vWzN07pqyU5hQI3YqqzDeuRhbZ8fCfBd17Q7K5jkumMfrLYQG2yYJiW2A0zbp31rq/3q+
GEob8FXxllq/5oFGtUwbq29sJMmMSSdd7AYVFnC0IMJXC7MloUS3/XmxoPSTYUpclfpuL1FzdOn5
//IJ/b4Voo22TEMVJmG7fFS/NFOqSPtUaTXba4rV1thyK81FqvHgIrpajEHcoWhjPDHInDGTI5BE
4YccciKiq7r43yjn/+OS6vaz//vSVFk6cppotsPXT2jqL3dSg5y5MBZEL0ZC1ElbZIYPSrDxaAn2
1uiEp0K+3qZV8YDYiEHbe9el7i5bSP3IYwC54xXiUOc5qAEDc5yGLUcFqJY6vgcmAg6MXSk9O6eo
1l2LuPzGJOpv9fStXv7ph6CENiDcc/ELm+3SL+foXBFLjtWK0cS6YLut1ZSljOiuc+3Mj8gDOm67
SpmeO4mPex2+ubHr3g1rIMw6/Art/CksXfXcQpn0bLMaA8Yg+jOLQ9+hIH8XanRUIXV7pmKxzVx3
qQ500btYa6M707xg/kRJlsXYQEK3fYi7qA1CF+p1YYno1DrwWFM532laHv7l4hO/defrD29xeuqM
jUw2fD9/5eF9ODWKvf+dy3Anox92EvCHWQjvpIobWMZKFAdV7Fa7yMi1D+g6MeOTSN2xjiV2cu7l
pujBg98qatmOTqDBQPF4q+NjoeSog7TwU6yP6bEC4nx2GgUgza1TthCqpiqq2CArEjZzi/ygudD3
hTY9YYAbL6Y+MG6EF7oxKem9cUQJZIsT1kGWChXUFg6LT6k+dlcEySDzFBCTRgIWs8uV622IWTHe
2LR5+J5rTbdV68hiSV6k22IUrddXjuo5TW3ibZo+8L9dVUZYp1CS0xdAW2C+Z2aYcqASbyaX+A/q
B/UMoth5RRW/iTXjbGkjsMKoDf3bxjgCElTq4/D/Pn00YEfSApi8AsQM68n9r5MZJWk9azVWsLqc
HThydNKYTQ6ZRaFSmOb8ThdR8pVK2iO3+ieM4fZ9he2szWo0xGqC1aZKqzSYXWjkRd+379Mottnt
U/hzWfL7JWIh1KC5swWra0O/tTT/eqku0WcdXkn8HJMhzq1R1V4dRvIcJT0Cp3nV/DnerTkup3Ri
Ax/rFxcR5NhmSErlpXYLDapnjyZRqcSemZKyi+m29olupc+Lln2NVOaWiFYLv5edPEK8wb8+YEDq
LDt5Qte4iyyNdyPiMk1bMR50xcQboczxhdlt44+69Qls1NeSaf2W9RzFE9kIkFGgruEbbV5laX9v
TKYAYvxLhXy7Qn8+bMAl6PSkABlc0/j1ADcrVcQS4Bg7MTjGslGTXVVAGxrUhD1yAsCjgI1yoLYQ
T00ZnqxEh9cFb5w/+YjkZIH8R6vRtxO5Br3T/uU8+G2dRneha2sZQMPJ5yjW2/Bfn145Cd2Ucex6
/NeQjRKBua3IPIDAOhRMthT9rpHFYx25qN+d8eTOlnEAAuGeXb44sm5gyC5KixexWD8PNzN2KEqS
M7bNfZ2R8JhN6eXPD5y2HlE/v6W4tm26TMuk9XDcX74b+jDqZmfg6Mw0e7rXl5XXiE2ol4l5SIby
1V61CStFhC22gzwEeKW6Bxb7HocMoLPBnT+nZCXCUmSdUkyBqoeE48jC+cvl/R/NvM63gvfVsF3B
PNv6+b0dYxL1DF4tZgfZbpA0ymu6MpYYmYfbfj35oQEP/m2ZXLMbyPAe7gGLEHVM90aZKUtiI7N5
h2YY6O5cxhcMrp6eNEQ2rn2x6PemEi9/qbD/63WbrClddh/6f+yXzSQzRAu9H+nx7FlNo6JEhQfY
wQKvc+YSRtOWj7fHNrQkhHdTg3uFoYiAh/ott8cnNZ6tkzqlzlXvSKYs8mQPHk8JLOkERTcRWGHK
L395KtZa9eenAikBjYHD0+zwlv/S0ZUmSlSNoQIU95yAMEq3Ran2Bt/uJMbkWTgWn/hSHyXwGs9S
7O9mrcKNTkHZszIJCwaZGcZaftzk7s8vTf+tzIbkhdLEXhfA9tq6/fwclEXK0dyqljes9Y0jRqYj
NeYbuuK4KqvNQLkLrl6TnrMeS5WgZCK0/q5xBBdngl3HmV61pAYt3mvpnk3ENo8a62zlUIvxahhO
7wZdOT/E+FC3f37xxlph/vK+ModAlcUORTDP/+UhngsU3zaZO55M4Wlgk2I70kTN+SbEUFkkEaeg
pn4q++oeciTV+1QPFQsV4vFCTv5qnIBPhgqchk471mFJwlzaGBzPxnGx7JGgUYz3CYVBxHzYmrGt
6bVZ+LfKbxHgFdiiZp46sJaZRhJSQEDchz3MK7wTMRII8fjnn/i/Nn+rGk3lM0P+x5j754/LHiNc
H1PO5m80a39Qc/k4KPF3iV0esbQN2S6rkcNOxKcN6XyvcyXDj68/2VINVByoBxLs0Cg7EdO4OXfU
8zRIyCL/F3cvx8nvnw437noBu2xV+Xx+fq0KaWd0RTaA8Rlvbbo8kik4sG9ZQdzEim9v1VaaG++I
X4Dp4fS5bRZuO02FELU74GC+4AK4KBZZToSwAIbA1nwFuF9yzd5UQFoOH8HNq71VqsZLyqzdG0oK
j9rOIfIsuKEANr+htF4O0ubmzWbkubfiGk0MsVvuNcycD/Au82EQIt6iWoEQyqJmg5gOaEM2NiDn
jeJ5qvn7Qmhd0RJnd9oAvr11MIBsWHLx2EUjw90QG3Lo5tZGJ0O72g6EPwJdImslYPTN8C7uPi/j
JA5keeJ7CVXhm9OSsK9j754Rx6tvXCkPNcDFgxMn3dkBmAMx7qsulelTDd57MwOe28UGaaW2CXiv
LBv0+OPy1mRNi+BkHs/weO6XSlCNhtj07GQHFP1iGHl+p6DcCqbeyQ4NCaMZlgozH2Uw1wIel4xO
xaJNe61hGUf08cgWPlYvqlVeZDbkfK/6fE/wJ+IcQYRNz5/f+o0yJ+KtEAPDmF49hxmua8e8awbO
CieSElywfjL1+k1vtdd2vRcMTBk/3riWFsb78dsGeDSA2KUlFCpZidQGMkhN7NwEy6gthk9o8os7
pc3cvVt244EUu4/u9swj3WjIvcoJF8lI9BhrIFBWNmRnSh9SbBMj9JJM0NNHwvKg8W/U7HM5L5i7
MtLCalzTe30qZnbQfXHsO2imRjMGZReWp2g2SiyRmeXf1li0bd2mp8j96NvlFeXr9aZqs8e4CUgE
7q69ku+deFqClsaSnXtSv01J6JVz9zHyOLyhMYXQmsDHITuAZJqxL56hUKnXhFVp1cXknMGrPcWy
Ag4D5eQoeomptp1eQT22F70Z2iPKmTVAmL3QkluHSIEJnY7FN3uspkfCtrJTsmqc8vARhFiIJ6bz
2xUfpcZkTbm2jbI9JAI7G5yT3ZsEG036yyhZTSZGz5DZ1H+sIgB7vqlRInYV6Vnn2+/kIL+PpuDs
+POJdptl/3KGczEayFHAHa4F38+nhDUVucMsWPMMFPJ4aMzwRCBTf5gHC3aPjUU14gusK7Fyuv2H
86DwGY7OJ5Ld97Nq5J806/HH1LGzGlZgheUeZ1w0t8Mxsud/1B4Me2HBp6lrzhE1a+Tz7dmNXkyT
QLF2sM3TlNkOFut5hatOyb6cBXzysGCujY/pzJU+QY6cc7i0aAqCVC2Mx6YLWQ5AFflYihkWW2Q9
qzrqESecnlDUkKMlZ/UTNsZtaM0APYtqYwvq1KgdZiakmkJuzex6kgjwvAghcfTt7Ndi+Vud/9tk
ZK2jEabddjdMA+1f+upIV4qI9pIZXxnqmChBR1bNdF+xfvYGy32ZGuyhXCyKbxids7fApxqhOuxv
x7FCyWJFGkXVUqYBScGzV0OTARmqv2XQi046iJ2ZHKq0DtM9gWbVJdU7YjJbUf3lWfmtYbn9ICje
1xmJhcLul4YArNNStbAOYfmhBc0AsQQyTb4Yi/p6615UE0z4YLRXPS/1SyUK2rO4eYEOz5rB9pe0
UV5jImWw/7LL//OD/NsqlBfHq+KttgT/sH+V5NvKKBX4bLzLayUVhWsMXmqf6ijL9rNRPXRN213j
0aSZJz3O0ZRnMHFMpUxZe25RuIe+679m2IKcqYejsNYn2gR+V6zKGVKlfNzT8aVchHmeYpQpCx7I
ARdhwLEvgBms4l0qxmYdJ3fYYI5RpPiiJd4ipKAO8oiRT9HYTx3ils0sS5hLCK4avUkeRuK1dhHu
8As6IhdhCZM8E5jDn98hG2nLLyXB+h6xDsV6w3d93SL+/GWvsrzLWnWdNGMiC4idRDs2wgaFR0vU
RddzbynEuZ8b4ZQ/fikr+0ltK4cjlpT7TAKSbIW1u/27aP2j2+/GKP0wljA9LllzB41/eAJeUJOw
g82Y6a3KROYhsas7k4LxZPW9vMfy/SZkMh9vf3STkhOR9HkwYNCjz1cRfEHj6Bk03t9mZLGZTztz
boiMmXRkBBvyYNly3U5EWOS3D7dVLPIczJkEofWzJlYz3EINsonHQFwWQVbjciYuXJfDSWbI49IG
5mBnIEeB/sxDlZNKHgMBNycyfrBk3iVu0mxaYCUbEwHk3qmN6VSNn7kC6xBJUH/nlJH9vNDoao2j
7X4oH4xWhKhO6vmkaPNMhhdN6I8X6oTOKTKLz4prdrtxoj52l6XcKomlH8pe7HRmgJsfn8WoVxUy
ZnAJtcmGph2MC7nw1rHJNPASmXmn6DNpZV2B+jgDM24VinE/TLX0ka3JZ6NaAjfPs2fEKPPeHiXE
4C4c9/XUyscYYAhPdv2wREp1sfL5PWJu/ywtfH5jHmv7UQPlgaghYqwnvgItmD/jLnb+96XBHSPz
gJTbbdyN3SEzsT6YguWYGjW7LtPUR0YdHwqmAL8A9+mqxbNEkoTMQmuRdkmDqNmM5EdLEjtWWE9u
Y70iuIfbMievOgl3nl6TnxLKGC4hvo+XgdHg2MWP8E61S9aF6uPkhAighq5HKYtXV42foJxMj4Xw
hClPg4u2UJK4fGnSKDmjLhKBIk3jTeDWYF37KBbAyEY2WkGUxATRwJ/YFE3o5aYbXUIkFWQ4F02A
7DL2GA7avqqFZYAhECYG5f7DXBlBPM04ThgOOyxiOAWAC5CKOmWkGRf2gEiHUAdbK67qEJXXaKiJ
jRzdhL2xiUgzKd9k724gqG1uE0tp5+PuduSsw3UfzboGOoFfmlHZ3b4c/TzoO03VYj91p13bRsUl
Fi9SmupZDGxV2xg44m0MQDDtg8Vk+1BmQ+hHDfXhZKx4jSYJQFG/OmX9aXTzk+rO8gHE8924zqBJ
5tkypaXBaqCnxgD6YUllGP/D/oUaf4JoT3BX13N4mzHrBlMbp7OKiYjzmByOznmtQ0kGS0rs8G0s
fvtbnZsUKHKptKUxwCDWoX4IuyRO1KRCHeza3aWSrDJNo80GslmttmnWvNqeFSEAWzHWR2NaxH3c
KtR0qOt8WKAmhYdgC4bvE6ZGkX6lN9nb0/I+rD4YV/Mdq6seYsJt9hgvUy5SMwuMRRebAkDWqU1g
rURFF+O4RhpZmoo/U8QHkRbrd0QuLQEhovrdaKMaIeuCwA64RUClKnExlb7eDesXPiaOEKYQVZ6T
KecRJCzaC8DfyML+gdQ9XYrlclMLoMGzL7dZfo3g8kfRrtaoQENX+EmUwGHTEq+fnOSQ6CqVV1SW
y13Bc35XRe18hJZv+S4WDF8FqVNqxBK6sAxNux1YBfTkya7HAaXSu83BS4cCBlixS+vohtGAzaQb
nvMRhiHB9PI8J1d4R+bVmI3PYuzqY7dwVpfGGjVahl5UuPWnebzMVZrfxZRIl2Y46yRg3il1xTLU
uZOSROFxbh+mMSoJC0I4c+sjytQZCNxZwEmv3RQShOjYgVF7mFRL5bMlUQHvPMEqcrQIQNnV7rB8
DR3ME1MymY9KnBK7XSc+PtWOFWltYqRh9TyFTrOvKVEDOx6emW7RKy/h6fZLDpxiY8qs3ZlOMoBM
yWa/kAWyONIkdxpD4R2c9ieUJ7E9PVekOmwRvDNvzj7ncal+Qzf1zRQhqbauO9B4rfIOyTbGIEL1
dnpMeVhdMkKRtz/qW5Xjbrf0u9FYjHukDBAK1u9fLQbxw/P6YwywcN+fcMtnRDbjYVVpJKuCVJ/1
cOkKG+a3wBPV2g0DhKkcORgY3FSOZniKokT7UsfEhcpxFYEGY7JATIlRyxCBUJQ5fA6j6N76jFQ+
F9J3m3w4iEy9tivv8b2F95ZBS6xG7nxCoCJ9u2owtiiKODbjvOtxwNhrY6u4gxJUC2gDAapp0qrw
Gz7iW0NfJeoQTE3C0PSmKh/Mcnez07SyhZc59Rpleur3WHMJvqkQSmn8f986nCVXnP2SwPqwK4LS
mcHAEmPjDcI0uOmzMb0Q5aWQNry+RQBBvuMZ1raRkeaXZRHBbNgKIYE8PwncU0ZbY3utbd1PnOcJ
viJPdfNoRLP1JKET1pp3+54Z4yoldfvoUM/qnlSYcE0UzLzb39M5YZAYCu4b/YNoBVZZek5gOTMX
spiQ8AptBVfF6t4kyW9jazVPaBKZW5Le2DCHyznPu62CzfBI4u9xEgNSepvnw05Bw8yQhmQmSLqb
OZHzIAEd7VKaSADXSA6QxR8JzIOWtIWig5tENpe6fUZJv63pO8BaMzG6AigAsvB1Jfg4w3M8/RN/
rHsA/ka+DG2gNJ6HGwXHxdq1M877Zj8Y5SfOKOwbG4chS505+FomlfoAlmuiLnJjTp8HpzA90URf
uRzjqzor6O1y+9nWIUiRV1oHik4OYz5zEaVJsTWs6KNrUmBuyxeYJfuxjIK6cXZayNkS6TNdhnaM
Q2/q/HTRtaABpOgvTGju56m7ayd19IdQpjuKYnKMyrA+jG4odkXNHW6LMvUB/oADQZnSi7sFMxn3
/GGSzKNKN303u/yOiJds185tuQVotLO6CAdRkrabyWFVYw6U0W3G5moIF4YayHJya7lSU9/n67JQ
RPMbWVrGbkJir8COjYiqrEl2T7r5dSKS3Yop8qG4TLye1EYJW5TnGeNDVqsojzKj85HLjzs5perr
pBcvSqe9ynwIBIzYzCJWrLYB+LjKzkrmCR0D1yCfeoSFaKzvpjqpgnyxCVLpOcXiew7kboNqI1iY
fk8ZaTugtrYmE+6WXVxcAJeF8boKJC5OJ75b9nAeVfLKB+272mA4amGYpu2h1tsHzMQvBVRTb06S
+8iaHsgoW2PIGPqCLUDIM39tyGnfWO44BHqL8FtA8Fbc4s5A3LjU89lYSj8ZGvU5I0sNSK4CHroC
JmeMUHqj3AXiIC3yxhiFU44GiUJzSZMTMER5IpfiuUrFy+1BQXjFrK9L0fZKNfQ4v5yjy3JuW8ch
dPUm38fRTqvSe4hq+7QEf1CFp8X67lrjs0sAYxt9WH14YvkacJdCm9CveiM9pj9QDHFLmFBYRmA/
pg5OlT0Hzh309MjrF72brnzsZqqpJP5YJBdhqwTFy9ti6F/RtDMLhEgPocP9gB73wZDvUs3946jq
L0JP8fe2zAY0EAwh+ZBDpl3GRK1O3TTv05wg3A5nHoB0Id4t+M4QB2eiSaCUPSiyV3ZgGFMIeKAc
tbbqdoOukenQtskbHDzftmp327uGn6qwJpara1+hbpRgAJ3yw86sY9JDJInjz1OT02Po5sXVJ0/0
tU/lyBpz2JvNt3nFX80POCIsBV66O9+n44Dm9LtkSuWyEch3RlmeFh1dbZlnj7bBRe/AG5o6E2EW
V17f1yTyyZzohFocLALNlqW59GGq7GfdeUMobvkt8rDYzedDbkls32snlU8nNOfLtieEy0Ux7ODH
MYbX6KULkejcRawXiLPWGXyGAqpMjqB9iMkpBruRckBQl/P13JjuuwQP8hppMzS8YnopEGycosbV
EMUU4yc9ZAI9RjNeBK50pRnkvRF3z2mdyU/ZIDAwKIK8ibwrjmXLNgsj4ZmV0Mqjt9oj0P8+oJl9
mDrc2oUrcTmIV0uAqe7NbVGbux5/YWiF28Hiyxq1G/hnm/a9UUvPoiE3FPghJOgMk+2PLickioMx
gK2qPM3kc8JdhF3rjembbWudp0kdHq/JqCWNxmuPPLpzuJj0uHym8JSHUBDHFzath89wG4+8idwQ
5W5KlEPKJvUQdhbwyUikfH+co1qFwzbsTAjSUb6x5H5qlwfZSi6YmXmnwptX2u5rElZ3buwY/mDl
X+fRurJXQM3Eck2OU2CJfUhYWDSXe4YZQckci2BL3nUHwzsFkfzKLCiwFiy8SCHEAHt76tfCL3CM
Z63+RDbk5zh9Qb2fPyYNSiXMWoOKaV2Iq5OYXwcb9VDT7z/SUvGspPwShjKIoKDtiqU1HxJthpZj
qy8u6HJv0mxfc79kBdgAZ94SnE20mrKhESUBgphUCx38cajVk2JEy65R029NT8u97OvKei6zJrz0
MaQx+HAdS8xhE5NIk7ZPPDA2IaiE1+E5g30/Icw8lBKqN31deoxAeflmUp4JOyPATDdbgCzLXu0X
HraIZjG2VRFI50UbS1+rOW4IMIltHNY6A2w5JM7Zqng6LGpa9hbLsHV7Y9zZbbsVOWTJZdYzBucF
YdzFB5AwPaiqCGiIQQStUbVnbB3xqfet9CyaYW0CsWPcBASP6eBQF5TPaW9vUnFhvreQrJtLzmhy
6AxEh9C4Ah4BT/IMKpxxdcRAeAGNv4bMhlDtNTBZzoqL9koSiNNUKtTQIxnGGmmvCE6L7ewsEO2N
nkSIqRyCJC74aLjWC0UNcBWsIYjUvzy1Pg67dGq38dI9DhXBKSJ/gEfAGJ3ZZpBrRrd3WZVi+9Kz
E6Lxbce65bPG2tTnnV2Npg5xgvx5uf7kIo4uCePTjN6mi5L5tZwGOMdh9K2zdSb5EzHREUipABPS
JbI4rrmAHqH16Ur2pn4fxu+a85BwtkfTBxxfEHfptrdgF47U6CGjdVCM3UVFHvo8Z5yuMTCl4rXo
/6lgzOP2DPl6WnF+pIPeGF3DljyjBmRgXIr0JAna0CNX35Td0ASZoUKYknZJnk+bMk3u/TV48lVU
ls4AmzPhkquQufOB7dJE/t0yiy8jQeGFzUwgbZCptiQKXJbwkrr2yVjd54CCx5aRkFHuAVLn5zI1
HqwpxhJRR8HAVk1TduvLcibjLZ4Ze70ZNUaykLxeL2G09kApsCsZgJ7Umap/xDsRFEaH9J1WpjRU
cFrT9NVusw/VGWgs5LQnkxVxSpex0SdmRjR8HYGAdXeQkUpmumYLlJdtgRtBAKJAsrVmE7u4hR7m
edjKmGNveJGIRdLXtPyaFu9GbAoqAj0B9AMTNlXi1waO4XZGrHxc6nF4G8b0UtblDlrpdNfYqf6U
1dij+c6rkuqLOz9Du61fnJRoZdIWKZwdVX9rYnlvKudOz0/lMmEFjT63HXNN6cYvCeEdtPebzCb3
ioDMk53hVYgJOaHzQW4VL8u+I1kHqm2ORLA4zESKFFIEiE024+zlGMiJNMONoc7+pBwzKpTCH0ev
5qOcPJugMIZ6xgkKGeQ+dlwJMd0NEIbooVn3lBT3cSdYC8daQEydlwtcLSVLQFeHR2g4avvC0rqi
ZevFV8X+p+Zb+d2pjGe6Qjpj/W2oCdcs0PPTdG65OMeJycrRZitPSrhdMLvgFQzfRBLYhR+WyCyP
k3FPDJirHIT2JA0Xa9uTmn+PFEp/vE+ULkwj1rXrqVQCTtdRZP5Y77TpLm3fx/B+MBircHPpyz7S
IUwdMevP/YtRPZMGkzSviAdzJZhBDo+eiDyg+MRz7/MY0igdWDkY26j7xxiQAVVc1e03Qd4XGPFQ
u87O+8xQsbS+YErCzbtm6cBCl4dRkEbyHp0W1qqsxVBp2Duuwe41hJLheHwDRfvGYMJ0tkl1qisM
t08jR26+sXm7XU25LnbsCRW+JqlOG9VQKJxMPGx90JOh8kzE0xL03JB+NPdILErnvbZghSWEAGii
sP0qjzo/R3TVF7tMSD6vio6LKIou0jgcu4e01aBf2g7TQtf0qrTQX025fCWbgO7ZQsS9RAXRUh3y
SKX6RiAj7x/RAPRI2UHGuXug1sHMPZvjdaJT2TXN1s0VHzP2vKlBIkyOe98xirLt88QXati4pUKI
BreB/sGuLwU4JuGYtGYQj1ZyLnALHKfBsnYGPDMCEQBHrqTpsSeLCyYXrhtXXFxs07sBRvQh5sDZ
9mNIEKMJcMeE4LedaucEWqjZEsF+MXrtoOqUyTm4MOQDEiRE2QM271ksAxtcBPEw+ftk5+jOGUoz
9zF8beiDJcGzWmmbkNxH0T7XuLTC/G0NNOAV+8yFt4QIQI33hHEohksISF+Zy6Cvel8fVEIlAJWl
ZLma9b5Kw6CJ8xPFSs7x0qUPOAmnTdxgZiN6o2AHel9N+zxFawbBHzXGo8p6ndBsp9sJolh4xLn3
AJSGDb33stP5vkgLg775wrnupLjwcQNg5cWb35xblRkfrCDfMpKOyNqchr2mfZ9yRyNLFLNPVvd0
A2Vgk5kRpo3PZ79Rl+zSEmpZGgtsFCxlDaOHCZAgYEOGBNxf0b7XByx8xQ4Oh1d3K0XfuiRi2o/6
UxWGu7g3CW0AmLi2sdCWe27t9X1mH+FXme5ZA88f4ykW7Od+/Uzc2sPlBuFXZRYcnQhK81eWWYFj
ijwf4si68qWANK8/anqL65tvgJv7g6H5Jce8DAsa/nKnt6MHzc+3J8wiPc/nCrlUkH6k+naCfRg5
Z1nRSo69V8Lp61CFTOUDM1tfT+ozzOQqpguU3tw2u6YGlso7Eo3pFiQMA+sL/0yKz8n8VOk4v8Bc
auXijb3KROKpwApYdJSV6PJYNfXwAYZxi4YYtou5dUaC1WFycsWypdCQ0BeBHidnigaGh6g0NWYN
+7D7bJOcgZ2JNG+Vb2m34ug9a3ylducmMnd1mp2L/jr1/8PWeS23DTRZ+IlQhRxuCeYsKvsGJdky
chgMBunp9yP/3fLW1l4YJUKkLJHATPfpE4p4T7pK+1TeD7Ly3rvogKTMXOdM8pMWoFZVSrCfdEvC
r0FJv4A6AhIgZJFqDG+HLYFP80kLMoMubQphYubhMET42OYHzBpDrZoWGVEfjVfi1ELTzl+EhyOa
NrLU2gaMWwd4iLkIvV0gh23Vd0vX0ZbmjIln8EdW65lJ0NzHUDuBcIcg9GnrRs9fzhRiSYS/pEfW
MNdIEn9a6UuORUqb2CFmEgvi5nArLZGHSqpQb9Ep7Bqww8onfRW41kpgQaq6S5J8yurmBOmKzj2s
vHFZui93r5RMJz0V1SiBZwggHVLCvlmUUvfKdeDtSPpM1sM4rZxU85e65hwri1SwKZnz1VS2J0LE
/dN9qy8pn7GiNH9rA2c0bpzQwkKXeCCWNeFpeBG7ZXcWtUIv0hSsnTwq1GwwZeh9ecaawNkIkDQS
JIXNf0fMg0vmJZONhd5/5hbD08xoqqV0FEbabbuD89meyhxR+TAXMV0Y28foWSd3iuMfplPXycNJ
1iiwSIZ2FS3ESO44UVrddsLGdaV67zmt8zN3/aYRGyvFIapVYeRX556w3apN9j7YGclpxxqIckSS
xMQHxLnPX6L2zuseA7kshUkn5XUYYjPev0ghX92BKYwp28Mo7OmsJvXhGbXx0gcvyM2iRas/t++O
qi7EEx7a2Sa2sjtE2p8hSNaWVWIsbGyY5h5Io17oyW8Lt/YMpfhc+6SENIQk4K+JAqgaDNw23DN6
6yNoP+vNc4v5fKX6ZUtdBkbFBOcyiT9xlkAXvWkx1B7EAvrwhBkGpTtL6hjt6WJWI1cAERhgMfQG
u1JblQNBImEDFg7b9EvPN/SslKOEZwRq3Ki70b+KCQQe0wsp629CocfFE1OtghHPaYHZHM5fxV7Y
zYfvZXJn9yWK8RIhkSnJ56FCeCIb9btUmo7kI64v5BBXl9IT9SUjMW3l2waOtPdzTW2jgkVYEDpj
tcMAx97LqEvPDTOymPHpYewUWR2xJ6/BRJQBBOr2Kmumsy12QGxtxXstknjhdkFzk0KpLeRcSoE/
vvD9XdRIYxUkvE6TkkSKrP2VMDC49AwX3sz6WoyeS5hhVB5kU1xrrG7xE5LphSwnPUwbeUBPaZ+4
hpG0zOfKnxuSjurqqmqcaYpJLGPbLF79KaAUyl9joIbDfE+KpHHGfb/s0rU0PbWyZqKt4DF+jLX/
GifbNHF3cWJ+9kD2p8iWNbAOcrdoKMSmNg++k7RkEEjtVpR1tTZi2JR+gJo5CSA0McZ1D5Vf/B38
fDo0pjceHl+h3DI2Steu7vUeZ+K27P02mY4L1YtxWbguDRKmZMpbkSDtgJw6NvDlRelZc8KIfd0w
2jtUXkP4bm/atEYOaJnYwCHTMRa+hy7VX1VWUYKnDo3e/QBPbxMZql/YGQ61dl5Ux4So3iMQLA25
a60nDINXRmcksK1d0oIhyT/pnnbtkG+8Q7VVO6VtG+ZmN6W1GjEvbrrCYTvnYiwRcasgxR8t+0oQ
oTHY7K2NW4GRxyUOXBj/yY3tHpMGr0Otwx+NOQt975iXoYe/M9JzCi/yk3yyQ8rGhyYmV4I8kq0+
NlcsgMFUkwSRHObTH546F1rHX9y+DPSpxB86OytW86URVX2c8wAfG4MYhwRoY0jfG6N8comTXrgJ
Om5p0Y4KP2FqL3XyzlJyFCcFK73B+hT1/1fHdb+wsQC/v0/5nq2mxq+OgZCd+vn7XIgr2pKp/xy6
7idp5vycZHGwFE08nQqV6OgRtPyINAa8y7XfXLbjJTDNKTYwuB2mrxR4iKqx7tZIJfO9a4o/kN+j
fawVBA6mI4DflDP6ytatMi3QDyvq9vAhcFdM1jIt3FXaTX+HLHJX/UR4lUaK2OibNSpvA5QoJRjr
8dW/g5V6LUtHptYulUwaeeIClNg7OGtTCDlGVhEMEKYWmn8veOI+yEJ6gmipvPHb1HO4fLldrhFK
kNJgK9qH2S42mttq2BDTuWvd1mmDeUsQdeiC0F0Sg75HGlB2R0iQONlth0Rz3wof99xcvhiR/gZW
ZK7afrT4nAPj3CtzU+j4UM6RnV292ezOjcf7z5TgOrXfcUJamEIjvY2n6FYXuFN4jn+PbtCb/eMr
jJuhOM9BtHgQRvCPzcjaI7pXI1g3rLAoKgYr2MrJ8F8HnRirHZaMa5gcGzxnVujb7QbauekuoISH
avpVF7shw+HyrdEciqdgqRVktYqlBDJy2eyzESFGJ9Yzd8ZaFpl6qsfUYs/2kh1bY/zRMAuw/bH9
xXo4rU+GiIedVyS7OeiaJy//YIARWpH14hlVsLZa4Z7AJmfMSGF2mt3R7XsU2K5br3pCNOnfVLfG
OlwcYRnFmKgHM0R5jPrdoDpARen3WAH8eAOBG2wvGPcIjdWE99OvtYABvZXgNJ+/Ga20D1Plnb0m
LZ9K2K/8zTTXLkP4dxBkpCLNWwCkcLi72EAiJXqV9LPmVhZB+VK2ql6ArQabwmjBQaX7bWc+86Si
pNuoidMjIqF30sNY+tYaPnS9iucLJOg7xPc6GMaveGuYqQeYSvqj4CMFfnR3/dTMb6KO10MZhFFq
PJV6os5kNZpY5DFnS6qgfUuN5obR2JNpj8Vy7OS8LaBKh8KChjM2NCGFHMC9UXABzHjTczAY5vle
d6ZxueczvGakQX+ytG5U1INCBgjMEwLAoBtufSqJdV8gIQSL04vmXAuvPhegHqs+0LHJBqAFCLyf
5H93dkFvXTrpbJu2+D31yblg2Ge2BF4+Xvw4SB2GhKx6SiEb2kh37H9XbflWddy0oEOhiFY453zY
tfzVeJrEOP6lZOmPMMi3FdSClU2h1Xuog2eiwJVVeatGEV6DhBCyQy/ep9h/HQsc6ZxBFGt28Q4V
XVAvTWhNaPoXhRktLBIPNHMFQElODNqaJY5856QUA44m8c9UREtJSqTTRM8m1SA+BptWiXjTu5eB
qRovpa3vzGQ/ZvGPJtqthYrbxHtmERM+NBcPSUGzUcz+Sbt1HESNswb45xLLAmI3t3CeMKtuJsC7
xNBxP7FxoLabIF5qCvjI8RjxBadGzcNaBo0PUfQ3rLBLSVDbq0XB0Ui0LlHdPqXU4y05dEarbxoN
vY5Lts3CG3OE1eNv2733UzootECi5xeQjDD1tLOUD5hUFfp+EhJqSN9Z6HRkTHMjYCpeP6E8dUK6
JxIawXmLADZC42UEp0O2y4Y17qxRo73ptWTCVRJYaUV1GeYBg3i7ASTJ0GcuDRuEoy6NNysrmzCb
k/1keeuhZ2RUlOcSgUFTpeYLWw5DWRUxlUzbo+tAbumzmsVGVh/MyQxm44z7YHfhyUDwiYMEhvfZ
2+bICS9Nrz5HunBM4/+WVWk/Bfq8GntLLdsRcYC3ElOprVsttt9a0TKMZmqi8THOzN5pcWpyCQw+
gtj4iAgRHd3fNvMB1/pQgdzCvFxJy16YpLi79tXLXxAILpPipMMpBtyIkTeRxQJ3wAM1ZyCu4Rtj
Opi3M7xoo/Snq/lc9EJ7w1imPHR6Fp/zp0gAP6bDnYnQ/VLldzrO2Plwf7pRcsgubgrj2jci98pC
cAkKwjrjqt9ng4/HVEU+SM7kh9xUjwQuoR2nOXDXuFbNII4zYg1p0kVgdLgrUXQuWjQk73jPBCxV
s7MTLc1z7cDHapum2hHSo70wMLsCWXv9TyXnTyCeEMSRFybrifGmDagT+bRdFveFfi3FrXJhIDff
E0RzrbTWccZnb/KNCpTszY26pZ7+9ngzktxBhHqbnADlyqMTnCsbysUvGQPip+hxItxskJYir1Qo
FBUrOPcbu8DCtOH73ZKmAJvRKIwbLb2PG1mpsIWuqjAT2q525MrMr9hOLhXXoSqwCQMY4UZyi3eD
prJzV6I9B4ZFE/UlfYvIMDesZuz0YOgU9s4qKqLde927ttkYnMqNZ7PpkHaQf7VcU3483tIxKU+Q
viCA1EG3zF0r+Yojf9e7fvCK9ZXazblBGUSES1kn2i/DJxbchi9BVAGyPFgMCVlLdCOkUBIDpIc5
iE6cM+i8Rvm7vxn6myY2JNtEgbOsHC5098LkoJ/e2sJ7sTNiJNsSGx/h6H9z1tfMIi5ckEPixJ8Q
/HYi/ou3K2QGFYoMwNj45oLVpj8zk+o6XeApv+Q6W/Ypzl1smmUbreuosZdmMOLQ36LPgBYAOzHG
Pr8rRy2cXSFvWvRSVLJ6MgF9T1rXMFXNsnV6wCpm4oYi2VDpz52evpKwWACRoYHpiX75tmd7qbUW
04aR9OlrDAthgStctlOugR4MU28go3T87MlzSSAfX5tORBczZ4T1OJ8m0P0HZtdrUTxrgzj190Eo
nsw4nOjDZwdnZpMJBZHg/pCbfw9rVL3g6G8hhyUP9nF+cmGRKMmCbzTBccrj6VpGZKpHPiOJKMAv
RcutpzwZn+7GTX0aILbE1vfJGdDDKC3rfzHikGGmJnDg9twGOUOOhpH+G33yomV/A5q34Yt2TF7q
0WJjgSDuFuscaSxsHxxsHAuPO3wUdXyS8RYL/fhlcqnQ4g8Crf3p1cuicPZZgPnXGnSBXD6onGJu
MxcehW0TWUF+RqUfHe9kMChu+io0yC4zs3fIB6HulysRDNT6NAfNsHJqKsMaQiH0rODYMpHTGBcb
tCB9BzSBoKUacPUOlmM7rq0E+p4gJXblOX/uLke2Ym7WgTQ25HE2ADAMyQgRDrUkBYu71vFfyxqR
Vv66I/DKH1YxRFRiwnTyxCOAJPyLyQebw/Rnckm/K7WQYMWFVAwnimItUgJ+nEtSxaGYuTu0e1bN
qfO+IWotxRTvq6hfejzp0FJitCl76gerZGacme0vpPbmgHv5lFsS+VHMG9oybVDtMyIgfvNoITsT
2PpvzV2SiY+u/lKBxpCKDNThaMgMHqaPy9gFgtJ6skl3ZJeJFO8kY4eGtMTIJM/B/c8WWHrBwuB2
ksSFjTME1G5j0bfDduWKy5aKRf4+b2SbWDoM5uhIl9LC73N4gcFSMb/PpQKBh5BuPJGsBaHtE2SX
kXUN2LbjRghzlOMWUZt3INYW6XJ0bhgrL5T97rh4/+408hrw8twGMbyS+NlzX+Kc9GLCjQ3xzDu5
EPwsoyHkWTXE0TLC8bnqWTV1ch8a+xd8cz5ChZ6hwWB0VfvL++B0yvc917ah9kZthS4EhEFgQEw2
trW+m+H2/JF5FjAZJeyPUs4ljbkjGo0IOaxzmQkyJwn+JPzpGlElxf1+YlA3fLn2Lyv+XbSrEZfn
8VV1jFm1s1/sLBie8lEm/PXorfk5kgQi34KS2l5hzC/c5ktUe8cv1gaMI4rRBUFpS5OCuvW/M12E
I16nefOnlQV66ZJM1mqpGT+YP8GZ8YlAee21AH0N+Wx8AEmp8W5i5C34T/D4lskI7QSHb/JP3A/f
b0IUywDyFmKm1WzJtVtwxRNYqpFeaPwljXbROOWyL2oqcXOlg/tQ5GyyyA5r3MLpvnuihQjACT3+
B35JLK0XU8vAzOHisci5HpNl4N8mdwDNZIBXw9AV2DJUNgOVEvbVOq+yZFv5eAQ4VXCu9E6+mgZ8
EoWGZu2lkf8ZNW9MaS3I8DecLmFmi55myPwx52A3M3Z5QWUwvMypWo5i2MGDH1/N2bRWJSjDxsBo
6D0ajV8Rl+E1VXb74lvOSjnZNy4z8VUTEaFWI8NF5apTa9tbwvG0HYvxuUuC/Kbnuc24Vh50Mea3
TJT6UxAsITWLTeci2mbSD3EzoTcDL/C8zYB7zA0yYXqDsLgz4xheX1GJlbDn5NbMpn7W9GRjoK2/
PQ49FZjbMcOIc6mfXJk2B9PV8G01xuDFaGe2KjblHwpgakw3+i5I6gu596hC9VFtDYCfrTOa/jXx
zYaPrhu+Zcwzehe52rBt69rYO5X1d+5IiPBUmzIsc1ALoCs96Yjrlyazkxa12qtIR8R1U/Snc7PL
oLhQmdIXm3jQ3dO/Q6NH0IyTNa754j+nH2f+PcG+q1KRFI/hv2+wt8N2ARgHEbbs03A/zGOxjYdm
3j9OZVKlXDn3b4xVCq5r5h+PpynkSGD6v6OhrRlkxvrJ8pxhYiXyP8ZJVNt0MOfT4xtiFvqJPItv
kUQixG21hPqGwgwm70edj/qGkKB2bRD299Go9EU21m+yRvOD4YB1BX4E6GQMUJtaN/vU3MFZ1l7u
hQ7zm7tXQ/M5L7KS28zUUxbtTor9lPR/+RU+HaF579WlH39KktXiPmlQSaf2trho0zxfjUr+tT3Z
fXb9vIHsgPkmxmqfJrv/0LY3W9nf9dREq3EiwGb0Nd7eCZzdFE+lFd0GG2oteBoxRhogBbrJ5pK7
wJ6uZmwqF/gyJ5v+S7oSI1NDW/QJiPOcBfjX48G1gRI4fJjBsHSqei9r2BVZ3zB4aeQFVrm3Efc4
q0iZNz3IxVem26tET6gQR2mdcg2Fkpkb14ogaGbNgQOU2m2TWv6MUvU3YgmsUCYQhmKZzUcYEfMx
iUHUF3Ls4y0SOXO4aSU+2roPD6AynUUs3Ho/5CbImRWkzb5HLbLBjG1raFbYqiZnPiw2RdXSX/HM
bPZWSHiS7TigELybFSLY1qyz663aEqdTe1k41slWvbY1msjedI30T48DkikQDRMDlgHK7gMOehy0
KAWd8ecjWClSqsiRrLlt7myjjswN8w4boenq/MWcV+Uixzgd/j/I0uPFTgEKgoMDiVgFa/XjZxUF
/1HvGQ2DH55XJzO0zyrTNm2luYAItreGGuazaqQjLkRMG/KTJ2R5hVXMxVYrk7JXI/uoNZ48w4bK
Rnvrdf21RiexlCWpa8x2agKY4CwY/p+x5b0z+8gI7STbTV3/t3IZjLedh346fcozr1j7BpzsdMTj
ytfum/1c/Y3vjx6n4u4WdBswQ+tmYtLy4mbNT80o+SiHEspjKcYtwpiUPMaq2hZpYr20RY0XVpeh
XLk/dHM4tq3HiPfxMOW6vEyBcWgaB+FQQxRAAqL67LfrpPXZ44cWdxOkqKYD+E90e/k5GQIPzDpI
9obfHRwp20tGXApeOcNZq2ApTvSbnVfCPEwxcSon7z0uZw1hyoKA0PEwKQnPbPTW8DM1+lXdO1m9
2TFatIlBqLJ0NZmDfUuM3ifmLWEDDmrIEv7Qf8jMBhhSav5ya0jGRAGyIcU/GVmxaB4BnGoS1jwb
/TmlFGqo1u36nd+bZ3l/9PgukjyIEb3iyiN9FZ4zvmjL//W6x5ePF3NhX20xVLvHqX+Hx8/SPEvb
Q2Re/78v7Y2gXMWyacJ///Hjia05XZq4SDbks258z/5V5zBz0Ykn3mrQJMgMwygsrYj94c1jcD+I
y53idZmlfW5Zu/aPR7Wn7vwWk3TxpDUOmdM8xUngXu3qmHqz81RHRrF1GmABZOjWzVU+o3kxZVvV
ObcK37VffYAJr2AlW7TWI6pyLp96Y7hryX/mArOqRAQdNC5uf6yR/9BJyr1RgCg5cycXosnxkQx+
SVub9kqd3DFJMI+0XEb6MDRY6OHgiuJ3a1PUO7q58cz5rO5u7kYH8NYYUlsHuWqJjAC1ME17adxB
DUDOAWtEG+JT3MEiza3Q0qPfbpbfWQGdOEqRlotgJvGtRaq3VxroizOJeOkA9ax9NboLN7Y+4FJq
6yTxjnB0f+MiE22QiPio57pXM0JYi3d/HAZUhlaklpCwzJ1vdN0hJZJya7biFOVte0nv2Sr63M6L
usXsdmqB+MfRuYyEyp1qs91G0MI2cQMrLI0lZHUT1k5Tf3Qs0WsvaI6l12xmJqefvgWP0cqzZEdW
AxGhPeGppn20ZZUTflrBKrFHNptUnuO2DKglMnLLuJtVDz2/qWPM1524pdhxylNELFRdRymkxTsj
YeiyZSI7KjgPbisbmAb1JxlZb3AfTX36OtlR/Lb+b2uEH+K4gN+MtfcQqYKCcYchPTjwaXAoZkij
1ajB6qi/J1cTgJLasIoGWW+rwiPUlCajKgSk1PhZwIxYsEv9NQk7hOhbrauReh6a2ILA4EVSYk7i
4YyeobfeCkcQRtnyA82oPyZKL84OqgTR8WEhmac8ttJNasxyJ3Eq6YvOWCorwyQVGQnbjD4dZcXO
mGkRrnH3h+4YAQPcv+q8joL/32OkuvpyeDbLbF4m+uysdLt/HQLoSFRaci1nuDpan32JzpxDVul2
YZMiQAxeFaA9T2GYNNqpmZBLtsNgX0xlrwJPAh+izhsnt3oaabHPBqm6U/PUB8l4sYCncFjRDjoG
fguKNrNHCw/qzjr/Qj5rAi0IqVWW5MPJyOfvsdP7Td0zLhzdFmUgRfSC1KACKt+4JuE0v+pa+9Uw
zN/Zxl8o0eKYN0F3MlEQKp8IGRHl6lgCXOxgpiGVrV5M2+GNGRl5yQLZwaBymlpiV+fA2tiy1PGc
1z/Efb/0rOSMyHyB98avqGH/GjV4B0Nv14eKnhhvVRCK9FLYybPeB8V2SGNms1W2HV2xMDCgvJBn
pHn8PS2DAX5dGmvbQbOCY48dr0w3rm9NZGJnoJCuwVLcFndf2XZkBGexWK1zPbrGNt5Q5NfSMvuI
XoSUMxRubzpmLjv+gpHINu2ldg7mdNtLjFSdqHtLqUYXUwDrwGWLW8R00+Qh3HeC9kDuNqV24WxL
pwdRGkS5gr6s0a4OXSsPnwIXjVBo3MdZU+WrPCKoozUAZ90R0dOIHKUFRfc6768blfoJenzN9N3I
1Q8z9JJJ0RynhHTHWLr1M4GZTWL/IUuz2DM9WSc57q5EJR1qBZHLL4wUxxaZLs24FmFHN+RHChVc
hHcQVCtIJGCpqTpWk3uLhOUvcgrEe59awylLQqdHlzNWWEtgM22sZ5jHShjmZuwx6YFpFawqI4dv
RFcSA87oBu7ZQTnxLgqHvnlO12g2iG+r4h0EnxNh9FxUWO3BUSaTKiUzmFVdvffDsMLcjlAy77kk
72SMWNZRPu66r7Gf9JOcrBsVb/VewKFZ1KUU58fDyvjwar+/ex7hjN5Zq4I4o3IMuqcknZxT7kLS
mq2Xvh4c8iVdkJe01jZBZe6ZsoHGocxcpkT8mCglQxnEnxCI0Fb704eVBWCvhkFidM8nrifD2vRe
/WZ2FklbnPAo5oY2R2y2WxthCVhGB0muGbiY9Szo6Jj1YxmTlNKZ3JzMcIHoU+mGfpKzj5TllSRn
gr5H/60aaLAZtNqrAaigTJKwA04jw8bfOfSCS7MbgRFxNkHQg/IycV/y2CsBHYbvKa5eHUUyrF99
9VnLOB1wdgGHMCzSVkLbJpFAz2OunST6Q8hmvbXv0+jCfyb9Sy69eaccNS0TaN3w3yMQFXwfveo8
pr46jKScxoFcK+1LsAQeq8YxwxkrtEWF6TXp8QZC2PHiSsu9Vpa38jMEVpkNCtIPAC9jZ5hLFobR
kLjN62cDFVINWuphNRSSs7BDun8hvLrYDG3ybLjzd5oYkGEDv13CW8oyc9pyP287wot38NhuRvsH
a9+CzBtgCuy60D7b9OjDPYNmTEycI9A/1sJYyEn5hD0xusDZbQbjG42VBLG4GK3/jkje37OjjHup
za9aEEPDRXSskNTPTtCjZcWkUpRoMPUK7nSLxdow5ztT+2WXk7VUYB16/elWgXdIsunFbAENyD1m
riWwgq0b9dcmL/VqEWdXYMRr5O2wz8uuWdstMwLM5aJtr3IKC2/m3gmskzml3pOWsaBq0aEuiQsH
B/CueSb8ayPGvzhZRrv0/uhxfkYMXEKXaHtx9IKsgJrNwlx0gJFd9t+H5v6Vi7qtR1MCUpzVZJqj
1IIOdD9kSfzfh8e5x0OXoJ2daRQMosdyLzPdC6fBmMIykC9aaqjVaBZfQVP4TxbtCZYwxaXTYFRY
ctrh0aKWft/0h9wg+YnGD1h9MLaYC0H2dLFF4c7WM/ecJ3pxMEvIowxW+LKMcF5zGH5Clb+rQlKM
JfA86dGtAkUkAxNdB/fOU61sNFAmb3LF8rt34/hWjThxlL2qD60HUiYHbBgTqclT3Rny9PgKU0z2
1o5L0be6D4QH2Tvr/hZjWrTWGXgOtAECx4WTvRncNTb3k8Xw96fk96cIiL57dDfdeJh9bzqUGRl5
EyY6FaFtY9FL6Lb38wiO5/88Qw+Gdq9ndBT3HQaWfX5xjcVsQMQCkS0u/07XgbgWji/3/+c89icO
sB4OF49XT6NXYHbvQI9R5rt9J21m7Tuqx/uYE3TscdpFsLyJcHReF5HhhoZGhAcdn75/HAItQaUR
6fo97TzjWD2Oj9O5rJAEiBxMcY6S879DOecZ2B17UhkElb7o8QLRFxCX8l07D8+PJ0ZOyUcnKxI0
W+M4q5ZV9/7G+5i4H0pSmB+nHofMERgo5jDEELfYC9/1MdRho01AzrMRBvCI31KjNZu6IlHDgQoC
89R+LbNGOyqX/bjCMfvDHfIonKw5PkzgVB/dNyrd8WQFDCvj6SWKNPlG9UlktxZ9m3k/HCDC1GEV
G9O7b3sjY6DAxcaRh7PLuABlrHeOMBx5G5ALTdUEDXmwTpMPIfU/z0IsB7eKGU+jrr6JzzuBDDNk
elKojAYhljVMqIAEMQQEuMCvqbuw1wjlqaao2GRzbLyiQKUwp6i26RBi6qpLnlHfBXC6PyU8knB0
S/RGPR6diRuvH+dncJ5NEBAHlaMf+zTqbpUzsHnx6ncdtdXRT9v/feg6nBLSxIHPkRFr9/iuMen/
8xTCWYplaZkM42mWaJV58ePHtHV1sTskDh3sSNXZHpBH7l+tyEGS7dXDMqe+PJbVuEGRDFU8qpLN
5JXT03A/ROB/MOnzde86Myz2znkKBnQjniufXId5vm4Eu0GvboF/VxfNvVrU3VivChGAlQO3LZ18
knyadv87lu+pUNFXVo6XfiguSuArM2Oo+mQWMlqV79Jt68NURzq+WgY0Ul9vngBCwIsdGBvZiNCA
3DDv/DjQxLQbX0Ox5KuJD/h++PfdGlazPmcDMvL/ecF/vlJJv0wiFrF/3yBhrj8HxLiT5HVjGUhu
c1fcHM0bjur+CLSjvXaFBLbn0eNZmc6u3UGLAnLp3+0c2lLRq2cnGmsQG8QVrkGcWKBIbtFkky8z
FIxLmIlilwRq/SAQPQ5AXxJd6DiGWuPpO+ba4eCtib7oLsRSvfqizk5OSvXkZb2CYYFHwhw4R/7q
cjUaZrdxC+pXv73T/EEhtL6vVklvFlvXhsItWoIzMrhDmESLZe8x+ZkDn8t7yByG6tWwHtq5XHQD
zKYizRhhB/3brJt3DiMJbd4yGfLuaBbcupBJPcLjr6P2Q2Opb2BpFGGQD99FZ/1qwRvWGjkeGDCb
eD8FlXsIoJw4GddAN9GPkpEQVLm/HyRSSAF5yR87BMG4I5wIE98WceHv7Zy7rNGrp4zCDBYmBTsD
1T3c9adOw1KidkfukHa8D8MUEmybjS43BYbT99Aiu+NyKAfQDJ/+eYGzQLpH1ftpJdi20NBvfIJK
EbOBqzbdD1P+fGunlzzvkW3Qoq8wq6yXCR9u6OsSb1ZAuWMcvMeDq28T6gn33pKAn3wR9BTjYGHF
S9zvTC4aZ2VakXHrE8YVSuR/Uhn3Lz4jo4y0e8T8COb0qTOPNtqwQ4Ukykz8aVtP38LLdpEetPus
fxaWVR9cEwlYZ3iUz0Ueqkyufb2ELCX9TS9J+qwbH2gtyPS9kZXPHj3xig982NK/DYbzdne9pTPu
yyH06/rvmEhG+bPBEEV07zqtbuoHdya27oRdP2JM35AcmFmVvcfmKyTWwj9gBAq4UWEbMYx2cTBi
GAaKEEs2oPv0ARLL3mPfH0ax96TjbybFqhkPSbepWlCyvryxOIhNXLO7a4ZyXmtb7lQsvjGhqRdF
gy9XRPXLPEmjWDPz353lzjT2yODdAWJbnj3nrmnuzSGFAcYKCbEOEdo0oWiQc7yOMhYK3NWKRe8F
axwneNYIGbVkQa+ZTWwGm6jZumBq6KfbqYCG1VnRYXLdfku8RUsZNX7A3ciZhVv6ujEG9If5tAX3
aha4l0GMFlO9pByk916O8KC8bINnpnOqdRvjCiQgGYjGBN9xjdcnZB1dehcSZ3FH8YxspWMlvvIo
4EL4Qc5ZJuhjFC45K5Rz7dW2SMaskLOvHYyxUMnya6J0sc/TwDQKbt6iI3NwHQ3VfqYy18dIrJr7
jpZ5oHFVRV50p9QKRqII+V3E1hqKIy1eEfa9rq3J3FyPKa5ektoElCi38MRKJDuSY1YVvNToiWxR
B8sG8TqrCSWVOdu8rTBmpw7o0zuVbqVf5ZR/t8VQh0rCD6mgq/4XY2eyHDeQZdlfKct1I8sBOKay
ylzEPDM4iJS0gYkU5Zjn+ev7AMzuqsw2K+sNTRTJYDACcPf33r3ncq/t4yEhMCzBc0YldAgI+bja
tq22NMeAsXssGk5MbWY5jDY03GhaYZGSEnv9Pms515joB7UIbgiNLPSDTeKutaoZbzUT8ciZNBYE
WIyUX4ep9xHKBjVqR7rgdwIrsnVlNPm+DVzq91F/Lmwmy5QXPu3HaI6ERYQfw84epAkWSGhXy46H
i9dRCoQ97mOUl3eNKAYUvnq6anVWHqQ+sIOYOKPdeBzy+kOW3o+8mYid/JbqiOMtHCArG0aE9F6C
AvdfHHvuNcqatzyDDuMEYXpVjvrVh8Z3Wcf53sA4cZ1YXHVqpCenn71KNYq1rCLDrkkS70y3JD1G
IrmUVg3mS6g9O+Oq5gz8g7CRn7iNvlHChlc5f8g5axP44a51i16aaYB0mWhaVMVoYYrC0AQvZ2ek
QXMkqiDdWvEJNgyD/Uxhz+h5RECeB9idIFCFSh8k5AHRkHHjKQe2bW9u5Oj8tkrxGUWeYrYXri0v
ftOsMr+7PWyPICBBeHobXBRHjQEHiQ7+k6cOWDCLEydJKnsXoK+D+PpQl7TB6lzLUbdOd6axHzqM
IJpC4hKO4B5GgfekmNQ9GAlWae2aZ97W9CP8WjsG6fvgXJpAL2/KrvEXwxTy+h+dXiIxhZqqSM/0
qiwifAs5dpVH2B/eHGNskFWrWVGGmCpXNU5HH7msZxq7YEr1Q9q4P61ptE/FeMj0fKBanMf5tHSl
BbM6mklCefkSuzEyeRShNbKwXpynDtFMO+tLYDGvSzguvJ94FYRGz6HmehUwZQ4izjelzcxPMfda
VbImh6cvrkS4D5QujbluPGzBWVD1WJZpPc/MizDhyO5XDCrBp59w9HunwuQgLLT9QDP15jP8ltzx
twIPlZ5dhtI3jqOFICRTQbTRemmc7e4jSM3iWoqaCKW6jzeSzWyDfclYuYFzDQDknhoA9QeitQPk
8eUWdrjcuCJ78+0K6fM4/mj7mo5MgO+1A8SDQ6pAtw/mzWljlAhJ+Bs9U7eTHL3ZIOKCSfyYbgXV
KU2qaJjxBAGY42ZfEDKH8DH40xhGg/63ynGc4AoONHh6sVuvwjH8k6rI3RVq+EllUB/nnnevz2Ri
u2U8lWiPOdaofdvgeOo6r1sroE6bWg8fYUT/lBj8EI8VLwn28EvfZ3t0Kh+hGH7By9hrOUJfMInG
psLPjsL6mIxOvw+6rqDopltBwgt8jfxYJ/REddTn2yzQrX09kX+tGRl5XRm6vmLgb/LQrDJ21H5p
WmAetNC23grhPBdWhJcl1wBnkJ1xlMKe9t08225QNu1S5foPuulgb66h4zajPh7qZnolTeeuIw3u
lGy2Qx+zzjfNzKAkTx2U7JYONON+mrqbpiDyu4s2YUBsJwamx7Kpn+2+748HKmyADT1hbYkOKszh
/WZH2AONirdIG4ToPsoE+b+ii03x9LLuaiXPTlLD7NO3cO+cm6W5v910kquiAaZYlr22joX76pdo
AMJCg/6LprmnyfLUZUSu5cGPeOy724AbmvbctMZVop853bk79GgbGxgzTZ7qRWAGgq0y4loc73oa
VTunT/FuY5N0hzcvi8pNGuuMn0CHOIx/VpUx/eqVGld+/TZFyOLsOIZykfO6ddbPEYfSjoyVai17
A69/bAD06c3tFLRPE2M6Bmx2ux7reSDbm+bK8so/ESajlW4Xn0XOMiAa5MXVL9Nkco7cvd4ZUMRp
63EZRrK5aHnUrUy7QCQXBs7RrHa1bhLsZAc3povvSBKnbcNJ0Izb4OJH7tEYYPRWqYuVS+MguHyQ
yknunhKfhUFScFXRsC2KVyJWPmFtaGuZR8POrY29QaIk6wcd8dbQUJXm4cG3WJbNNGSYEXXYGazX
sK/5YziAoS7Od5P6DO2mvQ6mxiFU8AytmPcUSes+QatrpJ12TpioQD0ikXRi8U5+y97f54XOMSrI
fsnO+MUpJNxGGNQZjWX9ucuZzbThD6ufuoeKCoN8HrWTmqzPXhtegP7riOM4UXWqP2hJfutH4mvj
yupeaHEyKVbjzrFGMkIgYryKxEJ3XLd/jKiNN6m8ZlXZXTUNtT31AmlHGp6+KbxiWp82qKgiLAok
MCIV2ehJ6qJGsT4itgf6YzB8XF47s6Ttow/2YTIKaDRRBkOsOSoPFCNS0HEjFElKWon8U8vxHWYV
r4iiJMdlu/FrTDxeqT9VXmBsGcgf+lL5QLJhLpiRdvUdtncgaMyx5tTg8J14jomBPIdEx6IBDFQT
m1RNmcASv3Lc8pm9AI4iCeIMzPNn3ZfkvEbETcY5c31u+ZxaCo0qpahgouoCmcvA2tS5jtmz9nVm
h92BgpHhQUo/1mDdqWwOtXU/Gmthe2+F0TW7XJsSCF/mMWgxViD8AYgbvPshuSN2U87R6j1mtWZs
nnrDI3Fu7PZeSk4TytT2WnopmnGgYQ5RnqflA2PNn7aRWPs+4kqd6RMs3+I5zpGGBxOLVQwmLtfc
EnMqSTNMyWNcB/T34yE11pUFew+zB77ZybKgbHjevnAKd2+ZePVa50l1SjwvYLQvhHZsMbmVKtsR
hmLt7V5HfzfS9ZZB/NsGfb13vP6YKya+yaxqznupn4gTexoTkxicGd5okBKz6cre3ElU5bFprzvY
yaBG7fCaZlh/xk6HHIHSu/X6aGNHg/bgJOyQcWEmr6r8GGA/PyuCZXDrQGYDrgiXyeTsjm3AXmWp
aW9C4bmPKqER0s2/UqfO3TcOsj6jrx8MAr2TLtjLmXJsZwxpBitIH6oEmCvQkQd2sJS2YhbcySP4
Ca3vATa7deqpzWfR2UK4dBqRb0zMKw+2n382ldex+dbPpUoy7oW6fl6+ywqmYYe+yD9nmH4rT6Oc
jGPAx0PBuUuLHhbs2+hqt4VSaJvGSWcegWxTq67Li77AxD2jRsA3gxO9MtcgLHnDPQtoVs8xFW5L
EK0XwnHxC/+RNbZn1qO2WWKiYHK0cxXHIeQCBj5lwUzXLspbUyv7SvN5JuvjJJvz7RY6Oa2atdRg
RJSWn69LoyjXoNVQn7QIwucTqI071eKvW7NyUh7PtP3KkkjiS3nWivBB9dZ0qqk824KIBc2MoivV
an70sUpEkqgl8nSdZFsOmjj0hWMcbd3HaxLW8PXY0C6mtC6y0hhHwZ1e5aH/qufFdJlQK+11z32r
CJM6hWQ77FQsib8rmuGLUdl7obfHXkgnjl33svzLD3B/VHaRPg6Ns1WG073w7ctF5JMlj2uOU9zy
oWWhyPJoVUIpIujDfYozTz95dB9WU0cxS1hYxAUc1EwlnWLjawhkG61e6ZxZHnXMRgxqbPGMGQS7
mR6kmyKl+EzpxJ+nRj85AtXphOv0OFUe0CdsUy6rKZadp9IzxaucxuOAK7KZg1RCjaemmBCMWBFW
S2Q8pMJxJxpUIKmB7rlBuIsAOxgh/s6RBFrUQnSMZ8CWM+q7QWKtLz2VYmRlVwkHkpWVQEqtoo8v
nqdhfsH1F8J+GHs6UtixOQo0RASlYSORMtoo5Wps7xy73S78gSP7QTM1ZGvcg9f5s6GNFIJoZrtj
NAIYRc5YDpX1XI/uiwd3+lZzTsTFaZ0LzEMMmYtN29IqwRw7UCCOqJ80zB0yhRIjdDyyqPg3XAnI
N1LNpZfKj1tmFL4XIQF+hbXTfZQyqRY5X+94EAYehRBJv4J9wovi7KYKX7wPKmEJQai3nvoAnIT0
/hQ5vmCO5P5ZS/N1OOpMSJMakWepw3scA9XtJp0QoEzl6QaQmntwMYu8cuKhTToQvLLKCjND3xqN
e01k0z4s+pe2FidSqnneJsrNoSeUOWJ2e6UYqA6hKI9N3ZIk0fufoNTWvrdaouP8QIGt72P3iohq
3Bpi4BwcjeXjV3RO19B7dbORwBQ+CHOEI0/OBBFesI0SEd44s3K4HtUTOwn0Vn8y2TC95Pj1/DWV
vAr5VDIa4WyJQMtT4cGC/7oJGkyyaAR4F+uGc1kQJYeBjE8ScvQ7eutkB1uh2mb9yDJSaSjqquZg
Z5P/2ANrSvEgW5On/2LdYCgwmeN+cq3PtjG1bzT1gQDNrxdU5oSmMdewYTx7Ye48xqQABYk6GuR5
rDCTlci78bN7gdyaYYLQiJn9jbn+fd7Bj40CjUXI8YOpGZjPfc3i+Fp8lp7EXc5lfF9ebifv6sNy
u+MVZug4t3IsdvKC+dDWNxg7I41w6PeneOlQjxau+23ynv2xDTZ679akCQNFMiNUhys6XhD1a83Z
f+1tPgKWfI0r+051HZA8j+y8NqSzjQnc2sUWTpqCwRa1tV0eNL58QHYMuASW1botUDXHk7X3EnyR
K12LfmN5JrLMox1BKT4hp63chF5CW0/7FFXxSwrk+DjOuacgcsF1CbHpMDehyU/vYuaKZnplnZcd
4CvReVmksWGZp94tdqmvjNsSLuNV+NgGx7DWZmnZG730D2bVaBstrLvNhC36wav1T347tFVeB0GT
B+CCPyh7M425/gLYgW5yZXaPcZ6fVK+/2TRMH7UWUUiu97+GPiAQj85C47x9QZLlfLaawsy79g0J
SRhyPTzAyBMMOjs74MbOvWoQsUdaiqZSYzDp2do3COvFprflgU3mPUZc/TaN9LGxbpDdgpAKDOu8
elcGAk7Cur7lTEqaGY4+4WZlpM7RGfcz4Z2mlXOSK8P8EkfT+OFq2qodjQh58rsCg/aQtWj82kE5
F78eUFe3MyfMry+xQ1a2NBWKTHhQcG6hXaFxLF1+UfTNyF0GX+0wil2Ie+SQBwybSdHcmG09PC5r
J74gpgxRBFrQ1DDyTIxjAS7cs3lLNsKo2WShtV2SuYYQIFSQWbuva81ocV2nUv4kZdHBdGhCu0kb
fCgNM9DJGjGIaV5/GDLjZxv20RbmBaELaXvCU8chQ+HkEpMpT4GJ/qMYTfx4Gp2lKAx/80Kbb0Lq
lGelddYh6hT0fI6aYbUHITLM9LEEa0/2TYA5MTN84zHLSF2ujSp/7A6ZINZEYyyxJfIcpUErV+bU
0GMwrQwjotAOfkelnPca0pZ5ly6I4YChx30xSNFtehM8iNNVa0QMw812y3Pd7ZPBaB7IOIjWZRi6
oKs5KaX4ZZZXa1kKaYiK90Qa0cabVwZfT7Eg2FZ7ImjtUzpRui1mLgV9lQ5962R8KBNYa79xCxZt
3nauOsMLUPMOwa1xDchjHf7Z5WWLcZVtHfMgx6F4cAXVd6vMbRbV+sFZVqqKbJuSifWuNPDmuDNT
tiscOMiWIj/A9Q6CWE8O6O9jE4YbYkp/LL9VNyxvL/WEJjwduVdEv+3VKI1t4nPXFrpeHUkxItFl
dD9UI1/M1m2f7I7bIPQDZryInTmND/UD3tQZmlHdjG48GkVm7+Vgxe9jjcgxzGL8qX2hb1WbFPcx
Q3AUita6tZ3/Q4Op+T7AJUbLIPq9zsWw6qsh3QG8By4z3zwDJRPGALykUanWQd4nT3Exh62i0sqs
unqsOyaAemo/ufoIVHPuDBOeuSncTF1a9L03aOTvmvDaYwGgjCY3OaFtAdlkdAJi0afhEhOfSAeN
o7fZsWn3HBY3hjNbcwJ3uC8vDSNKFFiTulbzJD4Xoj3EGFnPKuYoFCmpHVIjyrEzcODyKAXOmpVf
gxJ66lDXDxn4ayBgPFniRGZbwxUzw6aF67i2IrM8pjrI0yqCY584vnmbcPfiu4CWmTg8RJyicJHk
tx+VASmjyxLcsfNyX+rOL0CRznNjsSgYWTDPK0Gw27XOwgIt5lTmgY1BopSo8AqPcTbs3tHLJJAV
pGNEI9icde1p5bpleGlS3HqGnr5aYz38WlYAhlfFecDxu21L7oxRFt1GdAigG4Plv44GwmMx4uDx
s5NbkQYdR2rWrqSvkI+b5nQCpMSabKDYI6pm6NBW2IgUMKgnuI+zLL2ETTjB2BhRsqr+Xswmvgx3
2kZ3Cx7C06A29SVxwjF+pCCvhmv0p2ExteMfTjW2Ny/MnHUWW+kB3D4GabbVlYd1+Ela5dVDEGAO
uX6T6L/WGb6eHU9RP9C3Xo1lvw0cytrlFa8CmWPtx/u+RFmhxbB3UyY4lU69faW3iWFPoDl06c9s
i6oqjnk1/qZro9a53lVEYP6GDoyWsSNtwALxU7mat/UddFdM50uMUhlWflWzW/gE+KDu/E48q9gP
Q9jh6ZyCHwJGF0IDLqj+aSIG+0lgOtvlnTHcv16trCPfbSkGzLLFKgMkAKFQJ7kOYsCxZ4fFF5b4
gdb/wJkA2kkhswMMBXWOXclRaN57BQvtpubovl32Y/xTPAjOSnFokbNy61FbWsiym1/kfBrHYD6O
C6vB5FprCEcLG4vlQI7cyKXZJNZzWFrorkaL566jo57XPIDflbiFjd9dqxJNuQcLYIkkmCSl9USO
18EHKrIC88PkhWJBGvkDHTJvU3mYSjW+Y2vqfQBeeqZ0Cf+iCid4yJv+IBvtEcxrxPSrg08SIn7B
NURbFcBtoaXyOSK8D9NRRTBOkLbrpeDsgujBDdr6ouoSmR6CrONSpOa1iXhVhc/9+LBc65mLa7fv
C7g/0fBAl9Q5LyUqUGqkYLZx8UjEfeBO0zc0iSsSLADz947Ghjg7xZZ4Jqahcqs1mBM8vDQPeR9s
msF5MbmNnmQXWlfMAE+V0NtjZ+oXerXFukVwd5ogwKFf1Opza6nXUmXbwhqxeGetvLiG9SN3Bq6I
+QhlElaEMVs/Q2uoznW2zmocZ0rSjQQxQuUjAnin3XDKavduAVMh5mwUa+x8vFuddgG9GF5h+9FI
QPyPXs7C7GLgIQ0rXd4Qw3eoRGPtSHiLHFvrEiRlufnqEDAEc8Cg3aJGfw3HFChil9S3jPnutfLn
2O8fXIw5W5qnPQSTxExhTq9Gh3YdBQeIXbtFbFaqBhvpXVUY9l1cCSoxNp0LYwGFl3/uUaiiJk/m
dzbSKJb5i8l1uDd5726xzUiEWP12BNthVYl2TwzJ2+La3jocrPptWdqnpnkdiPueolh/GBD6rVMd
V2kxkfFqWeZT0cKZsonBBTubmCehtA83F29TKIJ3y2Xkm7WAelDXvKANKBvkNzYs7AdRlt8orIaL
TLty7xPuANWPNtEYAXHRRdcfjVquxhoX9phC7Pw64Gp5+EPjHn3LSndahXFtX+mBgg4dix+lSPrb
VJGuG9cB8nnzm9N16tqMaXDHqOhsjYTeWDs56l6e08uyffQupJyvxT+2J39vzqM5t6mT6/KvusVl
2uHIPPhBJ+9alb+1wgi/12hInaF/iCXyTYLC4RcCzOdJa/xedzPmg0XnD359T7W/4zt2FgfGWWsb
nvEXHugN5YcWzs55CLTgTPVDwAMql04/DlMVPlELRK/xRNVailcntQ8h2DfTtZtpZdBdVSRBrcdY
Hy69NSJvGNSAfq15qV0dUktfPmNIYY6A1xSahepfacFgca76Y+QDnFmuE0NhY2+GjV3GGWEKCSDw
zperOFYfSyklw+o9zH4svwntkv6cSZbEvn0OosnwWOKG6IrOek9zSd+EOoP3WGPgkCnIYHJOpaVt
NlyXBgKTXSAcXGyrlCDEC1mHf0qdUZwymug2hsVS9lB4uDoEPmeA9cj699whXdomsdbt9GHqnr4W
5sBeGybO4uXi0uCTJij2+xIHP/peUx31htMDoqb0Beu05IDbU42O3mSsOZKoa9Z+Y7a2Ur1PbZvo
P4MG9Lk1FL/t+TaMETHtSSYw2Wnb4BkGBvmelX/hhAWEq2PLDsrjYOHKS0vrLVG+9jq6HCwC3k20
B7H34HAUhR9nqI8pejWI4fk9NSwhoomzJ3eMKUsJezwsi6MgQv6NRMBXOx+SxyKwtUeAY4913tff
o5IxOxYwtdOxWnwP3QEhmSZCcFI9dSMisnkPR5d8jQBhjUuBNn/IAZyMaDaOSxkoDPKLkszsr1ow
gnLyylcXL8iyzUwRvGsp20pbxTkxBMvhtXGlIPmxgPXiN1svCdGPjUm+s2qGQhSQ2yX0Imkq65QP
9bOhFv+D0PF4YbjrivL8Xx+KlMQCwaDrjBL0AVWKQZ8iiC8kl+n72M5YnEeAs0BEN67P4HLZGKuR
DGZO49UhNT1jnTLL+yS+C2DZWIEbr4myUwHsRJex+kXkMmSwHFT7yOMtwwfTnwwx11c1qtrcC5no
0+OifJL52pkiVBF0pp0zbDBvbzbNqQtCDRIlGW8ZZ4jtJDLGVgXmhFAU8T6T9CDynMO/P7dVo97K
aU+194TY233n8Wg2KrqVYRfNnfZW/iCqlqc3qPBnNkEm0zp0iDSZWW/M5imqqmvVT9MDsG7AvAm+
8RCV1Ilppnxh3/E3nonkuPUs+iocGZbSx56ag5pDLG0x1gcbmgkNEawiubKHQ91j+SiSrjm3kxts
ZjsnptoB8nRGXgK6uPcq19p1Z9Mm5VqLv7XJyVvii7ByAu2JHChChcRsA3lWddp0LPK++NrhtQwp
bGPXOEUN/XO5mGobAlzUcf9Zoqsesy76SChRNyZNOBYE8y32A7hGvLTsrJvIFMH3EdhUYI7fWc8O
gVVFaxUL69lU00sChuBE+656RkPqn5aLL7XBWpUFwaWGZUBXR6una561ryJkViiFyTj9bcfJASYE
hsbhOrcKvyYSeGbhPOYqONaV1Dd+x0k4jKfmZkb1o2vm8VFXncMe76qrdMHfALol3X125Lt48TFZ
AN4w61Ua1elV+kh6IN9cwz5Xx+VtqDQE39agX5igMZd2TU4HREaDVqjXoS79vehTf71EtBUhBzRa
CC/woZw9DohgbTcWbi8qR0c64iDwhQQBKeP1xJwqzMWjsjP7t7CrW2uCSmlowG04d66p1Iw7x1Dn
mOccciPqXDXE2kvBkH6VDYgrYKde48K9l2ZHizGkBbb0UmEcBtld1kOwHbPuNxCrGaPZEMMU4IhC
RtUjtyaaLU26xz6nagf+FyMzE8Y3P/GjHX8kaSTzY7hi3Zv+tvY78xs1yO84pYuMBH4Ct0FhLkKN
zq7XqstSz311FsqfOYluT5UkK2i2sWupcV6ariYH4Ln56fTW7PXJ/tDYbFGhm9517MkPWC6y5VS0
rI6aVODNDLRby//FTknHJbEfp9J5W9KYJanQRzfGLgkCeEcx8Mow2uVFNJ0bbTjwGBWU8OVTI3SJ
nkmFmJmIP2J4hG8tRSluyvGEdO+MATe720TH3HU2++X3TS5I3jCS5cbPRH+3hRUiTSLQALC5WOUt
KTx2NIZPYVbcbSPAVJh6vFv1rMoV9UbYYbNVY5fvUV/0K0IjviOVx800ss8vd7RVWtfSJDtMm266
3tq/fT99xHzdsumXLj3Ec+F05hvx9E9YgGHd9k7HjAQcWBQ36NijrDxaY/QeN3l61OHJ3BofjRO7
xxHfKWhbQfeDeMGNspo/go7ck4vbcFXHpk5CDZ2o5S1cfpfVEVngU11cAkd0l+Vf0sZV99XxtNFz
Y5epH8gdRp9l0P4tM/0Ftop/zTnasS4xcli+w0KCFydwM1xF5R+S/4boCqdo2Ezk3qJHB1oe3hQ3
7p4EABRT84JmJ/GvCR3WEic1Eb9Q1jHZfUiEvzvoluZMD2pII6sPy1NOGQAdevskZDjtvm5PNXPw
K/irRdrF62V5R9FUXMxRledkiaJGgikvYf5ZOYH7Q+Ah3hUI5Q0iZUALxbs+MqJTlw7PBLa/So6U
SxmTJeN06zSU5dVOtSU1qBjMS9DlE2UM/04N5qXxWwKW+Yoo6L030Zx+HVMKj8BYwwv7eya4X+wm
+x4bSNntkLpRi2ATLsdXTL0eRwKn2zXJs6kRTlHOGK/ljssoh/HF06Yfq8eOgcB5lONHiGn7jo3J
uafJFB5rqcM9jodfhUiuoFaYK+jEaXCp6nQ4+WDhJL/l7UDd662Mzja+Ta64f+320jUuJiyZjmL3
VmeyerS5UtaGS5TG0jSXCdrxno0yTN1zyyGHzg1sD8Jb7Yf/OcrTmCNj/3tqr2FjFbd1z2CA6cHn
m2PlP35x/6j6b3/R/1eV6SZ2KNTHmPzxhLgKIVImiw0dlP7DqrrxUBbRiRCqcM+R6FJH5U2yjn5L
C/6nrWR+zDP1SGBW/2BVOmqtoLjMbrOEVX/vmdVw0MxHJJLFD3qx+sqTSgNNIPJjkoiLHkT6vipK
5wgax/gKlf/3j+E/1CfonWRUeVb//T/5/CMvQI6A/fuXT/9+DT9I0sn/NP85/9j//bZ//qG/7z/z
26/0s/4fv+kF93ye/uu3/NPD8tv/8ew2v5pf//TJNmsgbz62n9X49Fm3SbM8Bf6O+Tv/f7/4b5/L
o7yMxeff/vKRt9QxPJoK8+wv//jS8fff/iJ5i//9vz/8P742/4l/+8uajyBB/p+f+PxVN7zh9l+5
FHTKInZT17Udgnn7z/kr7l+lJ+AR6AZXjLBtSbxzlldNwA+ZfxWOKyyP4BfpGPocmFvn7fKlv9qW
wVVFwr1whGdw+f2fZ/ZPb+B/vaH/lrXpHYRHw+XHZen88+UKWslwdPD0lo3ngiS7f7lcRWAnQzki
yFIzt7rEQG4lW6zcmPJMxmh+NnhbVD5T2m7Jhn/x4zkCXGJCNLaxpOvkB/JdV+67Xs5C7mbjNxNx
PwqqmyxScnji5FjiypFGFW+TieFpacrPNFcvbR7CdipBmiXgpeyGFVdWIQ0wKXUQVclz7njTqakr
RIZ4lfug/C4kcJHR9tJ1rZ5Tw03WBNWtp1QWN2LcTdrqbYkyd1c06keJOGQdOv7F69UhKOQRxd+T
blkB+zMk7Fj7bLX8xeui+IBpZyMElEF/YjSkkvQ0hePPIi5/AHTHhRiLdN+SLSTpg20dlnsA7ih6
ZHiIp/R76QNUwX62iQqcNV3pIo4OAzxrw7rV6Ia6IxMy0keSg5e6iAntU5J6u04eKzzDeMFwoNU5
aea5PoER+E5PfVxxmjV2ZBZAHsR4O5XWPpvyEyT+taNbdG3KBJ15efLR5QNSVUAmk5oNQ0vx29Ib
bbYRJj4Ev9Yx6JmKG+2Dsr0JUa2Zboye5kzePE9OytmKDbPNoZVXdnx2aMwKXb8P0fTZZ4XHnMTf
Vd9wjL2gtAyYltnp9A48klZ0Hr2wW3yE/fjSu8OTqppXTRIR7xVTg5dD7RuBBWnoz5Wr59+HXh7H
ll5ZNeEQ9hMLx5eSey0q90FgvDlIRLa6pPnfBDXy9AHmi0E2JqKAiwHUINK7D5SZxQYpFUGYGSrD
ylN3L0AVG4aPqTRqbJzRhlPZjLfufqupnF+NABmb9iv1KDKjLmTDU+UG9yzXIINPO/yBPWh+R7T3
VjpvYUqqKcA5LJW1uFnZz9FEp0xE/R+NhNgeUdpUEmo2FD1AezROYVz4K/Kyx9w4DUP2FmRJuE96
/vxoZEASoB/os+aUSrzDbVvc9JC9CCIC7JyAEKMS24TrJMd8yDHco4/eGtBtfEO629aFgacGLCiD
TiZe9TKkATPVzrkyQfw9n58RGxNOycMz9kX9mz65c+5Nmv1aMIwKxqyzzSp3K2uU3AFmxrz6NjG3
3Nr1tG7s6r0AvJCiEm3M5FCY5pOsoNHlJ2ZxEC4cxu4BqUAYmXZVPD43MW5zK4zMrV8LqJ/Vzlbo
rcxY2xYh0RZxOTgbZ9dZVoSrWQN/neyccUDNZBKArmpd7uuq5TWpDTrQDOtyLXoErIdUvMoOtQNC
N2qwi3NOTNbphLS0SrX3XEbfaMWhmmmAcVn+DX47ZAqfdcKXd2NST/VYHBPCNztPn/DBioKhv6+T
ZHMLx+Z5cHyG1xpzXCvjRyILYcKKSYgd48+dYwYYTnea2GMu8nZ+kJ7oIIt9UPfefsgpwggCcptH
R3PJDXCSAxwje9cYiOAH4ny7Kq433EHG0YhJPoLhN+RYr7L4JR/UPrIR7WllMM8v6WoCl2468xh7
tCIdA+7Y5BFaN9FSLwcQVZ7HAsrfiIGaSjzrDug2yIIM1pU/Noc+Nd/d/odb53dOztcmasVTbSDE
Nfv4AxDX3SisbJMK0z11NvYN2YQ9wd6I5qkNdNapounPblGdqUOca2J4axQiD5oxtn/0sdvY3MUn
r+ArFp6NNDE5fyLxr0JjK0fR7gtkNdsu5M3siY7ZaDopFTmHx5UTjOwCqjKedZNiqtK05lcj+1Oi
Gzn6uKLekpc9xC966Vjfm5rXzVQxS1ALrd91nXMdI9CKC/koYq261bHABTOc8pIpxwTDfYh8SIS6
E55sr34SyCPJ/dJJncUuvjPxGBOfEh9COGGscxWjPaFrRyeTHEJjpIPY57Md0YjdY1Y/DwHwWC/n
DnY9GkGWiMN16jBhyelTEh/dIAxG20oQpPkzmSjbyRFcpb5xsaSJ+2f88KMPosLiH2ASvuG9wEHS
i3jjRvnet2vubGSQWBTKd0ms9yOoCLCbM7IqFiq+o5p6LRleWumu7gP7gCzjW+rYr0IrftrsZVtb
VGdzgtOewCrFXN6kdzy/vHidP0PeJsLclKk/CD37rWnt61gTASTcDJogs5+VMz2iYCKmhZNuQ4Np
bdQlaAhRfjenYN3qE0lmCkJVWj/p7oPtkls2SA+qXc4akxHGWBk4Z7yCtDznf3N0ZsttI1kQ/SJE
YC/gleBOSqJ2Wi8Iy2ph3wpV2L5+DuahHTPRbpkmlqrKm3nS7eVBwpvWdDWwdTV696WYHIikUuS8
GX2qpR4q+V4SYtjooP8Ykn6rEvEfMW8ml/HeKTMqjwkMJqjdzLhY5KC59hMWRWGPR8/2SVJ69BXk
GWtYRcJ5LPdebv2UwLn4D37d1nrxQrj5jfJ/57RCayrBm1JbWA/pibKUXxUEVMujs4KHWa7j2uHS
x6Ba65NRCmhYC7maKhtecX+8BF0PakvVR8e3n9yaJuvJ+NekmsKQsno3Zf6jwq/USd+zJUR18idU
Ef+3wL7iJ8zEf4op+CON7I5rUMWnGFZtj5PP9+adGQP5q+hNPXVRF8L5m5qDV+1I6vMUXRsNVTcU
xottrCTkDHwP1eTfRausvbE606ukeRYDhXozcmVX82WES/2kJJDEGlWUzdFL6QDDS8p/qTvA1rT3
bowmb8HvnKoEktdNBK0P4DYBjZpbp+6lSNpznI7fCgpYmbjD2aj8b5GuuJDxFeYlb21/upv5EGX5
cKvFADgKP0vfF9umx8Xo6vsYlzt03X9+MLCyAtKQIwZTRdIj7fjSyS9Alh5h9tXQZ3PezJshAOap
sjri37NYmMAwi7I/Dzkk3MblGjnh+Jp2GvJc6j1pXJa+dJ6GuX4qHG5BJwW6FGrWj+av1XgOAiZc
x24ed0ZgVRBI2n+duWhcVhMG67X/fHUbDw1tvZJ9JIo7zLXYztFVxodk5v+VfQG4MoQkqnLwzs0Q
DBiui+98bbn+Vzjzq1tl307Ok6fa96DRDZ7vhO2q9YIz/p/ZtFSKYgIjnDKXYb0JzYq71kZJavsz
qIP3wenzgwPbGiv1B7JsGgH3GvnlXCzxfxjDKFyf+3tl0ENMOeMRO+GDH9D/6QUVgSLRYe7S/W5e
vC9gSP9C9hne34a1bOuSFOOtsSnJ1EahJI9DEiaPLKzOOaVzGyIsd4Wtuel5K3imG9WkzR5rDV9H
ACPKW4cNVvOJEeAuO9b2hByyJ3UaDWn17sDv9gNmm4H/157lyVw5XtXA3WN64DR18ulP7gbGC79Y
/teM0B7ZjUQ4Xm54Jraz8+w1051Hc4fYpiKgBmdQ6PXWUt5wYLuEVu9lREOqp6Jm4Urz4Gv0H63h
njjxtQ3ZwxKVq/Yir98LI/w2zZaeQzGfqbc+hhi10dx5K3MxrG/VGf/cAjnc530tkVJ3ZiuWiEzS
JtlBHfxrEosHvMr4awreLK/8NHL/r6a8hnCC+d2nza0wCR6FI+Zk/9rPVHolqw3BNMRWQv6Jknp6
KfwyPtDnQVmfYdxkHotrRkEb2+Dlj3bbc8HYhrJTvHEss7RgU0nnlBeJBL3pW/MVVtdWWk5LYUj3
5KMM0qHKTV3SGdrGY9S6aKeuk40XC2zBxgrYMroQBKWw46irghtZVe7T+sTgtd2Eclk2a5EtWZZ/
iu8oCkfnvwnAwVQ4xmkJ1pd6+90SfqUF2XketXXXhIuoTc1Yw60r8HUSeAftePeSJRDaL3tviD6W
KIwrFagnGpsI/1D4caBcMqeyhE08npMlIIPfQXrT5jMhwOycx/VXjs+XeucZGXjk2DBVp9JKyT/Z
M6RSAb49ZSNF8h3ewAg2rGGjARFhTyxiHayM5baUZktMiX1wphpCRuRb9oSq/yty0704qmPqlYmj
dAPuoSJt9kqY/wYRKwpTrl0IUngsg7eSmpuT4+t9U8B3gc+HNawHKZE4T3M9jbQhM+418A11E311
isFKRCksjKJR4MsWT5kHxCDDTMNrLi4uZYL0RSxnY2e8m6syeXEaXJr43rZ2o57mgT0nTkjCpgaP
lsWHXNiXb7yq/G/pjWtaUKc2abIWOZGTgz0F1FhDeGdjuQ0BvNM7hEclbFdHNHUHdZihxIKJnfWx
bhOYyJIm6rdBJvg5+gzOUI/Ro4ZdSZ/asGc4VUb55HEoJaRPk3ZG71lAzQCFXChVX6ht61JdsbY+
KTUZn+mQP7ShfvbD4HWW88cCQ2onkowwOtKmYAH3hktXaCqkYn+NXe763BYvXqswArTQiAt1h43z
5U2Bu5376+AV+tabHLRqVIBtm5qQmgN9TKpkr3p16iZOGDZa2Yu2x+Lgcb7BSLEcJwvjeO6DgOlm
UWOiVlHQcTBQTVvf+Bmxn35luJCPiV/Ifd3Jm6OapwIyAyd17GuhaO71sl+wnbFBbsHkYY0zGMlu
GYvgbQfRzL2Y291W5hXfuFojmOR3SrNPP5y2DrFNDclemM6zGVyWhr91DI+IDy/Yj1u13rN/eC3r
kJusrn2UgbLZNXHAgKyN9Ws8aIKhWXl15/jalGP1LqAEoSsYXOu8Ysp0lMD5YF75/r5xepo/U9io
ixyKfZGZtA+nPQ5vYiUGVot85Chm9fYptMY3zNSkh73sFd0IH4UGNQb792jgXNuxB/vy3IQ2HlBA
Jt/4rrNZtiom+7yuUeRqwHO0mIxG4tMFhQtXqLVqjrjx8MKk7aVbUvVAUvllpkHdmiYORTk/ri0h
pQXVR8dka1d72PZz3Nwg1JcuqmdHbTJZfg4GI2rPCftdO85Roy2WjSVbV935KNPyVGLYm708ubT4
etLMT6+NTLyHcLY5nlLM43R4oFmcqgCn25Izhi4mhOol/qPpY7WG+KNMMdsWutz5qQXtG1CxSdlL
HdD9FXvlV4uhJ1U+BIPgEDfGo0ICO/aLQw2Xy5ofxAZW3WF+cgX54bpmON+/IqXExzoBL0cyE74/
EK6MvcCBXP7BDSsMLOk2FnzRGmTP2BY83Nw3vs+dIBiH9G2/mUC3cDp0nvp5uebufLdliXWrB3LF
MFR4zsWKV/4GDUhTrvZMqSGM1jC+qbquUhj5GV+QX5KGW52gglzzSc9dQZehw63LQ9PJf1OnDOpg
k5/QoYWX/E/ZnibRt8d46ljF1maWRF8cly8/cAQsujtmGMqDpddSmVuAnBO/RU6CePBAbWFT6Qhk
yVtRWTet4fF35wAa2WZkX7hdd6+GxZV1u4+G69HmkvHb+mHdHF5QtZfrRpmB0mWeR4R+KmlKQdH9
QKuIOf2Bf/Y0isVnMQJe7kxPZKepS8KqZcieuFIAFT+QbGgm/Hijd5dz/1dQgMK623yVCCUcp8Ka
wolx7xWTPmC8JKOfTxeLygz0L/d7aPW5X+Serr6f1sjxPOCYqVPzXKhi30t4YY1Hm9rS1H/tiNhr
eunB8OlpOBY27+GYo4jFTGzPk8q/ZzhBJGZvOtl/AtjWwQu/5Mg9r4tCcVaWdxkHV+bifKSlfceO
BlcP26blTWwXzJsSHDppi2Ki6mwH5uVWI8S5hDv9xBCftFlLvwdC+j5BLNyQanzXNIDt8oCCCFDq
wP+Dlc2QHGQwTScb+MixCVuKDxn2w1psMHq+l4vhQ7zy1xqM8jpkCuq2l9nPQ+1Yz4v7Diduw9FY
RTrrvkqXzY2Scld5TvNYGfV/2E9vGShC6CrS22n9z3H9fM3xZCSdCvPSB3TL1uPWWNZBK/nXc9y5
iKUzhqHBU+xNoB8fc2Bzi2EQuVvCC87E4R2+iT4G0LRg+TsOkWdj2S1Y+bi1VhKZ1fxtq0ZtuACU
p5VsiBGMT2WTFUeGR4AJBJmjVtM37XhnRqXxo0/TIfSw5akUBNGIqu95j56kXVknWuD/dpo2RLAl
yTFrKa/xbA5kHm5JKBOHdHTL2+oNA9zUPLJ6FaCUyU+xiWO7ktRbPE0gEOZxa+XmOe8odQIDPkbV
mH2D4blPgkM0CPtLqwk8TCL7DYgCYDjam11KEU+X3cNqoffXgKlmV/Fj5UIXX8KsQIxhI1mXnori
+L8W9uLO8rKIJYJnkQThTsSNu8mnbodJC3t9VnEqqegIGpyWrjNGoLyCXlKRcCxPUsAcgf1dWX2N
VBoJA5mQHgyqwycHS7u1Tdiv5xCXNhAxxp1cLlWJU7ci5Q6tl7Gyfyvbfp/bhqDLvX9qgNNEowIK
6aBpAOwUZyII+NeTZTfryd502kd+7WdJbqvi/TfQHF3PfMTEC6hQtSk7G0GTrhAUo4jpwByzRx/i
S2xldEJR4oz16oRV6ymoKVrmXFOH8dZz4Mua9RGSNyP5BYcKVTT1dG9GmmSzilM/llbMmCzugkPN
zuAQYZA4bYz45EsCLAAXVz1F77LW+oTtvou78qdkL3t2COEnVsLVB+dSmZ7Y5ErAtYzNvYn7CrvV
xk4CHN1hl9FiW6EdNBZ0nkztjZjSh6ron+cFX4lwJ/dZUf/Y5/itnVpTq86BsIzZt/OnLVdFiQYS
FrjD+WqmDpA0vANp2j3PLVpekDYPZladndlB6CoIx0KV4Blo0vee5tk/NYSDQLsc12iwgSeSHkMX
IWIZsq8ce9yekpoHV/Y0H0Bi2yIOHM2A7o5pujZp9Tr2RbbtzfwdLzmkSifsntWoYHqaGzaIOCWT
7qmoinHTdeoNrvgcjfh3N+Psf8A3YHtgUeIhcKdiJ3zFYPvt6erXIQt/ImtGUdmdi6R7N44Sjh1g
IJJT6IzUnXu3kv8o7xr/YDjrIU2PkcTzXrA1paWHbGZYvmWxQeLbZDNmY2EJ+u7ZSzmuJcWLwSgn
6hhqW7588tMFdwF+vc495vjltoVhnEils/SWJvdtPnPyBlzQlO1VeYQQTYs8v3fxZf2DNMUZAVT3
XFQuomJIRtIqFCuh85S6ctrGITG/sqq/so4PTk9Y1CgeqTRktuw5vrsdDPE1hX28BWmRIBZMJnhY
e9q1jsUlrwbc2in9Hwn5cb7ZRxdtbqvb4cFLuj96zoCJh+13TWwuMpT4aj0kCXhN1MsvsOAhMkUh
Dwr7//g85rzHNBpvaxvyX2jTemh0L01K2rwhW7w1Q5cd45RfpGf8cDbyKEbErDewhnrsR/fpcMtt
dv4GcORXcPRR5uOLCjiaKNnoN+0CmkzKn3ysqCudF5Q+ezg31TEf2MhTbknrBmmyV78qn11VPvhU
mZy8ivhVGJfEOEyb+F/nkqybaWL3vWpts2P4ZhqfYrQmNvgdtOnkJxm++f7lhazExeYkt+1Jx5Gz
qYaD58TyoxrKR6PtzUsJXZrjIZKBjzW+9US/rZ05AKk0PAMOrk/BbD0HZRFwCGQTEeC7bWVnREYD
qyw20NClR+9Hppx91eQkiZ2CUGnLshojMRrHsiVTjgesiCSDI7brHFpVMf03xAmeptR8V9O+19V5
boP8zASIOMIEH2QOx0dLvM+8GgsxPgfYkzfOVFqR3ZGHWajIXAGlBan2Vb1Y7D3p9/ngM9QLTTGc
5WC+jTaAkkxSyhOH1WuMAQMaLGBOQDhUwlNK0DWtoBLWWdt6L3QckJeZ5aObudnV8+IPjpMZwbEG
r6Q5stRLfKLZisAbn5GnW37GLLa6DqaLTX8gl4cUi2ZBDXnaN/28LmkKrXSgNwdk4A9e6W4PFvLQ
TCaRhAyg1JwbV/apP5U7pwfPDuGkxxefq9nFEjmwaRB7ElLxeCJnuk4k6Kte74Sm1m2embxSY+dj
q0AxkaBLOw3YjgdcxSR2nYz6gonNIaWIRDS1jvdBAFQbyk214lqKZXqHXjzjsBxIyeb9cOxmEoSS
RycqaAQhBW3y/G1i4X76AfORLB/TjaD48vBrjybhHiM2Ij8s8kgf7UIgh0Mgaxf/hm8fM6FnRHKg
/nta3K9MoyE4KdDGLORFBmAxCvCqbEzBP87SX/xw/iOodmx6lzJh3mZTs5oyeQWYVFOZCgI38vlR
Gv8Mb+g5/BbpsdSq3hmzb/FXt3wEI+x9hqazEdvIprYdsXVrDu2YmBxKwNuHnGB46ld/JqpdlqXB
ZVGzFAbk9WaP38e4948zDTAYBMV9nTHwl0GlNBWOMYHfEbkG1bVYSQ+lJ9km5M3nBE5824z0m1tB
c9Ih7LfAPvpzdonF8phmsF4t7LV76nG9qGhGPJcGBxobLGvEYENvOn/IQKoZV8Ie5bbWdLxNe+UJ
/Sooph7q7NOJp3Ln4pScPNz8o6t3qmdzXpKQuAS5OgwU68Jpyh8CEXaoi1DvBB41XK6oGoE9fdbK
a04WkdBt37jP8M020BMIE4sSjZdJUpqA7g4NurUq1e2MkVTfJH+bbPhK84JvYyTYXXdWBssJjFUG
PEhAEe8rvKwGVW28faafzCxuSlWU97YOcl0sLsnEEkn75qHzjNe5oiBjWKfukjsZLyMGXVJ5PSgt
MuNI3d5IbSVHX3NbOnFFqpfNANUKZ0JVwdV7RKN4LsXSg0Mxrr5f6QNxRXob0qPdm5JsWZqsx2/w
GMOVnVJ/5LQHQjo27jh3HpOcQeViL7QWGNAISWrtiK5yyi5Gjk6TBuhIwTct0a/pwjkK83TCdxzV
E57loG7eEXNpeCOOD8MJyzBMXNORTPYmUIFF9cEqI/izNLgMjbhpTvVPE3jjPo3bC4MG8GUT9Xkt
dRunODlXhQcDrnb3Ae6OnYWeBVEN6it1JEda9NjFjpVCIwoqWlsHKGB/cuqrK8DsD0Z1woieHdrM
n3cBdW544i4F4fMN4fB0F/ZEtGKnuA0YhhFCNYMAKz11o3UkgMrZrKokJcMUlJjZHC1YLrfEKdqt
6BkbMT4/d45nQM4J1+754ehb915guBxWN6LUl8HLy63E3XjE/Hgfwr1q+RsNmTAjxb4z1RLTahp+
DLL8z69qY2+5LWZRUZ9BgmCRxdxpY/soJEs12uE916+EF71jO4PIEsA5uC5ocl17SltAUoT06J29
eQK9yylwSvqG17DpRT4s22ztKvGDg4kyx5VN4x0WRxpQrfoP+cDqiFy60bmBZSQdb4Y3culSybHi
K3bF6+ymR9fLTtAriFwhcGb7ttVbvNZn3dvg2yFJBecSpDT6NPLmMHJPsFWs8Dxm4suVHGjDvV+d
ma3BBqXHApkgA7fT0rC8RfbZpo5xpzRmlRWWO1z478aB++W3FBIithrZSH+Se0997paEnbSGOdHN
HmuK/ged8bthv4aS5b7pTtKDnlS/U1XuNQmVVWXttXh0258uxt1pVuM5XPlaSD2fqJtR7wzM74ls
xXb5CHcnYFC5XJi98Lyz0yiH+2Cu3KXyeb0wBB63aP9/2dXgMPVOelLEo7v3DDgw/IH5rNPwhhgf
EUwYtnnOolWKq+zmm1MpahlyYPd6+rAwvuJi8D9wZnQMujHXrgWn5vTgpcMLyPn3TIlrnY0vK5p5
Ji8YNv0Lm71dSpwqMukbZ9n6zUZKEkplv8bqu0nCKDX/S+Y3lAgQMQAqoz4jqtBdvNB7DHiJEUBQ
6YGpFg0NzEA5CKRv6DOa9oMiMpd4y3sbeaKMX/OE/9G189qFyGSlMvU3B6Hhqspwx4DgVrf2qZ/y
b69yIEpmAHiq+BVs0sEqEZbFRFR3jNmBFK8z1Xdbw4tJhI3seVKEBENimaXVAgO48r8CJ0OXFmfZ
MUFx6NxKAv8ElRdWEy3yKoY73wH5E96/cSa/VRrdTnkQAhVHzr1sjiS7eOGTXbV9brPcr24OxtOl
wOqZqPCeVstH5hnH1J6+MtM69z0ie4cotLXoQ0R9oUahKDxgHIEm99LtTGnSlgwnwdXlFz/4q5nd
O96LFa/z6Ah1M2c07t4t4ZdT1Wpn31YKUVg/Dc4wE12lOtfSBzcZf9HW3nj4GLxpEKGQbEjd3smw
3ybuMUATvJFRG+PfPqVCuB/kpZuDp9TPXmyXr0UCMIgrnoi0GAglpGy9guI3c82TLF9Sl31noqsv
hXUE/MyfLiifZOJEVH7vLSMljUnhH7m4lIWO/bRnsdCoptyxjBFk5Am00Mk9/AzKYR/cSorxciZf
FEdc7YDSiN4dMfNiQQW7v1m/EVfcV353j0cVXBiFzT7ckGSwHzQ2VL5oohYpz6Rp0VJQVs8lb3im
ciYrgf3js+cAgwcvxjnEnaWxn7EP12XMeJXzGHusnY2SF5kyxPMaspBYmGk3vZ7f+zJ9sxok8Brk
SpQ51BEA/6gXNWxWsLSdhzfLKYedmvUVg/Nn7hMIBW2LHmLc2I5v8QbCyUk92iIVr6Yp/pP2y/uA
UMfcFYLB0P5KB9yhNGlK8db6Phm1cXwrPIE27rEbKROWQ1Hz441/3UMjmr1U0PoykpHM/snb2J0a
MWjUT80MVa0n7hi47Zftwf70l+CHuNvBJPTklPQdLELirV61uwU2AzjVUIZPiUvwoNNP2gBxbC7W
B3Z8F20EcK0D9nWFIWyV07W0DUIxXG2ffo3L2p5Pac9qt1hsTQN545Iw+gDJS/0pIoQHbpW9EiRz
agiZdl78Tn7l/JyjmpmkqJq2zsDzEVBeEw1as24cOIOPtZ/ZV87yTEVCzv4D4/9+mR5iVhEAMvda
NCzEo/k3HOfHPKMWMS5KNjFNZh7byTiyGzQ34aQV/qnkIntqiQSluDvLokM5zfdVEPsHtARyC3H9
1Gr8gf1D1Q0E+QIsHNSqB6u2PnU/qKvDFtwVj6vMvu2JFJpTwqId+1vJ5wXXi+g+WeruOdmnoD3v
VNopbqS/CxUBk4khOkuyIBJr6z310L5i7fAdVBVSVNFssoFW83cYg40KbfMfzMUqCvwZGCyhDEAy
AHI1re9L+DWndgckmYzu22DnYi/rE9V5pxrFJvCK13rJ0pPRtQ+4dcA02ymSb9ChJp6CkKxtldA2
2tfek6i8hZPeuk746q/Ts81JBV/d+rPwrpHlgQU5B1jlu/6ApstkAglRG+6ebbOPKyMLdhZ1aQwT
HjyE4qhStFvE+NgQduKAN4VRkAwY8YT16ciA3LD/tWnzUzDHyQM+iDnwODUenBb7b2dZVEd2xVtm
Ni8DqIaSmoE3zyalrYsvCTiAJyj8G/BcW6l29kPv/ZZUcRt+92k25rufwLCvsVJmGBGu+AnYoRnJ
e5g3ry4db1iIeP5B/1BBCzsKUN+NNe7d4SjDYpsCi8J4EcRc9cwRek+R15Y3+2o6SphUOFjI2VVI
7wZHlqeRVyVgaLJ+BgYvoCdrlQGuBg6LykgPgwdaA2cStZKoS0ZKttwDNdOQ7WRpSWJNwZ5C/6q4
wLpSG91W+Q4vHAoKhivHNDbdspRRQk/PYprfTBC/qdPitAhu9OJl6Uftl9ZJ+nO999ZMvAo766G3
+qOZqG9rBsCyBCM0CUVjHGzwD4rrN4zLoxJP3RTEIQZa/Z6bTcpKM2TGiUdjlvweU3Z/IMMgk+rG
OTcmqzlHpBbS2db3zJeyTlMWevunroV9rhRFYGDMrB0Mjp/cyA+uP4VEKpP/2mqkoqPSv6C3Hp2F
3no3tHEI1ox5gRaw5wpxs5X5pWprLvO4TQMzeGASXG1L023gapsHeKflsUI4QlmWoF6CW2KD1Pv/
L41YINL0M6YY/02hDzUoKPvSnVkB5w72rHZvkgFzlHVUu5idf06r5CSM/HOxKFwjCtzA0INoP7Q2
kSv7Dr7fOjISShQxqyWYnQerXcy9JyAVY8kH7fEiOkZSdNVRVtuOJZHMVs3bPAz+MVl5J6OFXNgC
uDSCh7pqyQXJJXwwZfXcZ4RFLYc6V9bUIwQJ42woqjlatvcAO0EP9DTYEOw8ckObG7fsfyVQcju+
JAhWQrbvHZp1BMvOr+X7EBTPou/Lo+vOXyQmqbQTAxK6A1xyGr9Bss7cOyQ8YjA93JrqKuxHmlXu
Xhbe4lxvkefPK6eg6tVDVjvEtdQFrxKgjIrzJw3xqX/nW7h2pv+NmfDscO7mcEgNKPjHkvY4Anhw
tkfjdw78Dtw79T8TFsNkpPmjt6jgtYFqpW2ytX161Vx+SQ3vNzStHyMbZhbwJuZma/8UecERIvC/
2xCtZWyZjjTxe6Bh+5CMTQAnXyAwBDzzhd4NpjoVc/uZsOepbY5JQ4nhqT8EU3khyUYsrck9qql3
vjA+Yu07D8+Dkz/3ONUTbfERAnrVwadF2Kx/unK1QmDU3g9+/ybj5dnKNcPZET2lpYiR9ry3Lhl+
FqNhFYmTLAptFDh6Yroyf9UCq5CPzKzzk4E4CgPI+6UE+sELGkkFpniGFXZOOvFoBcBUdpImPlew
mbcMe6cS6nITifOVRDa+huBRDsNG10O5K91MYCjn7O7E2yLRLAFvBduzTW7Fq6Rwx02PxfFEPJOi
7nQG5sKE8KOrl/cUPiLTAsanrRW+tKJ/yTGHaSd7xKj5RMKSCiInJqFl3831mNougxXldJVnMRPY
Mp4vUK0+AaI9EM4hSIemxoHURoaKn21fv6cBLO6ahmBf5cbqDzuPxnc89gfMkk0U4AA79qFP7YL8
yoYJ8if+IRzUScbLL2eTqcKRx4cDBMAb+mPiV8/v73FWHuEH4H2L7wBmdrI1tlVYXeOCE3lORiFq
MVNkLXzWUmzmmLmNKzjYawx6u8xTW3vGWOdgRhYWT7oorXs3XQa2WFrm92y1ZzcLkJlnOxzNrW8y
4+8YC1btqcrHpyxocLrYz15ivKNL+eepyh6LMaE0ViEukC7a0fQkiga3MguE0Wf/gpFBpzC4od01
s+UadWRCdoyqOvx14f+rNvzB+J8/mAMRTnCCg8EohSosSrnnn7S0eSWm/TGT8uycdWZxguh5mZRt
xeSMWnZTj+9+sVCT2Q5fpsFo3Dk7dnwn5/Gb4KjBMnBp/CFA33eOfesPUTzIc58G7dGY4UWBLviT
9W9a2zcCaKsfXUfrfY9yhO5qwh7LOL+x7ai86luxVu1E7ZzIbfhwyPDUQTW9Ab+3GO0Wl2GGISDC
9IAH+FE1ThfxYiF2co0X9nB2n2Q7N+VoksgYWFB5MeMGNn8luA/rlDIps4k3oe+AD3Eppsa0DPWB
kXiG2f5c+xydsd4edcVcKK5PUDk/pZX/FvHXbFKrUMOQilIq6730F/Ins6SBxk/S4lEs+i+T9P6G
dr96vVZPS1Bvs7zsb81PzgDqOsjHjrzbgcade2jmHRs/99skIbppfCC1hfviDe0LvUmfdZW7l7EC
AsW0hYeCqVWEgB5CnANT2grBjVsBz+wrN9w6Nqofgc8NjyrIBdBc2BKRAVhkAFBQbLcNMg829ax+
2fJhTCs0JSIknFnRxS1zvGNZEtHqNULISIn2lHCbJZbKDyL+NCssA06vfXwj075aYlqD4hIDc0hj
5SrLmIqPruOzTRYXVxTsdapR2sitqLpqQMkE2jAuqaTdTNXqmloAo5MqhkUv0zenxaDkdHm4CXGQ
HfSMams3JidW8otKUy3HU/kVJMBOPSgfJsfWpML4n4E6eyAE/Clz/qghG3+DwYo32vIBbbIDdhWq
cFAsgP8UzUcd3kcwfh9LZZJnlt1trHpEM8jPh5T2T8IbijJQ2R2otzrXyP5wz9kO9/SDqyI/mcEg
aMr9B+egY7kBdF8bqQF+e5dO4DmhkW3SXDdP/gRUEyfMVlUGyOqxo1HjeaSH5rAI9TOMQJmVtr4S
d/wGWC/QPBQWFhvlD9HFMdQ3bvon1SZXv3T+FtqbdhMWoIjMK7tZ0z/nYHwhrd2TQf5UvnNfuzLq
2aI3U0nM5t5tHui1Xiyg5xasBrsmObV8DkVb7aHfXrQM7nWGlJ+nnKvH4sNzPXyBrXyvPZ1uQqIw
PQrf2ZH1ayV7+OLdsoPH/Ifv19uYkEc4JPEbcx8naVIepmCNCcmlwTu47joTRlpbpKxjZYkeYsly
pqT3hTO6PdBJH7BJu4KqCOCgW49YkSF7MFIYZdiejS64VCKuDok/f+UFLVC2GZCpZ7XrArL4+PA2
8C4uud1PB+8dk7TGPvRHFCjG7dTtx2toFCthrsUX10orGu21Sj4NA7LIxi7t3X9hOBwcn6a5OOa2
6MDrbZY0/JzqeKeKeBVOfBLUSh0kiLe58N5dwKSEbK0iIvkGhiNNroCw2EcbnHEzz0M/60LOkDgP
s4pu5ckzvqzWa7cO2nxE5PwST/lLkcnsSoD+P4wjf8mE33Xoo/FB0bPBp8Tl21TUao/s7bM6d9cp
rHlnc4NsfN6pLEQy0eIwQMkvqbuvjOF7pE8SZ+n8SQqNAAj4r11rIgBYtBvx3mZslZHKKmmJaALc
Xebgcap2IR9hm2x3nRpuS1y+SGtBqy8JiHVhaES9xtYwdi6YrTEEaYSzDf5kcm3qgQ+L/iD5oSUm
si35RTj/3UwTK/h0I1sAVMU7K5HzUQns9kT7V/8VGX5t5i+6RcL64zdDBYqGGX5n8Fd3Pfuva893
K1vRAYAuSD5z0hSMldD+GE2FqxOMFwEWJVSwvKTfS0G3EgmANhdA1eQpOs+KnhelAjiZjxdnLssN
5Pwdprv/8j4521IUJ7/+k5Jee/Ss5lHXOfz/EUJkxXmTTYB1smC9WA842rl/zdF67hIh0dta/hEp
ZA4Wdkez/I1Wivl8WuefklJWVQsEQBwYTfsc6BLnSqNeIIM+aH8884w0BzR/daqZ6auHMMkPcjA+
nN75yBaYTkYS7Ix02LXBUu98f0y2E4DdA+cCUuGpvJFKi7fGEFzqypiI7MbX8gXXth9VJPENyH+t
xRkeYUYSpaKXjNnc25D1rI1zVNYTRS+O2rNufM4XT1Q/ojfmDZPyehua0Ben2M3I59HXoKsUBx3n
ysQny6/jejN6XcrD4b74PhUK7bWtCT/y6uZ8oLlZvAnqoQWKB1MC+Z7/MXcmzZEyYXf9RTgYEhK2
NQ9SlaTS1NoQUktiniET+PU+9OcvPIS9sTfeKNRvv62hCpJnuPdcx8fZxp4d0Va4Ir2Hi8zDQhCb
Ddxyp3HWFUPJmsMRcQQDbu5YtPhXXOnTsQzyp1QOWx6mH+ZgrZRS7PISVm7tEN7PlX4oJvXluN6r
lw4fLlN6lubDg/K3c0vhKJivjkuquwVfUA6g+iI5r2ojJHerjL+kaA6IIyWZwR7iZuW/Oxl4sbm8
WaIZ8Vz4t4ZYmfVMbEPXZPxOZfxRB1W0K3LxpOP8BBn3u9T+rQ2qEMnWySCJYDPk3LoTErQ0YuZu
9MC39AgunJFGxYAtKDmncanytqRfKnIX1aC5dFD1Lomofw2ai153xyniCZL6JZ54TYhkU4DF9Ubr
6LHVX8VCwDvJYLz28jmTCIRa9G6V5h0vmf2DTMTBV0FZTjGSMJhB8FWORPEGnwSt4ImtMwi6oJ9j
ggw3sjV+Gsv19rb0uKowwgsH+XGeGBe7DpkmonJaA3H0t7FVHefIvykIRpwc/bc3MkhzU3sDZCxk
8h27e9CTz50T7yPIUqw11VYxXSx7C5w/I551IzEIcdwB1q+9P4YmgzTOfi1d/0pbzDt9I3pa7qdw
LlZF7x8shRZYWRBPZJVeQRjw7GZ7lV4Tred9CDpAO2KbNbDASMhYaBtyl/VIXXJp3yGHd1eL4FE3
7adX+J91HKKPDtMXm3uj4FpmPkvh3Rc5CiYPkK8mh622UVVw+IQBD8WFaZPYemsj6G3DHzEUF5k6
NHoD72BnXDWyg8BJ91kQThemgXg30RwTHUk6ssFst+wzNkjs9IPJl7uKzfFchP3BcOsn8i6q7bK2
IrJZ3KTCMAls7Utwp++murgMLZolazY/JrTmG4Xww0UgSd8L2oYY8alqVq61tJCjOCWD9ekzibon
HnyjHUBUHAGbMGbig/4lGBKB7MokhLHJ7xHGJat+yKd1Npl084tyOfWHtWGPIHrY8fih/W7V/YsP
iWMVsf5eRfMbhqdLrSY+92LU2R0PANKR+3WbheRCpf61sEC4YeWGAA62zrUZyPnLDdCVcBYc1Nqz
YODEXB1TyKpfaMShhdPMmUhZ0b4kdY4ttDGzvXYRx4sAhhzqWfvBiOa/pJPA9yvDZp8l01Z0+gvC
Xc/Wl5FDTOB0WhPSGukCaJ+GtzmGznNimFQx5nrUTXwhSILU3MYK1m5kP1mPoJ3MNdLxrzIctoSZ
AN1AXI4aA9FNfKcIxUG1HlGwD/1+HcfcQ9M8fsKhf9dW6G+18Ui7SwAJ+Da2nX1JeITYdjlrvnzC
2S2jFOSbW25TFRCEvAzjO7jXzAPfCewwaWL7+5qIWu7eEYlovzhy29OEIhIjVkOLkpq3LLmbQ8kG
yDIIrp8kEwdEcevQj37IEb4bSZBbCUqSHc0G69nHuswfhN9h7vAcwt+6S4d2FzEAfRahZTGZ0atm
ictxNRlyBPGtC1Kxt447GdhU42OYcsMFSZDRKOVbd2ima732qvQQRtJYN3DowH/MECpM895tzPpo
pi1L/hhCYDXYP3NDcE+k2KSEpgUZs5FQqc0t/j1z3xAps4GRg8xWvju16599ND5ryyT+JyXBdG1F
40Yz80L741AaYO3s8WRg2ytJaYAs0Q826uL0TZlpt7blyOvGhDZM3omdrNYzzxmmZk89JutiZHgN
zkIhDsKK77Dpo0/3/aPl9n+U5LGUht2pCORn38lXenGgg17522CSwHMt1nB/W7QW4j4c+l+vbNLz
QLRS6cHywlzC5FWIvdW2G7g+d2rK9H1TY1qZMvUAuomYLsMgx0hhIoEzcy1BjDMQpj/maWJssM2G
KGOsTd/HyDWsZtvyCqCTvaRmg71Xc+dk9uyuqs4/KpKQVj0S/g3DQHw/E+/lbCJY7LXiTilQXCAU
gP+UrpLG4nTweqYb0UlM4g7e6qYNSQMrGbpt47whAGz54OrxGFpufJSp+6PiGoUy4qqc6JmDjuf4
THPL86SADmrNzmuVpeyxPZ4q8D25g2cP3gdYXwzyt1CUvx6jZMSUxXPt/BGa6mtsTGcXgRJbFU2n
To1FZTgV6VoEslhYhd/R1OxawCiHqO+CHfntfDcpiy0oYMDekcfvOrMYMkPubKK7Uoxs4KfYvHQb
kFo7M9Kvg4j56ew8O1a5TDC5dCgBevfBU960U2nw18AVviXGbqSOSMnQTvKvusXRZsiKQVNo7WIy
iM+TRiYn4KyRLdSBXrSHbUR64QbfubrFcX36LVTJM5z/S1ZIjZBofTWw+/zm2ZZDsDIFDSS9/Uem
p19k7wzgoFkzwCfYxgP9RgNUc+Eleb4WlvsnGvLvOcZ8X5bWB/mQGz8jDzc3eeomapX1aHXqdL63
tHWFCl8i8txUPdjBqLJ3UwSn2j0x4LL2jUkVFor403ear8zwo61uUaWTbzNo5zpG+FIQeJGijcxv
ZUOpW9eO91Hm8sBFfq7Gpjy5YgLzTR4442u1zTR4uIW6tR18BC+9+xrAwth6VWNsNUKIFNjkHlEB
eV1heA0S4zTGobeV8/Dup+xgMgMJc4364w1SLxJDiE8oGLnbOnkX9CiirRlhopcU317UPTENRo+S
8b5pph+RWSOxusuiJR5M2ufayJ5Rvb6rZKHTtxE+/ooBYUW3sjY4JQd4cJsOvJrGMsyrTeMNwcJz
GrUnPwKbonQuo8331En9bioe7WNe75YXquewofl+cUdFdABgD/4R4YWmJdeza8G6jy2sCa5+bgei
q6FibTlgEfyMeDisLoHLFq4o8DBrAmFZVxAU11g8SEMx62E/9sFfEoO/pYUmr3HAzjqJ2pRu+FSG
XkCLHz6XEh6wJoe4J1TCiYanxlpCC2zmpZZ7LO2xP6UoSmRmGWdpJyAei/XEk2uwCkWP7J/hDqxZ
H528ZsqYrAjIzBJ6b3C0IAIm0RRtuqg6Nz71Ygh2b21k5YcZBd/dkmBV9MSQ+gNaqimab/MosM2G
hQ/RYNfWEbGF+J5WOvuIaoSWOU/BrE1fAkIDZYMQZxpQ+hKpiKN/cim8xh7zoAmJg6ZkM7fFvUnr
M6IGs9r6XGaoumIfeXyAuqUtmBn7nSKSRO/1kiCc4hl2vGRej21xbWTzbZeYGkasTZxkGRG2rnmQ
CbnrTbzEXBpcr8k0l6c8dijP52lYM9HKzzPb9x7tol858y7S98on8Jf0p4Mgb+ZAe3UjNeYQDuWy
8mIyoaNfz8PS2xGpSNHnvZagnlfT2KLkCA32brmdbRFn41KOrd2gU2MXcoULY3rwMOFkBiP70Xul
cMVW5r7KoBa0s8wfFbv+GLUKG1XCMxurEZehwX/vTc4hSto1w257V5Rzuo9MQrVLTIWrIWTuGlgu
XkJ99GvvNY3zR/c0hFw5pW3e5fLECYK5tz5FzJJuUd/it8wwYwxjc5VWxnlV3PGa7doGlYCZpMwB
1Zb+GLG9QSiatWzqoJ59lGo+EOOX8xIhOLKzFweVNCqzvVYaf3AyszHPHY6pwrwOvSdRSQcv3LnJ
TfSegQJixn+GGSmaYqJUAuu5YDtHQEb81VkoeYqXKMNoYvrBRke4QFUu71XgfgUxE5BsI+X4UIj8
C3XUKreaX+LkUXZ4482qg5Pu4N+gmaQMh/JQ4YFfjxmHbeFgqQ4TLElJgjoaNZgm9dHxXedQYGFE
qa4PdgJbtEWNjrievViKBcC2PcI7p9c+TH7dUrzCoblz0spn9z2ThhfCvCbTKBaROht9RooTNuKp
/2Scoa9dPVuHkoLe5Bd4iCk6oQAMaKMjH1KMs+llYB4c/9GzU6ZRmfk7jvLQzmShGoDTVm2q35su
qA9m3z4yL4A4D4fYI6jjkDgkrfg9XZk53fUhbKzQJC67ZW/e+bNBT2rt8SvSAvDcWFlFHlx4XAYb
owjHdVWIq0w5CSsG/uuxOtdm/BF1apd5Y3s04nmTxlayawsHtqw1X/0WRWfX0e1klK0JUowGFQvI
DB4EQ+Gx/IYwznRi1WOygj+4GLwbhpN2F9vnyv0qBfoXyA87iSrhREzQNiYG7ZREW3Ap9n4as+sy
Qi3cziUDsxVnZFt60nXKTKLzzqxhJE/sldCoG6I6im5YjJENmVb2J2ZKVJvWfZCmDA8RVgrI2Ev6
4kMd+K+5pSjoY3i7+sYQD/6j7k6Z8SoN56XJ4Zjbv4k9IuGhYC9zkPKLdbvyrmElTyNieKOzH3ir
P6esZx4PTKVR0GuaIEfk3wSgPsSwL4P0a4pCXnzkDNQc9HpBh0HR0v7OqEdk1OT6ntH98JcDS0gr
Vp8BQ7ve4BZI+AKQa42N15FioMYc7MqoQYeMxbYRDN3RVKbHxvbxUfbAl5e8oTgTE5jMj6avbyOe
/ifQQEsADKSIgmySFGwWJhCyX7UWmFJN8x3s80Pe0gqWVO8701AgxcMCOKxHI0pEs7HF1ZVsLcwm
c4FImwU++e+MlqQ9hijlkKO043Mas3Gf3f1y88Hz38gMngoWIYQEhxmwKRTvXaamE5DO5T6e/F5j
e2VDZQEC0t38kE10mp1mbIJDWq/souPgN4YzufEvc0FVEZgTTvOYM6/0FSsFc1lbmSrebW+A95AN
c2P0TjwiOu+MtTlxxcuaitIU3UcdJe8OI5cyg2NuHpbToZzjp0HwzuSFeAsCKkKYNd/YPkFHpLhw
Upc4wsz0RnZIODYNBNIRJEOLopt36lCFGStcawrPbjGQs+JtzYXNu3zVwpmQyXP5WxqIsTeWq6bA
HDmsW8tD9NjEJUtgwFjx9LcLk730JfGS9mKLn7PnaIhrlK/tuw/oHuPrxYZ/M+bZS0IvHCvwI7hc
Z15WxLSATPBY7/tYPMuRb6Nw0o+i3w0hhpq62PMghm9beLhRhvIQa9b/rqO5MJNvqaqXVHi/LRHd
6TItHymAz4QwcBw2aXdXzeCYC9WjUqp81Lkmotpsug8G+lhONDQ/QBua0rgiE+i22n3FQHFsIyRs
g8nb4DvfkjyjtvNw5DOtjiRDFBKeNyJ2X6M/pZx2SVO/z0G159pedhyOsQGtWT+kVu+B6Q4QaAXA
+lure3Rq2Ni1nW6ly7HbGuDrDfJerJgecmYDO9Dsr5DfMsKct67dbBErMTHWUXUw6fxcevaV652F
+LRl/WesffSsBsObjHSwIH4rUqRNjpltWX+/KlUgaqZOHIlcMeSZVcpHGlmkgTqvKe/CmAgaPMaR
a1o/7vDmNWVxyBACB39Bfacj2nI9uHggrPgZ2+7WGpSglIZwLh20ciS94cSurU3WPHaDeRoMM9wp
n/mDY8T9NUDyGYewGzGJrzUzwaPnshgYcm4gQyLDMOP7ucR+qiT03ymiebSAM+8th8Fi4hE9l+Ut
Nx6D+p7jNXdK7pysY+guBUlng5s8+G2CRIAKRDENIf+cRrRA2bzxG99/qDrHZpCFX0PStcu6oWd0
2wo4lbmuhPx0sLb9IF/c8RbDRk259ifok37vEGqcQHNznGYv4IvveK1htbD/2esmEye70E+jZWCz
Iqx4VQ1Ya0M13eVpy3wDjxAdogfrKEE/LrHzf9nAVcGXMp4ma4aKlVOGaPSmY62YsuMNsutSVyNq
/RmJ+UIBhgwnxWLWFAaVaAlLPECWj1Sxf0ki8eEaCXSD/FTo7BBPCb64XrJscTDj8pAFZfeHTIYN
+3mWFSIncSlEPGBhOhnoXygT0PI3LKoYAIe32qYqL4woONa8L50wmTmZGLrCUp0yD3VFKAh9N5dP
ci02y0YAUMH4MrZ+ipWRfhX376O5LIR4Ew9yZh5V5/FwqpNxSwA8r0NNmeQlUXPqKPqkl+zbifL4
kpvytSQQ4AxmrFyf+oGCNssMsTVT59qXxAWzn8XdLL4aafz1woavR4ocXC9k6qQ0hJilCsvzL9bE
dmqIrl08Zah+m2dAJJxpHr9m4JcM3tOQDOVpemwQJhBnSZKfSHt8kRUh9d58bm1kyW0FEM6t2LkY
rvwlGsPd+jX++rl885R9bJOYEYffq32i0ocoZKWmC9yQwnUuNLKweNCCISlFqIzi/L32a3rIwFhi
dsYSeQvSG57xyKHSYzGxJyurX1tSqk6Oz8uv/Htzzrn6scnDV7BXbT0+DOKvGdPYSTDybFzZHYX9
Ka8oyYDCroumAmrCrpwxpqvSq1EzEBTznQjHW9azVRmL9K4XIt9W1kM9YxpvAk5VwjNfDd9MdiNR
V8moX4JIbUcjvoyjdzcTgLRjFYQWLb35U4zAEg/L1muQNySVYNo+8DBjpk66DgmJCUI1o2UwV2ZZ
uXoxLZQkeEuIsvSdz4UrysuT4iwLlNiMwJkX+gCPoqINOJshqtRLOgXesm04WwSpki4cTQjyk7nO
NgxjUHawZJtDvTfNUa+siCWhGKd05bghvqFSHFzcKvvZlhelaQtkZSVH7Kz61Dri0TeQfQ2hcx8g
ob25rXAJPqvHTZ20KPW0qnddv6z2Zc3W2AuZ8Wbs7A3icHuPdMYGmWRiI9IRIRQ4Jy+6x9mptukc
pVip+omqEwImIxZmbLL86rpZwFuq/buU4+KRFCJwFKPx0LXju/Ix4VkGuLaBkxIFgX0mKNS6m+YY
eX6IWCOeGWuDdmHiZgBv9LRi2qNCFgJJV+7l1CK9Ra77J5QVsoa26hA2RR4E4cBjxzTji+iaowW6
iGi2If7Vkcqw9iDiLAWwqqm27uokdV4mlQNQwyDPUMs5zv2k7qakJFkjgQeSz93FqUb/samdp1hP
w6tljivba8Sb43gnL/IKEjSDT1I02RyJATZl65MK5oWI4HTar8tK4e+1it/EJFm3whg7kA+yDzDV
rGZBEFDSjUm6z5kdjlLmGxQY9gshJq+6ya1xXXo9VSEwnFsKceDImJlJZX8IHILFI4PRthf28X0a
tdScUbx1pVH/iUPesdmJ7tk9kLGm1EOrh4xP4j8GpBDEscicDSIPyiYgK7zrmq+Kspvi1upD8yqg
QjyOngedQ3dk0FKOs2wQmdo1uDOgjxi8JVZFrSQNRtAcGezhmYKsLEZyS5BK+VBqmwO9KMuzmp2z
PWXeIe1DgkMz8VD7lf9kirC7gN7e2qVNtleaMGN3yu5Ux0iFNVaak5NXn/+CMMkW3uPwbK4IYP9a
OUUy9SF9uG8314TnzxoJldoAXsMm5cxbZqjRESMegX4ICI6ukl+DQRZIDFBwYzaluetQJJKbK7ZA
fi0GRHxYlL1Tm54lJqg1fXxwyf79WnnAgp5UcxIFp96+95Tjb4NCSzCnWAVH5gG3rCMzNxwXUTGo
MTHdPFv/RZSNzrRJXsN2MC51UoGRnAHRuKF/0QFGOM8uqott8hSdKqDdcIx6RamRJAdMFziLqv4A
qllcnAUMJJL6zXT6Yp+Hg7iQfoMGtq/frNa9kWFPWWB0T3MUQ9uzmW/6iZXvc7RPb3bnPI4TgddN
2h7GnDRBIP3wScqLHY8OC1LeqVpjOJhTX+49gnIzN/xh8vDTT5nxMgoTFgpK2e3o4bnPw2Z+Qrv3
RL02vQjASeCbYis6OX7gnovZ5HQwkUn0rIhPLmxcpkIMcETnt1eSuFjguknyFbXtNS6jDSkn7lsa
4VLJwKW/ugm3Txh36S0JgQYxMQlAW5vuTon24nuFPku/pCqVbfthBv1BBfPwM7ntXrqSy7LML32h
1DMyWXftGQaZR3QdXTQG11Br+RgwgDGm5vHfHwYHHR48YlIaiue4y9SNA1/dOgdzGrytowYb41fZ
hKzyPz9YKXVJmp+yTGmQXzFJqihyDrjSRjZJgIpsFd27/NTH2OS++3fzuQRXOKUQwMl950LIQf7f
7pVONseSMwBTowfHZ0qlvNcmq7QimR7Ijhnv6njeC4ycBMKzcMB1n6ODJgYvlwDuFh9B6dZ3BoC6
fITlw8OyCGCw/S+fMkM+p1Xn8fPWjBb8VT+yfQlM/89s0JOmzsjDkCwh+Gf58DS0dbaqbkoZMC29
+ZgvedfeQCyXj6C2QCjrJ8LeGKl+SDuwfMXiaZfz34C61EZaadFQrKTrNegz2Q8XKOSNmYmf8I+k
3OHrLeNnBPSXnFk3XNmNU/qPBhJrmCM8xEwGXxQfhbU3E+o2pflvoIyWQUy35TfrV6Dw+0M9LwOo
DDpqJEIEoPJLo4TkyoS64kTYqHoQgbEJIK4E9cC+gLM2P8wl/AhXoFpHRxPv2DPTG+DEzVPvmaUp
B0iWLLquz9h9sunEz+Q9vQw+ZvZXbBw7RZNnGv2bjCj6gdoG9cUMILb4ZSjojn51mERvZclgs3K2
XBrFIexi5ND9Ml9sw+RFjIveFt2uLe3uzEMVbF1UHJincp+AFfEHzeZ2mPb//oUf4eZcTHbl6d+f
cwHyt3KzA6S1pYEQbbVyLB1uGIq5J5wPqKYkoJuYkfqcVYhQeqw5bgZ6sesrjlGfAafweG64JIz/
97/499l/fPinb8/DDw8yxHEuoKsJIlGO8DNN5g9uN1GixrI5/fvMmgyOjlpxbeKyPQ0NYxwDlUS+
+vcphxHTww8s/8mlhfPf9Wx4tJv4e29qiYRx66NSw+/GdwUtYew75YlKojzZLE/2aWPv9SiHA9kl
m9pld5K0zcdoYO/PqKwmOi0EJ4fBGW65R5U4MiLkxcjWYVafq6gYUL03+5Y0602eYZJgtbsiPTay
se03AxYe+JfhDj3U3lkACtkxitQtEwB6ln/HdHpfLNDFtJ7/WLYGf8uGaeyQ+kQkvBRx/grpiw0D
AmeZi3LXqAlI2mQTjFugOXCW8MeqPsiOJGVWm0zFiu9yiG7K8n8EyoYsREw1V2ywItLEIHdl9yyQ
rGOXeh+tNzzmXctkkAu5pNFl/AWQBRunMeDbolP9LPPxhJcbG/wt5IGInLc/C1MhqJ3732Kc73W7
bthkwz6xsk0/O3h662nFtYZmJOxJrmDfYJAtVUXz62RT5cWz2NkDJWuVPdkTWWizJ9AHvZfIjTWh
ucXYeBRftHeycD/+eXY8SI9Em9LN7rOY4Ht3jgkvL8ReZzaY5OGCUnUYh3aT2USimMQ3tPYb41+9
AiJ971cWujvzNXb6H4z3V513O+wRCARj6wOsLEcT211XqgcomzfLW4ycUXVKc/kXRuZRxrgDLGeD
bAzXLntXIoiBCQIdrNw7572Fa6G6aYucZVih9BUwtdWfxhifWG++u3GLszctmV5ju6BCj+5LCQDa
8pOKKSNfNS5iWM7Ij/z0aA8PrgUdy0dGvipQvmDUoBM8+X7+xN78kfaZaVXmfggPH060IwpmJxc2
jmu2cKjmN171e1lA1ILPmARr86nigYuyZqi7dynqPb0IdYMBdLoEt2uAaiW/eT9V7Luj/CGDp20h
nC4I+gHQXJ/f54wBt07x92koBr5jqDVGpzsMcNi/0hEQo/eD7ODBUPT2SXFc3OZr1F2utZQT1XsQ
IQIirxlhwUpM6Fscue1Y7ZB/EXEIswWD6cwBZ6Jd0qh5tasfRKOewatCLwjrr9Fz+n1O/qZXpudu
AhydBK2zcRPjGoZ3JkFZG0wdBXZ4NbBkRSZpEl+6UnQyiKZ4HphN8KtJKRxV+tJoZu5JC7S5Yh8G
y/s74MSqNHTYjtKxqpBx2pF5h1tx9NmmQ/GQvtqHJp4bYw5OPLFZktgk0Fvfiu3tla7+a5ortUf6
X4H6wlHPqUOHaTM2qBsiT1HheqXCYWdogIR9+4RFHZr+NA40VKQMpekSHJnUtFyWT7HiOveuEVwG
/AZsipnWN011AiVI/FPlDetoGOgmUNj4/oA5wW85h2/A+WDANBVL5DY/hv6jktZrmmCgjpkCrHym
v2seVii3xXho1UBoboVuP54ffJUT8dXiAw7jHapNY5OlQGXYJ1xllbxAr8Ld9T3PKL3imgcgrK/X
qPrb5P6bq8bxgNal24jcF7tueWCRAH4HFVGbwb3pZS91zs8XgtZbxWSC8xOw4pT+T2gFcBSIwB2M
eo0kkDmaC1Mfv06igz2xWnojg4R581JQgcJialAuftYrX+kr9/1PUk+vLPMfPT18t0fQKlTS2bWf
GvSK+oD2rmMh5X5SpHGch4TZZNO74ED152EzTwk/Dmg6M5v+9NMubsx5C4EwwHvCVe45bCfIj6s2
jfmnbvmKXtc6+8Y913bM5Tm6f+vOv1cLhsnFC1N6LWTd6GNSGZODXp9GB0VKW3w0JO1M04KAmLyD
0tZrqIrrcgQaMx7Syn4a2U7K1MTS+0+2Xr8XTn3CRf3gaUSrHaWPno1PIzsHrvdsBv6b1RF+gwZ2
kFRh1vQR5yV+03q4DQWy4gxHAhPpGQaztNAf9f69k9AEef1P1nv3PVZ7uEUz2oA27R+siuV3Waq7
yFP33oCLoXD/9vjYuta6lOhQzaJSPE2CXZ16e9lkAN+d6An/y34ekpclrcAcHBA8xwLGjE7ueM0f
3KI+cFfcNV33rhfWTGrejWXEelP8Haj6Fk1a6bKtpAq117WJcB7rB9G2tKsSmsg0dTfHN34cTcE+
2K/h/MeMymPYl6DyzW3WawiwPUSD3MNQwp5mRVP0YDxrV9ncu1wxSF/weSAHr1S972r513aD5znh
Asx8MHlkiJZdcE3j5sT+/dtz5mg9R3AADNU/BrHJ5mLhKpaz9Z0K9js+2xCOE8c6CbPIjhPShCSO
N2aaVcc29VuKIInr03ciNG5ecelSY9xXzKW2ts4Z0jh2cxqRPv3Hh2j5YzypJ/YYNwz8y7C/7Dcj
gWiYSzD0NT5an76EjPuvQBqXQgoZEGf1v09dPGcje+1dhjJDxqPaRGkPeBE2DPukIKlPYvmQhJjN
ySvFzO4gLWyas2ZJxH2NLYHw6IQo14H2AcHq6d+H3EaO0vNesdajNMySkKKlAyA3+eEJpySqJ4Fm
ChDnmk+a078Ppo1OLOsChdDIvRa1cdE4SriV0m2bVe9tp5zVYqVoGmcPuvpENs/feh7tQ2+28AFb
V2xaxQgc5vLGrBy0ijZgGQJj+2XPFYXx82CRxTQXtIJx8+6baAYp7oAgu87fGaMsVea7U/S3wKEq
IG3CeGIzkxHNxmgtJGR+G6vAAQaXLno4PEU2jq13I+c47UiFruDo23IHk+ANKzyzRU4jOebXjtEV
M8j4lPYztYynn2oQXBSz4GDrO4JcJSJydoG+82IPSfVo+lijS57tKV78wJiZcYvXeWY6mI46XkuZ
HL08+IMA3bDT+C4sM1w6HGARIp0dahnEuPA2qO5mEZDpxBCDhSMXmF0cvcC5G2fG1YKemaP2PGr/
3u2C53BxYXXALyadUj34wzkNjZ8usgkL+LZQFoPnP8ZCYc8nfzt8KQM4zRUZY3Ev7j09/bUc65WB
7rdLdSQHjTSlEXsMy3vDOLTJgCm4HW5z6dC6OelhtOOJCRPQYai4a8G1ju8M2BtDznhsg50x9u8T
zRVvNSchD6GtyDFDtmNyxAoWbFsbVwi/C3lBnI9Rc4jj8iWI2RcW3cj6r93DVWY/NXJRhgajOU7W
jQr5bSbHvKsr7wLVH5HIgBm2tPPfzirfJPHCyyMFznfQRVxgHC5kvowjpbg36OweXNOzNz25knfE
pBoYfODEVtewoHsVc9NhwBBQDE2HL0VBL0tjpOXXf70csdEoUvTTsrurfdffKFUdjTROTlgcSL7P
KQUNdXAHl0GO1kiRIUhBL2afvRnIHNT9XRokxUs7jvvGcl4htmJrZyuY3Gu3ZJfLNxBZ9DVMtIPA
rAaAjMhSraTYKAwxPNoRjBFV5Ubzh2TshKQd8RChWDyefPaB2NaYQ62dBlVM36pVneQOagV1q/Il
PYvtzRy13iVTBvg+qnUXqP+EWwltj89IiQ0t6jNza7Ss3854whdRBdoZi9FXY+DDaBLA1JUZ3dWp
IIr920qGp9kxkbTn/efQ0j8YDXe6MoOt5bhPkXBe3JRvxxQvkw0e417cBa68kcDu7fsS02Dff7OD
fvaQUm1smx8pag32Q87XJCJGE94lnCl+EF5HfsYCRrBwExCYm8+G0dEKV/jHWNCXhfkj0N69N5eb
zOV/rAeALNrNX2fQiFj2bZaXXIkulVo8IfAVVqQvahLQrLHi5GPDdK6qiE2kMcJ2f5oNo9zIuqBZ
1+bR6cQuDIPpeTJya+cbxM9N+oYz/CktQAk27XdvWBlubAqCWfEzDzAXwRthtxjegWcgZgjsn0HF
jBEN9piWzTvGdqvbW2V2KZ1InwxdPYdJ/DZqmW5TVz0wNmgPLpi1zm1wfxoOMIORoBfGM+SPXds+
o06zGx6XdfmBsvpj8tnCOC4/Qt2AASQ1bmMtoyyifqyNb1OApPPUYSFhvtnxQs9DTSZFkYCMy3h9
HMvBOUmZSz66RhFh7KuCnA7bHTXKeOOS+O3Gm3G3oLgSZzH5xk4lxBIYMQ9p2RzAUDCBrXsgEq6r
eJn9cmtmrIPFwFQDGYJZfcJCe1czrXprafyzTn7PwUtAQVJQserQOQFVL0eaxpgCxGkwRaUO3alw
xR/f6I6gPJEfK5bdvmmDMATPu0lNcpIYsF2N4lWrLmBeR6uaIQh3+/ERNDGZA3YCTihh5aYb+VNN
sCyQaP307XCmYm/+L0LXnv+3SWn/U/7a/1su2/+HoWs2cWj/59C11U8eJUPxP6a0Lf/gPzLXvP8i
TEargWdDDvBs9z8T1/4reWeyGzmyZulXKfSeCZJmNJJAdwHt8yC5XJNLig0hKUKcZxqnp++PWReF
ewvoBmrdiwwgAgkNdJL2D+d8x/6LAZi1COdsLG+OJchC+0fimmP95ZiOFL7reMI0XY8v9o/ENen/
RYif67PUtgHbgIL87ySu/dd0QNN31ZIK6ECpUcK15b+mA5oyGZERK440hiuMW4j4bB0kqNlLgBnW
T+Szk+E8b0fn+E/X5x/Rb/8c9Sb4Df4ll/Dv76wsz5YcNyb3+L9+57gM6Tw9ibBp4DSSc/oCpeHF
iXhpzD+VMI9Z3t05GcVEKW8sid7MfvrUckYTi3rXP+UImRABu1Z/AkR6dcXwcG6vAB7uvfaCdP8g
6+EYaoLdAwiLbcTJ5QHIzYuP//cvYvlL/t6//CqW7Uvbk8JSjsNH7SyZdv8UsajRISkzCOylkGEb
xxK/GGk4tJrfKI2sndT+V09K3bp1e3+bYIxlUGDs21J8hGP3Ndgey0TaUDWX9poxF/s0EaTvZAJX
KwBpP32nmzX5IwSMjmQW+UbMtBuDnKi8QySIc64C95OyEUcT+kwpsnPMYCL0Bf9AcNGKomDjNH5L
pDBJFmAJgIt2vgPUZfjV+xGjxQQMfPg5FKzWVZO6KyO37wy3fw2KH/HuFI8ELHwvZ2gcNT42E8fc
hHaDikfyA9OUBGui8hjZwH42/J/JhJLaRcaZLNhrqQwSvmVyi0WTPkgMrrr9GjsEcFOGBDZu0VOT
QgNv1X32AF2uh6a8iMr/4XE7wtQl2jQ0YkQd/pvfNx813JoTkObr8CSBQuRsXTcAEpfsBAamuNRR
lWX3rhbrTkb5yqnMMwMgm5Q2wJFpPmQPSVvQVFOh40YGv9Gx78+jAFMCYShIoxlzNMNwEWNxEtTc
q7rD71yBnfFJf9sB7WYMnso93ALa+aCfN0aULBeDNlu3G1XHd7oNjYMfM5YLbez1RhxMe5mzsXZE
tcOuilWEOOltaiNis+dgRxbqzmC+sKqVlSGRyt4nPUSbinX+GkkSEtB6fqniL6fumqUPffZrGj03
SVJW/SQZM04zW7dFJBSsG3jrK6cDcgdo1KZ1N0rzDfF0uy59douNMp9jzcLQZXhynKvtPO12YhyS
Oys3gvXsMR4LI/8sGix1HjgP5BWQNTSLYXpAkjUUtuzJZ8Yo6b1K9g/ILtbI1tphfilGRPI5CBA/
K+9IuPhKU+9jCo1fgWMCI0Bq7yT48iZnOlTOTzXQzCMeAS+vrCOL5EfZtCfHJatj1AfTSMVFCJNx
X4GsUnfZVY8jEE6ISKC8Lm0F5lDER0zhRB6M0yZQ9XOVe9Yqsum8Gnf6qbtwy8DGIgiI2tB9yAJy
/2ZlrVqkP/mmEuW08kP09GwrqaC1qTbWeGavCda66vBK4vgEYN5ED2Gt7sFLctWmEo6apeOlkjgF
MPl6w6AHLWJr19DQd6wuDiFY6a4Y+yszLpWzGnSsk9fojxT+6TZs4UdMSfQWW1Qzw5h9Oq0kO1ob
K+Z/d5IOhpAA8x2FMPTrwlqbmAZl2dvnJk3vEcrY20GU76XlPoyuarHCeix/IBUTIkKLgHj3u6BB
Xqs6tClbio+MfYxUyNRd1FV+Q2a79ezngF+nzkRU5NV3TLoQnY2YXDihAIgCzSiWmTiSEkhSWQYq
aR72pWqeSxZNfVoSaal9uXLgWgnymhewJ84qw6HO5OlICZ7DBCZ6ZhLUWeeyV3cs7UmU8blhzYZ5
gzanc1u6JEoz0gMT9Bzlwcktgp95IZWPkgCuCuQUlHIgSTDGsAmwzKr7Zi9Cke1G1YEuWtBjWFJ3
KCoTWPkF2nLwiDmBycIPMGRmdDYMA57DUq4NwUw7KBqkRsZwDSjyXHN6bo1cHMm/3bID33JnzExR
bW9rTbD9PNkdKy9+GUpsdaoSJLYGHZywaiN974s1B2KdxFJvVsU99rvMzF8V+24ev45FU96Na9mC
UQyrLyGCjwDd7KMZTqwgnKAl2Sto1vLEKP4NQAi80gR/eWQ8IhT6goZtY8D1PqOExzoJXmPJB5y7
3rgi0M7eVQ24OlW9NoZqd11fPBiFIk+dpJNOoXySRrLJ320X7qbn49sKbQBbNZeqqhilI6/FYgQT
adFDvg+zTs5Ms9HOWo/pVL45bgldATryniSgidQGgiQQ3cgzBKGKmwvRzGD5N6y/fLZT+TnG1bKU
gt3fI6XJ+T6LN5Olek4pDRSsZMr/ijdwXCuHiAgVqc/Esm4aATrTdVaI1lhbu8BJ9hVOM+BTFWhm
hybMHJ+KillDxuptTKk+mm46ZGVw6LPqowGJ2ValcdecizkIkPfXzP4L89VN6p9WZA/1lGNnhVLm
Bji9MT081QR5Z0skiJEJetcK2QVydE2E6S4l5W2I/feEtwYmk/kZgX1wzKuSwU3A6EkZmBFbNHLI
9+bdyHMIZbwE4FklO8o6RMn6w7fcD216BkA/gJ44ziBWobHqUvZ/sibEU9gkqmHhYKj4q8zL8eiP
0aONeQ4QVnw3AdjfmrMqVh5qIYQtEbjTRrNdABb3NpoL7JM97KYagh2ZQlhKWD/2efZkDssSl2wN
22tGxsXiC2/SKimhyOFQ59jqDe+FoxJxk1zHgKMLhLWyJVLWyhMPSyyDrXxC1VsM7j5sSG9oPYaa
fIKy9tSjbLuceYJkEAJ3j93eFO0smRA20CY8nO3EwlLIlW65hUp3yjDEX52xZw9qWcVOqLoHkBA8
ea7x1UUEHqoJ+3Hgue/t6D4XzIY3OXjhHh2Y39+o1/hdwH04MuJ28bwNM0R/twwrcq+/BADRjnU5
EgtFj5/mJVQhXiTd9J3aLnvzhvOesw2nRj/dx6TlrJoh9fZldNSx8w4e+dNK7ko4Tfd1uLiUrGsz
8l5J3egyk2AGQmnGI57Y32FcpSeuOa3UyPUQOrjYaNeMdjjagTB2ETNEBAbdj8HY0GB8wflvpHi2
WAMfYPA0gFfo+NqESJw+3Ns2SJPhUiPKQO9gv7JKIa3XWgoXO60PA1ZnRJpyZA3qPrCmpcaNpvtE
EDTuYQrBxr7BG/piC/8ZDjKr8Ki6VaXLLKhh3x91N1d7hKAEztfgumeUwjubVjGHqzCM3bfljgF7
2Gmjkduso4KkXoGLyBl9aAoxqcXDsNCtZqyGbDSf6qpZq6GtmGHGAU6dT0+D1ExdiYr4SHTkgggH
jZLEiy5sSJ8cZ9hW41Tsezu+LD+M7QX7iLEWI61b79gP2h/fms6bDuxm6mvDQBj6l+dtEw4sShdh
I5VHADZVIUKTRu9xkpigup/j0pvPGIOJcovaVyQirGDH9uCnPYG2E8RkM/BIwcDtA4A4GMAR7BPR
+LiUeLNUwFx2vU7J+E3Vc1PvY4PCxyFXbleNiHektXAxx8S+503ynHhscEaLCbGuhiModbWj2H5r
M1PvmrnjXLDql0jahEFVY3KvyELcYGOPzrYPgdkXrGo0WpEh6k/wpPTJHLXYNvw0q3YTzbh5fRoR
s4VeF3k732OK7C4xbSMalY3o7N92TMzTBNIU2Nce1RoGfU3OExUq3tPwHrOiPs1ju4XoXWxkQ9Kf
MbbHocuqzQsVr/XCcX20sdftGWRMd3OW4gl3ZhIABKx+4EmxK9t3KXPC0BK/3U1KNwcuGcOSVDUb
EhnPURLQSjkYzHxmDiMuMtyjt8gvPopqJoB5fOuixL/Ecye26PowGYRfvsbJOgX1d+IkPk6beQnF
DsIPkVd/0rrvrlnq12cjVfdGaj9y3s0YaoB2z4hFnQopVb8ohBm4I6Xr7EtOgut+HCE1WSBxVgYk
qm1atociGIf1FFlnMBEedV85baRZf5qDmOjwtEcwjKAGEgPGDfceTfi0CwHisSb0yJFA1BYYpDNa
FglHBkQKjiZ32EOqn2M9YBpWNo4u8Tzrdr539HBKLPsXTsBdzJKHaT64kUh4zNlowQ+1wcJ8zAZ/
K4HFGLOH6E7b39Ow+N9xi+LBgjRBnCPTqY74uSh5yMvoTJOXGeF93iXvCEWdM5nMB1u0lKmotjak
OaX3f/+hJomD2ykIox401nlTXfsUlEgHoGKomfGD+r9X44cEzM4qABQyqjXfBByORG6Vq47pqIpT
mhBgCpP1btI4YCLHvD7PxktDms+ukc4uxTG+Nwpk1TrxYPvJ/BGnfngiwKdeW3yfskk55hLOgsFc
ZmGJaSCxaeqLYwavYxmqp6lsXttCncre+B7HyAZceBcW2XzGdvptZBw7IakNi/OKYBRpz7zlSTLv
y/4hzqffKLIssnXYnOg59k/90ECjm3GQ+2GxqwaQympo3sYqfshpAdYmNeYINTjRTn5OWfUwEQVa
NiOCT1D/Jlr7WyMt91UNAmJolhUlbtoy8FGmRjbMXryU2q7OUqdiXbUx+z+TQMUg+imnxaQ2xH/o
44gbmikVyqb1QXagBDMzOGYL6r5vB2ddLyAJRqgQaQl2RxZRbaYu6He6Gy0KylmfU89la2zacMU1
j34IuuzshNWZJAfj3RwjHApEre16IZpjF0EK6eMUN0SDKEUnNGySTKdzopNoW80NIVgkSG1zuIpL
g1ldtFXtQ97Gio9Uq7SlQGKpkfZoCXo6k6YbKKUmy10FYXlx+v6tZfdj80wysI2ufRgnAGGo7E3V
73DQ0MB2DdI470XUJH644ZcVnqWHiDGbMIdL/82a4m+JGuhQWnI3T+5NJ111rL/rqubANiaTBYvF
I1wQQY7ExQBQevDy/ExPDGcmxajPIBJsQs3Kw1Lbuj9mpsl7s+jVXrMZC+x4V2Tdd8oHb+uIiq9/
EWyoHyjxYmXrs56MZt3ZoE+zjCHDJK7KKz47fwEIO4C5pGfZz2l/HEx8pUw+8R5PK8eZL4S8v+OK
WUo2686vy8OAT3ifazL1ave3sCFripzKw6nBGTcWAC9ZmSAO5uPYg2UAzGMyzVcEzMQm+uR4EouL
5oWM+4VsijwCsS06cVRGHYFbe84fRHZ5RqBSAhyzoGKI4+qIS0J/5PtIcRD1HuAZjiw2H9d0HJ6h
KWwlMsQ5atxT5SoTfC2q9TzfCEHcnu2yDhusd5QJTERq1DQ0ePLQY1ybuRlWFfSzPWJRsMKFcT8P
8LeMJL5U5JUzm3H9g2W1pxkO4DkAgcyL9JCU2Z8QuWkkI3qbpgbBgOUcVUES77tJcoWq5qBdSkkK
6Obgwb1IPBJx65HjgaE6pcM9mcarrLSfawtsZ2knP05gvFhjSjO6PHOOz06Dj6K/i49mGyG8V6G7
j0fAXnWdXJq6aR9y1MPmnKa0z6beaKsPX6NMDKe8Rp5jRyXBmGxugHx09lNfWYeoLpG2KmNXD5V8
SoTql4Aa+C6COJMm0y+ER4QvWJf3/D9NPWjcN4Zz5GJhW4JYt5o7Ij/+/p9KenqoLjpZBwI0WtSD
YWmLFuiMbVxKMmNClpqbsMdxUxl647qef03DvMWEk3qIft0Xt/F9ELsQZNqCRyu3/GOLx0+GzU3H
Y379jz8CeeuqEswltESbpDZPSO8Qp+JcDIP3MNvsziCCk6/ZQzH0yeCJBR7JoK//DKl88aWLr43w
2X3g1U9J7EZod/D2wmR98RFyoVXc2o7lbms/vqd8EVvCK94rwcPv5EhLp7JtHsayu5sSfTeD9Sx7
CRantT/U0EHJxwrhqx6Kh8UxDpVstdQ75ZmBiI2MwqFJdhF9ZM0Fdz9LGRZVaX3tGvVT6uiV7dWw
a5SO4X8t4Dxx1XM975vQfGqLMyqMEvih/A1oDgdjvTcFXDaTmR5rJHRIBuTcoJ2ITGSt3EiKGBA4
rEvcALPd8oQXrnlwJhKMSDujt+xqk9yzxeVT4gW3WBZ7bYVFJuYK5SRVWIYlCFqEIRwqkAx5ZJC1
Eu6znOmfzOLgjKYCH1fpWlTRYBGGHuNI0RVkiBUj7wnz4OsqWRNudsoz2lcIeMWqDaaPqmQ9H+VN
t3JthF/mBGcC83A8tNnWrQFmTSP6xpJHJM71lzFRJuhiQLyTv9ixg0WwcNDZAh5ZD62wtsoOsJ1Y
jrP1Q2RgZP8xQfXIqVqDr0iJPmuwedff0CSWmSob1bFQCA9qzIv9vrGr/tyM5iEzDLbySwAMBiSn
ZdMrGjo3ku7yMykKu1QIJhMO3GNSFvi2F1choSM6Bc8kTDUIiDRfzDwIq01ODDjNHWICwcs5JJxg
XQ9tuSWXCHd6zCTJNtV21DzGkpunsUxjl8TMHoRlfjbY2ciTV7z8g6c5Q9PfYVSH2gwIrNIPvghm
5MOS76XjazTD3AZ8yV02OXsg4CgoYbwRf3DzRv8HG84XhExDfSRkH60ZIP8aRgtYb2XZLDB5G9rM
c3Jsu0TATaD/uMhkLzPcrTCmVL1+LBnAdV0pT1WOCaJOPO8+tRArj7Xc+RUTyYJggU3G+H1VVvQK
ECkPnSAMsU0JRq84M0jM2joqgZdpJliXY/s81Am1gwUTkrNopqEgKVpsFNkMrazrO08panoNL6N8
nSLCu9yZC80cflN74yZU5OpajvHkdQG8iMJdq9HDuJtA0Wz7bt/NUt9FomfpC0exqutjAo52XWYB
wR4S7DpRbJDgtl1yy0t6v7Gtm52Kh30+3s2Ox0AmPAgA7Y/azJ96F30SfefJV15/Vggbx/FrGES/
Vsl035ctvWOaTwchrYM5yF+K2VgWIQijjXuSBcopCttFogMxPhtiBiv8vFULzkt04Qtq3NiovqKR
twKi6wc3BD3rkX+QZqTLyngmR4oPkiAZyhF/JfH8p24IiT91L3XWZmsKySR3oAd228hv94kdFXsc
q29V7m8ARlFSijrYZ9md2MVxae4Uk9511qQ4R5vtELjeET3Te5ZZ7lGNBg+2yMkFjs5KT0tCuvmU
QE3osuc6biXJAOmjVF72WObjxQCxEXbON/jOS5IU17ZLTyiMti3R83GYU8JKfQAAeV9Fk3FfFr8R
zE57z4nGtT0TDWaqjPbHHVepRf8vKpsGClKtM5e8QWw4uDBSo/UE/J40WiT14GZzLtXQQriOA/0N
3mPvGTZvAeSHMCltTnQJ7VH112Fu8eYJwHWpwVaWed3GX3I/yoTxUDri4C/g5exVzSYAbAF6thC0
BPEXi0smPpeWs2YlsrE7j426+I47kikMOMeMYkiccFR1qFpQnK5LzV0qhSogx22beypeJzbFoOkm
Fq7zFVkIuHZ9Va2JQUIu3ehdH5CMJ9HH1LSAjcdkIIvJ2yU6nX1DgMC6L+eDGhdxA4VgksX31eJ+
Lcv8K4beseOge/PLEh3DQIZoERVIgnuI+GHh7OsKVpKV8vH45pdDokszKNBjl7z2DulsFnfmghc2
Iv3UiDlZ+5xMjXwzYxpZU7S8BQr506h5b8RpvOfeZ9i0cLaRxeCzxegAjeatywdE0VYCtEPqTYuy
cuVKDfU2nMi4mrY6qHndtTEOyjZes+Dj1ZjPKEdkeXAXkJ1fjlyX1CcCuu/v87B9w+xxoojk4wMd
zO7WWk9oAAyS39MhZMXiABdMLCvfmUXC61w/TFVzqaoxWody/sBp9CNa/9bATqnwDm8tl+bAxmg+
L6ya0OnffESRGiInOx9nP8TNQ0trVnTd25SySJywb6yBvD/H4fjCCOmgtHu0WHKs7UCC+SKGMc16
e+1H9rNyyldgsSRsid9eZLUIL6NhnzrmNVmaixKj5E6YN2smbWckbtUnaKdIuKmdttp1i/crTK01
A07jFBrNL8vNmeFNaHnH3EaKiea4lL1GSTJZ93A3d3ROqBVdIhgmWV7mvHufK2s6atPEdeIMh6Iw
P4JYVHeaf7AJ4vYmeu4qMOpVbXfXcoRYEQ8WsXp28tV0MewHF6yGZEQ82YTUutNJJMNxTkj09dzW
4V5ivqliqKowjH5NCok1Xwip33YiOY3TI3oYEuryKnXV3nGHL+USHzzKETCG0MxDQk15Eb0aqRVt
g2KLOvCnqSz/QeLUEwPfOh/Di4GMhyrWZk6bygOpWS9pwltRLvHFxpIFZLQ77Y0PYcdeJCAl4exN
Eqh+yQMmBi40tsYcpXm64UxlPsRzy3oLwYzlsUUksHdCG3nG0LkcLxnD2G1UJbd+nC84bNQOqd07
oRj+g7swHXuH9SKhYvdaGtmWkTWVD3F4KoIHMVVPSWPP69gtn4o4esJegSPCNDZ+Mr/YY0NGRIpN
m2LvK8CabjAX4YcoX8kRBlXERd9wnv4Uyr1irOZZRJGy6ujsh3DJ+w5UB/fQ21KLxPgLUjCs9fxY
TWIb+LQbY6k6IsfxG7TlXQdWZz2wf0PtWKW7CRypj9FuG6u83kp8pSfsxdsk5IGJcBxtmkZ82XX9
OljLbKHAdDSrkRsqV6c5J5XOD07zlKBRr8Q1wq+chmSqDwnSqRz146bVvX1wfBLBuvhshu3BLDOy
lkJ4plV9h7+g2QqXcdwAH3qevH0DvsjqOmdjjswxGzJfwbo/M9BKXXAGi+Y+RdxTgkhcFQE+xA7c
Z+tEewVpwx/Q6aXInI2AlJcgn1Ym1vsuSyMK7EM+Tk+s8uCjefqxL1nEdfGrQ1wAas5wBdCzpdhO
GIQq8hgyYjNmAWmmug9yYRxq2Apsc1A29CAdVoS1P3Eff8Ve+KM1cTX8Bkk0o+kVTJXqYASy6Bqr
gmCzqs7k/WRn5R6UFDhgp/ntZuhwYe18aOSKmwan4LyQyrqrjRxrOxfDmwnOArmpswS7DKvxvsmR
BAK9v/W1A2rWcB91xsV3o+Z3adsvi+zMy5i9pJN6rydeaM0i9HKmfE96Jt79jJqBaBBYN2lyy+Y+
Auhq4qNt8NrMob0LWLXv4rE+MZpnUsLZvnYL0tFDYHt0k+yzXUcQeaWadQjGdecl1iWzjAf/fZfa
bHzwWwbkULI5dVOeezqqaV37eHC6tr15uf5jJvxAqUZsYHbjr8aYnnMGUIR56uBNzsvoxqIkM7wn
WUbxhRz3kxpZttIrEuLZWOmuEcpfxVXx/oiwmoqrt9ilTePNLAc0YnGzd8YoRFVQ75zGeO1b3D6y
cvqt2bjN0Q+rp27sHnRhfdbLqf23mmQRNIV/ymuJsaMs2n//n/8slvovf/33/x/lVQ6qqP+7vGr9
By3GZ/Zv//unib8/i397+lPpryz+/me91fIV/kNvZbt/SUVp6/kKLD4zCfQ6w5+2+1//w5J/Sds0
fd92PGkjebL/U3FlWX+hs3IQ41r4e/lT/afiyv7Ltk3HMk3T8cHL2K7731FcuaYn/lUvJCzLRnPi
oPlSlmmpRff1z3ohgBzMmGr4i0ygEzjQXdnH19SfQSTaLljalDj6lLTRPB5u+PnmR6KCCT+2+ptt
pd49fEWSCWIcP20g5n1r2DeXtdmQDsExHvC0d+H4lo3hbzQDlNIwQHl839VkDBvOfrxRIgtvmNLF
URnSZOdDHqBfj5d8dAEXzIuCaP6Nhp3UYVGVtwiC3lbb/rj/+68wBKG9M1o9/v1XFj8ugCoQnRRQ
1cbS7mNd4jKbp+bVbm4jKuFLOFTp26/RjAE2OFhVzHw69oSikfuc/Ob38wmAVceRrJVrGvOjNc1E
8K7GzQBhDop/vE79MXjtFFrXuXWdLWlp2LFTdpM5R3CYJmh1oFe3PU55jeQJ2QtSdfA+nenuXQtv
jRXsnEyRBQ6PA1w4fxhqbnetBzO4SuN4M1YDE/s5PFWma2JVqv1tvLSdoInZeWT5g21BgXNU/pQn
43wrmN6hmkqdOX0SzT60+mbnQVhH+oCtvY+SgU5HPgUmi5IMq/cdSyG00o2rTypId+ngNSfE4fS2
NhQJNCPHKe5JYkqQljrskjNXJBRINSs7ybjRiEexTTzUZRlmTMYzmDogrUP8w8C37jIAovD2j47v
Wse04kjwppIUVyB6G0e4wPvzcoDHhOtiEJk8EyS1zesMz34pf/H+Q3RMSMzR7DoQY+mngxUx6GP5
Vbru1o0ZCplE/rGUpmHVP43jNpveTp85X5daFpDE5IoWHhuEcXPsnvIGWX7p6K1RkhHBzQqy3XAQ
ShHFmnqKesYwaYEh6KzzIsfWjKa2LIPhXiy+yMqotksFu4TQGRv2sXys+NoIAV1gB3wY2gA5Hi21
TBOJbdWGlyCB6mKyuA7wt9wjUwqTmfOAr+Fazw46sW2hUe3z2q/I56PMs2BZrwq+2HqIsLS5j03b
nBl5XkbDY+pFSLI3cJuUA3w3+wZfEi3JFHx7ffsO+oVHyeZEkCh/xjB+Soace4vNu+/cpjp6mrv3
jAUjLNnuSK3MeC11zY3fz+i3B6I5El8ax8q+RQnZ5n0LE9PND7P6Auy412FCJBwIwRVdGvOLSoVI
a/oHFntXhmmnkn4OxGz4IEsosa7s1VEp46Zyf4Jn6B9LmOVbj4E8ywDxAjYKJJlzTTIWS7gCfvsJ
8FrusLhA0gDMnl9jZjWkkGqfJsF03LAkqiURfNcktq7YXFQwEgY8II161IS57xDN/LJ7dsx29dKW
+S83GKpzy9j7AAvCIeqTxdgw44OogXzSh1oPfNFauwTMedFJkvS7DrLsB+7YOc/B7KfMtxe0Gqad
AB5s7kDs4VO+g075ggAQNqI+995NgsNfV7iH12RGsIGPyv2iueYS3kd7DPXJthsmlOFTPRHEp149
ZhSCjEfWJEAEUiOG3YyUiFnQPG48LPbnSqJIwVFOi1RTHA53eM5qBrdzgcre/0p5Zuk5EMQ4w7vw
vN9Q3SBe44awKlKkWveXlefZoYW4uMl8/exPs2YPDFajH2YmZ4snRDd7wNVoo6plU5NeE973dzE/
tyHZdqEfujPL7jzxHxvUfOc28Qcvx9HazsiAcHoT7ogE/d0OgcqUI2G/zLH5mcuzGGyc/mVer+zQ
AT2HbZBNyyrKSlSzBHFt3IA8XAxdXQdWIamB55A9B7be/uGd4ZBkxMAzTLKt3cy7YqIDUuxHTqYM
d12Lx60eYY9MWb6xrkxXXscU2+OYu2gAmQpkcfzGrP5A0gM7AzYvO7JRNyJiXQajNCTdmRgoE3Je
QNweURL2XWl51b4mZmXQLU2T9xK0eIUtu7nYFqWcbfQ8y1XwqycPcu11U8ZkkQ310PZPPgCknesz
ldbd2yhNktESmAdprnuGv+2VKtLC/XfqhB42ajFbt7N7i3r5VOasVXQ2PHfS+5MN3Oo2Vm3N8OJq
dugsa0ixvLDV2hvC1zCe4TZ68U+nyl+YGhDVEydH++j/KrpFZOArJBrzuz9nVNwxGi/jZBagrrFi
SZ6YiKU9LbHmVcbq3k+injGZWurW6opaJLuP7kPHTxDljG+yB7MYwC+PA4CpZf1ipuy4nORWaV6k
5A4i02lWmd5aASn2xYRwmUoG0aitb3VsM4TomTy1lACZFOcB5tYKjTFbW7fferM6pg1qWWdeYk5r
80S8DQ6K6RbJ7jkd5dWQwYtppvyjRWxozPnCsds+IBFdJSNZIpFXz0e/QeHjAyxbh7NxBzEmw4BS
H4OS/CWvn18L+Jks/ENwrZonhN17QdLm2sUlfxRDoc++RehJwxmsc7YFg4y2ONN4GCP1mBAUA1aJ
AK/MWVsuy0LgehudnQto/H1PjCnqS/MQBKSr0pLjjnDN+jgXKXKS9KUzS6TMvX0NgIyeZzSFaCzn
dOepub/rM6RIQwoGNcdDw94APj9kyVZjL886Mzj68+/Rn4at35NZoMzW3ve62ToRy+4TqjxerOz9
OaKRviKMwSr0M4p6x8ASvaKtWm5XsBxaOsz+eEO3TDQOHqkFUct8YJxEva0DEMady8A+K7M70lGo
08qiPNS9dZhtib/IUodJg+8wze4WN93HgKltXzTzI/AILEpRrw9FTzTK5AG6owsLcwNcV9r1GGFf
h9matrw6o5VtsEMMFb18OYw335bhaXpNG2+8RlCsq+lPSorq1o/JdceLsryL6Cr9+bHmKNikunsY
i7p9qhwQt0K79b4jd6FAIcJKHD51U+q72Mg1AbMGxrxOL9vHF00w22tQ+58CC+cOctijRH8fwhte
l25T3PEXk83b2la5c8TAQnIXCvwhsqAFL3A+Tt9rOKGpSzjzC0H4ldmDpAU3iAtseBBJ1tHj8RHk
tFkic3+HsoSoPZzcFgVQF8V3qOsRuiTOY+FWw95XEbDUdLpgsHjJUchgwCPGo+pBGHJ3aYfZhid/
exQaD+HMgtSSf5LlRRAkbX/sk0/NZvlubMDuqV3mTaAD6ujg1l4OFYVxkrTJPq0GNkwGZuEVU6T3
NrH7UyQG0CiqfCgifEFBhVbc8B4ManSWtfGjiK30ngK+6k0EKtfeauytbsyETbs+58K94Shi7A+3
THCvQSBV+HLD9jP8jLpkOLg94qvUQSfW4egsnM4CJxK760wBNrWcVl8iCyNAT8EvugXdPgTNLucF
StlBgQYSIyTfoGdEL7U8m+2E5Y+yvMeYzhuL6G4cWlt3nLw1SCNrZ1bms9ECyO+5pEDCGVbPMyCk
5DcbPozxuSJPJLfAqTakRIdRb++z1j5mcfHqYjMNs3SrWlRcdqPuHWl3FzYMG7zKzTp2Rs76bmcN
4O1yD4wq8qVXWmgU/WxBE3HnRSBBm7xP0GiJS1WH8joYlzq+j4ESkWIymIe4JQ2RCeo6ABy4ruKW
LJkgM9fyEQVmzLuOeoLwghK+2f/h6DyWW0eyIPpFFQFvtiRBT1GiHKUN4snBowAU/Nf3QW+6J3pm
XkskUHVN5kmgIz3PjY/7TaDx31SaedRg12wZmAWR79cvrWjZgjAuKAlZwi5fXCKkrE1FKrnD82sq
GW9H+4bMjBMiRqme4tGrC8BMLPpQ6drrzNKf5vxfaVjGzlXxj8GNuOorfsH4UCcpJCJb/6qSfuYl
IDqAfQmnkcUEB+JB4HpAvqvkwS4nxCgOQch8kvnKZMoP9RiyHNq4VcZ+E9Spy5sAZqWzfShxE3oh
AebsbNZ6vLOy5E7AL164vqv3nW6Sp4Jr1i9ZsA0DTkTEvcyw9BSRdNhn+2bb+ua4M738GWC/s+kF
2BikcA8ocAiUsYrsVsTNyzhEO+GPzENLQhLjCS57OamjUW0gFv7pYJ2gnrFyrbWMj3Mx2OX9Qmuk
PdkhCIX3aF9tERtBFPr+DvZgIKaQGxDu/ApiHdvFUtsPfvIz4yOYBux+tWJWk6fI3+vOzIgRNoBC
nCZwDgcIb0dhldNRVPqp5UdCN6LktlP9S6uPcu+H5TrRAJdqWfiktIqIzZRMlz65Vc7cYCtorsYk
7sx46sBga8S+Ctlrrssb+cgo/tPJZlWoQ8Fx1hkp55+mGL9k2n9HOgzZEZR/IDMaQ5TVaM59Z9tU
zcEdYIGbpPP6tE25dywTyTGz7uqKDM00uWnct4FPGgHskbWfWf2+rVPoDn3yG0MdIx2L3Ngoj4LJ
LD+R2VK9qVbbEGwQrk3Xw+w8scCLZNLtW6f7c0vHJ0k0n2GpDv3e81Ebg9USW0dzrgrX+0bPZk5b
zXvlVIC8NCZrNAzkdoeo7ZHewkqDjhWYVfXgFB3K5NkRON+bvfRd6yABJJaGBAnBRQvTnEElXTBI
aaw0JmrZ2H4c89Batd7wZiZavS5OM5IOmiXUIabUnqY9Xg/6SeQFa1KNGLAl6aue1s+Dq/1zGanv
W2uKnnxFXQ5wc4PjQZ4dvq+4ardlhrmlswFT1j3yrkzjSyHqJlA1hVWfkQxCalQ09PfQN4pzfMbG
URe+fW71aeaUpWH1OC3XGaKsUoSnThjRZnbj3yZx1H7yCPLT0MVF3FSg+yME4oOEQqsorUdsPh4h
Ta4vhmNiMq4dAcwbIEmZbVPKuRG4VIWNCRxZvp1qEnUcL3uMZutRtyyKNG2VatzAjc9HWlg1T4oR
fqUlvcZoohFME3QGVQeOASt3vBn7+KcR5lMCOn8z5+ASyzC6RDzkRzeXRLln1Vob+FltPOqtbj4C
gDJqZe3Cub7Vp0Y2p7RBfKGKxQQnJ1yh+MUtHgFNeh2mdWRsmgd53s2dM6wbXsvI4p7R67M1g06A
ILKTUk0blc23FqJJwHbNI5ldK8WPMZwjrWCRVZKFOen1MZ2ctymjOXAgkq9KhnLULzqHDDA+lUVZ
YCbZ51zkKHdptzGtvQrJ5ykciCEI7t3CogOUh9wW0Tpp9GfGtY/jXGPEMemyeP4Qw6tPDMysTckh
bBxGNZzRvMxLTZtm8z6s6SqUIlZ6zLTj5KLfA5eGqxxdDJ6msxZq//D3Jfor0JwrcVhfWaUYKxnz
ldQJRkCMNbh/NPqjRSY/ADBzzGsR6Uv0uVavTGlC9XLb8aF0eajwYDLXgIA1zrTzBfEWu77ZsFKA
h2Z6v0McpvsOl0lfA1adiWg5CjkTQfCP1xeaaOkPZ6SNGLqLL7D073oDe5+dxlfPsn4yzmSbVzuY
QHdvZpBcklCROIm5Ae/8OTAI4Vlo/VUaGQfcw+Ymbi134zOs8k2L0b+dPMxV/alrfEgoJndVAfxf
AMZh/6nQPiq503K58aEDWUiNUXkTrZ37M+o19ugblKzrwjP3HrRZbpo46Oy7RPcQtRhVZKjExRic
u/SShZKsfmFnNsfUGV5nvX+cnORHctESUMUqKPeKCEo1HiMGNPA/1L0rlUSfARA66eWxa0OI9D07
Up3qmHet23reh5cTjgLvwtwsV1EDUGszGzP6B2TbR8HpVCdsm8PAdGTxysSJGz9a9xM2nNAn+8FR
LuOs5qMX+kWMy9dIBB8XImP/qtAjZLhUkHOv4HaR6pdl/ikvPMEVaTbr1COzZK4+Y9OcT7nwT7pq
kr2J2z6uuJMqjRrBM5x4S9YTjEU9LPi2zJPBBz26430yBLyVbg4IVci3jj+9tQ3/t9GNyWYsrH0O
0E6LOV7Df6lGJ643iU/CKqFrmsDKWp3dHsl2hWkzsJsRFbPkj9dey5gMv6l3L21L2n1r4R+3n2x3
j+apDTyH8RawnHCDOhtOKlIVNXDnePk+itE1ReNTisWL3RI+K9iBb6Aqvl09/CvhThFKEdMv8tc1
RwHZtuoJ8O8xh8oTWCkGckxM8SAJ8YkZlJHiC9+gcII5M4atZC1bFvhv5K1NBo87odQDMnYLi3PG
1fHAgBkNqgUGGxP1uWM8+uu3LHDhrHh0uqtxHrd0XFgszfwlMcUvVFCXRrYif9aIw2BQ026y6Yvk
nH7ZgvAJfhrINsuSW7t3efjPKPoThK5nwpSo4Sv+TXwwYHw+yMMmPbwIXaazKLfqLn/zhvFPdVDT
NDwWGEDQWo1Y3IjwVIFc0CNlhMhg6iJEtgOxicIcL6JDzZ/FnIgTPqRa1RwADWprClqvJihzQvDK
4eVClC7IpOgWQyp8d50EOSQa3UNiSvb8sm/3DE6Y80X2Jc3KV7ao5GHS3pDEwwC6z6DPxyC2hc4L
qTs3HfgflE9f7gm1ecVThJhAreGVzRsgxEzel8cZc9Ogi/VohPqhbk9wjO40XhR4kqEUkRuIHZCx
z3x8ZrVIjtHO6NMPWisQqak3HPTvrE77NXNpFH3l9JxDVAWNQYpIa/7rkYFjowIzhsfvz/Q7LWCT
zEOk7/QCZblbgRlI9P7e8j/GwvxcqpE51Kg/TBg1Q9RnFx2xMN5RdfSy/cCpkCfwLwp5GMl0IaHt
TFgAAMbG9m+MYDZ+oavA76SPNAOVJ8exRFieImLgrgC0EccO6qLor3LTd9QV0BBsM1xZmFHWneiH
QwyXJWKeUXTNlicI9ch7hLc2YKDLCpnDWYTdBCqkM/Yh7dRKGk9DBZIzNSNvE5XILBYVY92CnPeq
bZxSQSU2kvGQ1OKTbBGjCyKd6IXvWlSReuyPPwbXH790ldv1yUCNzQCBc0zQ9TkZdpK+jImG+l+M
dtFCgi8cWBk4yn/x1NL8DjnQeS8Ppra69LMjd9YgkTJxMuokBCMUsootONCb5qQNS1Hw/hacO6YS
RONJCByWtVzIPWNokyfCfSxoQ9f8/H//L5LnmFuhSkUQpdMHC98xHZmWy4kPxBsp+yN1dlPESnpJ
tFGq4Svvx/d0ZN1OdWcTo0FZxdWw7uPMPDaSSVIsJbEidIxOvGa+0z1Ufk++RZZARnEtFt2ckyrL
//p+NDdN1YudpWhFkbKuiM5htqqV9O4Km7Bj9SguCC8MTOs2QkPcaaTALE2zuPWGu0NZqYLEn3ni
7Qxs4fyeiER7xBJoDpL+te6ekSms3QZLBj8RdNBFKyoHkW14A2+Rq1MjZLzQI4txsuxVdjBmnv5o
QfoCgfYcGZ07h4GH3T1XunEmAwJeDxsSd5oe0y4+W+NwLuBirS2tYaCHZHOvt0evJsRQT62QhuPD
L8A72yamUpT+G4aGQ8p+Zt5nA9rAit4wzPWN04/xBr/Xse9EEbiY78e4OQ053t05f1bLsg5vP+ek
hj61lNQ2DWqIoFyIqVhT4DwOYK5miB+ZvSu8xH/AwPpK81TRIsX44PUXyyYRJ2dwmyEwOKohg7CY
Re9AnVg5LeHlSUZqgeMS591R4Rkgr6Y5Mc9tOm0RxsEGMMm0yCbGjk198y3m1pbPoxkrI5A5nS/m
a4IWxLWuCZhxWX7gK41esxA42+TpuLQvWuyRxzQ5gvgdxln8EedIAXDjrXlR481yGPlCRnirtWk7
AlmQ5oTsjOHcOkq8xyopnlgikEWf2yRH8n6v5lo8hTYPUF1bj3NHHDI7pH2FTRYphRO0TcfvxnGy
VXDOfbz/8o1xkIlpDcy/eItdmKsEzz6oqNnpXZXsXcz0na2VB8dVXED5ofHZhYzlrkJ0lqc13SO5
ithpYWIikOa1aLaRi7MCN/Jjg2pBpzFGDuX/I8sGZ9bs4YEN7+aU8hPVzq7x8i855o+2ifuZZFdt
qyNABe3aQDVbzyXzJK3pny03+5UsfTcOwug4MrNX5hjlLiLNfjU4n+Niq3Rm8kg8XvW1JPa81NPw
xEmA1JRXkB/SBO9A1naIvtJKTZQNebirKk7wkdiDODM0UmfU11wYxqNWu4zx05xmpuUmhihEuuuq
AliLmLkKejP5dRpHPPlnE9vOJZHZ0dQpjPSIN8oZKffkt5E9TWFxYMnMDqw29CCzzFse6/5D63vf
Yz08Qml7nGsXIA/K2ZDNxApeZBlUnQ/5aDhjiyawm+Wwy6iCv6xro8J907B/hEVAGTrab/rUsgXj
FGjLz340vg0TMmuMnLuO8p79hLieEs55jmxhUK/CZcytF6WwDaHAnn2KjZQIO0p/BO3YSU22sijz
/Fi9TAUqaif0tlHarCKETDQMSGFhUkbmec4G1Cy1OiKK/oVTCHoiWxkmGuupZsSWwPxYGcixLfIu
/YqFYJz8+Xl3J/Kn3sAztpg2pu5punVe/TnhgOGuIDYhTOpd1dpvVmae7b6DEC9or1VvbOiMkCi3
xasuWaskxhE1yTpvWb8MpCPwW3EcAG3BnVjwrx6wcQx64j4wMTVZn24z3blDJ0QRhllT2AvPvcoX
SWj0Rxf1SX/F3oO7WoUs5lFd+tzEO2cxPxNYDGZOJz8VBiY0EuhWlg5NXjw7RG6bBNAfptB90xrn
lwEnHNoh1zBaHGxLMP5epIckAx2J9PiYwkTfwSvY9bPt47OhIiBQ9kDi10UaBZLf+TxF8V9SME6n
9802o4k2X+9fcHJcpmZkyN7Gt1y0bL2M5wjcreNo96p/Hqz5F1AbUtvhM4rkjxV34iwp212TDmIm
+nHldNg+i8T9C8PimWZOHlSZ/eO3TZD1Y4ZfvvTYn4qTYYpVRY+/sqKu3hjoA9yJN1A1JO5aEPQw
N9mv2BVZPWls1qlyejR6w6kdu+0sdRmEQKbYpN9KrX2g0CWlujbU1mrZjer59Ai6kmJ/YS0RYb2e
e/YpQvZP2y5OLn3t+lu8fJfEN9pL6ggktGxHN1EUveXJTAfGbnYe9TM6RAMbo/Zcj6QVOn7O86eI
UHR+qR2vfSm+WxmedbDpJMSfW3/kiWiHO0vJa8mQnDjbR1ZqG91hf1/X9bW2qXMgxXD+VOJ55gbS
cJIK8WIIWiygCwOa+o3UyDWCyPNd9JgCfHPPwXsVGl9jMyX+hWFe5E0A5irvuJTW/B2fTskseyxe
kcNR1vc6bYqN5rWhiKaSW1WslJn/fGlxwXDdeGipmAJLqnuBupFwE/0yutqlUq7cFqr5TLviEbnk
sXfiamcr4+5WVb5K6req91/RIDxnunvrU4iFOS1FkiafouuzQK+WIID5gxjjmUFSYa16fCy1m6Co
muddpr2iSMYN1p/yGftgkesdPkwUnnWx1Tu+QrLD9gCuOD/8F5tYqJXhwSuXIiPzyWVRnBH5YxnT
sVmSa8xX5ncNElLvrXfCF/Kuv+KIptBjYLVkrscWvA1S2lCHoWAuX9gKZEEW8WhYJtgI40ERFEkc
g8Ax+RLzxqFBmJ/Jh3BYi4VfGd6H5cQqZEUgQ529GFzNYZtvsQW/NkVIb7CspG19cUvnR9vMbmQl
Mp6lCdBTQBehRa5KTxseUVYk29CSAOezn4QUnwhZGoLXLrAEv8joDD8UyzvyZbS1eP6/hLdTUjaU
e/FlYbAxJBmK5z4HniTH6r2PKv1QtlRYJpLNbiavjlaRmEsqkSIPj1PtvJcF4J0sabfQILcjflML
d0OlSLtArwQDdrkOAxAch6RgNgP2u4kwmrZBQsW/Q7qxOL5PeK3d1bQ2Yn3ZVjILZUbZ9oW9nIAp
SnLyRDznMhfJ1yRp+AzFA9Y+xjFCIzD/L5Z69XNAHNx0RPSsan1+TnOKAEJF/56jxm7wECZ/w5w+
zGnJGLt/Cg0qI63D6+g6v2hA3gpW3StKGwxFNb9lA+2oMvhP3XAuo4yybslDn+03jVIUEepwchQk
hkhkN9cWTzWDhsbldatrW6euYv0M3mlbo6gmJodQKW/LQsw8jKH7xHTqMQLMw/ven9oyevAJCdoX
dlohxX4HQYT51GOY1lrw+lJf+5v9+MdrchZs5SmxLMjiNmJH9j9o9j2RBfAtsIwQmgHWM/shLXvt
GtFDMvwUhvNrOfK1nxpnU6cvegqwz6FoM/L0WXr9PcvZO9X+G2XfMzlCCNDL8HOZ2zAG/QExZa3i
R+kiT4VlByp4eowjvv0K0GDaV3d7Ym4e3Qu0w9RJKISypAavgZ0g7sO9qv0L4rS9iaukaFFDV3Jb
aeUbGwoGC53+hjXyeYaQvW6H+pJwktEmUV6z9acKKFV5STJuCLdujmbXPfcdAA1b4liTDsTW6TGU
w9swFNXu/68JEsUbq+VlFIBn/DxvbbY+q1ZyGk81sMiBwCKrQAbaVOrDLcq9t2i0sS8AwS6JH4ps
hXjir7azaQXx2YGQUL+HWvYKzvBJwi3iTzYCtymQMvtv5OQQmIO9oaiZCXMpvJtJtfGG+uja/ZlE
Ss7dOvkquDEDDQBCm090EUy5hopZkMMvReZWyZGcmvad0fDvpIdBldCIalRCufcNdguSC9s6octP
Z4GELt8Q1wdu75e+RC87bnq3psJx+olRc39a3iJg5zgv/KOwo72e+ZcuzF8TF6nzEs5XOdXV5F3d
ZLI/zaQwk0UjvrOCUzxBmo9GvsE9pOzi4LftAeKPNvcnr1GYS6Mfa6roWuSh8ENOIuiIMmc8QF5C
0IYcF6K8T451KsOC4dR0H/tsWPej/s6seoIqwWQP+xxodPe38vghhp8GHjdcHjqovAGjASd8yaHB
gn4fHUoe8JTsXdKrZWnLErrmLOGCFZq8NpH/WnfhVuj1Dh0i0t0J6wWk1aThhQADkzjpoxNqZ7Ot
KoJyT6bTojx3+XNG0bXEzYC2IG5wmYf7FRvS2vEv3kTkDoBSyutvGXckTLKPMJaA9JepmT7lnZnL
0Wh6SqqCLzSKX4mHnvn8dJA/E8YAU4iV36LUW7JOca0fDUG02hgWa62r2WlyrBGycKr7hgnJvkAx
Auj0YvanRkU3ubV99e3bsP0d+jgEJZy1blZuUDr9m80wWiC8BLYPOFaK4T63JUNbo7m0JasIR3+W
2H6k2Zxn7lPQHDeMs2ed1TB2GPzysbqFifglVYlLEg/Kqmt4y4hpWaV4DEfpbwr32lQTIiUv+yJP
PRaLzA8WRqrJvXC1c8/VEreAMix/2QnxMQkOOvDrAez95dwiLU8xysC5nFC8oAx9ZNx9ob7ISwBi
Dj01y4wcCZ4+B7Kk/BERVbqWd3uHucKki6dRI5KuHM9+wTAwFAVGIou6W38EekBN6WqB3eW/IA/f
evYPaH4GD0i3ZjCR0ez5Ga0nFIml4ZwezSr/QWSouMsIFNZMVFVl9JMY8a21UWmZSXeqBa11aJA9
CAs4dbv7VPnfDolM1Fvb3lBXOUavdcXloIX0OOgN7ZYJGw0qKtMad+/oAD4Y7JtstHcEHh/KwPZT
HmKzKZFkARrWWRTWl0hOH7bS37CeXKyOOW8H/iZbfGOD+TTY0LNbnMVhs+M8ctYaRLsiHIK2Dn99
d9b4qKdVX4MY+VZ1ptY99V4ocioCdEs902XASP+Qz55xAsQiDhpV8hGzkDJicYOHfB00F32Jhm6j
u+sskDdtr62R5T0PCoL40FkYl+ULVNhHDMAHC20dSkb44ZH1UTeTYrbRHPsxeYWsdxuykX8wklZo
pmvwGc8s9aFls7An4kyctAlbOCXM4M1AwUq8BwOrFLx/q8r3000afSWLptimOENyxSfRw/TJQdd1
2JyjmhtddOMlJrR2M1rt52Qv34f+x/PD8gj9cS3CFPs/PkSIeLOd6YSxY/eeCNsirtG+oDtEj0g4
necfban0c2SRemHm/Wko5kvfRUxifYUOVkutQ2JgLaVmJHMEhn0hOkgW4R99vjobLJehcDyaPSFg
wouuc8W3OUGrQrwytfs2jcw1z+Sy+cnnIHVTh4XEhFRtl8ihuLIJJAuiOwqt+G5U9xcOvHVhq32T
BoiVjEEOWVlUn91UMvOc75VifJTO6tbpxAUn09Ivp7Fc6a1IDiIR09o0iQqzSAia3NZceRr1btOM
177lEfb1+3ItlKhsVooGihfmQ9kEAQrbeF8A4cpFqcigxmMMMLC7mGFh1fM1GrQnLR2IpOyZseQq
IiNgyr5jMudXw2i8I4KItmnf9FuVjh9pp4ckHF7QEpoY+GmmXOcKGw6MrfT7q9Opve7K+BaVQ0ev
KLaRds8Ll8/Rb8KAW3hXSVo/tlrUdkSyhKw1ZzH6l8Gl9UdBHnTLVNDPX3ygN1ubWhTgTryIK59T
xaRBc4hOcdgIMm7yd3U7yyDpLCuIJoYYZeT+09KGOfmOtWJySG3vcpVstY8VBpyapBd0w1aQzbZ8
0FA4ZWD9tpPc6YRCPKiHRm/HYFgeQMnZX0AIWkpqbwt2CSYdaluAnDEpxzaJQJO7yca+3PZ07thu
rnhwSbjrIoMbbrRXcwOtBGROtbs2Maw29uYICr/yiO2VMIfHnGVSkPmvqc7RhWD0riKs3WwJ0H0Q
Uc3aAHaAYoFQNQKtAcZQ5v/fbVT80w3XZiLu/MwGAoV6QPeAN3wN4slF/51/som8DdKVu4byDGZy
xOfKBanSc+bpBHN5S1ZP3J0rxyRPlYdwcnpGfQD41qlbXjWSOgDZYOFGWiPDZ6ZNHuo12o2udPZE
duIFTbIf/g4Hi4wUwXzJCdEsg8xcZ2xPNqGML4PzIEyqkshAeGWGYwgEDLJxzA7PReyznsC8F0T7
oDK2donubitf73BLV1e4sciwYRWguDn4MvvMGjZyLCGPqeh4OtR8z7t5LytcR23mB27ObrBknEzS
gYcXzLW/DZVbO1BtQbFkTIlQbzZJ629rr54eZe+i4WvYa9sM6oFOkDCjfpJMwZQgIGGhKehe81pK
i9TxmJS7Gr8fwrZpxMaVjLq1bmftIDvxhLl9F4Ok3jftg8vpio2fl+xmdB8eymyOVk9uerZaYe5/
xZUjyYeK/7VRPrKDJ0aFoKQVelabo1Z9GI45BGNTnAaE5QXHKIDyPXpRHq9pIILaSwLFQJUs1nc3
Z7LHD/+NPjHkruWdnhYi7aR9mMz9KeyEvZY6rmqoCWdRepwTqOdie2J7YhuIOS0Ecbph/zLIAQ7X
yoNfsNdpZCu2rf0/6IFVp3J/55m6p7YgW0bqEcweyzG2XWsC2rDzAd/p0vKrzSFt0kH9WyzvG1TD
LyhmfAiwaJEmVi5m3f8gACDQtCOUxeUf+vxLW6SddQQii+4bqX/vX2gbvybShvkeFEtDJ4vLM1s6
cOsnfmEv6GKaPmBzbDGQINIjLEF99XzP7GVgiBIxTI52Ww7b0owpgxugiNkAyjvPkZkb5Wma6Hph
q+BH1mLOjhwsqTVd3RjJRxPOQCxmghzNif45KjEr+/VDwT71WtU0VWRHoTLkVJp862okCd0EBSSq
67/BFIc+c1P2UsvGJtOfAtOIH8yYAXukMNOXuYFGY8IZbSMLiWP4sWW/0zmWomxu9r1RYkKsq2M7
TSIIH2c/RDmUMnEgxCXL2W8xy4Fmm6AUsezXwhFyn9mjJCbvmdRsQmEcjyCZSsMGjjpIQDpbo0jt
Do5eLXzZecvKE+WitpmLsl4cAA8sbPl8segf0O69jB5XUqo+sLbWzBMKEIFh8uQ0s8fQmAxXqsnX
QeDPs/ohPorxHEIfVP0Eqkgi8aWesJqKaqfZOQUbrcLJDmUR2auu8m7SX8Vbu8/fHB95ak4lBSPn
BkdRI6UtPeW6qY7Iki0OEZ6nV4WKomFo66TGx5STIR4KpO8zDbyeDdOqjjUHbGPyN40+1SraWzK+
uGsIGa36u6t7SL107wO0D+A0yZYh8z9k4342aXWdpPjNc8aEjF+ufZ0QmspwziL+Qkadc6otAq+5
f4JUC3cS5s2mwuoXGeEvOSY/DUH0sFjRbRstYLHI7E7QWv0WK5+LXEvQNiXSBr9iELU62zREqP6J
XaaDavNXjAHOxkrdddNTqE6ZfrJrEr0M0oO2SWw+99A5VpUFtHYmeplAYwKIdPFuoNDAbk4VNi8d
1ysaFAHTjAVZ3TkPlvTvGiyWfoogf8wdoj0d9XfGUMwUleRck+qsTdYd82ThcklNE5UVxDNG59iC
rBhdZu9VRK3BFjK5kaTQ3ENrDQjrWiZmKuVnhuIH1aUjDwatxEkHuzIXrIwgdNibWU72VhkaYF4n
ezRaqr/es4HE02BHikUhdfijq+ZhO/cRYuK0D0isOySW2IY1vwRGBCRac7u1XIwtEZHZRlOR54G+
olNxdSxIp1ixsCWhwxwT++ziUHer8heSHgv4yW8Du24Qj2aOG5QumqLeTTGVD9EzvpE9M+In8phe
uHKYl8c6RpMm3U94F6qSXtxOtC/cYSZJ6+TomHNOdJ/yQEq0DNoG53eQz76m7gT7gQTM1U9M4j1d
PcKDcJlrqoytuVAR2lHUS4B/4V4gLfAaY1W1XKKihrPD/28V10EInSBgdfcZDndnkRv37NHgeL16
Hs4lU75bgnW9l6MjcKaTE9q/Fqki0FIjqDz+3W2ZZ8gOKASB5z7TSqZyYFGKiEZWC9zewJwgO2sd
qSurgpPlnbCRoBTK/U0+Yb6Fv3E1WGkwmf71tCUSK2XaYo0kITrV2bARLi+gTKvGtVKl3gcpKo+W
3rPkJ/adG0FfK4nBuI5LdEsZc8hZ1UettbYR0st1FzFTIF9sUxrDJXPgu9PHj6voN0qSn8xoPiuH
fMD4Ty31mynyTy9FmCy6r5oTeDIGxOw9Q9hyerRyzaF2qXB6II+c6bBIqGxwAaMYCzkX4Hxv/ASJ
h5FrMyCM+McmN6LMSYmNUZWJSvxak2cHiVFvagMHHDv0sCy+OgLJgInzRHTDE30womgSoxD7MrkE
ftmiFZoRHWVPKY0sAM3ydRypb8it3BKVfdB9+gy7yr+8gm1Q15gjPxaDiUTOdzu19pOPXN/Kwt+a
YeeqmMWEF2zYAXG+xpln3UZcW/ZR9Ew9gBB++gjnEhuwEa35qqe0awxOe5pfxnUCdDT1JqtJs94x
Xb9LFjmBCMtPB/7fGJOH5JqIsjBAc/kuJwncFYRT8hCFamfpTAsQLGFXFCvSSxNO6FWswlvSQBjS
Cbqg1fS89Ce0m3LruYj7asdmyPuuBomN0+qgL7DWWnr8onIwnkwkZeFU/mxxVa1qI71ZvrtJovIn
rIdNvnhQIE4/o3rl05fqkxcp23mJsakn6zqq6K9pYTDM2lkW0X2epoMjxzc3ce/w3K2NNQEwkjyo
k60lx6g+t5nZPJuuu58FlSRS+cBv6c5zywWaASC7BLuCaj4oMiheyZBvohGiMiuxAK2ysdJ0Xkve
qo1u2W9euryjYYkcWyBInuIxMHPmHw5LQvhAYp31gE1UC+EhQpg1gNShf4HM0SW7nlzXrsYwqOb9
UOO6zErWbiO+i0aBmKRtJnaSBjEljrXFpoptynGZ7bFYcNSBLPpNPS5PAnDecCQx1YzmexqjYVKA
9iu4tNtm6rGPhNbFi4tN3gxXvE0olxyy2Irk2Bvcf1xaH5YJ6bdT2sG1YOkVlnNjDPvl+PHe4PuI
/38VrJAoNRZiTf6DEObWZcYmHh/yWks4b3nNOwXzJBVhvoeupK/0CtdHVn5LStUzFTLfgOWuJVxM
n0EliTcPJiHcjHnabsej/qwr5k6hB5EadrvOcNvzgTV41WtCcOM2AbXGltJm9EeE7qaZWMhH2Dhl
xXxNEYlodUTHU1cC7ioZMzXpdV6+UkeiJuU6QTNPaBNkLpz168KtnJNZKzgpWn+oq7R6yrHBm/BB
mGzbiMytnZHRekvscw8F4i3fi5KdbXC/FET3ootYyVHmUAeoWFEpvqS9LY5m5V4U7UI8FMOujacn
V3hH4t8dpGqwiPImwU7Iw5IJMzxD+cId2E9fGj6ZAiPSxqtYc9s+8xRraN/RsVMxYmfd1hGj4spf
ibY+5rRgcPuqEw4HF2Wuskg6ZnxpyuEIApDzTDsj9uC/zzl1Kn9xHBTsTVmg8Fs73HhTWW0GN2IK
YNEWizAB4N/SLbP2h9TD8LRuzXU86L+jI931zPyE4bXa9yrkSbHZkQofZHcWW78lcYdbkSyBZIaT
4AkyngUaAC8rmH/E5OV4kIvngvxkjvyJjJ7AJYHpklk2zQg3DV4m2gBZgvLL8uQLFiNpx+Z3PMbH
vucNyMfsKSaakSj7bjMIQTxyCzVfxL9OgdgmcrmaTDJ+8KD9GBU67Fhr4MxED3rjp8+aN/2ZiVks
2Ae5SXss0yN5GwJiREDOBbJmQX+hWSwxlbGCx4XDCLvabNkPE+qksbaHB3tBGtHmiz277JPCFrA2
G3g9ecgLBv+6tLmomfg+lVlYBE5GGladeIxJYfLIAZiWw/e+pndLtq2UDlKNW90P5tbPuhAZMKvs
sgEd1WJireCdKWld7eiUuom2RSjzns5QoEYLvm1WkTUA/OjYzqxfD0Pldz+cZm35bCpURYOfvXbM
PEHdHZkfV5J6WU9LgyVMpAd2Pj+V1BkHBu2gugsDFiZTRHMaDr09/cfReSy3jmRB9IsQARRcYUvv
SVGO0gYh6Unw3ha+vg96MRPTMd39JBKouibzJDxoBSkGYYYfAB5y0nkzxIWzxDz5Am8X7QJpzZYo
UAKJad+NLTLLOltWjXpNG8YXmGWCK0acbvGZR/KrJOZ+Gwnub0N8BjbjWdPgRLVtky4g5PU1ISvH
jsNIEm+8Y6yakvRzD3Jx7/L3pfNHypd51iQpVVmE5rrx9LvXee+pcNHu+SGLJ/CNjBaT5aTXf0Uy
apcU3GsRmfFmcvVnr0jZ72mkhmbJ9//MZo9I0y60yUCXW5UP/TIt9XAF9L41q/FpbKa3wJy9ehFO
Cj4SABk93aSRwSse0xODeradzpNS+KoRRdax9pmF8ynkRs7aCqNv12wRUEc4SoROGCCU807gpHTR
VG0LrkRT+ufexynRJAr8VQ2kTW+Gb3eY9K2hM/XXsCCyviKezDvV+pefq/aIsj1YGrXmb8w24YgJ
HebIPeZCIrM5kAhYGzlWgT4FOpIUOj4j4xNDC7LVLFRWiQWszCX5yYMSugG7suurVpAXYTRbcgIN
jLmd2NDYWBu9N46xGU1b8i9pAJ27WVPc+eh3/L586gZxaFPxzUoT3IgFLdNC9zkOmTejxoksaxNW
ICYK99J48rLCPyrXIZyYLImgP4VDP+eSx9uuMz94O9903ywJlZvm4Qu1qkPP2Uy8j0nopat6lPtK
lvrO7dStsjIIQoSpbkNzDxIQwrqZCbBy6iITySo9tOKz8Ydeb11W7rjtqgqda18tYgVbWsTvoFKY
ERD3vRjd9NUD17NJMTpNIr+OnoUiuqQImhcbbK8KTN4u0xqWvkOvUziRFgEljeABYjK5hV1WA6Q3
h2u+K0paG6w9gdcVA5VjmajVkMq3mkneti+4t4lfObfoEmqLLYMEBmAUg1phy8Si7ZIxN/SU9PDm
WHsBh88GZ1cM7b3BkMG3CFYP6Ze+1sFrGhkKJxi/C9RNyK6i2r+GU/zp9uhEHcO/M1zHrahz6DQp
BR5+ZmOlueQzKvuoZfpbAOynIVsLyyyAdu1RCv2jNZHo1PXm/3/Mds4BQdh3MisrMOGqL5gYJ+gx
WlHdLCbPu7r+6HqhHQrmDFZb7YQNYdYWxDEmTXNOcXg3HSylrFOvTVLPz7Ehl1JQzPR59sfEkoeD
ybmHYR0FFEVWqj9zyBDkdmiT1L+Z069eREe3brXDYMykqgSkdMnPUWc0zjq0jzoZx40QEJbz7xSZ
x7Ls+FmNZtSRjKz0Wvob5A3dqgaAvkSowHWT29xC2U7oGbINFbEu7eWi9ZVzD2r1Wr7QjdqvLE95
G6yFiMn3y+TgnToE2Kf//1fUjzSoqb7//690mZEEYuqOd7Ln/+KG5wanTgtUiPYQVc0HDuG2jaw3
qiBYA3YKM2HosM6lkEvT5gm/PLwraEJVn18iBI9zJ9s9xWH9zstOQJoZZQeBde7Ro9OrZfLQRjc5
QmhGs+dWFsh7JfHC2HfkR5ukn54FTspd7Un3LvLhqaMx+3AdFIm57Y87xGBi1wmXwzQFsJuIW2w0
IOC9wjig+/dRXrE/DoNuxD3efFel+tf3FiBaYTxFiJtukVF81Q6tehSpcelK1upeqy3dkIm5XY7J
romJkWfvvmwQWJ+Q9MdOoi5xaIMzk/nWZOt7jbOa9yUeFobP4LML6bRbQZhT3cQQ5401wCft0PnJ
0RAY/gprDkgECQ/WIaZIUcapUs0Jy9ADDyl4Xa3Ur05I9Ihf3BMVlKc+GFBbqn8lGnH8Zry0iTwQ
j2GfJFZdruYKUlTeyg1xU0xIQ/ImJY4M5pnmONKOUHEGpIPsYxE3NKSTdm9hq0ibHQEiv5PMJmNl
eVW9YkW1YdYQHI2uehVeRf/SWo9OI7HHoLtcoleKrrlm+IdSWdFGeXV36imsaGxYbwR19O3NukrC
vebim8oDKxqKf9d7ZslPMksjocYxVQMcO50Zeh5alzs8RRFKs4zdh6AaBPmeXMnUe1DDpNs6YV2u
pxUBHVYeXypRLfwGqr9fKQbmio4tNIOT5euSh8W+m43TrMOKvEPfcWatGNlezPJY4LMjbQPaAMvY
wPtej00HXr8lsSggRnPv6xqElZGrk7tmxVyx17H8G5WzGoz6xeBbOAytvKOEpSEUaoNL4hTl1XlE
+tZ53grC8qWtCZFXAwOlqc48QCbRki5rTvsi4EGP7X0dMNIbKTG3pHxHGUiUtHbbdRaSH0E0uhWN
bELq+CbnWJzMooI2sT8LZlDEC7AYjRlI5ehfaRlEs5XxZ4FUiwVBcqMRC9iYcYADMZrNaSmmyklf
iZDby1FpuyuglwTVWSsEc+m4vLFnN5Y1qdIJtf+KU7/G1WqsRSnNPUtLCMaTYAGuRz81KaKIMb23
fu0ob9p6DSYckDzhMoEnv4wK90mOkJc721gRoZYcdMO5NbojoHIDWxTNo8dA3pIR0hnNPUR/uYtz
7atQxV3oI9mXU/E3FgdQfiRW+Hi7wnKEIzb/VZ0zu+wxDpNDD3AP+1EOUoit7T4L+o0eswsPrAiU
d6o9MfRWRrEbG+tHw18/f1B3CWd1kw0km8coWN3WYX/ecKOF5JYZorx3bVZDnzH3vZ6D3/da6opm
S0YEOj1BNY00Y7CLv/l5I6mVnG6MApaM8q1VtIyQxZAsRV9tDGSlRF++NEOa7fw6XyfOcPQ97Zx3
9rT7CiW/O3z2zZjNckHM6usswAkZyLdiXm1i2Stgd2tYcAdcsR3yCpgvuaT37Ftv1WQwEtqUnX/r
6Y+kZvtYfFYgLFaqd9SKVBfw1xPUARJYFkZRvI5ETqNCRHUReDvMWaQKV9Z7b8rnHicBHqCz2dFe
i0r9IZ8h0df9tUwbDFVfELA2uD9Fj6wiSfUFgvMfS/IwoR3CI1vIN+2eefKfbslhyy10Nsn2yi1D
2wGBeys41TeF9R1LbNROp5ersGj/daPD2xYmOk/lSjhQg4um4q0L8XJzcK/cvvu2gsbZdmVwSdtC
7AwRf7luvMot3XtGAV4EVwer365kTLiyK/djTC9+Ln60RG07JOHLwTSfMp2Q9PnziHE3492H11j7
7maM4n3nxnM6Z2Ue0FccyE1Nd5aBj2SszDPfGP7BabaLNcMulA1hI5m7IWrqovMGbOuU0HWXD9ei
i1ZMLpGeTv+kHVGIpLT7wbmb6ECFrf7itu136L9/VPMIDJ6G+d1H68sgwCnf1BR+MWJ5RpN49Csi
UOvYuCnxxpHw5THZWnZE+9RV/C+ZwvdcwyJlBWeslHA/EbpIzGrz/znW/qP34n1PeOVGi+0B1xFh
L27Gt+CzOwYkPH9LSsO3l/fZwZvUtmQRACM+XeGlawm4R6UlGLpHvv0WDJgbrVbsSjfDLsj0yR4k
RH3uYq8fPy3DAjxiKzyNbrYO8ugQlkgPMjBC1W+iN1cAmGjBNIYsTAlIT+ZKKKv2NiD4aALck6TH
5yfYvoS4Fk9d199DxQinDN2dO5EBWLoSDx1O3sZ3kaTZ1k9UNv3CTb0zToOjnV64TBjjBn2/hgy2
nG38nUmUjvonzf61MskWtl1GBqQAxq52qNtOLHrD/hoDCuPErcgT9PfzZ5Zgv1s71XmaC1LK5dtk
DphT3Hpt9vbRmZG/AXp/hIli5esZimwCypIBCMMIWNY22zuOtmvBaJPtRvavEgD+KXlO+FL+DZqk
fQXmjE43fW1QbdluSops431XVXltXWMdUhSOccAJnltIU4MvS4pxqxr8Xbr225rBE+3idx70r71/
9K1bGVQ3szXHeVnAVouXgpouhiBSZ98BTFxynk/67H1t0MN6RnsiTheIdRa8e40k4ISfV+C/JAzR
fqsnB/pnKr+yIaLKST59TMdmn33WNQw0IMu7saPQHp96VIR5h6K+MMEc+164b33yfKdIv4ySGEFz
+EZ1kd31kgtDEx8p7ohr6aPkM6bpX01TPh++OIoz96hbTkZ4UDsHQTc4FCZ44AjE/TzysBq68T4o
PhQof+XACzM97WKofh+r5Knlg+UrPdRGSWhj0z1ibV7hTHflZfpq6HIc99F061R8SZV6S92JCWVo
XPzSWYadF55c1e1JLHsKTFS+TBdZw9CHj/6P7xEi1qY1z3p1H13L3FtKQNeN/kqsXehlx2BnNerJ
LART5Hh4hJ2lttGUbN3BalYJyJ6m6m+NJz6FSL5jF+5I5gBIChFPTMGflUiWaR6yY58xw0H+WKq4
9kq7ZJi/AZjvJPyzpSiaPxVOn7ThXuJ8OlGFrWrixYfJo+QbnugXaVRLr3ZfDQrpIBQPiktKxczf
czgCQOuKgxHH1zjpXoaStRAxy93Wix+QWX/rKb2zQDxU3WCtIl0rt+B7gMVp1ZlpAA3bGGKWIyCW
+Nj8ozG9X4G2hCQa1Pam/c7o5cTeblpZwruMY/QBR/1ghTiAogEDXJVeumz2+1KDLqK6Ax6OXUQW
MM8n92pEGmM5Jvn6fbCSfx2ZDkmUnvTqzL8N+047FDO7gESPZnytnPwv7XllOJuZS/j7wKzf+Y/N
q9yAGyDHu0CPuwjLkKRy09+1My3atkALCs2RS8d2WiJADQAhQY4tyPhus0pf8bDMPajfU9DMiHdn
2RUCMnfckcRZszZPXqY8+xw7HlqUUi91bjy7kbYpGPSYCIHJIenvdmD2q5h9iT6S6/d/7jdMd2WF
UCPmzbPteutcaThirPxvqrEADS6hmwli9QUkRaR5pmKk7svfriCXkk25M4sAlwRzvZNwP/jDe6oV
99HLX3FuXbK0+ewiFJmIoqh4slc37f2DltiPjCELyxNR4qeEkyYwEUQMEKKx3UxG+ppl7aZ3Gpgb
/pnpP5qAmFWaBUxNjo8JsequyqK/YD7YeXbLkNW6qKqPoGGRm4hpWteMeXHrb0dWYcyM8Y3U2qdW
YQHMFRbwSC8ffFpUynxzJOOQwIcPujTHXRT5H1Be1TDJFzEz9+fRF9oEKs+KXPhlGdT+FmWUogzU
gb9IjNWj1q8KdOxa1X5o0NXWHSAyW1TMQINVkdfuLmC6bUp1MITTbRxADyphpp8DXDogiPmdHEIG
iobSKX7RrHnTVaDmoB3Ix6oB5r4L6zE71GqfhRZ2zGxcmTGiD7diJxfS36QoxjALmQzs0L0YAnvr
YLGFNo18wfI9OjnxaWgg3AE/X2mmwO9MbcHqwrjVqNj5eco/d877xC9A4MQkrpWDwlzXuP0lchj2
HVwDRvUbbko8o70dpmtfMjKJp2iN9ZfnKUWZlGM3q7vJQJhTbkZUp2U4vRH58E+Tz7XdEVPoej8j
hpuMeB72+SzyNe0NwAGA7PRW+Ru9YDfkIe8mMLE/CGNwDr5N5lIYtupgovrI2m4pSj6dsZbhNmnl
J7RQe8F6fBf67bcHApN2Pn1utCBfVK48maHx8PJuvAx4fWynLzfFBMJGIbFXpPtUeg8Xk44gzmgS
DED0wKtRo2I1XhEOwV7aHtc6NzARZCZC1jxteUilfeZbY7MaDtepwlXX9yyKrDz98ZgwAj6inESH
F4voGZzxJgywqcnaJleluISCWQLPFEILrPd5OO2iEY8j3u/nAX8JaBZ1h5CQ0CTUTKDj6BR3QuxM
2b5EkUmWBisNzmhrlk1xZLnZJnb8ccnyl2rfGwPCyoqjEw/F0WO6jJgO1oTxe2c2/pIPxT+V13Nn
5pwdWOt6BOLQnsxm3fjc8wRfcQExE7U680vXkztnMVAk/ylAYJEArUlC451V/GGISXkyA8y8yn2z
gnGXzMeWFjIh50vybJYADU4rW1UPaU49G2AHtForgJTk0a/0rE/d0ncGsQjDazMRv2xBWYs9dddD
dbCnmvCNGkvcHNtHPOzKGehkUgNdu5/eEyspt92MkvsFr/7MrM/a63G/MaaxOwBjcPG+9QtGi2fp
hL/mNB2yilEAhr7NWNCdtJH+ThqPy6G7dIf6SmCvuzLy6MJC/Y9vgAJsiGsslpdUi4HSOh/kIS94
edbMG9QmNZHZi6i7IGWmTPLCdSbqF7fTgtWAhG9peJB8kNXD9Zkz3EgIsZOTZ5cni7MAnapO79Tf
SDW8E6wY0eW86K69b0bGTMC5FoKohgmR+g7k0m8Ab38ySsgbziZ01IGCDCu6S+9fuDusL2S8YtHd
Bo76cxFdQLYZPgjmRsWkc3cOipen8ghtTB5BzME1Tl+xg1w+DlBNaoROJ1147CQ5Dm5HP9TV4ptZ
Ca9FTyXtDt+DFr61a3C6nEUDeRRN9jLU5r+u9O6MHg6mxm9XtMAVWR78Q7ZnCgAqihRqiFkVK+Ee
sVV9dHs2qkK+8Xn9m5JmP3Las9E4gdJ9nfHiJd21ahD0ARwCiEon2LjiZnX6wc26f1BvX/Swf4tr
xW9rBXuQk3z74NzCftcl/LhenVzYQhTNJa71TW6FPASz/01n56nn8l3lcs13/RROlY4Wq3/xwhoz
NXlblG64c0vLubBKem4MCTJxxPGte+9IFw3m+BkU2mRdpcDOYLKHbXKG1H6VtjftlIOJzU3MmSux
Ey1sg27K433S/5puPWyMajyMIsQ0xBELIOGloPTipgzd01zVtgq2xqhyBEDzBM+xt7mMuzWtPRb2
+DtgLwacYcp3uAEuvhGcENs/IGvNKQru0iuJXCjYmc5zAjQbi7YjGAUhuK17P+Q4nfE0ciyE6V9q
IAH2f8bqBvH1jrsIFWdLuVMOyXsseFrj4a+o4S6xVN91qv2bjOxUOAyubbZHBo6WhZvjDydxjzVK
zAMfY5dKLf49hqlQNFs5s1qjhHKCvLWjc5x8nD2pnvyqodlWZEF2pfoKWWays0DN5zk7KfnWZFEc
QuDJke+esvp/a8z0QUhlCktBPQVlfoR6QcmR2S9YFZRZswNK0apZLUY6lkaOVv2zxZNAnXxyXPmp
auuuEk4zOF/YBdjmeQEU63qnFeVPQVEN1e2I//a7S2mzrOh9CsWRR5S0hGEVMoyNOl3xx80SBbyL
JspKfcSGbHE06L+h/qHnNkTWRjwbVOQ0LCFpsyGTzJxxEf208vmj6upgKxzqev5EqgZlQbULGX4u
06Lc5znPSx6Mt2Bw3q3oS9GDYRrc59weVZacKlawIT+ryeZ3Y5ftZeBsUxVaoeweUL0D4Ih4NXHq
ScQmME5OnHxou4vZe9uouyP4eQDgdQ1O91ZoHNgkOytWeCjYhgR94/9fQNfxpslWrCe9p3OisdJE
yeGaAUjo/XeVAm8YDFbjtej0pQxfPS8Vuyy9CzNlWG2vGC5pAK9p+xFBk3VCXq1qALc2LGhRHNMl
5ETCWon2pAcRDB9m+x2tKNCFDtNrblIoQB/gY7l3vvfCgeZsR64uNFPZchrKX8du//z/JWMoJTRh
kvHKAGgJ6hcNXKjt0A59JKARmYrt054OHcns7MRAsk7lXYzPHHcIF3PrR2lMHQf89DWf+hB65cqx
fKBFcDjcqIq2Rpy+jA1OTW8GejAtY8U3fFraFK4BTv3ipWNoKaYDdYFfqpMAVc2MD6qah2myEsk1
7oFQgAN3S2QXPuCMTunU4iQFPDsadE5/1F9QXgA4Mjus0hpZRFk5gNCCReKE7o/QZkTvZL1rNlJA
P3DNda8RcBsJpY65Tq/lkRfQmmRdRwU3oBbE32YXJUfR1nejkEzSWmChKrP1Q2c1hN20EeLLBGJs
BvZvBQWI1lo8TbrakShoAKXiJ+ezbM3yYVXsUkpLAwZeZbAMJtyqRfjqWi4+rnkzQ6CIjnOiINIO
cttn7Ho+1+qwNGOAF1SGMERLTFWYSM0AZAqrchoeCevTw//oTadWt1Zt7p+NOnjveutMiAVrhjE6
+V2Oape+q+7N13ZAPsK89ZoNNmgauOVa8NGrjAlA/pqF6L1sG/4isuR2xYbpVdcZ/482pDVXAKDH
P9yHHXoquWcgFS2RssIidzSsV2SmNfJXEnsnuIAGL7S2gPWSrTM+63F4rHvWJyzXCIlhOMpd0Eyn
yqfGKXXoecPwihj5hpjmbQJsuUxa7d0LKa2pEjEB2vVJ8a3k6Lc94ez8IFobbvfmMpRqWm1fT55x
0VW+TxkTOSGyDQN+4Gl0WRyoxnxOYoSVup2/dkb1VIJw6esYFDbvqCm1F7KNuLwDFD48vGz9EnEK
I7og/dyt4HBfuWUzoK1DzpeZ8zwJgzecHFuIstpvZBMZGpWA46dHpsV3/Jckh7JGpsPaY1zfVPA7
Sou4D7P+1N3o0xzTMyXFwvWOTg1LqAdnltUE8GEeTk3rVufIJyy8h6UBtdT2vW9ZXxkEMpu1kehE
cUWmVg0yBx23cUHecoftso8MOiA2nk1hk3CqkA5gBYAA/lqjWMBHHv0VzLu4W+ZSDzVuZfwoyUUW
88DIeenfJyYW2e/I149Tme0ZYN0tsCapCIlFHbQXUD3/ck2txha6wFDzelbNdzk142qS3Ch+8dLU
CgWIob3IefVaIdKV4MF6r7lMOoaJRHDMt6Khlor7V2EWV6dqmSFbFvJldRt08Rsz1Dq0/juR49UW
xgGHRJTt4NwSS+eEuyQIkRWW/hte/t8anJ+YCPPU1goMxU4T2ktaHJAlA2RJyPA2makLyxPnboZI
2+V3lbncI1r7pDSxnxT70DDcB4lxngG3WnZ1u+ohiiyEKsudzW7FgccObMNkA5ATcRIifTXG6Bob
s34BB0nfOedeD+++H58xoRhsecI7raaCw6JxMxUtWPoWAxMxWgsyj9dZZO9hc9gLA01GTUT1bnQ3
We98lH1fkPwYEmlcXdFcQVJxtSM4UUDZ2CAgGcvV/EdbaFLLhluv6YML1eC1Kbpj23pfpLXfCssi
CB5BZ+hkMDcKBNPGipr1omE0c8viqPUagstwfMZbfhNpeE3NQ2Hg5sv1+Hfgt3MJosqTFodi6T7j
aT5r9bdVz+5IjQw4gI9XM3JfK//MxgUW6DRhcPG/UsTnI6FkPCvq4GnI2aqeyWZUQtrp3F+nm8h+
bj6BJZy8WXkqhLwKNrIG2bsbVU4Xe3QY8KBjbkOt3XYM7pjeFs4mi7S3miRsnk1GEFzJZuw+WGSR
sOCRuhZVn0pn1paTsUxYe/wHfu61lWDkwgCHlyDz3cBcHEQYLNGhUyKHaFl1Dx4vURgM0duQ0VUZ
bWTDjI4KDwqlrR+rsdwzLKo2/NF73UYdaw8VJ01/DZSsdwwvW2Y1mb0Z0nGvITMmiGZm+wcXZyBb
K/PCV9Okw3d0eKE5jVzWmJijE4hrPTt2OzGXY2xfXB3mUJxTU0bw1v/3phMmhVMgeW388jfGM4z+
eninSoUO5EbvtqO/KWN8Q6bxIBppRTYB+AqzdjZdhsxXxPqxqdJDPvqrVklGajPrCy0J7VWLVjQx
I3gkHWIBO8YSHX/HjLBwDtXXSLDVHIFmhSWrinKoFkk5PTm8gyvPBQAxSe1XKkRrcEgdFf3JklKD
8cdSOEF15Fo4FrGF8Vn7Stm3LToEXTJut140Ya0y0Z8Y+JA9h3K152aPYDm94HFfV7ak9mO6m9Th
MRDuHphNNql8OeTiFhSJuRLQAfQy/vStfJ9V3F/Yngd75BcykmA9Bvp6JH9DMLhb5JG4Sr/DlZFr
HZvE4AdE+hNgTIQq3ykpDppkjFcX0bhQ0Xdalf+wD/GBqOGflwzHqS222mwQ6ezw35BlO0AhhDIC
ek//ZKKRLJtJe0tmCanWvI493nZCwLiakfxwSxIQ4cPDZXZkP0rG02t7APA+jIfE6PoNHAp327Dq
TAIW+c3Q7dzcvWPeSuaOA1XxSFB7mbI8n8h7gEWgNjRGJau8HkX3WoZNtuaAG6I5irK0vKVdDrs+
G6xDRoR04OXRLrXkrYoS5Jkd3URjL/r6/+4AvYsXazULKAcRdWmDxhuupIr/TPOGdWwfFTBYiK/M
28yCCUius4ODnMlBDJCWTcGusIHcS6g8sBTOLUQ/LmTsPQlcbrh6YMXeUbt5p9mj1AyG3J4E82p8
XMQ6lLZxdZGO+VFSX1ApZbkut6Auz9QjoHvH4xCbv7U93IDGvInOe+khDocCJ3kYMS7wtGyFgTxa
tvWIEcNFjTIDewD/bjC+TAtBgAtOKmQN/1s0f/y4+tQQgXUpiusQSys0o72e6sSnRtF6iPBeAv4d
l33FBpMxhO80M/DRnw7tXNSN3fTlMaJZico9oIN+0VwsmLJFmt7HO/w5HlX1QYIyP5JBRwiYWRyi
Cc1jL32Az7Z787HMPYc1p4yZlL+1MPrN1IEjHjA/SdkehYPx0mADOX+AgSwYhHx0SbUqOyzu3jCb
yGVHICIzMimZF2jrTjg5USoOjJiofAr8ZGF5r26Nv7gxsPcnbsLIjLecx6qDgIzw4uYl5W3mFy1i
WXk09g5Ttc76Axt1soqhxD7rgMt60wsj37gOcygXCpOk9/fnsQCrjnKH1nqfIMMsi180Ez+pFYHl
lt/IYt1VUc4RXxGYKVPKfZkqNjl5fEN9sBMmfBEHVhCq03RDDA+UATiLSbOjD9KPfSqOFLj0LFN1
9qf43FfDo1bTqXaNqzGW4MCakqQKN7/ZDhOOAh9BXyZIS9IrvTgmF9IH6wjnEyyUysjS7cheurN8
Ai0IfJm1Kf6O9hlB+cJ0CZfprERdQRtq21ZNTO0HsUYs6+yy1rvEQm4D1kmenV0FJ0whuaH1EdUp
It+donvNmiIlwS3e2ol889ktkQjy4XLcs4lD60TK7aKtUZ1Ls3o1RHErB4KTIIOfU2MITwVJGfzD
wXHUq6s5xfuKDyhqNaC5EcFLBrxlz+bDrx0wLACG3uMMhR3PTzUPy6uVOydBOAXtuqeSN4/8zFjS
dLFQNpcVsVAwEEmNM5uz0vK7Fd+pG1eGk4bcV6Sw2Bh1NJzamxZ70wp0bVZo11ognDPyHhqvQdlu
cTGpJv6c2h5/fzHuisJOMSSGjK+M4JnfmpzivnsZPX1vUpaxPmfXmcG0TISsUY+pE9JMoowcoqCC
iSZ2hKS0MbUB7TSJJKZIX8EWzcyz4Hno4ux1YDZMoX3yVeodkGV1z4EutHVfgtvgqnLWpYlsUMvi
Z6gSHbhELtEsYC3G9gyM0XTsJ/DrrPU3rMjxrBla8Nbls3G6AXMRhYzZSYNCahDPGJgBoac/CWqK
NiF8wIaKwPaXf3Rjd9kDgRt6kwSMCVN+wn7Lm1X41aaqtXyn7Cb8pFODi3HjNYHfwOCgQj666j36
SM/VjQNvK/PCFtW8KJOtDwPo7thjdscgty8ibT37C3ZtDhVwfmkar9U3rmG3tyg+0dSA/2RLk5rV
g0gZZEQVc+Skcikd67WT2ydllgRRl/zW5eBsYxT/brrRDJxvVTi8VZbz3MrmqTVDsEyx9h5f4g4e
mpgbmDDJPv2El34AW46dAUNqTBMTCJRCEpaSlN2G+MIBGaCDb5wQCxTjdrdt77BWLllJ+9NQHe7m
Sj73ouNI9G/J+AOdoqAiL2Dj23m30vSHMaIBoFtotkM3YiebfUdMFU9WBhgFmT9VEbevplvg1AAh
jUxokZPg0JXRShRYsejT70aEPhSyLpPRIDji2EqPqNiQKduMg6zWu87/6Qv2vbQdcKKthioKqmHZ
0KyP+Qi9JjCvMF1vEQbjQ878aTHvexDFRoQ32S/MsMaNP50612+vjav/IB/FlskE42BQyzJHxE4d
6xYzYjAnyRDDpY/Y8EqOZOQm5TavavS1FfW3TrVquuy2WtlvrQnDimuABo0gYQ86UP0RLhfbg3Sv
T801ymcfssEZFmEOytsp4ojWn+JqfM0mSUowcxRkmaFI4q2PGGCb9BkfQgNGJ3L9U8XuPJhlrbMP
pyvNh6bH2/wvlByXFiv+EvmvhWsFx8FTqst0m9nZN2cGKXBYXb0cN6Kl/446KZo6nd5YR3ykeHFr
DKczomnPUGdRZvJGgw6zCKg/Oj7K386rqIls4kZMAnxrm0ZcphFEKkTxFbMN3y+ulcGciHcYpod6
RmJElmeSHIOUpCfF8VjK4dZEEMZEzubYYcbYs2euYsaOlIi3zC1tNI8gD7VsvFekFy8nqK0aUWlc
kj4Jt2d4Wfkm1pnN12FxQ9/3jSSUeit2vnQ7fR/ki+pImp8GDBhWPnxpvPRqMZWk81aZI5FLYRow
k4gFO6DzwPjWLJhM0m7IqRzQdOWRqw6TDnm9cr9pfV+Dvss2TKxR8zGdCaNHz4A6lp8xEcjLNMiu
ygg3KkDDr7c23z2C5VXHXhwDEQIObwKVNj6i5slwqMot5ARBtaUhwq+ZWJ9DB+jMHkHpB++TDamD
QhHrq8PuEUrzXpfOF+AKsQdS2oUQ2iq4R8JizALI9qj06DF2xXsQl+a+RsSUITPMtGG8WLxY3ETh
rpEVp+nw0AiV54Iwt0Plx0TkcjclCWYYTn0THM0VG0LABOFrrC5u4n+Pk/3Zds16ZOm5MAL+Lseb
Vxhxd47KcZeFvgfaonm41mCv48n/DcMDvmiehwigsOs1byKgXDapodDtvbplc0grXp+wSncqcCia
cl3blk+6HWrbLHF+OuOuB/w8vEHsl1IAylP2acIGi00140d+oo1lJPC88U40xCJuCo/wrKThJ9PG
eLZBDecGPSyYDf6KWQNpu/RLBhp7pNzgWf9j70x260a2bfsrF6f9eEAyGAyycTq7rrRVy0WHsCSb
dV3z6+8gfR6QKRtpvP7LhgEjLYniJiNWrDXnmFi5NjRh8EB7xRuOKNTQrHMDatyVnkuxiQCvuBiK
zKBBtg8lqx2z27KQt6bJDDWQt37ZMhZ3+0eGqhB3Ivi/8PZOLOVkjzg9kHPSitctQa2hjQyClsfK
7xseowS3ql9SstUxIcczKsoJcuZRTnc3xPVb52GSsdrPls2BoI9olbo32H1nv/hw5/Drmrn+2UpN
EkO0/tEmqxwO3iv6xO4U+MhdjPE14uTAGqdPxG/z9NgO8ykqTrf2bnSpboRHKlrmmTu+hhUxeeOw
hwAeSpEISOct1caBzVRkIaRIfujK5qyS4L71UnSMUdEYO6/TXvPQnAEqGZNTBTixZWmOJW9tuwHr
PEk8rm5+KgAeUxIAzxhpFI7bSmOMEecPgXn0MGpq4ec6sL/Uzhs0q4jjhwrsH709XDgN49UWwXPt
fl2K12SmTqFA1QftjcVmZ9rmbdVkh9qAA6lH8UMSdo/lhNYz6k34LWl25Nddd5zdCUy6uD5Z4PVc
J0upfU/JoZXp8JxNGsgZunBZY//gzQz2ojAelPYDCzIM48h4T2G6o2x60DDr49GRqD1Ne2ebPf0Y
8F1YWCmJNXenVSg8rXkYg2rLTqDuhOmmRtsI4gK3Vv1C0zdlrPtMiNCkiU9+DmMHgTC+2MJ8yGnk
wqp/0oy90BMiZWMHB2aQlqdJdDdkFtCWtHgEwwlSgxxuW/+BSt3acraaUI376zHLKVISrPQhkspm
8rcw5Hz82vcmHRNgnlmzH2rb2eC+f5mM7F3BJblNnYkw5G6O9GhzZDYWXaFYJcHOnApnI/XqLEea
8ZNWfE2U/QJJ6bnqUeJDp4CBvY8j9yUiwecO8Um6wm5l34okie/LonzVJ8y4eNiKq2Ie2PWsqFYQ
GRuskM9+nMdf3OjNG98sS+hXztuXqDMNDHycNMZGfA2KisXTy5p1NiW3iYIvw5oM/dSlI8Zkaia3
udhw6kdUmN19ls5Ijdhqb+zMcg+9btCJabAQB1oCZp1YGzrh+REtNRadHLv8JIJxBnI9WIYKGZZD
ZNJGxz6ze5+j4VTFermbYq26RoV1X8Vo/JSDrKwN8q0J4WENd1bO2wHHd/xbP0SAqzemrL/UVn8q
Na35potWUaRUJi/oaG0zfRCEfSp/26VEHrUkPm7yQDJLZCKx13D1beMqvUkSNnXJaNHB5IgIkZS9
sdt45tj+yPPuNjZd8Jq+ulFFBaAcfKmB82385Dp1SzJQ2J9aO7G2iS6ck1FIUo08bEF9/FaZGizN
qNVpnPPVdX6n+i9UEK8losyD0c37Vr6WWQcpF6UTmhtGoDRFunLoWdmmepXw/AEqlt91JpvSsziT
IG73hYmcNDhhAUAbPvis3E99zis3kxeNmJBvlZrYkOJ60zMZq01uW5gKG0BAcrCZ9j0Q9XQf5h1f
BRend/ei0chTDVJcK5gym46/tSyldgRfsGektiGmoncRGaZglx3a+b3Cb2ibHTqD2wol02qQOq5u
F6dDYYkt/bYjkAMo13emZxIXmQF3koZ/G7JfrsZBO2RW9Fym2muC/4OxPd71sAHqXuFB38H6Ogw2
MJ1MYz49Gs0xr028Oi2k58qw9lJk2A9HPszQi3aG793io4qO/FgLT7zrFiS8EGowerBx22RnEnq5
xR3HybKGVEG20uMgcN0zAmsVXu5glm1kwInhoeVCPNQCly9AvhwKgEyL13BC9uRPFuef4rknScTy
6HRVzlYSGelrZ84VR5Te38jbJn89fWDOFve8RCpI+01YGutxjN/HTt0gZ1Ub4T22sBU2vqouKeCs
ldmOzjYtwqMiO4FUB6Cqas6eLyGasy+bu3YAjK+HKCr07Gp6mkLLi1sycKAEojwsIjYp4MPBPkmT
T7HUCCNbB3HB6Yp4k7U54HMZobegV0B2XmwIhfthz74pQ34ZhxFs50Tll5iAYCz1Cez5ax2mDpqf
8AtxCHHOAkp00Ib0F3FJXN+g/NK+eYT4aiOkpN7q3u2G9pTmRJvEMut7mC73DrG7LeDRO1YCSHEx
eAaOSxtiDN4MXd/FZob0yuye8gE+RlDrO3QvcIeTgexXffqkAC7lgoG0MUnoVq2AnxLpq763MNAZ
rLlDf16iqv9/pPfTWHz/z7/e8hae2/gALSLP/hrIrYzlPv1MPt98a779DyneYTNev6V82bYKm+r7
t49f8DPB2xL/NoRlm47pSgeJq3D+b4K3sP/N35TSTdci4NuSZGsDEGwCwr2df+to+WyiUvC/uobF
z2f6sfwv899CuvTH+QeOoYQj/l8SvE2SxYufye3H9//8SwkT6qJhK9OwhKmE65Av/tf87ihohY4Y
hiZrACW9i33zgpgDNLpb7ksl1D1e7XQrR7p2WfeeZCiWRoBSqJPDcsfQdqMNPbhZKAcYoKoQ+RUh
BZO7b21853bh1kei154TQaKFmQ7FBtnSnczq7V/u93+T5v8ng8SMLaap//Mv82MMOb8G9gjXsoXQ
XWWa+t9/jUr3sbLYoDEkoutbsK2r0qZQwNBjocvelgV07qDOGHdKfR/XuXGNygIHA9sl2bTEDM1S
tt59tmRPKnPpO+wpSh3d8r1nPLG1bNXhHojEmm8Z7v/54o3fXTy3Et2kkvwpSXL/62fgEqXKHFhj
KjfqeMAL0jUjN/oaGjXStvgcIVlj9qAhZFFQy6y+/sbNhRyR4hbS3eznO/7z2f3NvRTzj/vwSDi6
wqeiE7+m64L0+L9eDtkKNgwzFCqiLE06JzRRCTQ+YW17U1FzdBAnHcXQ7ssaXGip1H0SyYOR2vxR
AufDIejHqn4cR51yXWlXBknpptFaJA0OBRB3F4o9MsdtF/ILFkPoHwY962FypvMQZD+1+TWE2HTy
zewCVME9N/QA/3DP51/i4y/Jm2cjt3AN5gIfnnugx3Uk4oi6OJ3Kc+91X4vAxT1IeT3pvdy0SVvs
Knc6g54QoH6aB9CRtBmGznzQ6W5X9UCAcs+Rpo/L1z9c3Py0frw417V4GqQNH89kyfjrJ6CqCr8D
+IEVZ7doowNXW27V8kDEIRLb2CGLqw6Ophvdtl3Y/OmJ/M0jgDjEVUIYVO6uof5+AbBlAs/ksEyN
bl+CnKOPQKVSOEG2tfGHrvOSOXxUM1xxug4L1PzhdoRgbwWJQ3+4GdavNwPJJ5+VlK4xL1d/v5Y8
LQr08ZBnRsuWZzONsy3pY+u2sLMLnVB7pslF6ajw4SWMlua06CiiLTa/8gOt8B3DiD/dn1/fWMWi
7ggwzCw5hv7h6SkqfmFRhvRBFFHonXK2GUaLwNa+pYi8CJIV8kwa2bmNSQPvNSzoxMrgK5r8A7p6
ufvDLVp+3t8fGGBjFkugdKTJJX14YJy8gCLYp1CcFLkqSp+TeEpw6eTGXKtbMOF4z7jAIpiNyXD0
1uwLxTkpRbHjdcYbPy9yFQ2MPflp5pr8IkauiEPXuglX1MMsBiLa2o1gfUr/Rg4jDcU4146CLNye
7NdTPdEtwy4J+wuZ8NFEe25LWlTpcIq6yLknLig/YmxK1lEjaZBFKAADDOoD2pHS6lOul5rLE/E8
4NA/cbBYKQwF+SAsqKEo+cqheV4evXKKjEOdxKQWmPRVLA5GHt5JK8m/CZqdTR8espTxcTF//pzs
8O5ZQ7WG1Q01R2nNzuRcvyHTcr0somNQXXX5Y8oJ3ChC291L56rE+JYZlTyj6t/GdVHsFRbRTR7b
x4ZG79aIjfQ4juEnoaAVl3m1pWGfPdB9t1eabNGZDwEMqMh5sz1u6fLaCmvyDh0yZ0zAGxnDBBqF
Y66rZoLaWxTOvehpefQQCTr8ZGXDibDlRIKkxTojvysPrll8Vbkrdg1+Woho2SZL7Zc/PEi/e65d
U9oUA1JHrP9hJ2KAiycEreLPnaiv6ovmmZzxEuKg2gT3sOGkADUVQkV973tpdVejrVqPg41Fqrj9
w9X8ukZjGnBYmyn46V7ID6sQTKaulZ0Pgn9AKCh68H6x/SNKETowK0fGKMjkUbxvFN/hfgzwjdbE
4bZPtM0Y8BxBBEzIBGznj+/bL0uSMnU5v/umwLnhzEXV27eHkE2D2u3/uF4uujEZJT0y5RwjD/2a
6M01ho4eeJj7lSHBQ+ba6VYnlEDS/jj+852Zl5cPr7vJ+uy4+GkoIZeC4i8/n1No97NgICws23q+
eZYo1Xc4pB6NIo330ojA/3eVidaCJ/Sff/hvyhX2BXYmJFacQkzzw+IXpD69VJPFZjCQy02VHa6k
7f2wRpeGeWYw7PW9m9Zyyk2s8IsWpXpBsoHI/jXHZP+HasVQv+4P1K2Gw/OqKz4P9eGZdfN64IiF
52gpV8DWh7ATmnAfV95rEzAxQfRFaqrowGMOWXibp68TDrzlrewsWp4enNR63s71JL5qxsDES7LJ
LAWx39eXHB/POs/dhvwmeYxjbTrQAQr3YtCRn3madVi+V9tl3tkQjBBaq3AvMRObc6KQyJJMy7Fd
Q3pWaGKcO6YpDh9MQmrknE2FVHxxgjjcqz5+oduwyiKGdUzZ0lObuuOGRKZ1RdmLdqLSKdPBFwQZ
QT0cDsAYUU1dEMdsUmd8ItLP/NJluPJ0fTovC7HdRj8IX2cYOrtcLTtMZ9AAFuM2H0/zmL3LhX+K
ldzDQAhxpro3Vc9grAFrs460s5MWwf1yxXEtKYhK/6B57MWDVxZf/IBudKZ/Miml7mHcoddiUIeZ
eD+0Q8vIXQSMzHlCJ0xEuOFMmtv+9DIwQgQ7cRAm2wWI9B45va5fZsDbsplrBBG5UXnw011adcYV
E7saIsTKNmDUznii9gQIZc0jdBmeRsQjG1vhaXY8keyXZT+sXIyZCU5muJNB8zzQdpRGw7dokAkt
39RxqGCcopfnxtMeDZ1GcYjYLqKb8ZzzY5DBbE0geDuUcuu+rMQ+OpoPPjjoda8QY7U1xsomeUGE
gzJ4sK6TYLWOYX3nFmmcWuaSB8+mszFc+Br2BOagTaJ2pw1MHAn4cjaFGX2tCuS4ut+eJNs3IhNc
0XWbVVsrLolB8fxyW0X1M86A9ibv35cHPEc5TdPze2Fm477Hq7jFE6efYidCuWm4p6LVCAouqNTM
pn3RiR67ElN4qErTuP5hIfi1SlSWblgMe4UlbFvN6/dflqFk8HqtrEFwBTE0W0bRpGlrvEcypX2E
/zA3CP2IbHruvd8gl5yrxDhiNJh50vjTmsyJ+OOaiBPfEYapOMha6sNm4UJb8oIpsIG7Ths7C7Lb
1hn1gw+QZWPAsMSSM793856aF8yxzbb9Vpmm/NN69Lub4rhKcXbiXPHLYU5ve6eNgL/8XI4qwGrH
wJ0os4DQS2T0oC02EzO++fh2v9ySCZyYrZE9+YeP5zfbJ1sn9Skb+ny0/1AUYjEeqpLR2Kqdbzzz
DnAaIHjWy2GcpsBR1PTVmDQBaabZfvA9ecS0wzixSkDGy+rqKE55GdhVVMt/uLhfb5ND00Nyi1yd
rVR+eHaQHPp9C2ntZ+mZJSRRLR8QwzsGfg6Dsl4rqKQq3kCzOC2fmx7ExzHnZv7ztcxPxt93U7oy
urSkTXvGccSHJ4e4MaBAGZeSj4OzGdzQhcybu/uqo+Hd5uyiy8f0zz/U+HXbohukaPDY0pr7OHMp
9peXRzWiEW4AUb8px/iguTK5ocQvvkRWKnaWhKci1XuU1uHedvU3LHuAeu2GHb30rhExa33eW3d/
uKZfnxiXG0FnSedkI4X74UMp5RAVAwJf1N5fB5HKU2i12zFhl4pnJx/5XAhCTDLDQL0wZvD3Rf9O
imm+wxlRbPyZT9ULqI3zsvrPl/abpoRrUcublpp7PL80eIZSd6s+tZCiDnV9iYbsAVKlYRgpzQHY
9L0qky1aD4C8cP1pQiGcnV91VEyrRp/KjQi7Gv8nYeltmG1zb2QQOFiXZDbTthbAeJVxDprCvthF
pants+TRadzwMxnqCAjnaJgIIymJHulh1Ij4hOXOaBEV0T//nr8prvg9Xf4zWMxsCN9/fywCHjWO
iw4kkIIM7kS9q1kXSZOCPMA5OBjP+swkS8Hkyl5A7YNiUHbBvsYusgZe+od347f3naqKTuTcJqRR
+ffriduutToBe0V0zqUL4IMsq0neYeKZQo9srdR4mTiETX7AvgTIT3clid8he68RTIASgwYHveOA
PqWW8gdcaZUR7PuJPNhEFghbHP0cm8gDKnUr4L1ccT+S0KYdcj/+nCTta6Oh2FzehNaTtOEkqTP/
fNd/rafpHNr0OZZmi/h40LBJQcEvpsixnCTIC6WerIxMlDAvtnHj75azYDpF3REf99M//+h5Ef77
4kNzw+H0btPvpRP84fPOXVV5URjTh5pbeuRwoSadjxHLz1QxihndJtG2oXL9Ux3/8UcLGqY8YK5Q
ytEFrbC/f7QIVzl1BYyScwyI1MbAYjxAEk4afvc8tvHluK3HHGzUfJQgszvHkmLcF5GElzb3BscA
WKCvJndb6+U3p1MMU4pJ/eFCzY97BU0o07BJWqJ8ZNG0PzyDRpG1tSewVjSAZvehUPW+UviV+x4o
1TQO9U1TG/oqGynZlssae96RMAnOXn1bmOW+BiSG2XW49eg+3KImfizU2OxLRw+3neHv8RAJ40/l
kYlC6sOHKwxYrY6pYyG02eo+tolqBI2OU+HyxLWdbrP6JtYS51x5eBIzq9OY4AWbJu783cgEXssu
IpL7oQ/CnQ7Vt2KrBgZnMCnMGN/ppAuxP+BZ0aOn3ERmN7mwQbtaPlpGdbZa5udKBwgy1+hxjO2g
BrdaebU6edO+sxwN2NZ0S4xkfHbluzfMWqkg+F5W7CUuU6c0Gp9xWmGulOoJe29GHsR6dIZjhdNy
Xw/Ds6HR6wuq4IffI6Ub6wdpFvsg6r/Q3EG8yexSgUMlCTeqYSjXu7rujnVXAvcS+QV42Cem59Zl
aJV9sR3MbzYZj5+miLVsrDu5bvvmi8+KYRmEHsbTJs8LZ9fJeHgc++KbPobjxZ6s/rHrCoPmQ0Q+
bm49AP5NDrIR0MGaWwdtyQVMNdjliso4t+FclgimS5YMBOv+bWQFwxtEdridTOxNW1l3LeXxGtjY
g6+Sar30F2N7HU4iv4IDITTR55gFZrkuXebvsfaGwQcPCAwf+Ez0aoo4q9aZKN2jHjsYrpqiQbDa
irusfMbaIc9LXZPLnG+j/Mef3aA4cO73EDngjjTtd02NL8tbb0ZZttXo7MI2HW6WL1SmO9D+0p9N
SJA0ol2xz3Oek8m0bwOlv+cl8/SUp2wVVemPBjcS82480vM4h/5BfCDN6WLJDgqejm0xCUICrDA3
R6l20UZyhIJ5zJCigc9ERt6op7MCYnHd0NPSD6ZzkQphgSTU6vN8mb3Ks21KbhGhOAhIl79aYcVh
Me63SxlX1wT0TSnasoboA7TgkTz5YNHsUjwC0muefVlZ27yeTMS9iKT9gWGpE3btqembG95jklS6
T0nhOuyBxB5Wk3f1LXM4ddNb4QXVRZtRdT7aP06iM+m1rmA++bvlJDkkhbmWLsCDesjulxVsueE2
+pOVZXj2doywE2kZkP+5NVI04irHDmpJxJ4bD6SpLOfmWGdGZWecOgEx1aTRDucZuaoFzYVEx24T
GOJ5Uves0vphoB+7zRkMJ/0cmzlCduCwNSHdIq7KGKYdwGe6CPMfpdFCpYkRkyVziVLVLVQwoxQc
U5sA4FBAsgS8WzjQqb+rCRDfApi8RizT24ae/GXw6RkKut8UaoooH5JNS4Mpf50ZVCiYA9vjYL7q
oMtgNBtArJjU+cWAvLANv5Phdp7TookHq++dDA8wBsM3spwJuRuBrVQZkRykyJAcfO+6NDjIOB+E
LzaDfTZCYRzCqAv3WTXaW2MSt0s1Go5lhVXK4ZDRZIDx5n8RCedLiIibNYuNbNR5ilxfPJs63Tgm
PmiQTXs8+rKzd/4sY4GJm5c08Wuoa3hWknd/mms18AV4MYmmG03w9W66l+g652O3yLpiXWu1tS1c
NGqhY926cZ3uEhhol5AU93RANM8ts6be3Qk7+5zl7K3NVOLpyVKouOj75zHCpMYjrVwfGHP5Jh10
dy20CaEpe6OI6r3oSfaWVV6znfQ6//nbQKlwzoFLe3rCWYuEMp72Oq3g/fLUtCPSjKw39ljsIMNr
2AVyE9iH3yFtHHBy68ras/18ST3R7EcHnwnyHXdnA8rxLPtuNs2FoY7v0spfat9iccnLH2ZAQsyy
FoA5WRMjpbaGWV60SGR7h6J0+V+uz2CTqE4IZrwMm7iLXpRXlUeBy2CjtL6kX6Rl3DbUNCkxPrsc
JjZBrRM2Sht+YwXBYtz7qHdv/IAsJcPwt2hSqpPFdUfGBCssbKZDcGuryrrNtZAw0HzaVcwJryqJ
dmyo6dkejhwW4P3UgApwAJ9NN+zuNHkLYyu+5Dpu31yvkeiPSXodPOZI89+iTK/vCG9rCWdG9Cuz
8DEqDno8wvia2n4/mMB2PdvZ27DnwWuUPI71Y28SPmN1acshhOhT38ZcTPYV9IBhnLaGr/EIDTEn
6+9h6caXyp0XDRnmRwe7dlOhESNqbdp5PZA4q7SgaSJ33oct4IKw5XRQxnFOMAUmslD4IH1hmlaR
D9dKH+qL5bRf6dus86wIH/vQZW2JABUTrrB19JJRuGzyi5jou6WIi8+h8zJJrN6RTE7BLN6bIuL0
MEXlx9BHSz1szcGywA+WxhUgzCkaDeeuSNJcruHEaFs/IPUES994I7LP2JzDvTaytPo9Y5qpZGpO
9sB5WefmycMx9zkokCJ5HCNDboaJGKK6IZlPdDPKHGKmIcgXI7OlK3N5WA635MNAbI/6zahNDpMg
AqA0tHkX4el3hsFLnUjvzkKIvuqSmpiUiPg8o8CimVgsuEuxCi7xRgfjd3JSPiZtaG6gqNVEm4IV
iLLpXp9CZHamoB3XxI++1xpH4m56dPtwVa2gfsRugcKcUwb6gNdJPHcTMQpR0T5N7swAxBt2bFVR
kIZDkmDokx9iw6YyNHKXlKTtPDSFgfdQQwqk5Pdl7cdjQ9p3NRmPvoOvLvrChK5oWus0zftEHmKw
7oz4x/IGoT/eeCNdMj4Frio6L9/BYhvq9ek1kQlIBq9xHjnMn91af9NrrXjSQKxfyLhJ79p+t5QD
VWkYvHB6cNI0QsdcTZ6lh6XQdghInMc6IZVrPPn1rcEGPJCXvAzfltH/ch294jA1ECMM2NPJyUMq
7To+5jrsHEwa56X13HXOSSYEwXdJrvHWpiTK85EXcstpgSiufPbv+oK1vkYITktR7gKdS2CVNTpo
yiOaslVhj7imdPcAxJ/A3rkhmgDvQL/Vr6f83a50dY+mBX38WL1Ohhlv0VG3AONop0N3y7AihBdG
ijEJbYBtl4fA53DG+BMV43KdMffoIIvG21dRe9ek5HUZqUUveAD+ZorqKqcH6OaA8+epsmnR7cgS
YyRHAsdVqTocLz32wLmWWYqJMR5c4gJFh6V4fGGvYLDnTMflH0yRCdmWWgx/PILzQU4/v6tfRC9D
a6mfn2fQdsGZMvRaBd1AMrDw5xJ1T4ufSEjMl9elDqMlw/jImnYiycYVIX8FLhRtvv3LnlbEIJ/w
Gh2nvNulqTWQPG1kx2ZyMOxb47lSIjo4dEOWj7aO6qNuz/FGPPg4v4BcS5zmSLQS+BxNv3c582xA
c30bSJeJ5VhfUYo/uVld7qEC+gwa8CNzAEiJo9OuyIR2OYTYI3v5tCFjDZWu9d8++nwrvXg4RhaD
FpeJ6ozXJ5bS0V4UxkOVl++JxEjdDFhkcbIliC2mF4KayrM/shujbQGqz9M/d+07iv+1VsjPljFU
R7+DVVK6nPrayqJv71hfCWx7qKeOpAJ7+LZ8SWxK3DYTavBlGO2yRCcCBiDEr/ogSKUhLYaqixPj
tGoKpXZUwK+OCWoEF4hBZkCc3XXxxFGSA+fyHQ2nSbHl+keuv7nxxliD1J7He9NGBlkEEbCKVFR7
RAIUc/PH4pCDdIyOwECGtZ6Nw9EgHW4Fgjm7b8BVD9oLpIfgagXi3AcdBgER3Q0uDfzKuOXgEt9E
Bb401ZHMMTddlnnC0FvohenGYLwjFmd5FMsJNIepDRTZEc5AAoLWThbf1LMP3o2zayBUw6ih3JOt
2J904DdUDN4GWdlXa3DTk4pwI3UMxqKBWBJVmv12GvKOMtMFQyNLd+2M/qe+jB5pv5DYFw54r5Yy
j0jC/hDD755ZBYsAJwAQQpO5viV1ngOclyekbMuy21PdzEG+CaViZB5KzyO/qqjmva5EOll3D13R
5dfOqj/bpafPR6SHFEHlY0MeyjV15d7TMVyxJVyXozdC+R6bL2PsytCwd1t1us46dfSdoT9Jz7ss
exCHChx2CTnVZWmvCoMRqQYIcrNMaQtjqs5aUB1GMk8KyMeEc2FYV7P3KuxjRkBQMX++uF0zhHvL
A3M2gKeJZk9bPc5z7w6QTDl0AVP8ZseApNmlJhpJukR5VOKcU3V3pxqKXTm88ZJ0WAfpG2i9DI7M
oZZHJR6sE2foZlUwUzwsqw8jVDqbYwXclNbaOhizc0E87TqqzbsOC+RSe4ID7MmWtPLdYNPtQPbw
OkjZPfmFe+MP7jZIouxuCmQMF90FD4gcuixj9nfN3BoO4vylTjQcUayBSNpn7LCnUprGGQIc+U+j
jlDEIAePxXjtUbWTxculO0FL9EkPOy6FibJpIi1dSdFrL2nPr2ASPtoCAdrFrX5HeZ4gO9bkaRzd
G0+L82sci2vnKny12qYzCP6rZHWbJ9jr+9DHPNV1Tyap0utOfxv1r249lLtlQV229oKaFMk+XtZZ
m+bA9gonl9Zefb8MWbu8vS94vqAJqP2yMPgy11bS1LA6zGdtgtnsmzBxj8uBPLLrzz1xvHlsdChf
WUeWPcknJAEFdQJy1sMMD2+i2zORfVjannRW/rsg1VN622vjG4erjGKQHQNtr8Orsy84Mds1Uw4t
wYhemslluW+Urfuu1eRu+VG8XTVH9jreGV0E2NIJi1VtRSczsS/Ay91zjzr4QF7gG5j9YQOzzWE2
XJDWXQt7u5x0czIXSaJov9S6fKA5Z1yXuyBC8zsGcuPoMCQDnwYj2E45XOi8CYwxzS95U36mtUii
rhouaVGrm3AyCD90mcKoiTgeslVPYU5UY0u83k2G6dbM/AefY+vaNVMmndSZk20L0G8s1TJMycK2
BB5CjojzengDLYGqYTpkdi0RPlg44+YnZ5zliiE64n38bFX186hQJskc68HKTP2v0snBYFMQVyZ4
HQ4b/p4jOl3P3NDwLPgdo08T+zr4+G00x/0F0XgX0dRYhUMbHooY57BBhN85bNADwIRiMoqKHr1I
9BSN0PFIRjlnnfFtAqdCXhzqZd0Z8Yg1Bqco375mVbluIjmtUo21qe9CXGFlVT95xbfEpkPjooG9
IEthqEAOxmmameghkAaDUmqXyPIhB3RycIqk25V9jc0y0/bEt+FiC1v1JR71VVXNRtQBYVFpBgXJ
593awfIOmQWNRCynz2bIqRlukHPQdD4JXVDaYgfrT5zfvpSFau/9Idlb0vwUzkqmYMKUMclqzjyI
DnjFw/VS6lBKNqm14+ha/qwhciJ3L1GNqQcXEH7CpdSzB0bmpfWNAiw/8mFMJ+yAV22AoUQTsX6i
JNPdJsVu0Pj3oQuHbcpIUtH1uji4VuqfFX2Kkz5zuitxKpDsb5rR2Jedf8MzHl+RWho3NoANgX7x
CbxI8RQBQhOgSh6ssRB3ukGmvO9HlxnmjB9fdTodsHB8jpFqVNVI6lgcPNS1esXjSiguAfWAt56C
uIYpBkZCG4bkUvMWF5HYUunjFgi8Y1854U0SJBzDoidbx0BNzJOx9k0TVYNiAOuE8MoMQOBGCBk7
6VeTiQSqNT/F6jKhW7jBUYAFEcht6mfEdDejTXAi8JnKakCoduPe9f11q6VvvFeEGyDsYvq/7V0N
f0cOvViFrs3sHNu/VQH+7+C3qtEML0b/aguukhQfQs30Mdm3Y/9d8lvysbhXfUrfzJDMCd8SJIkN
QL254aTT45Y8Z4VGFFNZyz1WvJcp7ObXwXtOTULGCApOEvVccIhc5WHHud8N8KHx2uOjYiElABBz
3SGC7VBLw7qb7MqhHBD6U5MF9zbBJav2GFD7s1KzMa0iPd1aFg2QpAisXYAnf2ua3l1UMUnGUGHt
izZBNWG7+HnDown8ahtFFafdHL5A1AhmhgHpvrZF75NGSAukXM4yj+pY1iI460ennrubJahwv0pz
yAzN55xPbK3i0gGbxSkzyuFteqVOKyJ8cqNm2pkDcT+Tmdz01rq0/OqogmwOBTQZ33iPFQABcEBE
9TpQ7AvrPdK1p9HX1Iw7dU7B/MfyV7KasI9qSlsPI8/jVJlnMaX6A7qYre50AqgAf4tampVxcwhD
jICV6M6jcyMdbqpedeZGcADlSNN97oOWk73K8F2mtb2utIJFs0FhUdF5bqAjojBPN4zgAaAJcyTc
iP2uJ5ourp/SyCO+uDg7gnSCbJg9PCVfLuNX0/8iqvq+Ypf056MiYUD4yBOGwJbdrvse3jLB8902
1iHIRvFMBa3TTVcVR8M2X6jN3jX965Am1c5q6BnICtpTpbF+zYCpEALpTseRZNX4jJQXP/dh22JG
Tpyt1wxnR2KJy2gyrY2YjrmMHiCLWggoGXe2LggrzPgdPLx9oSzyxq3imogUSnOWxbcAj3Rc2WTf
4WAFlbQewPc9GAYot1qvrUNE2t6OUbG+0qwhuLQ8hbHs4Lz4AsdlQ9xCjLZkbMpjYjOEa4crZmPt
rFfZU6gwCeNuTnbR+N4TNbEVSI/JQg53TaW/d5H/CRPTJ8FCEyeTxoYZrSOBS0YYimUaI/067o9k
TWRr3QIAU9ojzbdOJ8GO0EbVxjtUxNXRSmOf1VF3zpMTPbt6WtyE1H2DKzaqZEhBfbfyp/9l70ya
G2ei7PpfvEcb8xDh9oIkOFMiRY21QaiqJMxzIgHkr/eBvnZ0tKMdHd57oyhRLIoiicx87917rm6H
1GroqCgYigzlk/ocDQvFjY1M2mtY6D3dIZgWItSZyDzorbtRH8lbQ/NF8HbLwVfdYQpfyZkCNKva
Hf7FIXLnC/rv13gZUga1D8mbJbCNSfvobUY2mv8O7owA5drn6NEQrB3lwWpK52fRErecl+Z9DIw/
gVe429ECpBb49ZeptaRmkjiTzr55KK3gRDzBawYQBNBy/Qql8y/Aely2BkMOdIYzSVRMnJOKmBSd
wLxOcSEbLW1/ntFpIsCKo1TNXR3rkbwWxqZRBFov2cfMiiEJG3/85DeS0vw8q5Ob5MmVcaq3bwyY
iVFAjyCGbXN056w7uQo8kKW6R6jZH4M9eAentvkkkZXejP6jXdM1wxwr944qNr5Bxhcq398BCRaX
tpNv2rPd4ecccxzxwcC8FLIKWdIFbxXju/qRCNsLDH5958/t1vQqxkjBJ4DcEAjhF/57+IspHW+d
RhhQn4eOJi3cegF3mk6Xzv62ku0MeQEClKYOc+GIX3qExrBL2ueipIRscdKviCylT9csJLpKHcYK
sTcUiLWW4ihwE+0wB85D3UTeifN9e3PtiZ5rkoF+AuQcygDsW1YZ1nVIHfeki/GRbBeyjuLWIhNW
6CcBetek1h27j9Ecjh7nXpz5EZBjl+0dNs6GfQoEVeZFG70kkMQPdklgNC9SXyi+Imeut3jN+pmf
RUR7sudKRnpt9N1rbHAAlNMgGV5oUR+EhpI4d/pqQ5Sz/drphMtH7qRt56LVbk3b7bisrSOb7c0b
+2I/kjmHMLtNnmXf9xt0SJfB/Wpsij78be7VUIV39c2xu4yxv/u5KdcReXum22Hud6F1seYTZdSF
5uykJxsQiSyu0AuM68QLueow/G4NQuS0xBZrEuQ5kg+swRZiOkLwYvcOskQrCm2f9Vh4AS9TdMUY
y+O4HO7Q3yDARH6wz0fAyxoCoxAjxbCO+OfOi8GDmRuNivFi18QL0wX6lc1Fvmuitz4y2tAdIvQw
2syHVX91lflpIRS7ZB2vStWBUSqWmHokIvXBavr0YdDhPteN/cI+LY8emcsF2U1nBX6NWA3F20Xv
83fcuhl7dbQBLGbup9p6y31TnUgps4V5/PlSaFNyQHO4Qd7XbR2onisjbfuL543uLqjlu+6OTKpy
aNI9c6/l3xny37CcCdxIkHaeg6GFfaWUCF2OySe3JQagnwNtI3Dfw0CFD4V4My7GgHNjHm9Ey+co
H10+Ju4h6AbWfxdva53H/cVafrWU1SbtaT7FEWifGVamGZfawQYEjczZZx7HmKsg7JgeXCB9/14+
popmYmrBUgjs/KKLug2tKTWJsH+qNMyWyt1hzJJa+aLha6my9GaVgwk8rj3A0XwyHhPTPSVpRbeA
yTg1XHWbO/9NdlCNozh5b4ex2rRZma4Idy02OX/wQFM74JxZg+PIkvwZzhV5TNGvOSPMMXH8tUkG
XziccgIK4eTW5EQP+aOfO2gHYjr/JsQ4u/THraShvNGV9dDaqEdIyKDkU7DMlnSw1TixGs1lkixj
xTRsOENX7nJKL80nt2w+Atrt9KAY3WAUDSfTenThdbP9t2c/yLzdDOKzyk0EQkB6mUxJUijtDzsp
jC0UIzCYGvDRQPDsnAhEz+KJIqB2QoMzaYQPq48A8Z6LgiishkVEilC16vFoB37DBi0TyLzgBEkv
sn4NVhIfmXrcA11eM8saSP+xzl4JVA3/GuR/OXxmUwJuQLGPuVn/SP0aTrPphbGLRhKO3G8abS+2
3tA5ysE26YiuGE6aG53h+l2fimvi2RPZm9vRybxX4gSdQD7RjIyQDkTP4wSxR9YtZZUtfnmTi6/U
EuC1BBB/8QcXPqhuxoaeNnRrJr9vkx/80kX0hK2M/BCc2MQoh4jyN97glMt2yO4TgYbCq7sEs6Fq
NXLmhN266dkmtKoh1YIGlivybOtkBJpVAr8g/whSzoa+zkGXE/3VH0ex1sz0oHBR2JoNvgVoXThQ
Fa9aSx6EKzcjTb++f7O78bOnkbKuQbrXWUeNZxrbInDWmUfdltR7M44/BA6xDVlvL3WaPiPheyrq
5FZX+XvZOGJDmfuVW8Vfj3Ox694sDZyQpQLthWD0k1IJ4zXPpZ2ib4aJ/NacfNOU2M5VSWL1eoBO
ztNJYjoQKngHzP/RQwIbWjt/TNE8A2vJTsQ65Hwoa5hMiVzXeLR1IzM3qeudszEH5kifmtUMxn+1
hmr3oZX5W+IUTwGHOIQcQEXdNEDngw1r11fQNf0A2JpmekfyqEGfMnZfdf6IDJhcPn/ekLaygtB8
raPgDnDjb5u5f9uyaNe2YB2PIX1OGQkYIBF8jjQsf7G6teY8PiEPtkG+LS4fhZME9K2FjHycsYsv
P6buMa5Jo69S7F0ldZAe7ybBsWHyyvHp5y5JZv5Byylx63BTRDj8QwtO6efRf25CNC9DGEp1qH5+
RapDFbM0G6QT/yGoSzZaw/j1z29wKsK0a9Lstv98P5BU5JV9c/3n0YPcOrQFPeh/f/hqWk7SWj7u
f24DZB4/9f4mSxP3MJHUu4otLuzCoHkwDLBAu3Ca+r+tNcIcIpLDlyxEEwd2FuI/A9ddGRGv6Dd/
401QdfRW/PwrgCptxJgA/ULtdSM42VV1mFGuiPHd9PTfiCB3bYboBrn6h0rjWzUGeMUBH9Uu73oU
0VvrtOytFdq5tejgFoaJHj6lmZWrGf0srJmu/s619q1MHG2jiRwWGPgIL1l86pZP9E5PXE88/fId
VwtZID0ifTem5+Yn/wE3N1IclT54gXf1Jmd6qMyA/GJOrYZpXIxJwCMRT1EGGmuW8xYvnuK1eO0f
Wp3de1LeX7u8ulodUDoR9yCt6DWLarSOdnRCV2O49CpAD3ISk2gHHAIWqV8WxC4MgdVg0HW3ZU0v
KgaMMP1SQKh36d2aUaRoGAMF+aSclzxtiwK73ZQGw+T+1PoTAPsGsKB8a73cxHfrXh0GucQW4BOt
ICEUprdNalSbhJqzxmQF6FKlfxdLmHlGSFO20nrUEUnSYt6qrWLRcp6LVHikFf2uE0Ld4pxKSSQB
A/nI3uGu59Lx5YGRR7kbnAq6+SJE1FFeWxwSV2ZlfumkPe065G/rbijvbU5upcqAVSrsVcg3Yh36
P3BCK71wxt+PdnAdAWjv667e5bwRDBzER9JzjTbucFF1fIWrsSSVorrxDfNYkapTwTkHZc923Des
tZagJVrODl2K4mgRan5zrPxA6girKceaXAyfEQVBQ47Dir4gEwZjuDoKZHuR1Zzqof3ldooHTIex
4Gl4LGqQgWxrlFmy/o0YjvA38Glh4yG0mn1YRW3MXmuR8RDF2i+yI35nWquFiSDJwfIox+EDrppa
kC0ZUPHkAJLZhEJNG3x0RKlYdZYTHeOc5k8W3HSM0ixivNuYtY4xATLh2JFTE1SPbOz+vQDfhjSJ
wx/umDUzM8kZ3nzSJLmWfCYbmB3pzhl0gJkKLWMxPbuuAnAVkXIk2yRnUAMncOy7NaBGUzq3Savf
owafhSB3hnCJunC9de6LFz0gJZ0WnmzLP7oG7S9OjV1XIfMj1HtdaNqm75x606TZWkY0HLBBjus4
8m9jlicQypGJJQ1qRfWs0TLMGpdjyhCIlVZxsCzp6CfD3ISVkcTbFHr7yi4QCDpmWKTaLqgIkdGV
vqIk+4Aju2tzdhVSMBg6TXxy2TPwbWN6zCYTCsNEy6uY7NBMJg/JRcEVlcWPapzam0ymj0iCgBla
cRmD0tgyB0S3MpJQuiC4ylT4NJ4Y35EwBnXIo8tmzfYBa86JVDRWjiZ31lXrid/NQnJ5V5EVhfEQ
fAfBuW9ngn9M7m5r/HDBdSQqoLE3Qdn0Nl3jHOhSI/5zPIJz0SdASo5eIVAEvBfw1hJPAMIZHzKN
+GqjtWncFWgiCgS/uuWwRQKoWqFbZ3yiYYBDWZJl+TWdi08/YGnBXQRajc/L7GmU4/WKgMGMc/3e
tiziBHWi5Oq0eG9bZsSYB5ERVDf03pTOJXuu6Uwvshv22Gq+TUvR8impGrqR7gSyCsPflF35kbfp
q2FpXzi1zIULXOrtl0BEkN+gbEdPOpglPqP6DTzBp5EBTgEiAvXFExx9RgfskknSGX58ak9v7WsF
l4QuynNFTpSRJz30FA+qdalod8fa76k/zQ6jWqcU44cLfpysEmKLGl/Tjsx5QZEsacxF/4U1DTs0
NEetKbpTbLvGgxMTFqbb1fHnO8nvPGDQ5RzLmTFKzR5wPhCwitxqI0fQSc+E0PL8KxvkA9A+Ut4H
BD2RcuewtMvnemELxVCidyNHxdkpD2Y9BgezgELYDQDzkfRAQ2YSQ7cz3hPoQC+QnPEsTe+Jbz4I
ooxr5RjQc02L4ZYDpFF+4ki12Wynm1DDpu/TqxcjXjOXWOouf4XRFlGSGQaWL9pRPX5aCi12IyMq
9hmF44orjC5SmtBWLsdTETMB6WoExZPZP1UFVq+MbWAuxEtqobUHYXzFL0bCVryrSkpDGhoxeCYe
l5QQ8rgS9RH5KGXb5nPkoFJNDUM6gxTQRos+NGQ/xjJ81uZtWX9nTA5HVrm17sZvVqLRxmvpH473
jhHClAU0BDC/bXNrfuaQHA6pjrWqIVPCBei01wx2GDTsTVgLCOBpWUwnGz/3yho2fp9Edz92o7sg
tgc87zTj0RLRPZ49xfy6Ljbe8i2yu/yagQLW6V6u+pbB1LR8hCq9kPCL/YJxo+meZyN4M6y4v/98
Aerxt420+Gwqvbtnw2Ttk5TX9OeHptf3966IyZQL3OvPPZKezEpdVowQl8eItU5ebT/a/Hynlpvc
iAElXjBt/3NbkfbWiftDeVse7ec24YxUFTK//PO/psDduQ6q259vf76Yxkus68XTv90B71Yy+MuA
1QUWZlf1KdbdT0Gj5BmOa4UqowOH3CnvWYvbd3Puyj/LHeqxb5+N3ij3MQKC//oOhr2gxf73IwRl
8CmXX2Fqfvmf/goUPLaumv/sDkK5/zyHnyf5nzzCf7zDvz/JoQKuJ6YMxmdXNo+JO73Vk99SXCXD
uUCXhHTU7F5JQPUPeB0MBgX8lPcGyYJr56FUTfcqm0XW6mcEYSw/9YG6bbiQk0M1OhxWAUEy6isO
id2RMDoMD7ZMiWt3oWPThey/F4axSfVMdIL5VSc8lEIJTnTHwe1cJnS0mlaZymm60BTdxzPpRsaY
vTiZ234SUMg8jxznd7dCrxTj9X8ZHMdhPuon9wZ5zqa0Nf3a2oCgkI6Jh8nho+lKTGeW7jVYE6V8
EYkRn+RAG6LQPPlioDo9VxjTgEPx0wDF9IUtEXvr8i1d2eahteyPoEvlSxcp+eh0+u3nO93LrOuU
pqcaPDEGYV0QBWBPD8AJpoecRKc12gmcgbYL7vDnxp8vDa7Zshw+DIqDV5bUpEo+HK8JDqWLDrvN
u/bDnZahBhCvKz1m+8ps/+/P7fyx2gbfnTrUy93MNx0l5IfOufAg2g7gQBE0//xnY1bddao5hBJ+
lm2ARyGhDJ74q8dw0I3xoRFTufejiPZCsAjnKvMll/PJRGnSN9NGUwLhcV9Jfl36XhaquKs26jaZ
h1prKUMik5NVnBZhIVkcZ2csT9lXb+rp2p8S+VyBGTYdgBBNURdHBDKhLHnoGE1voOf7qp7np8lD
KZsticBtwyuH5AkFXMXVCDuTSBtyd8YidPGKGh6Tq8iPrV3cNR8qjv5xeP5/3NN/gXvysQD+9//5
P/4vuKfd5+/6P9Chlrv/A3sy7H9xdNNCFOhYjoFFHjLA+NWLf/1v/r+4mG28wAHyozu652Ni+TfY
E0AnE+8PJ1d8LpigTR7u32BPmvUvcGAMKAi+ibfVRSLy/0J7smznP1pSsMjT7vD4IPqAXVzHc/8P
dMGsMLONbQmuFRo76a4bxXJGiKN8mA5ikvlJiWdzCsZzn5oDMSHFI2IDZJ61i4K4QaBAi3JBk3JC
giWZa7N+NEkOvg+Jd2hktpkJG1k3Toyab/4YGss49baTbFurJHtqaGQYROBgTfRDe73/AzXv3ct6
jugBTWFtpOcthmMd+NZ74THrF4T1bAMzmrYt+cObyms98hkIDmf08xdBAOmRWZAcEftshrmbLlbR
+aSKLexzTmfRMF7SvCTyJZi2QdN4G9URgtK1I31ZEmhLz4YymoCslEJ/IW2sQxI6VSdNkdvZukB1
x8Gw0Nsz2+9aSC6FXX83HBViT3+YdV97yN0E+fuYuYc8kY/k8B5MazDPOAKCJVGk3o1MCWMH2J3d
3zOLy7rS2TrzyCKwl0ue9v+8B1ScvzVM6sc5vTrG5NDfsl8t5w2Na34YpQnVhM79vKiKEqIfeGpi
7wqf/MYs3w1WYV0ASCY3G5U1LXvKqaK3TzTrn4qusp4FbGjO3e60xSXD/zPHp9kel9ejw+vFUHnw
9fcJ5xkqqgkiLi01n1bxYFGS4dmvtyIW+bPh8PdXWhyfG2iiT6J87mONICedcD/IeUHbYxAdsuLi
zPFnPid/vNzRT3YTPQQxVY0fGR2xXXbBmbt4S/xaP1seDAPp0BPND6bH0jrZjGuhKypKLy8DhJIF
kL1JH59lHfZOgczLF7D5ArzxI96hP3XZ679Ff4gZFxwTFGHhNJBlPWttfjRwdNpm85bay0yG6rHN
DT2MFOfjoDvA5fmMS2+t2t57lVytWwtoO73c7JWPJ3j3MsUrHg8NFL+42XP4CZDrT/p2lkhpBsZW
eHr1NdMPY6uTC8mLgPM0LyEoS1Pb6MPwZTeg1fPReaxVeaw8LI9K8vcJo0f3k8XZnkTY0QEh5BAw
uZ1kV5wDjGHM2c2NYwxd2Fo1+XZGeoY5AyrZkM/QyuK7QXCCb2ZLJIRFjYj3lrisNWzOx04HkJo7
v4ImZEFJGZxOPuQaGRKFkjxWWUxy52zqYWY3p85Kkzuz7eSuJY6gFpTmqvAIYU66uH4uZBXsjens
d9gDemK7H+aEzi7i4GfkYgMSQNvd26pMn+m+HG3DVxC0AL6WXYLQV/8DfhL9eoV2XD3JcQhQHL25
bnwZenKdYgeIcV1J9G7VWO3qjJKSUJK+IIXGreD6CNpnzIS7jZr/1k361501sR+tI4RYmqbMV46F
6l5m6XjHvNfx4zQ4gZF3KtQXtEjHxzTyMYhY5NvZzq0O+uGgtc6+cuDAZinQsjajtyqR+NBvMwWr
H+IOWuBopwtcJLrcDKbGxy7X1ZEGbBQ2Qlx66u4NCSucGFRwoWdB4xfBzraXFEszSqkj/gGeXkwI
mZY/jYMVX+Y43qeAUNDvU3o6uvKgvDYvEUOAVYqamACU6EvTy+/RG6prWngfeodMM8sZ4YCzjlYV
V2NITsI7OX3WqegMfHPNce60L4+wXELE8w2Kh3HXmEOyb5LxBp6nPM3Ib+oAvfcgi9egwd9Q943g
cwKJOK2fmToRZ2puiaGwyV4Ah0z+MQhf2c8bEq7hgDr1SaiStGixtLgdgq9Ff7FZBW++06DNdYow
i62Kl8OdSS/C7ScYRVFznwhmAi6eRgRMTwbZUq6xqR390LrRV4Vc1vdoyA2d2e3mqX2b/R5uSVv/
rWpkEbPGVtEL+wjHh8wmenR7j1ZMbafODbiXOfcpiYthOmJNcPK850G7TZuWb7rvZL+KH/Q+5zDD
yPmEW3QICVMC732OTPDSk4gJbYYaRWcuiIhHxgQ3zmcFnMGUJc3ygRhHWm1+1RVH1PSSeaZgxNkl
j6Xo4ZPDW9NYcvHhOE6J/IsvCQ1EH9lRyKD7zosDUthv++5oMQGHn7D88+f7dDCA1grV0SB2KRgS
8TGXuyx1vrtO3ogTYvQIHmM9xsGf2Ey3A51yoXd/hyqZr4mO8kTv9GAtWhMthEiPro2aBarFM8BT
c2OXaPs9COwHdcq0noboLNG49E26Yt8kdST2P9lt+YNYMU9uv2TYB9mRqR29Vcg3e584v430tb/6
yCeS9cPb+hW5z05h/rGM2YIXX9X7xOq/ErPF2ejQtajEXUWl8zHE6X3qNWLPSek4ixo3MMTlb4k4
OSSEc48Dwj/KnDLbNUcsbE7y1dSa2sLYnjf+qPF2mXp0kD1J9yqehpvTdda+r63X2AWsPuQk6PaJ
2sgJDrGVQ/DxBRKHysVDns/2uQq8QxRELTAyZpRMRqin2LomJgTIdSL3OPZqnce8en1rfPuDe6hE
S0UnDxD6aclanX6INWsLhlaGlvKQIXYEFgKK/J6Hrr8w4vqoiZRRjmXsHFWjWCtaGZYnY8lLKnqa
mXVln2eZrMxIznfTbx5sM0WjI/A0Buh9N7lWjvc8am7M2Y07fiYOReSVtlM+ERavsj2K3F3jcJEl
ktzjAofN6Nn1sfKttYYobecOcF2N0mhpeExQhccKfG724U1NuTJ1I92joUHrM1eU60ydd8S6oLLR
yBTATjeGvobdyPEJl9DqsduZvtiLtKHQYNZ+lRprIFwlcIuNQRR1O+003bkEBSXhjERf0eviZ3O0
Ne12ChVQtxEQmlFAs1mCSrosh5SOAXwzjIRRRmQFID6n5iP17xKJDim6h1a0yyRqJlecA318RdNT
HyL0qQDV5zCZKa79eMbSNQ33HEMBgDv2vhZHhAjm8WiWBBA6HqOA1vo7ItihoYLyZrZnIEPlvkgk
Yr/eN67xRITu6K07/Biroqefj993XCOBJC6n28Utp5DI68rtiEBlo5v1GqmiZ8pq14mBB5yFeQbv
vcS6PRECII5RZd6aZjg45A9WUTZdZ1c9exR0RIA36AvSySfRVTyU5NcsO9hC/ykeoDYGNz/ba8r6
FeQkBNE7vFWa9cX4itJZ76H/dNi6fBWf0ohtwYq9dc3xbZPUPgSQONsVmEo05YpfGQPRcEppXYo8
YFuwzUtJGzvsZJ1hXOOT7lrz3h5NrtZ00MOeCKMtr/jRZd70QapHv5l8p9i0Alcxq+0x0luS3sJK
q6AielZxazXySdJCP2f4V1561lm7tvdWMdp/8vqbKid90COSxNxZXfR2fqk6mTKBbKetnsG57pmG
mF18iNIayHxEQg709vHgsJpGPTmHSpbtldQ62FNqP5gsuronrRfDPJl5qja2xk7jl1F7n4PhtVF1
+9L71dZSIr0Yudkeu3U8456r6WNaed3dfJSVBpM6vyQkr5x45QjyAmsvBKC8oCMOR6Nuz7kQR0u9
TX30l3B0aEsS4Q5PbF2b3UtVjBd0wSg4DA7gtTbedQJjj2mC9QAL7MoJxhzop7eLhDGFPnhExC/F
H9k5CrDkIaBc53ryhis9yN8dYSEeJvJV0CIRiMjvaSPHf+xc+E7eFSYbxO+mJiamYATbMqkgJpHu
a/5StTEvVmnS8M7qtelXKM9GXz94KPgqLRCXPNMYaQULXNMWzt7XHbLH54FucNUUqLxs+k8a651R
G/YFzbLAdxNjnPDXUpA5D5mf/dfD6Sj64dXVgj9mZiEqMe9y4gUUBp2fDFH1RP+91+Z3JjxqRzNz
3hn+ZLwvcJNIRBZLIWKrxk0f8Ak1NKvybpsq0iUaElWygpxnK5gvQ9wcZs7YGA+j3ziTPqqABG3X
WQzGPZUNZ/KgpoaKKlAICCe0VbYIKjmGzfvB2k5suqgUiM5Yu2ntrS2aVCOxW+gEEcgOsjlotfPa
us1T5k/Wn1QmpCATYero6OzcXH/w8cEaEaBHt/0QWlCTGdO1N82QH13XFB9W1agQcaBaBz7BdIEP
rArzxQtsoZs7m+jeXWltHPL2SAqwdkp1r2bjaA8d8RbY/kKJrBhfq9kiKMsegypy95PGWujT7Q3L
JCg32jAdLaNltk73KCwc5GFxe7Zq11kTF57tNKLoAkBpnZEWOxr0C6ObUSRH4MlnMSJA5COqtzQQ
8ktSJq92TbE88UZvVGzlaBLIjZ+IuY9nZOe+U6mHYvQem9x9M11fPUhLn8Buxjjj2vmMFEfbt0Fv
b1KStBRDlrj97IdOIk3In0cpmPEjfzCQcIap3/gPfW692UW6xcpobchYZlKdJPD6iuHR6Epx1AZi
HLB6fkqln7oWZYdLoODGYevQ3Km/ZLVSh36eL+T/NHiYsKQCAAxzpNjTmHVHaZ9R3+lbZoCvHNyR
VuF6OvuLLjNL7Gw954h9/MiN8K8rL4xahFIqi4fdQOqNEzUfGtHBNxraJgDpB4xU61HM8cVqFjeH
SmdWR1+BPu8N/yGYenEy5uQwyZbJy3ITFgxyWhoa6qrKu5OxfEHAAVoj6C/VVpUq2goDO6Qd20yf
I7zWgZrT3egrjg0woLZxSdPVExjVLGGeqD/MW4fabePE86YiNGptT1pzYfAxrVLPkDsUoVx3Edmz
M0lL/lAyLCoFB+thAp4i16Jy1ZH8urWQVnXMdHFh6mUdyuReWqV5RgT+NmEp0r3FxQ/bb48YkBls
IM/6WLDuMcWxjWp+EfP0KxZ0B6GvdYfOYSATJJgPNI7BCQCN9VigG8EOjVA1z7LjnPu3OkL47EQ0
JerqmcyF9mg9BB4fDgzajKdVKeFO2f2xZNMrLP/bzntoPC1C74J1AXMAda7T1fZOIMxhWgZ2wemJ
XXEwu5lfLiC/vZ55z+CNxPHniyGjazOWNyu9OZKIDXokJERLDp4jPt2qTW6NGdLdpKki/PRRdysZ
9thsVkaHTgublsC2i6Y3T2h6GDUxiqbsvR3BlSy6qXox+SBv0QeQrjMw77CvTj/XT1oGk2Yo3Wlt
NC1abc/BV7Z0iyTe/Flpa7srkUymFvMjM7I2yi4+TYzuldsFTzLuv40GyGiUcEItJp5rUqt6g1d9
1ejNTFddOxqD19Eh1r/cIP/0O8msNlPFuYkRRBrBCy+C2hoV97Eyzb05k/PaN8o42HwMeOfiuTlV
JgNeguzqtT6nxSGqoxB2hLGfmYATsDafdes2qxYdUlExIbfrJ2Tse98nc7ake+50XGllo78s4tK6
M1h84A0Q9WCfVDR+8dyrXYq4sGPu3UZlc+itVq6a2Z02hGIgBI3PAdnP985gTp+561b6f4QMPkoH
jWXGoLi23SU0nVAda0k4Q3RT7Z0U23Qj40ezOEFSKxFNpRy1pU9qDyUMHohPzQ5eCVmjDGSOE07a
oz/XDxzMYCIkaj1hbwz9onycE/I0jbU21Me6VbzyHud8ZbHepOqd5wy2S0x3u5R2qMbiTyXG3wBD
opbjIJG6755fip3qnj2fGMLB5n00u6xaYKRyM7sjwXR4SuOm8w9yDNhpYUvliElJ9aLJzru97S0t
32S5V+3Kwd21xYoB+BvUbUn5ShvEmHjrXIQ8hMy8AXoo0pJKQvan5VlBPA3wnsJMquUD86792OGq
EQReoUfLtl5nBcdumo5pN35beZR/xyazTqQ1I3rNqECcJQ25ihMGei0xdssc6JhYBMWJjn2fiW9a
upemGdtt3iHSM9sHjYMbYBLYV2ArEnK6O+HTmNH8NeTVa685zg1YfxiktXau9G9PzN/sqvUKQzEg
H7QqZx8phnTVi6iJ9AqUHmr2iIyC4o49LnTyhIt3MRqNPkmtCvBzTwof4WOXspnSPRlOv2x0CnvO
xXVsGG9eTZ6s/oRDSR2GVBBej832hEVmK9G5IDEZjUeEo599cdfnl9Rvw8ZARWCTVrSoyDaWbG9o
5l4qT3TXWMBRKxjOEk46nbIh085p6hwnU9yTsiAyztRulh2iumtYtoktqQPm8B641g3lt3RlD/ID
6ygYijhDu1vZLlnjJVr2NpWnzhuikJArUreq4bFj4jPYOmmZnIrDYjC3pNI9Vj5Rv51JrlrGWDop
/moZ1z/XuFipSUMko0UnT8Py6iIQW7IP0nDC0gqVn3yXKYCBsgBGnTtqIGY5hBCG/XSYQOnt7SRW
CArzby+SRqhPN+kQZuTIfjuTvPrkd8ZJDfOVLkCxqSz9LcZniYyoeTHG/j1T7VfkVS+qpkfvmv0v
0min2d7hB4+/o4z4Fz0KbdF5jMkXKXEVgdpsCRF3MntrikAcC2P4oGGwSoGy5pbMDmWAnsI3jI8o
Nk4trjgEAsRQi2FVqxyTa9dxsMVEm7EZZtWIpEkv79k037TEe9Qrfh1wy7Xq0dgJOAWQImtj4/t0
ogCtqt2ks0AMEh2Os2QokqbNq84WFcy2FSKBXPcpOCU98D9Lc1jMyL/qr1LQrQni/h0zARXjQDLv
JKAac0dFLo3Sgw8RTQQultiUbUQ9XpDfYsfcV4ZOTNVMIxbzwnffNyjI84y4+eBBtsOXgmWxGTTY
ftTRj4EyX7RY1w5i/u0sYBpqQQ+ZUvBOI+dYlvGm06U8eDN/uJO4xzyeMZBnzObgyj+OMyDBhrpq
pem/k9H++F/snddu7EqWbX+lf4AFksGgeU3vlfLmhZC0tem9DX59D+Yu4FSf7nsL/d6FgiBztMVM
ksEVa805ZpchX2vdd2T0HANpDWNmfftJyJKV83ulIiDwWsdptJYa5UPrdw9BV3N/+U96Tcz1RFvJ
1jW1rfvwHKRjd0E988LFQeJC4N/7tf4Oko6bM4N5b/f4GE3uxyLdysI7JCkXSe+pF0LU9KWf+DOx
CQU00sV0XDqVB0JzKh/ayNql5M6F2rjsGn0JTYeA8Q7zqeyuMkLpqmDn4jT9HOIco05COHkU/Abg
Tv6xB9YZlWJOPnXFWOQz6qY9CsfnxireGHydS5ef+dxEi8ygVcmN/WGl5B4SXwsxoqC7bWRz1ypC
G0vV7TjRnd/xBA39eA/PwVnA9IpL/572OeTbblphEHDYtfczt4G4YqpI/0MisKYL96gVI63d/kQP
pqXSoZlaBs9WOv6geaJU7nj800Tax217VZC1RM03MsG0wR/spWbx5hgGwXhxaB6qpmVjZVmfzVAc
2upBeIC8tCR/K6z6s+ISWFMs413wjEMX5K/eKH9wUqMxzMarTpW9li4scstayTH9bcXpgeZlfZmC
c2BXV2P+w7rF0Q81f6bSJTl4AVY0PUgP3Tc2692QxDvk6ecsQUIfp4t+JGyKmKdNXWODN4lVpZ5I
kg8G+YfMMDcqZ6fIdXsVOoUeaU+ot+lbIIVEC8+rpvnQO3jDjAS+9dSf8ki9kBd0itPkjsfpS+hA
WjN99v6kMdnqUdfEvSVnKX2BVHJUv430x1AYioSRHWxEtNuSMttM2lck6BvM+JxSLRqWmBE4b2rT
+A5EDIhzQ8c1bgUDKw7wscCiAxeN1jlzM+ZXxX05tRcaHGpFZBxDGxdxZuAbC60aHsMu26ehQwct
JaKsdRZ2lT+7Js83nNsHb6jJdMcEgS4cqy7n1xgkPDyZ7WJyeF2LaKbkLSln81eb7pmZfitFsHXY
YSsNfZsIJuMFQ4e1yAcaqXSMlKf7m67vqT4jot40DIULtJfryJy1wxMpbHUtv/KGzkScPGjBnPHE
+BQGW3FIBL2eXksOgwgfXAxsYZfAvhv0Rxs7EfhstU6pY2Iy0ijKptF6sct6y1E/2xZ9KkRyj2jg
31rRPQYOMtGUQPcA8yo2e2oIXq4ddF8CDHTr919eWp8UuVuFK7FV9s6E/KAheQcni64D+vbc9sL6
OpnoHo3uZJPdZpcIRGPnXoUETaRE571Grfbi18ZVmTg0poSnalg4q4pZAjquI5fcMUSQRuGBAScj
ssMuul80k05GSkYrGQWjumbt91QOULAZweYRSlvucqiY94AlPqrW+ulzTNm4QRaEkjslGrgm5qki
smZve+06z6kZJcMKsGK7jFRRf3DZtsjkWXX5ytX9p9zEpAfwEh/tPBFVJFWz5OAt+3ZT85OsR3p+
yUEWVHRVWD0SSYlln7FxEoXLPCj2bVNujTmsddQQhmmqfdM79ztgQuim194ezMXUsz8YSrz2Zrxy
ufka2T52hbdysvygeYmz0JV3MpvkSmKJWJo1oz5C1XD3JO6q6fsX0Tk/Wd4/Jn32rAgVHPAWymYV
t+rEpk5rychl9kv2WmmvfSBOueAhjJWv8YyXIh0eiSl9Mo0GxAIi7iB8bs1sp3vl20hmKzvmYuEq
9zD/x2Xk/fiu9iQcrMIxnrrMT09a7d8bJW51M7oLy+CLDssjOo9oKYf0pww418zKIy5sQoHyycWG
joVYyK2IvJPbZFvH2rWhif9yTZAL6zhXIMNktoYRYYFaB81B4rUIHZJMyc8VHuW2ADGhPDpGo+Fs
kcJTArQ+3vWhR76bTtdkeopEciWYlmcI1tYFEOuKLkF8p7CxLCJq48pixqlvDcv91gwPnyBGMdym
6qWCG+CAxvOiPZ7W58B2XvvS2hdzDztNnot4dqeh68sEGik1lstJH5nX5R+ZT+0SFuybWtzL7Hyv
caUewfSsLPZNjW5CiwTeF7rWjudvuZAxV2pbtUfGdVdRZAUNvkvLgEJ3mms0yG88y/l6zJHM98QT
NN2CGLaV72ICGAdoaO+25JCdkUDtyjdfYg8preHhsfMQ0VOcDGW0Qv1REehd7lEOtGiCNOiIZtEu
FXvLucdhu4ACq4CVKh55bLTx0+QnJ3goO81toR4wo0jtN2aKb3nfvFE8t9uo8Peq5qr14WlO2r1R
iYAFl3e+MoIN3dO1KE38YhGLAZOxt+BDYGHB017u2DIB2uf+8u1ZfJD+1sPuq8iZEE0u4cPvQ26f
WqE63LcgPhjVHqzZCEFDjX3ZPpToIdjXnsq4vtA8OAeFPOfGd2zMSs8O32t3zIU4qjgnew7hJYsh
mVF3Kmquae4HrHuIs9v4UOYKISOOs1D9ONNDUhZH0fQbSQa8crx1QIs5D1K0o8MciNni4BcT+Bwj
/KWN9SGutDts7xxJ/UF7jcUiDJ4bmpZlX2670rBWk088l6LXS2cEzdiznw1YiiBW5SmFb9d2jzMf
epn7au3PxXOQ7/30fYj1F2uIvhwj+j2p5rFwmDZgjaZUZjzqlCb6LB0OmET9naYVpQyZ9g1+3oFp
IXd64CeHGthB3A0ntFY7ZVVXmGunfPzp/X3SyesYU5xkwTNOkK0vggeXOSCNTTrzvU9viTSHCbE9
k5BL10RfRJd8w/eYPeznMs/702gWi6Swmiv8M30rfTNbupN1Nuz2ByzFsdbtc+8gu1csz86iZ6yz
Ys504jQ8plkS04IdPsy0ODG1A5LDvzXar8zinoL0OE7aJ61dZBDDRDpRe+3ochd9+ZbPi4yw1VZh
U8Jp81CH9L3IZTCn5I4xDiGn9m5SEL1gC61QYnwowUSnHQ5Tjx+gKPx3x0N4a/u7AVXOwlP2eRzl
dzt4WHKHI1m0YlvVODaq7J0qscCMFaSLsqRc0VzNWxp5N9FE2jQ0aIPcWykV0V9DfBwIFAqif6NU
r/YuL6n35adVCYyGw65T/IuTYD2MgpOG7rL+VSrjvpMJSbHup5H6n+4U0p4l1hgbM0nAw871IlAO
yJJXNJy32NRWtmTNqnBU151G2LHZbEgHOxP8QxSu/zuVYO/kLLFMXWLsVYSn1zvj3ZsgS2JdCBZF
Y7Cz6h36QqIcd7YlXwP5RWvshaFautCR96/y7he0jE3ONeyMEVApq986iqlg5IebSdXshvoUxe94
tTq17LOyp9cy7jSbfqLXIcmNnHlrFAGGHBxKGfferFO4bTy0VB7KpSwfEaLWqPEJd3LLddh14IZs
owPOwfhDmmFxsH1QQ7BJtrT+L72UAj6vQ22e4rsRecRSh60auDaoqZTqvKzZLWiDuXVy1sVC0m1w
RFldQDVwx0Wr3ELQn2NTWyFq6rdwcr4G+Ix35i9U3g0b4tpC0+4efOUR1gowcFsWW3ponxmZAzSl
LQZYS78xieEcYppoJKjOd3eX5eu4dogckWKn+vh5LNGuVN5vOmfJYsgQ1hjaADFFt+fW7E02gUHT
SAPcvPiRE++u6tBq0QkAc5XHx8zWaP/A1oR99iV9GjlQsJ4Gu7tmSAWWhZofa2XL3m8McTOqgEGg
BjvCXksV31EX9ouMwSKrSO6kb7Yht5g+WzvXMYUmmMEMfMjtNRT2TxFjdRDtCGUB4Q5oM2RKajHG
80We8sg9mUN+zNFJL0ywmynBokEUX6vI3IBa3AatT82jbzWNAbUsimkhBoKISwpFU3mLd+OhDugx
JUsYZCersc6DHF7TiCLdj9iboTsh2njDje6j95lyOgqM6e6BzD14DPetrK0Xr95EF8Q28CqL7jq6
eKDZQxHyQnNLZ+7kRgV2Z2IbJ8x6gR3xqCdr6k9RQ7jLW+X2D3mC0aWgmhs7Fv6hUevGBMnyApDu
lBvTIz7ZcXQZg9LUWpliRVI46tSBvWRvfc+0N+nz4IyK6tF2+quuGTaxG/q7OaiPvFU5dQUju3S6
I9Lux8/Ei1egcOHVmh7o/sZ8NaJpkwIn3/RjV68UV053genJtL3IrC0phXc6lgcmeVuHbNWNp7Sn
HESFm8mPyFVim8lZlsJGA34CmpdXgIwv+GjgLxbJA51jDLBig47E29zWPw19Xkq2de+31zbI7BUF
CizCSUA6G5JV7SeQueplZ41nKavfFmUo5XFzpFnECZjaR/QsztQfFO2NoMeEiV8c0zc0/D5yFmXi
f5bavGeQzX2ixEcfpca+iZn5xAW3GO3bRTzXO4JKaHLlT135D4n4JnsMoRyl4iL18l3nK5SX5m8y
a/tl3atoxWyRh3PPc0wgOqB59VKlPfJDs3AWbVIedJMIt3J6T+e8+CxFyILiQK9xXeL2eiR5aG9m
i1ZUBHwV/iaq2IYBD2DHjlauUey66fsT8YZnkd/LGXwsUDgDMY9RrJCzGZJzx693jwOVLe3ENTR5
CofS/w7r6qOQE55UNl2FPXU7DhBUkS+3NRh0L4e170UGa5dl90s8YFmDu7cZMMy7XXO4fa0Z8UnS
PVM5e2rLa96oiK0DCgoC1gozHPYDezkJqQQ2gKmvqMQJvzEV/jVtOGFSpeTBgHlIk3Y6GAkPdUMc
MjrB1G0zCmb+dh7o1r6P3tCxA/axmVF4AEMPoqEg4aEfIuGo2DPoLktSZBFcN4Vts0ZW9qkFnrNu
nczTkcbm3cGTGSJKW7wpPHVLY8A6aRAwk8d9uh3YPt1e0e1D3EPL7pP4h7gufdcY5tqZX/JfHwol
/vklEkE6wwjWF2E+kPMTSP3Qz7wCnPpLS/ms9fOH22eiZlUaCrAvYJVlb5UHPw6rg+n05eGvL1Oe
jGEDYpf6F+v64D7BUUyAoY/UCQlF9AwbQX0fbUq9e3GaeCsFsIOkYRbptwObHrbMhxAwLRRrBY+i
Gb/9kP6yQft76Uz3/kSxzjRycNxtp+Cn1Vp1iAUD/duHv760dD3eGU7Etq2j4zZEOHmaDsszMzVu
xEPVzpVD0JYfAxuL9e17sUyoY24/uH06XcYJW/jtZyhki8Ptu399GZFktoTF+agK9ek15IUk6bAN
SX1lLsQV9+cz12ZDN9a1v3BThPWd8YttEDKuMSiYYM4frPlFkH9BH7+FPFdRawOPiGmUodXNLHK0
M3dplXhqVWj9yIwuUWEkd3IEDlyaY3Go5w92VBYHM7zkkDGIUL/TTZSrIMSMwT1UTkQ/GL8dqKNq
GcliN07Rl5/q3xMIK2AE41ur+fgwJay+ET1tEeILdCZ2SC1rR4R4DHN++BL09UMSihjfXvblT/Wp
Dmo4gu0ha5oTgO8fo+/qg9G663RIhos/OJvgB3ctzkyz8fjDNMSCiLMv4ftmpc34Iufb1RjT8s+2
QFzz65gY6Kxr5HMWARnge790GiRLr8Z7X4GJCKG3oZtEA+LGx97TxRMj0365H6FAbTQI8Au3oWuU
D9W6M/0GVvJEapNleNz7YbVraTCSIrN3+5yhQNM1dwwusYrIieEWzCRDuzNdq3wvPG1DuEAGOZrm
T+EOFQTHMbmaQ3cYpdpodePuXYZyQPlQPGhhQPQ4ZPCOQQ80MVvsDY0nCUhIbVdPTOGbLKWd4nIK
EAzaXmGjxlGvnaizUyOptZwoIthcWEscOjqN6jc/jawLj/YOgXHXrTNHyy+YBmN/jEcIDWm6NlsT
CGSpPyGqpXIV90ONzx4xWTpvkNXe/ea+UKI+wRZslhmZEeuapZrNeP5Fc5DR2MQENyzq8hih9atS
TeyTPDBOmmntnXHM2Ae3w6ZM3FOQOMiUAEn9Isaevk9TZBvDj6t10OjvtVDMA0r8NXpqsm8c75yi
pZ1JecEzxLlv3MS6iHjuK1jO8GRr1EljLQ9laei0RCy+rzXyV1+PNJAhz62qALmIE1cf3BBb8jlf
iMJoGcOmxI/n004CjnlEiNmthVzibDSPCIRgf8u9ZsbuoxjZBPojSQserDRnqquVYmy4L1JesmYz
cEk0jDQEIN2TB8Sm3ER0oEBwX0AbbAOA/7LXrZPsuj3wSnlFsAoytte6vZMguxvtrdsqm25IEGHf
S71TjjKNQTg9KcMOw0Wpmd9pozvXZKA1OWnxsZiY4wQoqWiYB+Z9V04rzXKSbR2oYFM3/Bc2g9dF
MagaR7S1B5KX342mXtEnpwYKu+TQMYp7ImesWPcipXFJYMYiVCF5xlHXLoxQDze+4UdHG8+5RurL
JY/ja5eEb7drAmuSuzLYzO5wQd7nKXLneCyyJyNLXsDASITuabOiL5QvhBZ9G2NUvUd5caiSrLoL
slQcSMAGQpUkYCNj02pWAcKGDVQwe6MNLWfSjD60wfpiYBcvyUlLF003ppyPdMfCgVh5EMXqdoH1
hXcs5xeKBRDXrFWjgEa4yQNBgIgJ7IMmcxcjQmDcdZpGz0dHZlcyrC9q7FYdIRFn2SHV0FBXSmIB
79FtvGhtt7lR7W8kWBMU1KpjlHrKM2zCjQoekjQYWUOifmdCYlmqwvM3aRNn21wDRVVFsXhumzSn
QdOpHZ4Z4+l2sP6szwCYh98XW8V8d/kmj5OKrVpBdvG+RfKzh6XV/HLtmKracYtzX0iLBopOYngO
eS8thiNKau085Nazm9k2Rgm+islX2ououRRNG4FBjZ21hLCzLH3PPTmN4y1sM01OzdhfK08cnYjv
BIY1QeNt6tXtTw6iQy9UQdFk4R43TsS2vQkbc90lHd2BFoKcrL27uh0bRBXsF+hOFsfbBwPp1J9/
ZKIfv07TyceyE+97E3OYgVWRwtuoToZfUgm63RMmk4CoinbtVQ51JyPul6GAjuVq536ygqPKIEvZ
A3aCJBrQISojPJDrS8gErCeRe+WD2UefisVtBvEn3VhcYhzScSfQNAxu81CGb2MZRSfk7FByraVJ
Vtg+8Ctkg2ONOMIVJzEo/YQDZ4ONXJwKSWWsAGKcJ5+OST4AqhLzzdhM9Ad5pBzG0GVT1QCZqzPP
XqlcvxYYM8zWZiVjpSYhwrrIpF7XTetCRPI2eJqaB4b0L03lh1AyIJa7ffDNuHE6cYZAg/NxO9EF
3t9g01ENdXwwcOX9WcS8wDqHSAZek3vHNNWGwUa3lBrwfytHgRcRVAwp4icsWrW2M/I6p2jXdHpI
l0B8x+bgsUVsGe6ndbmi1WkcrdYoV2kdsyIY48gb3LPpIDny9i3Amd7VnfIXEWZnP/LCXRdRpktR
iL0cvGjbNER8m0lFTCMPgy4t+Vbl/7R1f5fForkPArqMtxefy35vmDxS+3J6QHwXXYTerlJSGIxY
r567ofzdoes3a9Us/TGw9iIPsA8YBHcMidyMpBUu+r4NUWKwHbJUVi4dx3L3icLqoYo8XnnAeHoA
4e+6JJKk85uLgcBsMWBBvOsH8e0ZVr/3qsy7M/ueHq9E6znLqPB5raL0Lijc9ruZwzEUwNHHsMmy
LVHRPyECQgR40I/Lquq2ZtlRh4S0IcE0iOcO84HdMkIM2yK8VmmDlskP7K3Vq+Y8KvE44pII0kS9
iUZFG6Hp1hbdLZWPFbxoYLCrIBmu5E48EdhlbqDLtCe3Krzd7f23R+LspMXuZsYte4ob/vbodYmz
2vTW6OysFrVi58lHva2mu9wo3JMZ8Etey19TibR3kZgLIcTL9wLK0cEXJBZYYlqHMc8xRJ8XN02c
78bRfpVbnHHJW9ADTS5bjM19HRckMLjJXY+cycAcuhs0u9rE07wHRjMMOoeOmGHYe64b+rAwnLAF
sWXVCRneszz2R4WGc9FJtbftIblHQYNQJh3cVYuAmpZveLAm7pw2dUIAAF5/0SnXTizgySGq3M/b
VzVIg03kBvl5cNpDJ8poXRmTs8K25FzjRm940gG0GuzgM7d081PxyQDd8PZJoGUOIAxNp3IhyNK0
2zcaB+1maBCy84Sc89h9dkg9hta/PtOs9MRl3W+rCly55hTm2ddVvgHMItY+Nn76SXB4UjATh9Fx
xnMUp4ywKviChRN1O1tY0SZBdrcbxycTBcLBrxjARCLE7ZrVr7ldfDpsU+tWGk92D+bjtqEcGr1G
FYyLYVJmxvVT/o7XepX6D3UmLRrgsj+MQ7GIBid7kS4TgIlBV6eb0RtwYfTmzPI0hJl1AUDDzwNt
0yRMVlWlm2taOt1l8rmHjRZDQq6Pob9EQg+0oUh/hoRpGMFPOkI7Pgv0/rWQ9C6msWy3kgWN4KJ2
m1eDt4LOgUlyfobE3G3cvlDFkDbRGnfbZAuZClVxsclRFV18F79LDUzkSwvL0wT//MWwOodwBGKH
9RFmb9qrD+Gc9LId3kMv9bdNCTx88pIPCBXdC7OJB20Y7Y/ZMOx0zmsNsuOFnhakXK36BA6fbSII
SXdEJyEbGGX2rUUI0yyHUjvWnuuUlg+q5/5i4o+w7aQ7ZLLS1wih7I9hoL8eZC8Yvc+FjgXQisvy
5JpucE2wjDLLco2HQJHVLSa17rrW+FZaytNkpIRD1fjWzXUcIoZ7pgMfOGXAGNXKeESyFK60AO21
omg+BvMPIpAF+1rHjw5Btd9MUmdni/pj0ZOjs+MAYVzQFaDHYGEO8++shlaYTw7JWkWlw7bGEEeK
/3xFFz/eqsL4tI11qpvGU4/c1iNMYnO7V2ixwoNh/2PP+JSeUHmcb1QYvea+RsnY3MtGvCMwDD/y
pVbE/VsbYT4KVLcJwEK81SMhjAz0nV1hwRLwzeiMyPjDbkz7lxRcOnXqvYfB+D6ZpJzUxXDHfErf
5dOY74WuaxvZMTWgm1GupT7kj72PLtGO4fNyvwRbbeDpoYG5f0gq7TTlFs3pJB+egDWb9KRzF9Sh
/uGyldhWJvL6seiiVeNDyrX9WNCGCapNPcI5N8P6FV2SWGmZjw6PZ9gyj/Aj8HR9DNzoHFnNtP3z
COPpcbTludPBFJRd8UlL0FzR/FS7ThoercTaPts0erYVcmIusRwWWOO8M0K4T5xh5KQN0DcDwG/G
wJmT6aAdbgbs/zOq/xujuiGIlf1/O9UfyQIJ/+NY1D+fONSJlmjV/hcJ9fNv/dOwLvR/eKbu2Iah
u2QEW/zkj2HdMK1/2DrZtDRhXMf1dMJg/2lYF5jZ+THbOUhoumV6fxnWhfiHqetC9xwyoQ0Hy/v/
yq/+t4hKV3BoHkdnkV+MmV6f3ez/EpIrEwNDpaYFVxzVI5qCmFQYn8bkiKMR6pu3C4rmDNML74sD
vaec6eqww8w0ZbfVU7IP8cjkVraXhCV0Y7r0c6P2Tg0uagiPaT13x6FuNfJIU34ONec3297uHIKz
EfX4kPmlvSu82YXpsIqzaespddwSdYLeX33PCbdtYjC78absHIp/F7D9P7x8VzctayYG2I5uzMGY
//Ly6zK0HY/I8qtOMMq+MyB1iUAHdo0PaqPORV+7RLFpcwB3ZByauSWUA+TFy1S/A585iNg8skG9
CwZYTHppZ1tTi8bFv1xS1z9Zpf+Rd6RIRXnbcPX8LTWYk2RQOnKG+D+Xi/m3k0SmUdhaTppeiY+J
QflJmIuzwqKGT0JBED3LgklrGiht5RvIo7ws3oDU+D3pIUSyYYJAlNW7sEZh18Nq/bM0/GEz/A+H
Z81Eg39JWOXwuHBMz+A9nD+Zr/B/fROZszVVYDbFFVuguqQSM7kzDl+GjjmVOLTg5GrASpPaP5Fq
Nt7ZbU9yjkGTeSKms6WR63RVcJaZbV5uaQpYJfq4aE5TWQZPyJfmfteP1ah+GWbjbyzE44pLmlIm
HrMtaFZccl511HyW8/aLmYF7hnNEV7hIyodajkgnIhIwXdANS0M6433dsQm2lUOT3gKVgpCCBKeJ
XvktD8eb8KMHKPP/zUn8WwTu/C7Bn3CBU9iWJy3vb5cagXSN6so8JUCkJ4LXDz9JUSk2pmiSXS9U
tUwIpFhGNTIGWfIgwahTvHh20W5EkuJf94I1JOdZJpT4lyGCURt3FLuurT0EYxzv/s3h/reTOq8u
BgvZvEJ5kDb+60l1uhr89GhOd0JresbgItlWfgmuHcLRgpu72hihDXtmzny/5XTMVv3Ln0QhDR0C
0W/0eqbI3GIV6zf//6Nz/9sdMR+dBdTDEhwisIe/HR0u79ahkL7LUtoS2VBpkCb18h0OH3AdBEcr
OxbVRnp4jvyq+G5ZSZbtkAVr1HPOAXDocSQbbdN2bbkp2JnTV0w2g8jluh9GvEq9xgTQx9HtJq9C
M8r3WzpL1JyiAgqGTm+vEtrscphlQc0w7AJJD6hQaFaLxqVvOn+GRZuBoIDJCuqhZqfNHiFIvkMu
OwIIZt4Ti5+TGfbGSmo0CUjYb2lIKjSv2lAwEOJ/2DhtCL01y7MFSb6CPbJp5UEhUoyaJ0Le+p0+
dfpGAxUcGHJc3QJwSFgDGRfG914/GBunBOLrTml46uFVFCi7ln3ZpusaXODSsEAKGiCmwaoN+CrZ
NiotmsijAvkzV3EGtIgV7fit0iEj3k6xG4ISj+mPrg3fgxOKnbWRdfBvTrMpb5fZf1lbhMVJ9gCz
IBkX9t+XPkCHVRJ0g3l3u0GncgwBbu6sOeNKVh+NhCPZEVm3d3KbJKRWkTurYSTokxKxM6lncVo+
jBUKsjhwLoEgassn87bTaGXqs0Y5dRkgIvZ2V2Icm7WRIfJXOf2/cbCwbCh6H4qQdj18dImJ4V0L
7yb0ZKYAKuxpVbcQQAIBJyJlBmVCxGZZYdBoi6NJKAg7shIWyrWbAxrnLJ7Mz7K9IvThGLR0BJPq
0sZTf6/h43CGqmQpclOW9h7lwGyk8bE2bzScZggxA2+FsLfDWQmyCFVsvKDjTVy0o+lQUH1tlY3E
Vmo1Jh59SuLTWBMyUxcQ1PtSHUu3+gLmTkO8Gdl6OOmvMHVo+QZgT6Y8JW4iAYkfOzBT29r/ub3Z
pq6Gb9T16LYdSQRZVOHG8r6kl19ThPoRzO3VeAOHZ8TM4NCupR6dmSujk8iCrLoIBtYykMlWA1m4
ybv8SnQRgz1XhOs/B58R6+GOGr+pfpeDNu1cK/pu8344g8/6QcuyUX6ePwONPzCwmAfoCsFZJnjd
0IvzUhI/QDj90hzjcBaYEcyicaua6a+WvezVqoJXR+/dhXAc42rPeUamR6Zuh9XralpoM4ZQf2Lj
1bqjejP97mXoGL4lfffjzvGsNHBXg6a+SSYP6B5YvzqHWVPBg3TNDhSVZOUUC9vyifWMtHId08Fe
4xQbN64+7cuxAUXGcChD9Z0Uvjy6SWxcjCasV4zf5ywJ0s949SsUghzTVJdXeNA5ff5nwlei7W1p
7ZHiIVxfmPDIGFQHgEl7OC45Jrg5Qe52r+tpNG0bgMKmLJPtYLk6BG1OTGo4SPO40jVExvzDYHs1
evU2FppLRUTEfszHT5sJ0DEPyHKLWOVuiWB0uOGSj+O2T2sMPTVxMEXSFCCETLmuetpug7NjF8L7
GgDBt5ITwCIcFc19l4PAQO3rtoZ+zihq7seKSXmbMn52h8iioaMTC2LIo6CXVQICQF6wIIvlYJLk
xP3bO6dOB3VeG9lLJSGYhpYPi37qiUHxgFmnQ72ejEhdHN2DBYJdP5VOszD8eeDTJtbKjOmVtx7N
ihosCHxLfynhhNUYcsdXcXW9LNzrRkuUUBJ+iSyWD2PbhPhfmSNljdxknUV8U6mfDcMxl8w/gg3x
mskmpPW74h0K1tiKBLjROQ7P0+Np6ch2V/McYXbTyiNWbxQHpNR6VTxtEMYna0Pqrzluj+PYuv36
dhWWlkIMqYffJsZzYkaSfll6sCQan5iWqY0fREhMiGx8uqzs/3zEnWDqe39Xu221C+lmXMhkPVFN
GZceiQ6LCFpY69fIiGkx4KKvPKdce7Dr02ateVzj88sKyShdtISQLsYK3568IB7pXhOTVhoEJpI0
ozg4kA8jyCQi7dJ+c+pYLYepxEFspndwbs9aQbqVxZ8DAyEUPADvmCfkDwc4726XWmxY/rZodKz3
U7uNJTL+KNYlkouKFLvso+jePOZSAYrhHd22aGvC3tgkLWOp+cKXKQHui1uoo2OIkbFZ/9utqnVr
2NGpKuIDaZuYCefyzisHebzFqEHFmXsyxgigwnwJWZpc2jIh971mYcElaXk/0qShg+wQ1hx2PlDm
ZKvDMFwPBWzwufS7ZXllkLlLPcoOEB4udUYvr3aek6oqz+NArp0/Oj4OZixYprhPsDinqcm1QhN7
Xllut+I0lRegWZBrHeHcV7pl3ZMN+nr72eBK4o2aPjvFas4KzaKfykymc9zh2Cr1r1GW93pZRI8k
aCB7TpL6Mc/ID6IvbN2JuGVGOB9p3mlinbu0jDD/I1Zspnn2WezxkzE4T7PD7b/yk/yEIn04O77E
V6c6ThuwJl3E8j5JvF/V4A935Hj+lHG2UUGJSjyPCLs36+iBdL0/kampHnxlNlmfpZeVWH+hh1pc
omuE5ZgY6rZeuwGWQ4c0IVdXXDrGzuRK2mQJkRmVzM96gflbWuVadxBo3lasMDTQwCbJFdL/JndJ
YL4dr4edZtvWcPfxjb7cLtehaK4lJlKjaKs3OTnNOWqccmVOJg9SpZ713C7XY9Zh7uUgXIhJjx3w
60MvbBRTif76n5SdyZLUSNdtn0hmcsnVTaPvMiKygQQmsiQB9Y2rl57+Linv4IMqK+yfYFVQRUao
cfdzzt5rp6H+OYsxgsKFMjCNaM3eHwxAZgY0JEnhu4qYhThM5ENNiLOrQuaxKhUD99IYT5IVaZr0
8RA3w3tRtOiGYtBZYZR919AT7ZcHUCrQ/GUq/Y9Evyl5E8qtLnkoz2PXPDnBNJ4qWkgRpOaTEwBg
HieX0nnCPFq3KAJ4U8eV3eYVLn10+k6iPVceXqlAEj9iZP3DJGv3USPygmNFdeASsXmCkUNuMtuG
RPhqF3PYHArt7A7q4CF3rF91ZonTckjy+85Bv58Ne1SsDFO1zxLH2LI083IXWJXr6tHhr2DZcAw6
3o/Qum0IR1I++D5nqqzHgWOQP3/qunEbSEvt7GKi5Ne04lAnqbYtMaJt29oryB5GYFUAo6sIVt+V
3ZhAVBhe81m3m1QZDCkXx6Mp8dKrpzQIzEOkeCyVu87YPYjRrL77VeU9yNy5RNYswphzm7Ko3XW4
K/eM3eOj8YtnCql7QHBREZWnrsKxh3ttXyeuhTQnA20MgLkU+IlNKy8/7osTF3QPi2fTy+ptYyBh
K5KjEiOzbq+cE5DQRpjQNUoV9fcorvr3ZnT2hIklYPb7x6lArw4kdDyl6K0Qr/h4XNyDbB+EN0Tn
MMMQESSoB0WW36uiW9MOx3g0p+riwnvMyyq5DEgd2ppDDN2eNqZ93GaPMovelm1eV+V1nDNSme+w
FhhrgB+sH/N7TfXDWFr3N5bssJ7Nr57dDu5dm66BBETPdEP6aX3zPpYhNr3539rZ/OIrHR1dYW+r
uuCkrkf9TYN5tKLb/XMpNJZXb3KAEYR1WcFST6ODoUPn7ftvdki14y6/WDGAHGSw8MkBM+vRYVkt
w4hgUqPSHz1FkWUq+yqg6SV6lz64mDQJckX03xbjqefIzV5NW0gqsYWc6ByY14jrqMSPFEXihol5
uMu5mVELiLmtCdItzMrf4nWx0LJEm658A1HGaQmRxpaz/yfmBhe39UCZzBsX+BEiFegxt6WZrLMm
iJmxcyqkAqSzxEhOIUKbq269wf0s3GI96IOg0UUGNbbJfQsrbIUaxjqn8dyumiosp3gitC6Ax4RS
3S3lYblWRDGyhXSlOqeeREUjs08NTQ+8LkG5t5lJbosyyM5ZDe8CfWLLnkPud05oSiB6JjDBV8vU
jJU9ekTpUAeudKv9ynnyXQ7sdj5p2ns/8g8j7KdDo91I0npJXGJD6NMN96RM7yJCQe+jpsHSeCoz
QN5GEvycLNwStcyIusY5uElsXgrCJqBNZSgmfW8cNwWKl9PyQEGtAamI1HwdxKqhl3VoEKVfEYGd
rdhXm9RuASKE3VMf6NwpQBqlKponzz0QhiCrMnmNYgGdVZFcim4cg4gsn1BAZA/0yqNdjtMt8Kfk
u9JeJ5F1Kz/LWfvR76pIcylA3QNhq/mKxJrwFPTyUTcZXgKC4ioGHKCXzVT2xGPWNjMmwRGHs4ix
LSKNqn7eafWAOLoQU8DWdMUPC/bPIWjJH0MERqLedLJ1M3/smmfVzUS5DKs+z9A+VHjQC1ibJy/z
fhSGOEJ9t496T9rdUrpNaA0g0pEc5Av0CmjFO8t45kSFlww/9IGTebuXrB2fEGJW21pM3q5OTdSm
TK5QJ/p7jhz6odQxxYCCItW8sYaz5SX7tOkLOJqWs41QST1NTlusJzmRlNuWw9zGCvdJhRauNA3v
FrvepyXzVJhps2GK2p+W3oMNEr2uK3nXU+S2JrDiDIUqROx2QO9tPE/p9C1ryITUSR9dF7V96R+W
imOKnqI27vdJCBOR/3IfBElw7OLxpzaGP9Mx847JgE48E1hPApdUJM1HKo21d3R047h8Fhf4D4Pr
uJubGOjXM3BnCTQ5SFNc5a9BbDzHgXxVfKIr6t2fjnReotLXTg3HmF2de1ei7SFSmbp+xur+qkDA
7b2W5IjOlNDRrMIExzjeSzcat3EbRteowOfh+z91WbY7Uy8JPLaAqlhf0BJP88xYqwJtHZnGk+MH
3S7xp/KTFn0Ku33uZtFraBL51ft5+tzMeTKepZ6WU2OdKW6M9C5iPg4ECZadycD0sXxLyx4FYb7I
blSRfFTsqPzuVpPLqx6SFtrF6EZ6sS1lYq3smtyRMZoDQtPwO2KZeA/6BPU2No0HwraxEYaq3KkS
MFsqRX9cnh2H6Na1UbS4DCqDHMo5ZLbziYVVuvnuz5kJgYWwuQgScIsMqKOCN6HJDUzUOHSiOSB1
cJ0f1hhu7XSYnqagujpYu+4Rz0clu4manMLQtpK3aOhBzWhJclyaD07fAkWOEl75gicBZ2K0HmWe
X8zQTa9ctHWoQ3Mph+RR0FNwNf3Ogh7Qptd2nLdMCrpabnUbchEq1nQjFn1g2CgyO7lmQM86YGLl
d2NW2xSW/yORFr3BufLtM/25gAxJz0YGV0pzTMdu2z6G5YmgdGeX5qI+MMqECRVHz4SNvVmWNV5b
6ipgU3XOBcAts9xA8gW+CQ6uj8FTP7r+TtOg+Ef0DD6CgoPaWiN8Hy9Od+8Topw96Vg70SZfO9yF
WzpiDVpzGTLxxFCKbpdGXOlwf2YqPZjdQzMVF9nm2VmqobpFyVVp7o80dpNno82/Wrrnowluasbq
8kGNEXtK5L0xyVi1JJd8I3/ogIvlLWAk++L2hKYQumbZUUMtoK90LuBVw9X/sX9O2IvmuWs4D2QJ
Y8HunnqnJq8NGiWYHGX9vQBI+mjQyqBp7l+7LBu30upZi1LymINERG+J9E91xgR5SLrysUaPgpfd
/o6enjMSCnbLb7pPUxhzv7p+enSZC4+NjnTKColfsVOHLCDYYUmg0Mbk2XNgNGqr9X7z7GVOvt71
4eDfVEpyFxHFxBvWPyIX2fo8a3XSN5v9Qsok/abrXwiqx5Ri2j+AwL9VzN4fC3J2XMdXEGs0dNu8
VNupDDsaX+kXWp/esWAywIqSfmHaBDUEQh0uYh4yTBwYdhKeG2bnTdy0m0xD1JAIuCIe0WXnOatj
eZ3qWusAHwVniynaLhyBnim4A6ckJ6a1GB6J8Qh/FGIg4sbf1QItfsMA4xYzSSHVojeP5DZR1VDf
vOh6/mOKLZxZmXdpPDRxGVdUhgi0RoL08JlFFZ2O5iduKr6XPwKr9Zs3NbejGrc+whJTFz+CYKp6
Erri0AOfCo2pR2N6nQzzl4/x8pDie5gl0CkK3uDm9LHYElWaXpwIkUw6EpkFwnX4oZMDZg+OvTK6
yjv0GId8DvKph7106DKDp+TXlJb3MbY+RcrayBCCjZ9hepmI7VToyDUbwK4ytO9cGHYJWhqrMue0
PH53MpM/JSYwwE5gkixrR/5Jg8dO3YxEiQ4xnlT51BiueWvidhem/Ze2SM29MDAUd6r5mjf4hn0n
0x/YnqY1Ei+riMTKzgShzQmo6JD4CTbhYIvCaYbxUjxnQ/wwiuoJBd2whR1F5YOapbLwgEIxiCS2
ciyHtykwDBbj6JMysk9VJuk/tMm4Mf27amhGoRN+dFKafWizOkDPq8TG5dJWKNzNCruvK9stwzBz
SxxJTz95HeehhqkNAD/heKC1yXQyHfk6WmmGwSkNNxXZqNZIZolGK3gzptRNUgvXcQq3Lx2+1ROv
dt8AlUKl9qCF5i+vSDnNbvRBAUPyvV3X+YArePn2+Ti9gOK4O4X2s6pViPuyLjCqZrusEoSisIFt
tAn+JAEi7jHTzZvkSfM663mgW4y3DGkMnXeeXXzImLo2UTCKU2d4r6nh7d0sIA5UUINHc+k61uQr
xjrijBD9qBj1q4cpY8A4BXam246+QLId+gTFVPizwXODrbY4IgmYxxzKYlecbKLlUoquleFUFDZk
U5Vh+MoA7aBXzE00lh6vrYhBNIp8ozv90dcs78j47ZcKJ6Bund9ttMZZl+OIlEXJ56QEvlc6OXYs
x3Y25Og8+AUdKbuKsn1nDcdwyG6Be6zC8E5/BAFYUm2awmWcFWCh7D25JdLWM32gXkX/krneL7qE
tKzAkrge9yNB8UKZd6wHo1+r3sRgkiErRqa48oTipOv6r9yegpBwAkngPEzOgJrQ4x63WncDHbyi
Wt3lPDrEnSF4JwMW8hPqLPbL57qWvxKnegsD8Rx0NbQgW21CPfoSjzQUYu/OYB7GDfE728hE1MI0
b1XbuUVkTrjzeuuL3VjVdgRfzyi4cg84f0iU0yI+uOQKPgXkDLHl5HflR9EqxgrZJ3q6bwwNYO4X
ThLdrhROuq8Bt9l+8hxMkFXGcPzSSk6C0J6LPQhVInka1OrXiIPpFlRGv4ks+akY9Jw2D8HcfVX/
TON6Zs3PzuPml03S5WFwugcwbxit4uKEkfWTntmo3DK+lIObqDfcZEfO+aObJTfHjMrjQJp3jWvX
SzjPD0geV65M4FBqEc+wgiuKBBSPI54UGsSnQrPf4RPhzBqdN9mqB/wHaSnivcOgaI9hbU88DHyU
rjjpjbFL6IJj26o3vP845bSo3a+ZaOub2BuOBgXsNjDsBvRy0a4nGyaf5wbOGVTMsSyvTYIs32d3
PJRjBgFE7mwNr2Wpl7RZBkkIuBV+HXi1Nr60z1pOmhNh3/kh9p61oaf0qaG4q8rZuOQENmONOju6
dTjsYOThJHawH3ehdbODHg9qDtI3a8+jd8QD812FxruXCgZzvo6u1H5H1P0T4nJqa3Tls8BDLl24
K8NKsaDaAUFVcZQ+poqYbqy4iWkkRLxbIDDLWJyKondW8JwZwAHwbi2MNXQovBZ4c2Q3/t2Imv5O
lm5e0NmrC3JGG8TkV6gtD7GWhPs0LViw4OmtuBYEfGbwkX3s7BCdMbeXAeGbfWj+CAd0wcqDvjmU
8YU6qz7VhvZs9Y3+QvggLq/EMB6mLjjZpnIPmozQBI+pe/Hz/jsxYdlV6F+Vb783UN8f6nEHYtEg
CxZuH9AztfHoZx0IxsnIO0ofEseH0aSnx7GV4b62rPDQywqFRwGCkLDUvdMVxc4J+mgTZ5ZzR1GG
OXbQaXRXXwUmFUIplY+bCx7jGrmw+7j8Ug5FsGlxhOw8J/c+fk/k8qc96dZp+a3KzxvAJBOIbdiS
l+UXh5r9glGOZBDXd3a9p9Qpld63uC7CC+3YcY3zItrYA5O9XMqehlFDTPQc0Bc5qAK7cYxpeYOH
KSuDwdyQgg4u8u3S+YsmnwY3dTKTje57KNvuhWmb1ydPQVpoZzBkOQcWAMGD5j0FzfhMJtpx1klg
EbVdEFrFsdeyX4ENdjsMWNO8kUS6xvjkFsNbVelXVQYlU0kKstHs+wfNeBYizPcIRdL10vnP5pZG
rTfewaRk0WjMJu2UUkdFr1hIdma+NpTpHvLIKvHOGBzp6+a7iNRWVEW5d6sy3zQxulDJbk6PWdA+
rVEKh9vMyzvoBRsRSOwks0kBp8HHT6DV+OwRpQDIC8YtWrZpZdU8xnUy7oq4XkNKIAOg4WRr9PXN
qOrvrVV1py6rV2ljrCtAz9cWgm1W0lqRVvFCG5lesu8dbKIKP37G0INfd0lQ1jsgponP6hH67gsg
dQJZfJzWuo7b06BHcfYM9EGV/ZZpnUZXHwmrbtylP4znpgcSsXSc8zYsHmbh4jJvMBmlNCEOb5KF
WR/1KPro9wUR0+AxGb7lTKw2Hq2fU542IUO9gngzD0Kdn7rdBSYN0zzaunC2imSTjNNwsDQDbrZW
PxNbXxz5h3SvhKntKLgYyzMgayfnbLUMq2j6tURANwU+fmStqNtNdeq9nkl+MR3nbOpFUG9j0lZ5
9boIwWOR3FsHz55NNufKdhuem2X011gQMlphXyzXu/Yerpoorypq04Jzuo1jvVnUmp1urRXPBMpZ
HS1iIR85Vae7ZVoDPOBLbUjGM5ZpPWuFxh5en0m+4tzZSP2Uk05EQ8a19u3InLwP0RtlqJh9u7jR
NDrZKKTPKYDoKZpPMnPA3dzzDAa325BQh7OQ2N5rpVoASQDidn1brk3RdsexxgeT2v0zJHhOXHUH
HXScG5XzyAJAnIubw4/L7uyYD+5U7EzhqJMoDCDyLR5/lBzFQ+ioF5dXxJ5tULgPcOA48uKY440r
6vEGexjZwwncl5n8lCEUyyYA/rVcvMDBSDW1mbUfICw9fly9MHFvWGTvOoLiD+W8NSSHfv5Gpi6v
4U5j9sBGY6lLlDvlV2bv4VlT8thbbXkeEroZjez7fSbxh5JXSraFOe2cnDDHyLepn8FBzx3dEmw4
xpJPKu0/91rrMcujHp6fHYiCN6gHP8dOHy6GGlZN7JM2QWNymnKXHFGFCxooiPIxnaiSqJaqFYfW
9Ts6tXW2g856YTafPehVyekqaB7BeB104Pc3AhS3Xqzob8BPwAE/x4B8c4vxU5xw28gdGU7lSBzc
0irAAuw/NsLfcvadFzwQTga9My+5jpKCllePJnhU9CT5phIeL1Q8Wengi2a9WWfTWKm1DUSSkXbO
bhmFjU5hnkWcvgLkIBt0HmTVXKJVBUh/7eoZ88jeKo4R7v6wJyBieVdFrPjmgCxCH7GKqo1d70bu
MaQG9x3Fhob/4TlsrDU5F8kD6ulgbeKKWU2WjYIg89mY0cxv68ZxeZknc788nbQSsgMdr9UylFJK
R0Ue1rt0HrKSheliX8jFZnlMaPa4G5/GC/61BkXuNMR7NOHvsVZ8tjMTfkGFzr+xqZ+Aghu0eQfh
EvMzD92dAqcqnR1QLG0kALTw5SmyYQWEW84Q05uZlsR5IrvxbGXvDWeEajV392MceR/T/TTP+4MT
+N80zd8vD0grpFolk1deKByzLSOD8quTov4ICB5vObI8jxbU0rF9Mqk2D0lMNvIQVs4WBMj3hqt4
Lo2J2zbotU2DuuteBLVZOk/qnUhUm1avbrBtwu0yA+E5tRF3mdT/ODYziZROK4v5qGvfna76sVTg
cspGAkALUqixNa+MEhowxHscP7MWQyFePOomCIlM3B36WMSlTuHOANB6Wi7xGJtzG/Ulr7G1GZUH
7dRVXIVJVTvH5UUJzTHbWeADd1xKhto8HrNkr9663TCcC3iEK78DPefTWNtIwbAX/DE6CmsoDlqH
152vc7ZqcWBo3DNJyOgWWUR3OASxEprj0cjd8H18Fz2WF/TGi5aVFx8n0PLRg4j2cNHhw/Tw+2+7
jNyxZd81rEhsHPWJ/Us8WwETc1A/R4tGKUeoMd92Wr8t57c9mNA+zmmIsQEnFWLZMkhAjvBuVwPL
KI3VZagTCeObRnthk9twWHjt0mNE0v1KjUBBxsi9Lj/Wc+PXCYjbNqBtjE4r7059qV0MlApYAUOg
pwjDdjS1RyLTKwxhNBrzgJTgvHxOAjdlUmsK+h2q+eTXya2ma3T2anD6jlbc21Af7qmUdxfQTewW
rzg0fwnMOMcms/v3Lh/eG3AwF0ZEJHrwCk9VhmYnUe+Dnci9xxjiHkNsuVglI1qRUqnC6Mnd5Ajr
8C0kkPSslTliy14y58D9sl7WQ1nGrF/BA1qvlVnCsptk7K+V044nBS31FtURB695z+sMqT/WvB7o
WdVL1d5R3olrmp9pk9U31GzRrtr61EcEpDokIKVsm3N8xWpSWbuvLMJX2qSJVkXJFMLWAKu0BtA6
i10R+1Lc4z6DHhW7k39IA/2qJeqbndTQSet6j3rzgG0vOuOrZrQ4OVfDdxpsym23j0a5c3w73QMm
I+kI5shOCAkZp2fyqQzx7mQGaDMiCY5AIoD6ksOwWFBdd/wVB1521yv6r5ZBtEYWjfe+NL73bhrB
T0NYguVHv2AL4aSxSFnAPT4hVCuQ5ZDUxbZnTofJ6/WrmH8xGyKcwqdApxXvJuG5j9kwgmBJ5+QA
Nfiq/DpOjA+ManJfJipb4bbxK0MMc9sOiEMEryyx8RX+sgoYh+tR9tW8vXH4xehTEkztjHp5XqkG
VcFq9SOiOjUuUJNhpR7UzD1yy0OhoKWVLcAhjrhHF6mgI+mUIRs5DA0/K0O3s+gi4jmlrC0OqmVK
AiU7PjrpSaEZO8DOsghYqMXWMdHJBEUj12lRwtZmY9lkvkcATSitvTExcbEK6tTSgYIDqZZa1jy7
RvcswhGxEWj+tV66tD5JFkcVUl21rv68bEXEiqRYJ1KsE/E4m0TcByDrjjcwL9E/RxJwIOaOY182
zOTnM61orIciFpCKOjy+IcCnVVsYbzm5X2tz0ItTW40QE7qzLFL5scYhDGPIaUY/tKhzH23oTKs0
1MCT+u6b1ee3LiA/ndnZ6xiawx0V6nk05TkufPIX3QRFlL8u21pcaS7KlcORj0k7YyiK3W1MGV7C
Cn5s+P7rKREclSxSWDR0DqRlGbyC3PSaZ/DqqdICL1/DvAloiAR1fm8LQbPVKsgFyBMMVbjiKs35
xMOagMBF2N8VsJMAJFgAdjhghlk9bPSQWAdbmc8NTsGj0c6el/ia5Zq2txsaJF0CxgTBzTuxjcEO
/LTKnJI5hvq8zGBDU2Ldc+BxAipHc5jX2nGI2AoVos0TdJBkTdeUunI+9khsEEB0V5kawmcZAm0M
pn1eQ2itGfS5wns1AbOclw2sy3XO1kV1tEf340cth2mviC+IhsiAgXm2IsKLIxB3lpk9yhpyr8TU
MiQxjmDR5DnVEYMgEbo635YCrihJtoRfwNgunosXFrBci+dj/zrQJv/U2RVl8zyl74zPXYEouyNZ
ekODh6AvZyQ+pSB5wcmLuTh5VEUHSJa4cAFwH0lU3n2yDNxGqpX+QfWCaqMEnNxmvCyRRdbW8gWA
NA0XCqAPbbDv2vp+cAy1TlFvHbTCMfe9JZ3t1BRrBfNgZ2dptUFV3vBGUpGmVk2ggCi8G3cPa5bN
+zAPzWNXi442MNlZJaXtAtx09VxDLodk5eCYMq0HM/JBBLiNgZCDKPHWk/EWpConS4IXIM4SxaDq
dUw8RWEq3JSie6qUkR/huaFn6Zg3FnTM+s+NCOxD7Ybj1mH564umufQtlVyqIAKVoU9ojEqDBx4h
aBe4SdlD/ME/MiHrL9OAVKlzWZxYoOuARHCARd6mdkLiyHGglZ5xW3wDUhC2UfoIpXsd0NIES+Yx
0s01CyC2QN/eY/c4WZEKzvhKfyRxDVtKNsMNiUqQMBIife09AD+9KSibgYaEKFJMHXZeTZO3rB6C
wbhoHebb1vO/+kLQGRnGYGV3+ZsdDj8mg6Ar6fWnlJQXN/Dp0Vv11Xfgg9a6qvejCr7azoSZ3Qb/
4TnZIZt4slvo95JXbdneTeJH99Rn9KsV0kEFm2vLTBalB0JSvdxnWmleaWyiipD3PCvcp+Ws6dUQ
N8APUlHPEpuw/ByAfz0PAwRC2+0ZsoknX8O0aHa9hfItFJwyXDqJHCAOkcF8BXXKZVFA+IOWkbjN
ZisQkx28nqyDQFkjnyq2ORWj8DQLwUDOpJcDQg2rTPvMnoNEGXsNjQmCWNL4GEecdAf/W27ijosM
yhWjDDApQuOaqm0/817saWh2uPsB8xrljdrVo9shEoyhIclD1pkon2+A9P3Nf3sH5oTQ3+0qpjQJ
HHQtV5gWpqc/3DSq4WQzFo24LYrDJA78my7I/5WnLkVs2nQUbq5OQ0IJKmCDiLlFdSCqxNlDT+3X
vZ8JNNFwDWrrzA2F5hGUr3gQXwkj1p4aPRK7iCOgMpmYkZboJeb5//4dJDpex7QIOTcx5P/uf2iH
ik5PmUzgbeZEj9jJdyS7lA+BovqZmhX95oCRB2pZv+yKhzqO221XQbRUzSAPph+APW7M4Wtt9qvj
wQX8RTHr/2qd+ObjQXqDxA6mCAjSK9GQ+tqI479J+2e7y2/CfuwwroPCQuKLc1D4//4NMBHHpuOx
By1ybh4dlNb2pWlDjKcUK/vMB7KupwSf0ys4R3J+6V6yxP8lUjBYrfuJY6/7OlDRTE4AJTIgsHc5
k8yPrt15r9IU8fa/L7vEdvf7h+bBwYdgOYCyDWr+Py47dAqvtJoiYnqRv2roWtbLQL425c/KVsFL
pmnbdNLcc7LNxZPeEoDVlNWLWaU5ITLeV0sD17f8Ly6/tbWYbhxQm5Soc1iRZV59DolLeet5m8zR
eUlnkXFPDBuvLs04Kzx/LBJsmzhhC+AZ0Ham2rk0Do6mahonQmP8TW5icae7RYJolG+B0V50ZbP7
OBWHXDj8jGPWWT2ZR3dAv9zZsB/++zottrnfbq4ppG16pm4gtXRs9w9HGKwHKxraxr0t5/th1vAA
RNnWHrEI/Rg4nI47bjEc9GMWc05lGPxa6JzUjHln+suHmZ+k3z8Mn4NhpbA81zbNPy2OmUFOAQO+
mkylTq6Dvt8QW0Gogl7DoujZaH3/tFRqY4woqNeCz5FNIoErunbnaM77//3jzFdFOqaBgxPf5+8P
fgNttE01q2fPQmoDX+nB17AE1Bq46App+3pZbZZj23IEoXqL1lqGv8Kb5WHLev/fH8mYb8cfVwh3
GguKhagdx+n82P+PC9JXgxtopQttsh+fylYvroS5nWixpl24h1ug9m49K+RwGJkVEn2vaMqv8SxF
iVkrm0Th40Q9JUYrODtsEZuagEzN2jVdtEk56uEHoFhtZhe2CDPrb/bIfywlJs1p2/IwRurcX2M2
ef7Px894okpqFv221NGSfQ1bPnt3nx6Q0DOJ5+xK43hAlZMM5s50t4YOYM6Pupe/XMj5/f/jQnJ+
Ml2KJdg4ALJ+/yTCagO3kI28JYhFL4tgM7A5w2CVja9JmTiHiCnApjSC6ZzJfC/DLtsV6KT2pU0X
K5NostuQrnx/pY7vDuiMuXgDBXQI8Sgqw4Eu7nSl0EcHHYH0NKNY3tPQ/Nsl/edCx6Np2pjrbFs3
8Dr8/kWUXtNnUYa8OY0d71EdpJwvkx/TbPaPvCHDxtYdxrGonk3zRQF4vAZ+dnQsiC0QFLJPuUm/
vQ+gnVilL45YDPrNX671Py2A5nyZTYcmOZrhP19r3U6Z/QuiRfgUkCNRVWTkcRw6ZV3zJJOnyodK
TGrnouyaEIFlVP0PTLZuFazGquI8TkbZdix61AJ1n207K/f2airKS4g9n5LD3S4vm6RVD52DaYcB
GZPGS/2XrzI/FX88Nb99E4LL//f5bV3AFEkfyluW2V+CMDoJL/7131fL/Ner5fKiYHJm1/3zyWQx
iys3cI2b4fXpvQgDe4vGEtNwLLMNqoIKVIufQV5U3/s8+IJF6Ofyu3jcCBPP49k4EWNm7FvKfq1H
IoDuLPKTdl33wDxEVu5jAiKDDGl1RwL5amnnlk75Nr+4hy5iniVjVFVxVe0w5R6GwIPZb96FTqKO
cvycvyO315lmvvz3Vxf/dnl5F3W2JLZt3f5jeahjE2UOdtDbUjTHuvcsIgRuXUVB200Rfmm90XeV
A3WqDqrvQeljmyKGEwIl5TZdZQAQeSVv//2xzH9ZKyyAAAZGfxIUGLL8ftc1C8hh7nZE4zjuRfWl
SXIQZbkdA7Qs3cextI2zmVF+Ra6d3FVSxWu8/Nmqz829pAxYla0kH7yV+pPJ/zaffcgX+Y56N777
dRVtktIlf1zkKZ3SGUDMnK2PaAbozNDOHb7Ej05k7DDnlpWZkXxFu9WcVSGFE3ifY5o4qsnuf/ne
/3I7bJpfwvRAG/3zbDBZntVbRi1IuBrIOhyxYxZ6f1kkcSbV86rNxB5tZU8bMHQZFYfos0YY9KKw
rpFGwgCweIaZMHy2poHu3S+hz0fMxvqOKsgQxhk+mLc2KF0PrQ9A3mBaseynscIjGvTJReTl+0ev
vTLOC1HQVvGjbWnlToa2+5fj0L9UHDhXLVeCV7DJZJN/vOCTOwmIKnzlrPwcdwwuPE9HY+2E2tWH
lURUtZUzKijMHTEsQFrc90nTSdGlk1/K0ATc47xHmnN0vALhYtp/SmdzWzcpks3mg1TH6BKJP+lH
o3qLANq3Zen+peQw57Loj1WK1i2lk245LndwXmH+Z5dNS28CZyP+vxNX6RzJR8XUn6o82KJ31D+6
eaJCNej7MYwp/cn3EQhbT5pMxnsDknalV744OBFJljmzmw3TmXonTPHUtS3Q3ZYBSpNE8YUl8c1u
kPiYqLfS2CB7M4iBXnX43Jc5TY5x+r+fS/EPf74573WY3XEc04nU/1gmrEE3DZWn4kbi1p62CLi6
lOwVLTPeRUd+gYuiKUJx8vGkWhn6pib9Nk68M0OHqKIgN67wu9eRseuK+jV8WLpSi2PuLx/1Xw48
NrszvAVpzliB+c//51Z0domgEx3ybemRiUamdyNBVzbIOj23fuJhhMu5cJn3PGrM9BI9iK5peFAK
QtdfPst8Wf58LBwXqhN1ke3JP+EPaLjbtNJyg8MXpFAUnMdBt9K1AOvnZ96DM+CgDOceZCATZKaE
yG3CyJZboiiZwE21R9A0/ONhyhlxAVR2GDPtRaunf/ug/7buuKZl4yV3pPT+LJk9+CSBNsTiFthf
wrKNYBFFoGSJOmqmyn1cPuN80Dzrbf9KkuXnKm69x8Wxg6noMVR/Pbga/7yPrkmurLQ4Y5mWtZzL
/+c+loS1aYHpuDdCyDVoKVr30tb20zKCzcPstXfDW9hzCpMj4PiJuinRGUYXD0WPX21p1H2UCEV3
AJUkwT1i/B2uPXCr+t4Pif/0l7v9z2OES/PNoVCgVJgltb8/eQ2cJiZ0rXVbtNidhfRaAgMFzgHN
yYdQHE32OwYoH19kdluqKh0aIEFKwco1W3Pt6WN8lVFyREKR/GWdNf95aqWjIKy5EpCe+49XuG1L
INixJEB53uwKH70D4iSotCk/3htp5wwOyj/bKdSmivpnwhUOy8ZA4tJnBAr9Q8uK81za4tVASniq
bOI8GRp6stUudWkRO8aATSe0RWsAmfCjPtQENc0H0jzGR80h/qKw9ou/LvGad68mzIXYN2MW9G37
yNlHov1/7J3JbuRImq1fpdF7FjgYaSTQ9y6c9Nldco0R0oaI0MB5nvn096NHLTqUeTPQ+15UogqV
mSG5k2b/cM537L1cNLt/+Gr+5mGimVxoCbbtwMRYnv//9jCl5iAUQGgxOzHbPKp28JgvqFJAJMIL
kdRtQ7V7susgPNqz7u+vu9U0Ec4liP9Q2mjX2vv3Q4GfwbJogpYBD/XN7z8LIvtBzI0eXq4exIDl
277MuMaKwu2SnBaMXVYNzZgMVXnb5MQig0EOtfUUncfSxveI0663NNAn6mK7jrHrtS9+7qhI8+/K
roLgCOiiq9TntLSGNYEw8eb6F1KZCS5qs3ANAJRtfBvd54JdkexB/wGLBXkaycS96gCKCfxrV+BK
SErjkbwOxFRFuqpma2IegCOwi3pWfz4EdlW2mHYZaKrsfMeyOysJ3B8cubo5P2eh8XodZeRW8iON
cuadtXZOuY9viDv2jKpTIOc1BmY4wLtJd5Ra8aPr8fV3LBhX1yGtKnBwxtV3x4KE20eI9GfO0lUS
ZtbdOMhnprWos+PboB2zd7IibhWE/jL0G1Y4+QkHtnEX5PbmahSKW4z8sag8E085K1qy14thDk6Z
tO+DHnSmyTfHlhTHQwYDYV9iV4dBUEYHNLyfplqDv/HZdjnhe5QP5ul//pxC51mwDExjVKF+eU4x
iiXYfHlOf11emXOTCYu9Xqi/2+qIeDKZmAFr07S/ylWuZwjo9nrfo0X6w8+yPIe/P6fAr0By6dKR
Gm/PlyFkVDtD3/mK/YsuQtZk4fm1j0BGA0Uf546DTAerOeAU4u8MZpR+TdRcIso/DamMvw6pJGHv
Ql0qK003vl4FCG4Qa7UzKT1GuZ5Ygtz6ZWWsbH00d9etIQItL4QBgJSIDYgTMmm83hMaHcYKNSu8
YPM9KFWylxrxTa3ZQ+pe6OTlt7zr4k0uvzl1X2+mwZ9WPDjRmqMp8fySVUMeEyqRaSQLDNjv90ER
BxjBZe/BdUV6kNt/oG7pf/vLahY8JINKV5dfpgt90/RxmQXK7fU9VHJRP+dI8Scj74lRyytMc1Pu
qmML/TLhScy0EQ0bHeXRliD0YS1Szy9Ly4CXqK5fU3CKdmKNixezdfvFZMsE0l5VIBxN1Wwe/vDY
LK3Z74+NzZkHzlAajHusr48wC4rCVIfGul286lhOD72KddwpYbRcrxO7Z6tVUcmimXY+CpTMWhmJ
X7KgtOkeiqUHSQt1888/19/VEyqvFJQYi8LCNL7UhX5q5tYgKwEze0AQA4LhZojnw7yohK6L8Ovn
7YNbQ1Wl7ZPKbki0LccNc+SrDTnHXLPuhnlvFGF8hFdMHYetfsjDD8t8vw5z1dYu9v/8c19/ri+f
Jz+1KjWD+0I64stGBpmnnra2btzWjPfWFYFhkmSxNSb8BwNhO5kIoCZMw9kGetVt4ixu1oNijvs0
wlc7Wc/XifrE37rPdUwcpkjCldCUdB9sr0qX2sT+2CzGO9NX3V9AneussNEy3oZIRxqv+Se2weAV
FlGtKWvCCzXkhv/8m/7tN7TMWVWHdtBxvg5/C4EvKcxQlzdswFwzwmk6lfO7HlcMnPvZ+DUYjwd/
bROfoCpi2ATamHqNWWQr3arCrUrk+zZiIwQ0QFbudUN8vWWRwArPAQGpppg4QJ5v//lnN/56WNps
PJhrQvux+A2+PF1A6korVxiEMGw5qUWEArOOUjed2F90MOUhfA7ZKTHYv7RRW6xJCnYd0aBiWqr/
oICHrdYkUSiqeYqb1LUzlv4+pgRs2ykXQGrcz5l4KcvqE9+piZGBdiCnuNgwnTNW16evEsC0CrBE
zeAcrrXvP/+Sf9MFUpDrtDKmSkXOgPD3ymUZzQ+BEumwMVqqkrmC5p8mwRq8FHEus/CPoidu8EB5
YV+CZVIWSrfA27At5hLveZfU4A5N0xvU6CkgSNvLia4gE9Ye//AsaX/3fVjmclnw8hjy6wBUUXsN
mThorCjlFSacnbhsfAgYz2yfnOeyPCiCVaBeTR33CE4hx8xTLxjUwv3Dh/Y35yFjNepuRoswCu0v
5d6gV/oMiJ/RAHn1mHyiz9ZpjLOxKRtD9cxUs1ednBs47yh8l+o0YVtZZfvrSW01trLiYyv+0ND/
zS1jq5DreFp11XGE9eVUAVcF/ibnVOklathsYTBAcYDpP+/gklir6w6KHCwPoIlgLT9UzOIFb5eJ
IWYK6/eig/8G/IxsHaVjZlrJLYjP8awTHbUtVPuTWRMsHZa0f+pV/+ar5TiUdPZLYUKP//tTyLBD
EQRum7/2Z7osYepI7XOcyUw1WuAxYpn7l8Tm/FoKXYskLUeB9M/f7N9MrkiqNhHZWBpDNc36UqwZ
QE0pSCzr1hKVfpTV8C3NC8de+WoNzodCgzUgovIwe8tHNTz6NpidZtBRA7HaU3An3eVDqP2bjTMJ
YnMcsmGwP4td0n3P9IIAgdQf1k0FkthBhnLFOy+Uqj/8Issn9uWKobAyVdb+qmPQdf/+iSq1pjqL
kP02neNpu0TTA+vdx6y4MTAx+EbvMm1KzEDjnKCZWDADBbtxJ9Atl15Xru1M9ymcqP3DQOm3sW/q
jNvK81X3ZVYDt04hz6KRwR++g+uu5cuPDhaei9GCd8ih9OVIChyUy8jKo8sYhICd88laX/l1JWFF
rNb73bVOvo7aPnQYPVvqvcqtE23vZPPjiKTJg26/8RO4S9Ao5j/cC9pfJ0B473Tc3tayKPpLEd2b
jZEPtcmMGgUSKgiXSBH9pc5A93RlVT9rBMqEIxP3jI39jnCC3RzyKZUiYm6LVNcl1eBn2IIxCItS
I8o93Ms+/lNx9GvK+vvn6CzzV51tEdsAw/4y4INY7fTFEKSX0FJOWCuKk7L8RWrTpVEtPF+MViqz
4IcliegYYmEAZ1C5uugLt3YmeQZ2AwNKm9ZqSr6h07Fcv15K167rWk8Qv1IQPQ/+UsXVaE4N6MW0
07/JeRBnA0zNncmyO3FUr9CJtQ0swp2siSBmQhWfMyezj7Kp353c+NB4I7aqUZPxc7H6BwM7xrr0
CcFOLf1xNKhyBha2nlAajMt9wgPc8HBMCHrSVR0poI0YERPPgEBHw3K8pytNo67cW137fB21lwJq
k1IFGFR6Vo9V/KQVCHITKGNYgOvyXJvFVhrOsGftrLlFnPboYFqwJGXpHxGhfUA+DLc1+SkbdN8o
C0OrPofVcANtjg9hbIt7grtdwLExioQSBhcB0xgWR+M8NLRXCqDWS4fycZsqU7mZmSN4C9BnTNtd
Xl5q1RoPNl5vL67y01BgiU1joD2zUxEmMEzzjciSY92S5dKHfUxcAGk68Si1b1eNRNkn4lyalz7K
lU0km4YQkOk1Jcx7Oy7kw6xsCH3IEiRVEaAhbQyNg107d5OaH6YY6dWUVndXwd84GC+q3iEGToPH
af5Gmh+T1sRZ8qQBMHEikwmp7+kztlfgVoFBxauQ2w56MawDc55ArQmw33hVUB76B5t0l3c9whM2
/4kUrP/14qCfZZvEhJ59PtKg34+5YCgE+u20uAQhKUfCSMRR1SfKAXEa0fqR/laZxG6KI4I8/ZYY
aJJWCgd4gbCCTVSQSF/Uib4lV435o/LgzL6LKnTeRqhqPFZJZJ2isP3ns1n7a/nAKkilftDZzsEQ
/HLbWS3hjSnE9QuqphaxWXmqGDUfJ23C0afBXL4G3VR5hCYfB68oVegNS5JTB0fYrJ90szWepih8
+uefy/jLRgCZIUsBm0GnozPO+nJghPgi0wxt9B1r6CWIpCHl3ak3VqMc0HPja3K6iwJ5//o+9WTU
j6BEfglur9NkmZbkl5bfUs6RjbrQRqlGyFNQg+Z4LYrxM2U7tlyEll4xur70Ca1Bgp1mAHECsbku
7aZZByIZ1fdWL+AEWlhx/LTaEH6RYMyY6sW+rd1Ys8lQ06e71xjA/+H61L4uf6j7hdTAFjM817S/
dGimM+RTrNXqrd8N4a6R7MfnBGtRY4aJO5oAfoywuak1llm8K+TCpo340z0jvw6f2T5J4lJouTX6
xL9MFSV6+9Lspu722qNdpx/lZO4oHfkRhn5tV5OzUdrie9fi3XDpsAjsIgLVvULr8gwHRCOju64m
9Pmu5eR3Ius5DNNfPd/MFOQQOsHttZtSxXeEHO3uesCHPotZreIs8mOyvIbcwr0szfHQMi72YGFk
5+LH4CvH69y3N0NEsrLG82wrzPfycASIhRnbxAR1aP3szJp52yFdfWDmCZMoRqUwtcRigzGRtykl
lMjbHa5S66YnMMTL5+Bt0KfxYdIlQRCI6Cf1dehbImWQK2dmh9Y8LV50Q7wZJswd1tuFpybzWi+C
bnMFsMSypeY2yGRVe4aaWWfm9NiF50i0y6FhEx6HddDAxudO9oRnwDa2TU7iR3nQFN2lmlOfrs9o
5lT5hurzKUZun/SOto8iUeFDY+B+nZVZQtnrCCPP1xJwGmucMF19kjSESTkh+w3lHRawdMcvEG2q
LkI0WZ1ViYO7qSdjXaTRhyIfA8M4NBg64B0b8u6q2r5mWgmxzlvkPBb5tR45euFGQqZBe9+g/CAs
UjdGCGthSXTmYNw2DSkYsYVZLemTjb1wVq//lkovCSjG4nB7/aUmn/FqkA8KZIACpipvYN/q1UPE
RmvZZWj4wxjcziXwgfEHjJFyHbSIcnQSlVYIBl3s79GepSI6cDLkcTCltkqiVcV9x5QTryymknFK
TwLJ406NwodRhtoeBSTAWf2ia53Yyrq977p6d21qQ4Jndejmj330gXRA3diZJfagmqBa5JwpQXdS
BKkjYsxvc6SAgEZT4r+n5Jjrv3qR/w1++FPww9JP//+DH2DC5V8yH5Z/4FfmgyL/tchaLZhPpDpQ
Cy3ij1+hD4pm/ouHmf9D0N5BtdY55f6d+qDp/7Io8jWaVUDxJqfdf/4H+Qht+H/+U/5Lc9D6Oot+
kYOPXvf//tdvgP7my//+73kCgr3sb+2QST/HH0JTwcNps+v+Wid0pADpxG2vsQST+6I7b4kYBOps
RhiVCtMMWYzpWfXiA1MuxZSUuz5njIATRl2lvXGnlIELBSY54TipV4Ov3+P09TfEQ/5g84oNqGpD
j6An104/AzipKxoqvDjF96KnGvGL7B4KjVjZ9bLjR6UyJk+KUz/ZivJY9D9oCHpvqGjG8llfaawL
XEXleMJsweUfsoFfRV3x2evBfWCrJy0VR23q1COVIsRyvyZ50k7U1Ujs70YHILyV03jMQbovohDP
n8qnbFKxgZvNbTng9dWsettYJe9t1g2u6YyL8TZ4sOzqlgwyBX9v+5zG9Z2RKsZlakHd9FGAmQjf
9Bw8RJNzO9dAahTTf9YB/IfVI26kz8AoDxVqjC1xuI2XziErHkN/SBHjGAHHRTn8tCTQkpjY6HMI
jaMpGRjnffMqau3VbA8i4Jeeg5Ctbk5EQWQwOxvCfaCRad/5/qYcmWsoiyE9jdtjkOnPUxUDWYt9
OIFDcQhAauB6ZD0LPvOgj+KHINUuKYmllvVT1kD8qc33MfQE05M9iJp5O4fKBWtcYGT1uWbUYVBj
EJsu4aL6rtHF9oHhCKRwwOjyQIIuFsq+XVdB+p5OJTbiDItoFsb9LlPEeZSJeRea6joMAX5B64ZD
ngSPmh6+ByLj6/Kj8rvW70Vlx+dBrdimMgR0+7iLOWgHBp4InLcYlzWwEkwRWsV+nUlXuEH5hI2A
Bk1p49BLR2BkMWxX7I/emBbPeBxeBRPSrT1Zq1ztcq8AZIhJSvFiU8ODqWonlFBAMWz9QYkMeEcp
AZulmmy1kWggJde+O8SQQvpOQSeRcEjE/YCoI1DbS9GlT0nIaUzz36G46D4NB0eM33ThOYTPyS9Y
G4u9Rq1c1MMJUE37wDy+OpSjXwLzsOFTwxmBNEiQ4aTuTYtHqUnIP7JDPXxsE/O5AZ+Ed+BGHTSo
ia0tQTgSgm63JMsh6No3QORYKThYA8MR91oIUqQsLax5EjCjGCtipJPxvVJb3vALIvNgY43lvNOr
OHJ5OJyOuBDSMZxDtuBOp63PsuataobCneK3aMgy/v4WonVnbpXGDw8+Y/Ou9d9Fzr8FDQWsLnIP
HDSATGlhBCL1B9TG93hguvgSArFZ5aaFz2PWBhR+jtdq87wfoRJ4oNiO6myYG7OEFgtReUXhpbmi
7b1Ghcgu++DGFGPppp1CIRRDjSVaL0mgtDpcySEFyAI48Uxei0gZEczXWE+k70VUZS6v2iNupHkj
GlADg3LUdf1Rd8pq1Wn1sY6mMwr+h56ABT66gAiNXlnLxitmWvbOjuFLGD4G4lDfdir6pEAMRL7Z
VbVSU4QiOkFRkczeStJTifTS6JtD7MdZoapArvg5uoFM+wIXEl/6S6t3MLxI4cMfpb6Q9B3ynKnR
PgohFk+Qwpe3B1sVc335MJTaUXY3ZWk8ZWp8X6cHP4DfmVHd8dsh6Cmdk+yMwWvBI3m+OjxJRT+r
veLhGGD3pPrjfphrnrsRaaes35o2CFcppqqDYpkHzaQVT9FXOhJ4Vh/QRqWyfMcwfslKh51f/ZqQ
slOKsiIAm92L1WcYukGUrZSMML5O2jOeMvmRYdAkr5XtoxlM+Fj1HxFgKk/jZnA5py96A52SU+OQ
dHBk7NzAwKyZuLYzZWXWfP85jQqp39WhGMYXv+jYa+f959SNJURCACvJMTTZxI+l9tj2zQeZtM8c
OL7HTxmw+l+G8KzZnGp8n2yc66ns1z/1vDLcxOCHTUDcaEq7Rqp2Ow4dLsei2YOeZQjSuGPH8zoZ
rOYs8ei02abTcMpE5Kc3+JQdREsZDZahxmdhzTexE+5nAk5znS2TQXqmKPyDOgkeWgAhQGax7fFZ
dkN0U5nBa21xxYyAazQDqCVtrksY362SlgfGkadsri5ZXD2pqrzBF7Hp1AjQZ9esEt25pF0DlJBB
PoDTKso445RLaEQ1y2dMG6XL05lvk8nBGBeWZKhVl2nKIIL7r+3SHS//JW79FzJJM1fqz42eUUtb
86oJqqegzTzZNU/KQKSdr5dY6uI7pKUDJjuSI4j9OCoN+CoALyDA1flSeiVJGC5/eddL5WMsEZdz
8O2icJ6grSWkOZIkibnhY67TPWQ0Al0JOe4EUgR9UNzOd74lRUD7oEb3NGxbaJirhIg7hDOoHdgp
tls7aR9G3vU2mtdBru4LBBFjD92q59uL1dglxei5bEIdtFiMxeYC9yZ3cwBuuSLi3airjzSqJ/SC
G9nLEEuJfmfLnK4rI3xgSiBhMqf4Ean6E2OhaWclJlAPlhCUJTcKMR0cZhwjVXWJVSis0LmAPwqI
yY6/a+nQSa1FGjHdYg1F8uxAs9GvLnAAJYrPa1xEvlzBgX8uwqk5aEn1PbaxLVWl/kSWzOtQ6N1J
t/u9D0N+A2yJtNJUaQnI60ig9dX7kjXJJiuJMwUoD6TyFDs/lNn8LOYciEs7TavCSr+rKbSSUqY/
ETa/pRPiqbSVH43dvKVBtstBdqxAqQw7mjCkvMC4yOacUh2ovSBrkOkJHKoFaqXBdZ1JuR2TdaFZ
7Yp8yOeobk8VnKVVbebfYopRr0bZX6m0a7NkowSL3Jub4gHToLFj4/OciH7roDF0Z62Dp5l0EDLK
el+MkuOtre5aK32yqlTdMZ96Inv2h2RH0rMFdWdzKO8Ig0e0DNwtD6SytbtboU3nJgl45saogfKb
+IfRAWAVdAmrLDAZIHKbsba3ZXgyoRG1+TsMJ+qeVP1UE8IGk5EjtW/5B4L7ZlB5p/MbblgvaTDc
Ipl+q/zXlDtkPc/1sofvq40cOo7LWpxa2MSVS4d3WtTdQOHZE7Os1Kz8uw9OeFUrQJdiCT8xGBPP
njOM/bPmDjmRIJWUGGadC8bwzLXlbPAnTqqXzOKArxuaPZqjHbwRwF8a3J0EnrIddMS2CEY2uboN
k/K1De34kst4Aygp4quaeAmj7lVoZ6coxbMdCIBHen4MZtONLAuj5WJoqfiDyIEZObr7XttpdoSV
C6hQZag+mkEuAbDMO5KaIleWRrGdmuIFKnfrNYEOqcjMci8oFI0aWDnPLAuFqD9Ly/lwpoyfv70g
KAClif97VY8Ed9F4H3IA9dhZdgM+URcBy8TXgURXD4i/NIH02c2HouN21fs7OOyw/LrAOQgnuKlJ
DCLLhQdZqmTpaHxz2ajdBR8JV+86g09NgIRjUoxg+a4CzSPoalo5xvDBJpDVsFBONUQZEC3zsCeL
9TXs2tRtSyND5pg45DtP264V8tbPZ+oiirZOJBju6j2ziYOKJQjRafrRJ/DNhJne5LKxkPijisiZ
lm0xLmyEGMWK/GvDtczWJqu++kyS+F3PZOcS87jOY/NszvixwlqDDG3aBx9D707kwhuV4DSlzz0Y
Rpat2yb25xVEjdrVZkJTiqBfsRLgKhha/rnyI6mBcGcNEi8nZo0/WwXfRvtE/OMJbMPPUbPuZKM8
BGj7hzdFAd7OFnyc97ma2Qgq6dDsig9M9T/QUTYrjLI9OkrxwHX/KTWbqZ+5MXwE850OxoZUXWx+
ZJMm5ngypKKu8yL8Dh3AZsDSFrtAIc8rMvnToBm8J5nsiQEn8TsjchT6Jvd1QR5Lqw13k9LxMTA6
TkfnGNm+Ceavo0gHQYi59jbOuosBJvqWWguGTWQyCmEf2gXKk0kaZlMlnLXWe1VU63m5irVeBmta
4h8C5EnUNG+or7YhJGg3YtA2SuADvNSDxfaAoKOfSQ/xNeOxWoVhfNNFu5LBz6oa4mBrMfATroqX
uCJnIHXUty6UpzmdTvj8vhc2oO+mdnZ6w6NU9vxra5hQbT1zNQTpamqRknPnbkqIdgzob8b+O0X4
qm141ZXHxuaTAj2lkt1rOCvffInmmFIqG+5rLb9pAT85DWrmEooqrqbJv2GMeyEcxS3NT72CSBjP
JSk4wQ86vB+x/6iR57Rp59AdKIZ9BjQ8ngetsg5mbUPw0q1XZoJEGJutW7EMRqOSPw4i/tYZxX2b
yEUnZxB4V+0Lp+ZzqhNXECcL01Bv1iMZ64NUEfwgrp8kyJjFKJhNMA0KUDJOB7+lcKBNRTsKHt2r
Rv9x9hlS19bzmLfHMcSUjbt7I9LhlJX9x2g+T8XPceKFTUaI/oSaka7xNMXq84B/ZmWY1FyrmkSy
akq+k74BKboPbrXGqNYT2TT5GKsrWVOsUmLOSbOoPH7S8pKPks7Hwi+BolB54dNJVtN6rIyPlkXN
kEhtVWSM56yawiVqdoH1JoMMqQcne6g81z3BrkPRvfva42jSjwZx+aRDnXZCZ8Lbn+5Kk3ZabQ0a
jO5otmG0cYwUWgbgX70dV6rCVleYfNHpDK0EU5OTPEa5/k3JQbmBmwjVCtNuH/wQtjW6oX/HMPsh
b4fbsWHDUCChEyKDxElgmhT9s9rr50EHo+70L2qYpW+UOj+qOdrMnPseW6F6k8+CdgYNGR9M+6yQ
K34zygAxVQfwb8xI+4HWvYTKfOqD0a91MCtz0O4sn1gO/iNcCUZyP4X+m1H1Ech3Th6NhWQw6p7j
KLdDhAYVEcFNgu7L9RtMMQWkYaDBGekYA5v1grsichqQcAE8KjVFjIIbcwVumisqJsgDhr9Lbxqs
pyDl76DnXYM1LldVn27tsh5Ptl8fIn9YIpyIADVsfIs1H6CZhiBKa+6NLnag84FgX9kmcr287A1Y
WD1QY77RBsHHRsuhoYblBn40fFoFf4tkLSIHcP/OCA4VxEZPEe31dBA5oOxAVScmrmxYsSRpaWmu
9RKWtarMnwMknH0ukpgOo3FWFQ90Z/Z0sIxcLbXaCir9vUgjz6EKK5i/cdvmPKAh73Z3Z+ftfaXW
5EWTNlT6xpNK7KGnpn7mIiA591X1ZjnlzOliGIAUgpHVLFcQRq1ibcb9t9xCbSFYjPb5qZdWug/t
bgPIOHGlNjhbrdGApFRwMXResEIXDGojeR9lGWgTo+cVU0t6kHJvJFzavuXcBsAXOlxvdynmcdQ5
yTshKdzuA41NMhA11UGLCbIJ0qh2W+vKKS+mB+4DUL5TsiVRiS2/DrEgMaIdZmOHcoMiKYvgJwNo
tdQXZ6STtOdN2vEambKfPOh4nGSdfwISYx1UNvBZ0KRrXVQ9hrjsBWGBts/zOxUX4U0dmwzChgSq
ZZXcOpPVg0arQeaRbD292EFR3fb6GuENBObSf5WCEhXdeQV7K2Q/BGFvzLXuewJFl44gvLHJu+r2
qQTgNXGcZdzALrPSx7FbZEpAsFfAwrGWQvtetKkiRvg2imFmGjlKItAVk/wwpu0zQBgZprFX5NGP
oY6K76NOdIGH2KC4ZFKl+29raiN/GYV1NMvVvstCxZWpFfNvVYCLw7HdVNWQrKJq+Mk2hEX6QLpN
MyMkBYOQNRU3jCAXXFXuq7zfjd0IpyTRPFi9W25y9IUpCgDuXJB98ZM/5Y8Rz40LiShyk0Z9Bbi6
W9SzAR4TmcLCCaePDNzOqkjXfpiAJoMgoNXnpgHiDVu6qpmLMR5NpiewOZ/VGIt124fPuWcEAxAX
xrPbmW4qDbV4I/l9XXoHxHYGyCIlRrck7mRvfM9ofZSJ5CtMjN9lqa/nPu1WLCVGT6v5+Kv2CRk1
zzGU5HVle4qu3LY1u5GcQmKVxXbGxKJ/qBPmpFqnuRZjTw9r1FGth2plVvk2tbGqDLqRrrS2eJya
ztmC2s1WaIh6D3P7Q8Ryxc2n/AMO1098iJELduWFjgcIDQ7LCVRJbsWcKCpvP3NGtw5o1cYGaLJG
aVViIC0ww25ENtyIKtrZZu+7mgp3Q068rxLo9SZOfDJm2/Ex1IrPrM+2IJ/AwOXxB/ufF8nKrO2Y
CGlUM5ZS+t6cM0+KMdiOjsEKMyHsSpwDIy/ojpYMrcA5qhahZmDf1K0B04zW4mczN5c4QROWeyPW
4l0onuXkY1oQoO3qeovT8mCRcUBU5GJ48qMOHhzc1Q4iVdk3K3MWFwbSUCD1/N5Uuz1hLPCODHDh
IzPHTgTlqubKSaYVHrqbEUnxytcfAEbv8DsCNaqTF0VvKQgaNkAiD+6E+eA0pb2DRgSjP1uFGg80
IdLu3I3f7bS7H3Ck1D0kaMJ73kgYgQqsMAUrAjemwID/gh3+pZ8KiOR5T2HcHiun5UUXjILnXLvU
bbDRk/pdz5373iTZKonZNmcp3oeIWr+uY5scgPKYAbaueYc8FDXTJtYwS0TJJVA7fY1VmxyyhoGW
D/HMB99S6yhpJIArIzEx3eOVGctiOM4t52XRCIbGQ7eaUuqGWYC89Jvm4BA7D0q0IxUjUqtdYoHr
ad+NCNpsHDu4HpveX7Xjfey34Wk2sv1socWQVg56fpCfadBUl8EG1CQYPLgh43MqHgmE3kxI3pzW
aafBOfMhdtc5LG1tqFyNNMKuGTxrhEVaJDHq8jCQByNL+r2NRsL2aH1yCveGeOp4sG84mKYNflod
8WIjaGb5i2HK1vNNoqn0Cnc6DKtZ37R2BYm2Vi9t5hwpsIGkJhCagkCvV7GCXifxDbCk1HaBhQ2d
6U/nUlezXWxhzCTc2kYsNv2SeNl1kX+qYkYUc3sh1nRTLeAsmN1nnNgFfeHFnJyLYz2aA6pUYfEH
BLSP9dw+QWk9Q4s9TIkF0nKRiRFJAE3CJ2AtSbdEMzrGC4mbMxBhqbPBNM5oge/1EIDtGAQxnJDm
sdOmY5Ez33TEElmpabtBSZXtGP0kKhOLhGTCjVjiTpnfuRMPkwKqGHXAoe4QRoRMceAD3SKPgtbv
BGQw4mSo7epeN5KdFpSv0I1WzMJuh6rtqQ5shu9N/q0InsRAu4Jj/4iT260xEKkgcglj5WYq5p/Y
A9oVVDg9Vyz0reR6mLrpKYO+D8byE6hV6nYwzRFNRkh1A4cXEnhRY8nMozug2NO76UQM3oh7Qgwg
7/qkE6ehnV58/8FE88EUsY+9zlc/E6f44eTMqitDgT9KzGMXy281VXIXtd+qABfcOARbMyJqleFi
xWBypbbO2fG5SEaoy1WaQIPQKrjGeII2pLkOK0tDsm9rdOSca64RRyy/rPzckjrqEvXGkVwFYmWl
90Kt76zoGcIMn3XXKpt04FoK2oAzoprZR6GV10r/NowQuJlEIOnkTZAGWjMexxh1dtQIhFNc/JBG
RXKwXiN50rdWHMT4jNXQm1OdLQeVWT/Ortl+dMOxTuz5VPX5eiTwaqPZyTdfn240rUDARRsLiPkp
7ZaaqEf3i1WqgM64TpL8bKTthWg7TlH5zWg47e/npA88S8/vRuwSBNzIfN0FpDLPGrcl1AvfoRVT
km9ZFU9c2jO51w5fKtHOBOIAprW0m1nbdtLc6SMQaoOJB4rSbVO2N0YU5V4++uDEG5LmYjK/rPYD
7Byrs3Lo1g25fUVLXd3JRyZeW9m2t8SArY2kZavEZDBQBSjHaDAputsfZWvt0nWI29E1uwKJL6JF
d2rkHrmaV/cd+7+SOg+ueRsN5a7tnO+6ifgTayNpPz+1yTiZ+pIazMaBy2sseRUClkRp0d4p8KVX
cT0/OzHIv/4WucuDYgyfqd+8FZ0RnVvNfC0q2r7RnHbCb+GnKcOOxeta6UlTHJR6WUwlAHVy2Loi
era057xt36K4mve2ar2MkjOloflYEzyy8zkEGjpiGL7yqKSG4hpm5ha2FRyyxP5QG4huk4Vy0wy6
24lz31lYr41T36viOZ8J3KvFDK6biiMtYZf4TpThIAQll0/pYy2L8+jM39iQLnkl4UNgge50hkpz
F7aQGfonH+4DT3ZGa5n+P5LOazluJAuiX4SIggdegfaGbHqKLwhRlAreFHx9/Z6efVjGzu4MNWQD
ZfJmnvyy4OQ7tEGJYf2Hi6GJw2V4DlJK7W337xI7/kqfTIbEOoIKiq2aEUgbjNUpEILK0bbgKbk7
2RHHoWUGjRO5mY0bz+dzcev8hPE3o4fVkjt2pyZyIqebf7Q/b8OE2t/c5FdvNbSY4UZ5t3ntN1MH
XNUe/AEVnPK+IrmWQb3GK86hKbNYGrRX7akTSFpKN4MkFXuqQ/+6NjrtFGQvOpjX46TqgsY30oZj
Z20YYb80+PE70xmi2aaJbuVeY1D0N9cT5YxXq12/swqJAPQZ6P7e4n1ZSBBOzatRZOPBrmihc17q
Ns0ObEpeNKbUlbkJth7vjwZfEDPGCDhv2Ntlsr7AEfb7LpU3GkaIC8JorFN7zwRma3b6vNig5vMp
UxShVA+ZEud0yJrYfqjr/Dy1YbYxmTv0Q38rBRM0dFWI6KcATWYY0reJJYygK0XmOVyGtvbGuN0O
7vKufESmWZWbmer1nVfMx7kNN0xpHFUcPDNrHlQpvtu58dEq5Otg1HxIbvkOiO8DwK5tim0yTbvV
WC+uW5WRV+thP/Go68K/ul733LfN21wxd3Ot+eTn/jMauBMvXWFHiQPVbEnsb5b1jiLDchy/S2Gx
15/p+fv21+CWm7T+FcQzDeHIU1t/yns0uV/hGCUzxZN0l4/+yhpKRUvldtteTXu8hz//MbVSxkE+
sUiAKfyLiU03Mboa0onLZOrvaczm7J94t7pf863ruo9M7DnUIUn5C6Pv22J4FpM2oKJ0wnx7rOPE
yLEwzpxF2/BBCtdCIZrQ0Gf5RenBy12FH+a5fehgBNVLcKaKJ278fLkf6mFjU40ICZTrTMnmMCTs
/wo8/GhZXGz/ZZhMuX7ywbgL+iKVSgrac8R9yd2V8AsQW7hQGu1zfq+d5hL0ojw4U6vPOHtMmQJ5
Xkejy3oORDPF3KcDauwQGZnCz91BWtmyw5XlEsG16jgMKQMLGhxvot4HE98Ld+S2CMJbQdw0ohXv
MHQ/YzdRAuS+DhlUgiWkJrfwvkwP3nag1CkBLr9d6e0eJ/nLqcyTaJqPrcpLrliFi4QGAJBiljdb
j3RBkRrinFluKKl+11bI1Vn9E7WkQzpon8n67UrTNYAthN9cCA6UKf2qKBZKtOCO4dd/LPCmsbM0
YcQp5Y/Ip+6gurS6G1Pew5BBoLbED3hif8ek/cTI7UHXHFjFaNjxUtMi+V8dncfxbVWedSnq+pfX
NedhdCBHBgJgwf36kAeECBYKiWA4fauSBkrbTy9IUoLPhPfU4IazUG/Haanx1z4iReXGounKk7Yp
sGSEAQK/82wDU7IOcIy5T5CVigNLyttE/dbGhLzUUvyyo8tHnf2g/I0QjgEAudMJNJLZ8GwY4k+S
Uw3bFjwXWYqZZ2pHLBHUQqXN3y4xXpbSa3bzGF7ILxdRaQHhZx7j8kvb+Gb6xCsOjmw2gU/xGnqj
Yj+FiINYuhsZLUVWv9JYh097wOezcL5Ijb+5VVGFU/9qSOpx0eL0YWh9Sia6tVpnAN0SQh7t6g1A
axSNEKBmKch8I5tMYvxwsvLizuWVAfI34U2u36EJn5vlF9x7R+GQ+9BPhHU0tg5ory0rKQR+yoRJ
6zxgTTqzdPFtLfWNdN1Ha169eUL9JM70FmBninLPynb9vVnebXjV7euwSG7q+p/o7WEH5+mUdca1
WryPTkyMjpvgOJcgiBW1VpoiHyuzZpZxSVRW5Ke5bC71u5lXFdYOmw3Gwgbuwpzd6YqGHP7E/hAu
ftxbjQuY3txZKWtOYoX9Zmm44Pje3L9nA7Bb6RVfRr58SsfQf1zvlM8ifKISlvyDSo8M0feVvxAc
8HnKZozpJycDPeGM7CeUHc29Og+uXWzWfLi3HsEvCoteH+j+EjC1FfV3EilethTBpCOXerdDj8yo
xTPbdq9dix9dDv0RWtMulOV3mFNwxa4dYghgwKw6QvcWoDey73gJMD6MTntZOsuBZ0sfclX9HThI
kYauiPV4ikoq4rsR5TivyMdptAbzliTmu+NyZOO0/FMX81vQIfkoj/sne53vP0Dk4WrZcLxaB+4f
ONaDAxEViqlAl4fDW1HfJx1dROoiZxzhp9F0C2dmsW3mvpnF8rvJ7s40YD4lmlYQgHl20y1D5r3E
hDQ7SRLNbfezCHk1AX1GAytYOoQXQrP3H8iDcsxinUNAjScnP8u62gaZDWlJ0pnWrNmhduXWqe/h
xsBA8PbdE5vw55CEPvV948SZNaTuqxliul2QY1JtREEvyCvcv2RzUe1REh516+U73BNw/Qz8yN2U
eBghELYQCM9F8uUW/+q1986FbSnUZQ6II5e1SaxynwTj0zo3XwSyOQunmIDd0d7261xdVz/kkwEr
sY41nckt8l3bNMNFzcMP0ig8V7t+qgL9lEId2WDOYIajFNXE62BhIWl/RtTAbZGO92ItJzuKGclq
tufn5kqGgXEmnZDMNPNPjFNHB0c+Y0j6CL0Xf+jxdY0YjrwqJTZbrlSkJOz3iZufBQ5ZV8l+b6GA
tCxsUdujzPuWekymmVjBm1HmerfQ4UNAETOXTsxz7vis3hIt897ipakIytLK3FoyPThW94uIpnoF
wIq7JP1s8pEanhSLkT/Y7n1dulFX9E9pTqvMvCvjXqk1kA2Z5uJtDfRbmwu5M63sZ1ly71C54jXF
/LVNwPtvRS6ml3aleXTI/SBauMxStsOM0pbfk9sY+JHlL0gUvP92dxvs8FpibIpX615FI/OHnntU
h78mKDTjQ+Vd4H2XBx9RGg9Jd2tkAGCj9AiQcOVF1lGWch/XpAdso9TRT4aLO5FRlplBt5+0f3Q5
sW2tpcSqHr4bfX7y2ZS5gpXyUOihf2NJPZRsdIGO84K/1/D0qZfyRD1BsbdMA9VU9Beiy3DNlov0
eph701Bt62TEGdbIoy7QkBCnVVsOxHNrbAB8Wjvw068Opd4ngn7N1lTlKy2XxzmkoqHv6cobKqgA
XJ5jOtbvxPh+YWLHsQdpqG/qnwSZqQ3aN252EMaM/H3Gk4ZDK8OA07HPEtb2dbABvSN2AjWHc9jE
GzF91nSPR9U8TShxHZVcld1SelzvaTd5E6W4EapsOIYpbzN07W/AiJ80VW7rpXkqTeHu19TdYwmh
iQmuRqTHFWTngvdgSuZd2w8Xx2K8YgTis7FH/Zho70WvsG+n+xzBYY+ll0CcAtoSE299WEiKM9xG
T26ht2R5ilIg7tWB5edC1p5meeu1pSl6mTgbcP3hSK9iQVnlhhXi1+wWr8IP/qRCvRmi4X8b1ba0
srcVL96+rBSHFQuRpjfkCW/7NYdXBjjrmVIC9Dn/PHctjEyVRnaHsStUbbZ1Naez/j5DoLaFBhlO
+GyvLa98yKcXLxCqMeozEq0PBLwYBvmRRrnDz8o2I5yJIpf2dXR/DGZi8TRMQE+qBWLaSM1Vbzj0
K+T+IWioYOtniutKsGMrGr1M+ucVAxooju5W1/6nzJfHwM/5pjLPuRBw+KZ65VKGiMypSPdt51ug
xliF1no8uPVytxEth066b2PXnDzKwRzIWDGrKuawhFARsCgEyllIplHJFhV1463dg3XfoBGhUCFS
IHY5BjybXmSnbdU5wN0Uw2dq4sEcxnPmWeOZU/On0wsnSjm4MBYni4ej7fzfF+AXNE5OU9mcg4lY
W9XD/GHNiv77r/99KeTkHTpnSq/Ce7SLKj+5pvFu6EXthWS06MOvj+Z+IVxvq+tsTD/KTgoMvAMj
vZxmPKf9lw5y3oGG/sVuT91KBhBkcdI/YaicLZWX33NlGs/QOr3Bcw4VTW+RbXik2SuwLbmjdu7M
ObUqK+txZiPdVr0FG83i/Jwq9HZz4WphfmaeQDXTFJfanAItHIlbGgU/UgwuIg8xs4rkUwcvuQig
5STySd8jH/CNjGYaAWe4P8nY/RpX0szinl0y8Shh3vpY3PEDqhHYssrDuqHKP0rYVIphzE4hQR98
4b4sLN4HiSVsTHJkLIVLqsYLRD9mOca01r8xattkwjU3iQ5xxKXOL9mLf9N9JmWQvuTcNHJaGeCY
z8/4F6lGHLfSGX7TiHHOBt4HFNUCoqzQF1szj5/xTMyUo4SS5sBEfjD24q49i+8px2ppjdfch2M0
d5S5UtNFT3jkOesRR1jrdKikveLxV8s7lTCPLaV78X1Gw4hE/p17Kjq1OeFQW7HfMlkgDJf7sFRM
gAQN7GQApdx28NLqudmbVcqA123O44jzGcd6TDPg58ice7Ms8nPU6AtlvpztkOEBH0QwgrvLaRTa
1oaLnhiyk/AHQZgvHmATeUjhLbYG6UWzoG6stcSFbyxm3re8MVD+J3u46ME+LXRY1i1qdJUGfiwo
Gq2xJFm6f6nImUFZx8DoNxqYmjNjBC9tILvAiEbTiJt+Co69+zUZpEub6SfrxupB+8B/Mtu/mM2I
bSI0sqjb2UHlPqyCakoPQi/aXgO+IcvP3sS8THAf3DIN1ludYGgBLP1h0++y59JRXw3Z7kod6qP0
A3q5x2zEoQzzgY8F24TXvtgDZ9KFYPW2NJKTHdBM702+cQpw8He5zx25z6k35SKnWieks4UHRFrB
V6PY9UpJpKccmm+aD06Q4V5I5pUYb2jDbVZjWznZKcu9iz9XH/ZcfXPg+DDQGBM3xes1j8dxlg8M
xoJ4mdEMFD5IVbunpQx+WYa5cxP/IkNMtIY/PrIiH1KVvKqqgSmRY2Bu9B+7crYNtrOo65OvtZy+
+nE89Yu31WgRgKokPIAQIsU8npyBdRg8EUwHPdDfu/7Utv8iu5+OJW2TmPu65fyTv1m6+kiXAOe8
2z5XSj2ZGYfg1KgeJ49/WC7jP8t1sSaO6rFsTLDmSAgjp3wEc+tR0Qt5BNGEOxZzH/OVH/zwxcFe
65daGeNmHmniRsB91qI+pCVI/ZGmALWKm5tnh5WpimuI5JTM/q73pnQjsjtLg263RRN37pYzGLen
crQDcreIVkUi/6p0+aLIw90KRpzuAoTTrhEeKZfp9lYK2Jdx50moID1xPHjWio7t0dkMs88pQvns
4cQKwnqEGJM6G+6tMmbitB9CBokFt+RZeYc0MP8abfWMea/aE5eX+3amaAUrN+WKEld5SgajpMPy
UznpFU72q++k7Tu9HulV9wG+BFtgB9aeOJktai7vaf5cpe1BSE3msCpmhjQiuZWedzXAYXX6weqs
LBbElsXsV7tej/Op7k0ym1O3zQyWENusKGvUwyFcswcLL9xeQJo/W8OVUY1/ujdra0cyP4KQsFE6
2LUgnpFV6EvL7vLkEkD6L7JA7lY51BEuhhPNU+13gCGnmEb3F/Es8Ett7R4r8n8vg/LfWuPBC9P5
lQGk9VQBRimgZscyZ8i49I39TF2C2phmbtJszV/CwxFraVwWfCbRhMvnPbOy8ZzOPF15I92T4/Q1
+2PpHTIx8Ttocfe4ix631mAtQF8T9x0VKyXN15Fur3wa3+GSuWixOuFj62qi+iLDsimDdxtU3zUs
C5xnE5tDuG6pe6VvPKfMzOJ1G8hmW7g3j6JdixMGcbTm1OcSmo2PXPitLZCIamvmOISkWw9PDIBp
zAqM+gWQFCJiSAvGuOborav9u2V9xQf5ry4M7zZoeatqF8sjF8xnahZ0mVzGsU05B5vWPrNbLFml
9eJmbb6hGch9pXWM/d8p3pRdJq8LSkufML6RnNF2egnzvSRrh5lvdp/mYMB3HA7vSjv7RjVne1LL
2Z9auVelGUljFH87uTYv/6EVlgTBv2ncgpBkfyvwOT50xgI2rklfZ5PulkbZdwd9g8tSjOnOHvEt
tAtCjBukm8l293WVTW8TZ3MlQmrFkmvlldNV1kNDqIk4glimm6jJUgqc7GZR33uWsL9Ok+XB1ego
Xp5XXJTlwPpm+Ds19URC2k7SRzn/pMx74cDKXWtdtS79WzuXTIXzO8q5rh983oEDdZPVph8157rM
XqgszbyDwT/DNCOnzmeElYBMWDtHk26GIzx0Dj6USZlcyLfA3GGdulWUreVbSCh/S+Mjg9w73310
rJ8agDlZAedv7VYJ7Uv3ljKcPdQPWf2TGj7RoDz4ffVx0H1+5BERm9qpGF/6nEDhLGPL73C7+SM/
gjms1kEl+RSnwzydSc8n2MWHYUeIJNzkXqquojuFiWpeUDn9zq4fxRBkx9FmRliRYIc0fR/6pD5U
FArANlM5MVTiYaOD5CdX9SslXXPBnDhP25fsPicTIGcQxWkjmQTCCf7kTzlawPZIU8nkvg/fkT1M
bZprl1jlBdJ6FtlFxm3fr99oOC32pdFtmOuqzWL16Oe0lFDEoFkNwsV5mHvpb+TC/iKX/jebnNjJ
bkIHwvS2yWzjJ+AbYU+z76r8pOMUUyuxayobQuvgmhjn6hE817DYm/r+4swNcaMkZNZfq8C45YPA
w5T1XmRznKGOaV5frCB9GghufHUQ++5j910rxnZn3Q8e+AiqOAX8gcZHgr/u+nfgTcsjDWL60a7D
zxXdpmm9BWpc558QTXmMLEtBOqfEVMx0NtgFYiXbNg4jSAi5b74WdA4TZqKQyTR758HMloWmieI6
0pa75aT6ujK62kvJ1sufX29XnvUYsxPEaiBfcYfbhyU5QxFwUvDhZkDDm5cXL8hGGkg+nSN5Evy4
lj+8Vrnxh6Gl8wds9CMOsfB9rFDnGDJhH56TDxokbpkU4Y8449O75bRfPNNtz9DVINFg+xzPhvWJ
9gxqk2xna5aBuXey7j2lC+F7mo2nTPb9xrxfGQNpZyeSvRM7EUdeHKbPacuwhetIcczNu5eAqV/s
pP6pnJZumyacoKvU1FfD7R697nGkDHJPAhiTVN+9dhiaMfjZ2WNh+T8dQWewm4vDHbPsb2ST6YAy
7L0E93fSPjDsAHEJtxsvZp2cu5QGNJA1a8wTjd48+xCSvXaOqo6zXK7v3izRdlx65X8tWnDMHb/m
LNZoGgg9rl94AFRmLsduDc4k6ZaT0gAe3B5FyxXLbfDM65B1QewZfrtJV+deRc51cwiW9XM0jM/V
YwLGjTS/VdkuU0VKWD596IJ6/n87ajGTxUSlrbUbbnPGJbs5t8rXObxpshtnlhh8weFIld88JFuf
nNKuHWf/6s/z00Lc+lIRMdyuWvIDl653KYrul41ba9NngXOxFxSgcRxuwPLC3bhS3tX00j5bleJi
kO5MvMgX32n6q0cuQ5uooYvhlrvRsZNTHRbWCQ+Z4cqetV/l+8noxo3V2tz06r1Ri4tdNW+ynRhJ
jAWG2MXNNoPIs3NjH+2k7B97F4GX+ZaOAfjJa67+2Qugs0QXf1H5rq7kmGIpEz2/9bj1VyWuGCxs
opEfZLjNyKq2hi1Lrrvs7UgwdZTK7J2qj+Y6mr/AqURQDteYoe6D0fsvJC+djRClF02GE/cEkogy
um+ZzP80JsPL0MFeFiLvejOvpiBqcaq7N3gzzttaF9hZDefLaRYeipSq7ICGrshZcaFCDX5y5BKF
erK3JOjMY2WbX06CS74FQaf0JDjJOl+4ltZYKLzPwD+/g4FaIyvz8Ec5wTWn5Zh4X884qXAc4NKw
6GeD1Vrr4JjY2TZoXCeiw0/FsKiHTbXMu9FNfhuqmfdcK6pLgn6EgaM3DiwgEdyC5gmuzplZ3iUd
S9rkCw2kzEXMnlb14AcJ4FKnPdTBwiTXf6o9+ZLYhb9pzTA/pqsFjmlPJOXq3Gkw3C3XuCn8Pcpm
DBkm5NzjP8s59zZgEUSivnzipJt8VYya7au5MpBOlvDojMyyIAIyf0uti9a47T3mEbUTM9yLW4Rj
2EZ17FC0FhNsfepan9QCYa7B6WIR1hamefuznLN/hui+89z8mapmiNy7u60O89dwVL8MqMKb9B6S
9usCC5gw76Qb8jqheJFUamwA+9z7mJgg+DlVjDkxSQDxE3Af3php5/mcJ4tuX4z2+zKtn5CtP/Nu
eaFaCN2y7Y4aIyGBJE6GqaEOdULZIxGcK9Hr8W6rDNqWe8TnuHpvq5ENj2nPISGnSG9jFd5noQHe
N6DX/SXAlqSHhwAiTJZYeKu7i4cRBTuei7i6fg9tiquQ4MHQvzYeRck287m2vdRucM2S9Bra3Odt
i2sllmDKxw3KEYOJuST0rChY/APeIroHyuChqbCvJMOwKcZh4vz8J8xWezNkxRe2lG9EZGIfQUAr
W/VSdtZNLfbTNFo7xto0dScXShMQgpv+0e4xs458H4cakzhonQ8puziFLT9UhH0EBJ6u4szH1g5K
DdQgkF38xm7MveYQuupeEjnRvuLz3M/y3C/9l4XFF1LE5v7tDbO5kJCfLFQsiTYEy4/iVNM+UNuH
Uk+0wArLjevm4LWs5rHPWRoJa2+NHNIv8FopWC1WLsWTmT/4jkHKafU3q1VhbAYCGmmzfoap+IOL
YYg9T1PDjl+wLZ6ZPt7mWfEdjF+lSTQcG5RW8jlUB27xQEdM2sb94acekzv2D19Nae3U4EYKM2mE
75igrzHZZ0U5FDOTlWHJlZlY71ATkWMw3sAIfxkaXT3890WbYiGVRvoGasjsGq+tsoOH/770KYa6
nEAu9y5CReO8TWdEXxZ3KDfVq1OneqPMcYYX0uPPCk1+vzVUEX+qCHblNMgnxjxvS67wGPpwN9OL
6lIjcCM2vZ9C7zb7NAQxjvqXQYb2x3Q9BJKiz8xL6QI2mVjjhTNvvbc8Njmt5gRSzBtb13JIOMpE
bmX9Vsw32Azb7eJnTpwU5j5ck25PDyLYUKPTV8nUhlcY/tVsTbR1d/lR4zlge2RkZCqE1//+EttS
ferIYEQmbpRlZgbP89qdFmxZAcBirEbLvZ8umbne8SVUNr+anueltUz75KzSott3ZIvxGmNXzfIp
8IZXv1mZqvf2Rz8AaxvvX9K5lBujXna8wX/0Ok6nvrUnKtD/uhxEj51DApcS3BYaTOqRS/Qh2uq2
AxvSdOvJzkIiI/cJrZH2J090/Wndy9p8wcyYgQaGuiM0v26T4hKDT8Kl2haOagb03Fu9jY8v9Ojl
40EyF4ttq0CcbowzcxN4eL1pHIu+OHV18YeJVnf1tO88r0F5eFnnAZa10b56WHORFtqCYayf3X9s
B4WHUAAY2aPtV+mGj3TiEtX+1B10bTz3Edbe9nlUIol48V/rVfm7vC8o/Sh7bOvUJwRypDDUIcQl
cSssorgWJPA2HVnjOG+pEKrRel1hMY7w72rS4p2JCl8d/YdWzDsoAk5zZnbmZbnS8ZluBwOesB/S
Fz3qq5CFji38xLVjWS/4yczunQNBehzrlY8Ms57NVg60DIstjP9rz5jJHZxP/tUfycr1bouMWO4q
rAS7wO1Y8zN5yBLihfQqWuv60rC2pw6lUlQz//Qh6V/HVBTTAj+MO6FPqcr/gVhrDrb8684McQM5
/+5aFjGHZDv5x+bH8+Hh44DpFJsFZO9/oqP3ZRgxh93PD/7Nh3BQtVgclxJ3as8RtBK4b7NB/qOQ
50q2HLdJs/OM1GQLExRr6PU6pPLERZ3u52U4qRlxZFREPZLK+lzgpMX3LWQf2BWk4HmX0Hs7kM+P
2Mon0gdOsQ2ww+87vOeB7nYwHYJN2k//Mm09dQudcqhTWOLNujmYSNlLBziDpsqDVXtcF5J157X9
Ky7jJ7N2zC3ByNHHLo1hh3Fp/ivReE9a4ZJgGMQnhaXhdipQUxk4G3mxpQZlfqj7m19XNCL3wy/l
G9xh2pWYiUPSakHbx9NXnmdVfHbcwIH6kiwqobpBWconvP1c0juK6a6tTM5F2rdbktRPVhdyvl3p
S69zZqPC94mTA20GaRAz33K92XwGQn0iuLrPcSJslgzYhW0lv0356I9i3CZe/kzQ9qVs12hoz1qi
f/heYu2HuQG4hmU4EmxguayegwyyQjs0b3XjU6kzsGuAG37tJ8lJM5EjwfehhlgQ0nE4YGlKc4yr
60olaDtne7MxP00FhV26w7bsBbIHpqbJ7Dn7r/rTg8JMDRg2UsvSETotc8GFLc7Qsapartq1Lfd+
Zy0Hb8XAJZZugb/kDhuNRpzwdDlBd1FDAmLB8q8z9KmNOVkilv2HMThJzP/NttmGWAUxr22qmmpu
c+bsJYM21pitA6//pVrIDILrgKjs4jLg1NYzg2gtt+TLYivpsONX3y62mzzD/ZTAZLE7RZhtXUE1
+N9qVeG+rQiWk0t682eJhRd+iceJxhphUqtsYZbKVMvNCP6vCsepUQXbFE8JFhUM1abxl7JHxJgd
Xa/PbDsYlxmrfHHvbiNwj/NJyfZtSMvDGlqfWaa+3X54n3J2XOOOJljWOd0z+/Kixv3tSE1KTekb
sJU3xnKPgpx/M8xv1jxeQnPYW329X+r8u/Xb01R55pa6EO5b+UPe8UshCUlSHlMLmQscduk/h16D
2M1Orn3naXTuv2RKzzmN5Es4fd5pX5NBkKnDa6VaYtmk0KPOmB7d1LP3hlv00QwPbMNSuLXxU6u1
c6Il4ydH5gFa2YQ3mF4MIyz/kkOdTBpex9m5jySa6pknKOGJAv/NcFB4KgRdVycQ85yXeUyfvYQo
yTRymUy4OMd10bSxwowfS71+jHHRMa4uTDyv4IFOgpK/XZm5AXlHB2Nudi2kK/ZWs3zSpTBR7pdF
Yi2+XUJmK3HwkdBElBXQw8bEzL6miqRBkX71w10X1rUP0fqu5FBtzUW6nvaeO70g855VbtKbm1QT
RrseJ3EJPAZLXGqSYBNtReuxMX9w/QpR5WcbokNyrj1CRmEfXOfMFJtp8abNZKALYenCaj2aWyXd
a1G5/C4FhBLapJP9VMnYsgi6GEvtbuxk/ddinC1DfmFutZLkT95xQxD5L1Omtcb8WPqezwFJfawj
wp1naT9aC1YugTPbwCa5sWfvDzQzZoz9TP16RqjDbA926l2hRYACdetHHqMrXe7cqfobqW6Qnsht
s+oOpjmcvQpf6jLX53S081h2yXrEbnfsRx5nv2LgFg7zcUH0zNd129VrFSW8OVEZlD9rlz3YJTNW
19KPYO/SuxrGydpgAn8vULKbgHnXuPw0sD9KjrkojDZnAxcmSzf7x4QYpjBXvQUg9pj4y8XRyAyE
31AwR+TlJGy+GpU/5TaFUyOWrAg+y5cMyifX4CDQ6TzSc6WPlt+8N0tL7eiAwmhYy9/Weza9+cfH
TsD8j6OAlzfRDESFYcBppup702CBOAVp+eGb+TVl0I3FGsuzz4EtSrr+mpDLtSz+RtDEp4m3Yrdw
PYsLzy63KwmauMo/c4/a1zrH5GYTtlxDgJtcQlGq/jm2UV3HPtk0fE/PBmVf4O5N8dRMRTLG+cqZ
g/BZ3DfW8yQhL7mtfUMzuc3kuf66mfknn/qjxthGMt8s0eDvcY26OWmtPwPcbXYvIRmsyU9QvVQk
gkmgYCstQQXXPZyavwKZqeO8dQ6cHHd1a1bMsdtTU1g1E6ns7AzSjZ3Vo/4bjHVUWaYgMMnkcQho
zKJFjFr18k0642O+hpHu/O/UM+t7LM3CaczZJaj5tEdbH/se21lhuUfXH6E2kYzwhdVu+l5cDUTM
OOxp42oAITGbwffBTStesG5uqpFRllzz62otXlQEHWXV3EbLqvhb5/Jd+7iJZaeoIOoRJ4tdogN0
Hr+t4qL5k00rldZe844D/iMpbVhYdkNvYFBjiLvb6YbLsC7fQ1UwR681U2lC8B4y406Fxs0K6WnB
V9IeMqUeHd3Yhzyl88nuxhfcbmwvLXgLJzwYPmkTYaKjTc1da/Pgds/EsYn/XZLJAF4h5MY3mifs
uojuBGkWebIKaiyUat4JjEIPKAb06+zL1tNe6vCXabDQVQNCyz36OSzcK9LpKSFI7Qrzj5mJi8JK
pxjp981TWy3HfDFgIfmm3jCaQzX2hB9tW1kQ/IQWDOhC4y6w8lgQXSLy+Di1mBVx751tit+hSQlm
PA1Xc3oWCmR2Du1gcJwb4rPF3Nuzt+7fOiPa4K36edL7Gj2RX+bA1ug325yJxtbKE66OiCqFe3CT
aZcu+ZuXJb/6oSBSQxzf4K1LMtHu/ZQDydKeh9R/dcP0x+SjT+7KgmEK4l+LtxlJ224trI2+rT8o
v+UhNfBcOfq9h1k8DY8Qdhl3reNtrZkcup3NOaKZD8JgEglW/nr/Tz+RRwSkBkamm9mtcygxU1mw
mDs0YUz9/9g7c+W4lTbbvkv76EAmZqOdAmpmcR5EOQiK0sE8JqbE0/eC/m7j3o42rn8dxtGhRBZZ
APIb9l4bBYVQ6rP2+hcXoE06g+QxtrIiYdrScPSCBBe/6DivQH5qxoLNGvJ7Pa4xXpbBlfdBgWM2
kOC/xGiw7uaskeJxdG5rkb/rnB9oSFokxctCKcN7mVRtfPLj4kiCvE3d7gqcH0T+oOJF+DI/tmYA
lXdwyad1T/2seRsoes6tddMtMFUx9wq+h/VnScsnOtQRgFZ3gTjLO+SuUGqs5gTHg0io/lFUbh4W
kLOisQmublY9ArC4UxXyHM/MCXniNO4EDrnG6oK3NBOhAfDrYFI6hG6D43QUH8PAxey0A7dFUX7A
efu1kHqe00qeddPNjyVKUlP0XlgE4lfngjsLiILcoxWgSNmsN/pdMrCIRg4LaErj+thkOr+UQwsu
a3ic0vKfOq4eenine7NZKCNMfdJ2V0ajtLmZPY7a2edCSHpqfz9OotUQ+akJxvrAVosHBKMR1y7f
spg3e1i9sAuGi+uM1QmT7RFKdP2X4md5PmMq4oNKkZwM/eEOuBfT1L5AcHjPHSZZS65eMcQ8rr78
Jm2cCA/gyzM3Stn7f/ocXeiof9Sdc9MrYp5hdJ4dhrqhUvEz0j54SOs2lUDGRud++Fu55bl854yQ
4L8Ycnp5Tuh19iEgC7LBmtH8IAmvvNq4kcFON+AMJ9a+7z7wIWAAQZF/SRRK5+bTiwl9N+LpiuCA
EACtDgA+FBvr8QfzmfHSiIySQa6I7BawFo5k8LWCx/IJBKXKwCpYDN9FuWXZlS2s1+Xa+o/zOuvj
sg2jYfI9dEt90DH1N4NpNk2IY1gAPlZOf1dk3ssA/9zu5qM9nEwhf1uQcv7F7f3/8M5X3f75j3/D
EFUPvX7+k2RNDXyzJldEn3//x78JB3Tm/w7vvBHD9T/++r/Qnfa/w80OIHeiORZb9gEw6v8md0o+
J12yJDzPk1JsPOj/InduuQn/ReoU5r8LJPqkCWxRKRbE4v8XVKfn2v8nhdoB1Qk9T/KdrYC7ybb+
L/y/Uad52lRcnLhGWfLzaPaD4GxMaReywmSIH38WjUE0xRq2bXrFlVzSfnqIm9b0V26KW+u78V5W
wXmtXRy7ArvD3C1hIieXI+e1bwfyxeW6n7adRJ7O8iCdZt+a1S8CJIvz5Mef+WoOx8Wk1kiWt7Sk
kmHd88Q2gilFKp57wwazVOMy7sxh7wlNxqOJe7xfDqm/5Pea3hePB2QhnX4QWiGPmCHwzQpMypUz
3Ro5lId2EoiBt+HeQvm2DPahdGA+UrPfzNXkHJmyXZp1Pxfiki+5a7OosP3DGDBAQs7LmGJ1ebzC
AEzw6CKba+e94XVQvsb4q6hevLY4d6P/2SXWEJruuByX8QeRTbceDySAY6YKSoyEJs13LunRTYnG
fYbvkdHdDKK7TNzPO7OuLk2Pzq3xnhtT/7TBF1aJx/Gz+HAjDDiL4/BSY7BXNcWMZHxWISAXNjzm
rj+osj/jYDgxfHjMmqI4NvULQgJ+zxibvRoFczUvT06HEH9a/LATHaycgfnfuiB4Kcs9e4SbdMcP
JCUTWB/rop1uuWgm7KVUP4kM+q5j5v2NPndp7XM+YatJR9wYbfVZCZ+XJU0rzFV/RyTfK+YwfBH2
T20svxhvjtie3ShLekSuAAES8nV1357bFFNIGkPXZ9vMU3+cCCgbTdACdXDmD8VOZB0nUeybYAib
4s5p9E21cPRda30VU/5PWuxslzl9gph8F0wswakd2TWZrG/wq8UDNnwnI9nV9gNElQ31ZXEKMnEr
JQo3FzHT5Hp4zdpyPpD7ZISurUIds5RcdYKRHovvwvvQV8tri7ta2Aa8AC84pVQy0dBWb5N/m1bp
7UqLHbrrgBFag/LeQ8qwkf/Wy9gM6zkG85ZlBglLNe4EqFniOOkseKKWPHRquBhkgoaWnfaoVKd7
Mk4x8UxQSNbY/gPeAyQFftysCI5mVuRRWeeP+Hd/D2k6MtWZPnEMJBft4aNu48/a/+oNaBJ2O9oH
hMwV9x2zNx4xd8HcAMRQYSpr/ZBOZ9U4HxLHXbo2AITq68z4aI+Je3MgxTthwXwmCMXb2TPKn9yi
LmDiRce4CVkBO+q83TfOfGzH8roWcFJWVJ2MZgA15TJ5KBEj+qm40351ReqEisd6J9IVgG5jnJ2g
pGiGTWRgAUmYgU541/rRP5h01RnIwUit07m0/sisAwbuMoAu+7ueihXx//gwtstHYwRfDeyH3Ryg
jPR854Djn1fWIaa1TJMkq61C9sWDMvx9L9W9ZKZ5DvgsC9/zQHLUzs/MG16CveXWR9F3n2ZTSgz8
zc+kHK4wXX8MhXsitxXwksnEInW/mT8gcyiQ9glMNa7vfy6Zc3QtHeV1ABcIboRcO0rt+hfLUmSc
Bk4/MyVGOx13rjVROi4z/nk3hu25YlUD3rTPHO8uk1jBYKxVSTXsRQKlbs7hywyeTHapGzx0E+0h
pRe4cDID12dTue/jGACg8lt1MujOmTsgHpoy8hnS92Fak4iUmaOO2zpE+JRbwDoC2WPyUUeTJyer
zbAre3UFoHZGiBPhhcJ+6HQ3kcffSM9u3Rqf5OxjsSFIGRDabhH5m3LzivYeVddMkzbOPXI3XPoy
hl423VKzovoig3db1733xUuQM45zG4+sE/+IAWMk72iZ92De0P0XTtTMXn1GjhFq7e/lmnxl1HCy
UeMhHSeagwUzXRe2a3ZemJxH5nAeYlXDuwURZzBnLQl+3QeGIB3Wbs/as50d2ycwoj42wgEdCfUv
1jQy1neGtWBD8Osv6anxBJzs3pGBxY2LVdZsxbnj9D6LeiVLz4f/Mih5VY75Axo7NfeClaPzjXHP
08CsBMjf4KgqaNaNy3nW2c6e1LBva7Pcs0xHtt2IE5M3doD4P+r6WVrppu2AYrMuroww4R2NMd2P
dfLGozJMWD4QZJ+ERTtBvX+qYvPPoDijXKODvOg/Km9GceIuGNYVtBNCZ6PReLGF+rQE2OYlaqvs
nfnpBaIJlf1Gu9WJeMFoHK25/PJsRL1JO3w2WeccWsxZQOz9DyP1+Tx5jrGHuWPKXxneeazzkwez
p4DNe+d1qfC3E15E2MBmwNAuVXUAYdCBi0DyTLWf01fwFN02oV/2c/ddo9vOA+dOD+0zhMwmpN1D
ZT4tas+CATKpBGiWXPlloieuvJ3K8LOKBMfLULbJTuqK4FxuGqhDAuDDzJBLTF/4FFeoYVgU/GI+
GjMS1WlqiKCnJYVNgH+k+rEI3Eb4JsCqzH0aydz5gAF87VaKfHwtZjG8m/507Qoj7GKQf7GFUJ4p
JlP2/hgn67F35t9DwBNzqfuLcpi5Jio79cGWh46X0nD1T+B7NyNng+aAtIsNpkyNxzoQ32P/0KW3
rmMSOtB5xLNJgVFA9ysLXJuq0R91M9Lf5nNoIrYXZfM6LsBTutz5GS8XbMtgCy11UsmHLvUlwy4Q
Mg5pd+2QfKJeYllTzW7oE4GHcWH7gED5aMvxgwEUyxuXoAOZ9TtjgpfSuMa+LR0W6BRsE8YnRGKA
KuPgF8PcTJpREpAZkawKWGNmhm5hYcvHR5qk8Q29/tEvkzFa8vlTuPSTq3wR+D+PbgaCIgAnYdS3
GkvFwf9LQ8bqXjQsDH1hQgKp0H6TKLRnmC7gwuAlZdmQ46k/Se3Ser/OtNa1sQynxvFeXMO/8v9/
Qrp4VlAZd62FimFYyGoBFfBzmMtfDtfHtZgddOprzwpmdD/EEiS4TciTRFvhBOxZpQ87l3nEHMae
6B/MWgWXoURc5AAT8uXwm9V4ebSaIn4NuidEFEemq+0FOE25z9b5vk+sU0yxFhFtk4fB6pZMb5dm
x8Ty3iNT6bCibuQaUTyG0I1jpaCN7v0IF7oX8avIQyZHmBAsg0VbysZQmEcWXR/+dpeAqDy7s26u
cBD9UwwBLEANG44ZECgfp2GW5k405bxxUigMXWXbMhpBMlYE0wWBHgRP0gAjWyOG2ZRhGLU8o89Y
xKLB2lQFjv0HsYredeX8WBQRFKpL2sqU6yl5bnP7pivrA5DQeVn87ECt97tx4eM1RX+HrBndY98f
cocWN/YVNLwF3Yq8IkabDl7BYjeobnZFQWSI7tEz9FmJ5R2o3gIN6E9v9CBEZmzZdp69+DQIOw2g
AFCDcbUX89XX+k8vPUHwpv+4tPgvWlhjXEhs2bWN2Y+fHCI3lZv/w1lree9PHVriuUH9D8J1B9Ty
DGEq8nLqKXBoCphnvxez9+T/4/VjEva9C5ynVlBtBMbs3jwtCyIL/cfzJZzVEvVSY9h3pntKCLiL
8CjetAE/qw3aa2cjmK/Sq3TyyJBBOK55mMNk6Ez3PZnwgjhpdZt7wcQQS6eXFL/TIq72ef8RGN2r
m6M0mQU6O6zZKUL8ZTDvMJ+rNH8aW/XW3BSsntQb34nEfZq7xmWIN47hkSAGIgMd5xyMxp8AjSYt
CK+ySH6ozMIn2t6tyfROZPRTUHvfuvn2RcPnWUeEzFkh5hYviskU6yWgnzr4YzUJsFFNrMHidDu/
d/6kzfDPZJv5QZYoArEZOyy+eo5Ja4c16ZKzPfeYeqKTPHhCvA6KoSWH37cziJvPfoOds7gvx+Hs
VbAra3ioy2I+EU17Hzc86Ft94aL8WEown9xeSokvnP/U7G4ZJhMyXD09GF1/qrDorsLfw709mgZy
bHvCv6ChKtkgH5A2jlzrzC0ki7NdTlQfRaj9mD/2DqydJhCXrNJpRPqB5JDWj/MAzGVnrshOSrq/
MS3e8jy5lzpDK0ZmqWMxW6xnnkas7wACB9woyVkH9ctQCiY/8Yc5ehBKcAfWFep6ByEkhCDUMlWN
It2LYQ/GxYvUQLNEV39o/ZVP8uBQxhJLEcZ+82bORGul7qWzQBoqFgngP93nJjVxP/Xi3MQgxxV3
4r7NzMhsxHnNTGpA0aKdBbGd0x7iXgEuPzsvZuMe64nWB4DfxQsS4vdoP4wiJmA4qymgxmW+WHPC
uFquR5ycrCpfvJ63WC3Mm7K0+Q3r4E4Fq2YxRX9rtNBLUIQPbPtClCrwerzqNNc+4kXg8ivSxd6G
ijSuYLJ02j2YRUrT33tHvnHka0+fbHe+h+WmsaZalJBGVPZvWn2YrV1EhO7BS7hhhoTM7Q372JRh
6uORHths7D2WGoz7mRq3zaHjimVzTXMYm421J1bq0jm5HY21zePmm0Vzf0T5f0OFw5IEc/GeIQyG
yREoZ43aD1LdgwjYw1VKOHiEAAajHfRyeCvSwRRLSSWM5OQUvJUiqct9k7psrpV7ke2vmZlxygj/
0Ez+sQgMiCw6+WfqrX+o4SPPaZFxe0QjxYtk07uFWuPWeupcpPY97yjpWaBZUGVSdCJrSB3afEvn
zziIsdfVsQxz9K4hkJWo8zlT2IXjcRuSo5wFGPwBQBxtGa71ITi4mF53LT/nwGnQwC3EN4zRZMkE
Hsd+3ltB6kWz7/5x6pU73GGNQ0DxxrSMEUlhmEy6UyUDzKXlD6yIWNVBel0nZqs7kG35QaVzhVKg
Zub+FluUx0FVodwQqr4LCtYvZfJeyIGnds/spldxqEhOYOC/fvvUBeydqodRbZXfpjrLfH2srJ64
p07tkMGvu8VXpBovPHRZgKToWWgajCB4wfcama0fRKtPSEk6neohgChqUMEAVg8VvE8orjTp5HBf
wZb9dEVZHaWPOZukD13CcvH88n0sWrrFBBEXWdsJDao3H4Y5YflpTlwWELm2+W6Z4PYEFlG4l76p
qQZ4dEh2UFFb9pfS81ASvyLa9PAIbblLXc4Wc6qvi4aYUtnuXnTbZeggk/ds1OMbXiNl75ey+kky
6b4lG88FVA86huzV6PCnM+x59FWyJTf0BwABoINg4GAXyOdTl6dHDw1EVOQdF5YXNJw3EGps+yUG
pLK3KtbqHfubvT3iFKy14WCAwp3ZCmRJfVIiAAoQyizsQrdRw8lwkfJ1VdZgEwEzU4/VVTTzJxYP
SYQHw4Ks7qtTmdfPU7OpsjHnH7Iu+ZH8FH2sn3VtZ9HCJgFvwPTtYYAfAEmjHkTiaeDqxQEzrCe8
jmPYtYDLEHVT1Bb03o0OLkEGjCf5qSXnzkqeyEtfTg89ZYVb5BAAzbmM/MkFp8CL9TGHUltR6TpL
BMNyjNKMisVa7P7KgvtpqAz7us78wk0eqcRG2vsO8yRcO2yasCzXGRd3yaO8oIMM23yGsGD5r3oZ
vmi61SGIp1fXg15bmsRqGfkrI2uyqQuzBdRaf2CkzE+tiQm6Wru9yAzCZ1R55BL/SMl0OdZ9aqIH
lV+slUoPX5Zj+H+sfsKGVKqvgOZIVhFqESBfuP4PutO08TpV5+RK4+9G6ADDYiKMsuV+JnOmPbWN
91t5wyEpzPL8d65jeV9YoJfQivlQlNO6r+3gXQHwSFx4sr37a55oXCufU8t3f3Dk0aRlhGckXEXM
nez7eC6688HK/C8PnG7oWHlCaES+0B+QQl10E8tZH7NKnN6htAgzsGjAeFT4d9UqhTdAdnS6Q5kg
ZpTVM0+CdlcG0H9qwTf2t4cS1fp72j9bs6x22JXPJAdUJ87JPswypqU9z8UVYLbOTC7URLENEZhM
Rlhn7pbVCeZ7P/MkSSfpHVtQVFU1Nw/BQmxHWmBMabqErM4KwMA8NxzYgSYtZ+GytnLIrb48Faq7
dKaqnpfAP091mR0q6dBhVSx9uMw7FHS4tBrYrk5wFKYYzk0C2sBJbVIcMis507KcffCD1trXV9hA
J5BPeg+LHZrj9uXcLmeHhb45soJ34XTxa14Vh2xe9qsp3tl9WUCLwGs0NKJLMt0cHgUParXemCt/
jX0nT2xNGcAa+XoqAq1Y4Me/ChG7u4EwmJSwmsHtfqWS2mjNMYA4at+mj6pmoTU53dO8kawIs0TP
sulAiWHX4Ke3yef4Msk6vhV+eTYr7p/exg7aW3s3xvwjLYqwVldkPcH5LnV6xXmB0AlfALymniQC
QrrGvduzdorboAF20pLP2gskOQXpMlBDorkou9A2UoM8JnQsKbTYuPuBVF2GoxoeFTcVLnIm7i5L
bLv0xIH7GVEEuvHal4w/qSY4TfcxbhjEjy60EF8qJmJ/cGRWl8rkcZ63rMNkzvkdlCmZdavASV2Y
1sY8OrSOb902Mn0KHiQCLTRGdpoDPW0PjWWegfLPV1eps+ekDU5Bil00sC9MR/DzC2SEHvKSfGzB
Xav2asKzPaWIVQ2c0pFTGGirkSQaZUzdrtD81ln3iZ7un6RDl1aWgHlnNtySgX6IxJQ3wUuY63nz
+6ydXzniJSoO6yUo1X61evPMpY7BGreNFuLQGZygXoteMTXMCBj1m0Jvu3MFMusczkaZE3/X6/xj
CuA0VFS1hSzn+zXHhkVk7i/iHFkIt8q/WiRahJTEOmrX5suexQ+7gnCKtKc7xlPb7lKHISoOhjvo
cUyiY9/dddl8DMwhHMvgWtoByA5wRjEtOwq8ebgRK8kKBiVwlKAy2Mll7kNqUKB6ddQmSI6apVvJ
LJoIfXDlO7kCJDfFdhJaPE5HLGO3obuseeHuKaTXiGSuZztPmq23RPUvHeNEcXNc/SbZQ0LIgE5o
vNUu62Dax4iW0wImZ30SKIetNRkuk3gcWBC/1YPqgFuk/D43JivnzU6RGBEBezgMiX/MRyd9LNVT
w2rCM5bIWuEzVgw592DrVGQrARkXfvheOQ7MNJ/Li53xwdLQfDFpYQ/33YfU04/Omp+CLdwRDfr6
bA+ABKWqttCM6bnyPbY1aYVfbe2ueSO7h6Gxn/FY2Leyc8w7DCO/4raFYGNReJv2Ie4ncaBjtkKb
SctZxgjoGEICDC+OEBc243tlPpvYWRkIUGQOpu3e26BIp6ljNiAUVu98/obVQzSDtxHIPJvEndgZ
D2rmSztYpkLhJy7Rzr265HXye12q/IRuVbYrQhv+cMzFRscSWfrEgHu+L4MpIiQF4RWick7Hbj45
6/Iy9dRhcoU6UgeSOizv5D5lc5IInryYrepjtqp7y2DgXqSowwUMVBf177XRw2croe9gO3/TQlov
JtUsDe1dX03BPX5k7GRL4J6WyXlfN9gTUK4D+/1niW3gRcfMwEy3rrEfrK8Tk5SnJEFLMOn2maiD
MpwypGGZgSYN52nxslrGAxuS+VIilXM7jRO9MQiqhIJ/NsvlER8AxIxB/dUOA1eZ246Dy5xC5tJ3
Iuv5YQzkLIXl7T23M4k3vngLiM9kqJ7+fuBhQ2iKhpy9fC8Vl7z08vKsO2M+DuaQhnaD17NHvZ2h
ugIIM93LWpZPVZ7EnC+QvzrTOLa9r64jRMYlYS5um7xXHrT+0Cnx0hZCXdZuvF9BBXPlymNA7B+4
wwS3ZOwPT3xvZg7IMMENoppWjF3NwrkWgbTvDIkCdV5oYCz/0aglixl/zjdCY86i/XEVZnpojMwP
jTFYDnHl/Sza7ISLsd0HGBRCnZXZvp49J1S4Umftv5CNUp889OJ76OFbbSA9LFdnWjfn4t5SqeVd
TklqA1bj1AvI3aldVDo4PHgOUKAFciwZhvuSPmOjYzb+x19Lc5ZCl+wjXXnpLe6Cbw0mi1wZhNE1
mtvMx3AyckqoKjstRbAel/StL9AF4cAxCa0Zl6g3p5E+GPBKkzY1RYM9PcyJpgX2EgwGRhMay0jg
A7DqqQpsxEaNOg2O81kvPMrtZPioLRBfiExgC2cqPasFNK50gxJ9Jb12PQOlC1wWqAt7ptZgrNtj
CkFsCvZU0RwcTcQvbTycLIdgGhsjBiL9+sPMkukp32zlsv5nVGn5kOEBjNIGw9WsrS6ybFR6owrO
hFH0UbdBTzJrU+Gkh2GsM+hSTXGJ/+CrQGwCXYQ8ILRMLmymoyOW+kR5f8gru75gccarOy8Y0MGX
qIAJ4XCf4KMCagKEWpnEnWVN9RG0jbzGiEPPKOpBd6zWS76Y2G3X4J53nG1cAj/HYVbc+FOwR3V3
g5NS/rASWvyk1M5taBd9Yma2RgRcol9imVRA4Wq62LkrHUbp7EQViwNG2RmTcYs8ODlnvLEMkDqH
vcZULfoZEkl2s3oi6dQUSa8FuVZyfMrCMiNLj/94K4HEOt7TgbwmSGg5W48WSRAhHgLHyg5xPX1k
JrpouJU+J4cJJbeeKEDNADrtZJ3ZShdH5R8o8Y0dp3oEV1aGzULJNNXGP4pUM7DG64/Mcf80E1En
hV7wjmEiSbX7CxZxQ+czBuHqISWfhppiUbIRLnwHDpnuSTCApB+0BlIWM/kVyDQGculDbWY4WU3Y
1LuCSNAV63Cd8AqIVWouQeE/wK/2D2Vbw8knaObvy2BSj9y/yhukSQamw1EzU45tti1L8E8jVbFf
BAxi7VbqzmxN4FjkG0ziH7qs7kEr6NV1np8ZneM0JeoT/ksN5hwsMM0d6Trpz6Ji0+2LpXsAfjsB
asW5ZqxYwwWRMiQNNpu3pAgLY2sUO1p2w/hNe9OfrMn4NE1kZsVGWc0EE2OPFLaq+K1Lxzi6zG0y
RL+AlwBnJpLlwTZc9ycCKVB7JfoT+VNw6d3+q2r74s4w3Z1kR7B3MT95ifGkHC/FAba+mN5AixjX
3/Se8CDj6gTBhKGA5UStw74rY0l+7Yz4Z2ygNk7caubXAT5SoRI0zDsF12EnZcPSJEe6hXshDnMH
tVPsoK4nk7vcT7Cm3skNQUngWeJHHdP9IWrzU/UA+nfbUcBgRkVoGH75qq303nLIGRoVg+xhkP6d
10F+KAzG2DJWdEcF9ts27cluAuZ1p9aH1vOSc1WUwaFfkiaaRs3+MsX06qftE49nqMKw06CouubD
jFnCq2Qa4iebr/EwfgQro/MtSrDyLU4snCdHgpYjyJ94ezhjQlvSbrcmYpS/tXW2av+k3PHcd+a7
A9MJ4O0ylUwe2f/zoCwECpIEpNMUM1NvWl/updlJSLrjpY/t7kQs0nJFjsWiPRnPdceFkPkGC8cm
3af1SKlblO11rq4wtInFzK3l2reJJu2EotnzKcMXXR9tsbxxQH4mRmGBlpx+Eh2QH5YuotfA9OD0
oFV9T1//fqhtvyd3smo/JAjiQ2l9I7GlFknfZG5t4dkAZLkTXhPSKw8pYxL6aj4kZfFWILhhtLPS
ymvzFUw0UhEz+z3TfO8zoaNuS6UGBwHbOQBkuc0WiZ1YlzPLOvc0ARCjzWNEhHv5i6QoNLcuj4Sl
EKT2qukN4QNQJcN/SrD/HrsGUN4SIORoWd7cdW0zHqElYvGfKRXnhJy+ubevMTFCjCv0pZjr5G40
Qd2Ahnmaqso7sGn4TNnd4nMW38Fgvy0lsE8j9367NWeDWbc4aFn4hX+/Elwz4iPBDu4yBuZX6FkN
4iNoc9NcWntDA0KklK+uZCVDSJjYqDkOSCVkdPXoTdcpBxYANMrcq4SV+qyZTlmT/F7SJTkYLWL9
ZSgfxonRt8OKmZIlffj79coxM7gF4nNDMXtczfHmkfN0dRn5MiZr/J3veu3V6x/QwHR0Q/4Z655x
abYPyDsvmVsCJqTyvbDIGqlLsZnXRBMzCubAdRkrl7gtAiZoF3uyW/5WT+LK+uQhzdhhxHvpwAVt
V6nYeUwqI0AmzQWXpCYuuSH00E9pwkVCG58M49fGI4BWu9CtEwdn1U91PY1HrOkYkkbDAztr1fzr
//4wthTAZJTnx3H9tGZw4VPLw2sdwaCgz/F39eB4x3iIvzEbHfkL0eD8peweEVgRo5nd+Un5nCYk
vZYrE28j/nKr4dMt2uaxdBi12kaWnoOWMTxsz3vZc/onMkAcldFRaH5/zEaA+XDpQkDp1uLilpuS
AIWZuTmBkCzvvSX5LTrfOykIw1FeMDIQy4wpm2bJ8qc9an5jh3SXyRzfwo3dt6oKhpOYrv12BSIm
WSLW+AHu22nLNM13niTjKRZ2HZYzEROBzfRLde4z6mt5wNF+dNeflZbhtNSvvP36imBvYi1j4erE
iIPk/KSqGULd2t7Dg1Q326hZCgyXBQozVyEqs85uqtvKC2SOlveXquR11hWDuaC7tZadPChR7Rcr
9kB6Tqi4qmazTA0n264LZmvLxNoxrfd5m7PdJakIx5ed7BMve0jyycOlh0UEaxRLYSifY9w4uwLw
d2E9wFgnjyCfXtzOeDU27Z6lFF7DLceJulFTV7ESaYPHhecKRGT4vWbWPbdi8wDltt5zZZm3YCYU
fpbtU+xuyQbkh+yqzAt4TunmjubwuZ7FtnX1B9ZLDEskIOCQDAre5or8CTQg7ApcvInx8J4PuUbY
Mr9ZAzB0CWLcnM3djHNhm7WyrM7VS5ovzINz2h6Mq00VlAfLWX5UAi9tkQ1vg5ozVv/lExtXjs5K
nL02MI/kg9ktpl+rZVnXa3RL/G8w71SjoBOOZUtMY2X0IsoRFe88hl4Xt2GgwxDJwMqGBrAjqzHi
VaM5dph98DYuA3GDkP73k57iYw8I7F//bo2Hy9//yhhYHqVnMTHGWkuwTbiOrP3z0gdvZcEMRFuI
xoBNOLkZsDqZh7Fw3qPYRsGBmnylvTVboOBzOjIX9n0IOFgOT6UHx0XFJTZ+Jq+nYduHOIWTvToa
LDs7EBv6afruPXCZxCfHw75RGDaoP2TiuMWYdtqCRTHYQqyb5HEa0IefgxX9oV+XX8S5AyphWUqx
yqlp52RPeMXjMMXxsYFPlem1vqSJeKs6ziYSiVnMs/XQaUbcjKf1BVs0xiiR/iJBgedPQJ7XQBsJ
YZgxvjPmI2mlxK2aQFlCDICwzwBg7eSQsgQIZU/aSmmhTEqhqgrj7yO9vcy+/4SbBtmW4W7Rvry/
2BEOVYLhOy1wmFmbBmz7nN3lJTc6OlZB9BVCTv5rdXpuIWQ1YVwxaK0WaI+rc06NDUbM9KkbxEMw
8MwD0dfj3DZw6HPp7Iqq7c5UO7s+sxnN9oSpG0m6YZGy99TkZp0yvpptypPVGt1lTsVeQRo59jXY
GfQP5MT81kAyLq4iJ6fGnMCXvOL9wSnTWSN3qvnbdby3tJbWbvCRfKOlp+ny0vSkjJ4VevVaZulw
MKxmvSym+jAMSlvgQPVlmXp4yXHQj9FQoDCoiWxwkAwfBuNppHs+/32fSK1sLu0GzyRXs1yr35BQ
MVE1VDbDY9961dnll+HY2P4bVP7UmunTxK/L3A9slLCgML1suDegZB5bLDNX6vSQ1Z5xarqq2zMK
QWHQqP5iVwtyE895pxXkT9uHbMxjFs+BFXJpNJe/bz+VCf5SNW3IH7zAi3bDOTUZRW0/0t8PzWaU
t1tSxSreFeaWwyWBV8u/Ho6sAHnxIychNg+B38CP4GvCHJISV7uJ35wpavVmMuy4gNwm4MyUn3K0
ACis9zNXMWl30EzS5cao0osCYHXUlMZ0n7eDfxQ2/IzUQf7lGzfSJdCSDlROWTB299S0mscFfIGp
Zd4DABUM+QcLuOK2VKa42Jk8t53X3POMO+RzMl9HgxhCp8x/kaOLeF/m90wQSAZBoLTL445JT8Uq
aNvmb8roUz0Z6ibc8qdqne5kkkF9E2XuHh0DACAzhisE/70qMpRD2hkjU4uwIMkF6TMymP/k67ya
HGWyLfqLiEhcAq8S8qa8fSGqurrx3iTw6+9C38TtGxMz90VRUnkQZJ5z9l57JrF2s7RyrlGCdpu4
rKvrhMzPQDj4TNeyE3/fllSXEBKZ9WhpjndGG4BvKkA0ZtBQyJPBXOWiL7fgNrstVAKIsHE2nqsa
56inpQDR2e8FcUfkYZM9zt20n+ktxC7z9kfkTRg/wuJXSh6vJRtECpo77am9abGHG6H3LrN81Hp1
CUdTqfwpzU6VAvLuuuxcUp3RkxvmdEIxZcXppps0MoubdoKpgJqka8mYxmS4t+zxu2SOX7tkdIk2
hCJubLNcbuLBre81u/pRxaMbkN2U5/ppVBE6ZbdoL54kcnhwf8WQI0VQbrtBQlXK/eyeuJhVyL6R
7sGq5AY8KWbMYfgU2YtKbw7uGN+CiuDu1QP5WTd4VnPHe0wt1lkh82Nr6MkOselurMMG3CNEU+nG
te9AI7Pfm4DuRaTj/EgqsCiliy9Vavcmu2Wf8xn5XpB89lrFVINfyHDVICti+GYp5K2rtTgT6Vwx
OVzyFuvwHFbNrszq0U9EHKwby8HL+7WACeiVw/LyDHThuvsSSZpMKBloRefGuuvz36lotuMwftUF
qfGx8W1o4kCaPco2PGZpEAcQoxDsEqwVS/rsTA/zVcqwejUsrWRDXpMJtxoi3HF3QOMDk2JKf1nA
wn2rJL4mvwXFuOh6Sv0H7+4TQsYfls0ZNGkMTXITt9ja5jnZNCj8Z606mW2XID8XGo4bm75gdBeM
1u9S0u4qFPOo3u2+EAj5zNNtGhSEroBPfg8zP0r011rhVG5YmGBLMGB32CmjsivIYI8gpLXsxrJE
f9az/qThLDcH+8U2CbipbTZFKOCCWjykgQaEaYpxvNJLdHHFOmbzKw+0Y45L6OBCwyU3Gh85CMmx
1eytS63Jtu5xEOdQHKVlfneOeHPz+ivsu+cKIWulWztgOq8BwcoU/DkNDvlbBhRiiULu0JI0UfY1
ZikXsWV3EdKDbE8+YaOhxqiAUlWK3O2JgGd0Xeuurn/jWO13kFbupQfbkSzCJ29gAx9MrjhoXv0c
G5HcaizjO6TS+cbJuV5KV7B96bF6kjF4VoSerSeUF5GTPEWMajbpBfR2scYYdgxtYfmwUkFvjfUT
kHSdqdwmjwG+KhOtuk3i2FrhwN6NqiAILH1W9vxgcFViSwS7wcAY7iR+uvPsRs+6EwwkKZDVTPeC
JQlyBGZCY1ONjxO50usRFPm6mb7x5tEg7j+Y9oNHYVUAlc2lnr0yvD0iVUx9FCR/yKjbOMH4MNHw
JGn+YBjYH9NGMLcPEJmia3AYLa0YsqKBavCt6TCGiAtFJKYBNBqCFHpHFWybhXZiEcxy1ElMoBEC
hkFNUIDb0ccUQ0abwINlOgrXJVWQmc272C7/CKtCF465c5VD/oH1HG/kPCINogmLQINmrtO/2wYt
dVCeDeokkmUsMX2hRiUjVdvbvfY+hkSDgBkjVu27quz3LoD9wlYicFJuPrD6V2gwN8rkP6iVtwlA
pq0IcEMBY5KFXbBBY8bwmOgZ60mu5ZvlDT7YTYNtGSS+25/qztkM2FkIGeGhiEmdr5WAr28SLhlj
515LYMiHRIfBRKbawcin6TxTJvlNtojKZTfSGIEFPFmUxlBMBliweX2KjebaNghQCpJruIbxppv1
G8KB8lAmJ2A299mcLjwkTv8EX0KOP6S9fWn1oniW9S/Ca8hkTbnjhAb08Ywc5NH1R8fD+WCeHXaI
WyvWsg0RUHvUfkc2UsxkAtT3ufcVRdU9RokLRQaknOVEA0JgGI6YhIEkaWiEkiVmvpvj8A71IMDo
9JedaVDG9TJESWa8T0m7aam80+Rg5XCqEmZAHUYDMVgbTzHUzqfXJhlph0b3pAXvjUBQH3ELaVQJ
ET/kaAnloK7b6UCl1ECncvTsr2mWR6vp91O2Dez8RQ0Etzt0ebbX0aUDT6OhWTsWbyYoGYkR41g0
E2DthYVrswvcU/o5tB1aqao66jltG5G7Nukd/QUB1rBLjei7pOWw1UHkNakvEIIsqdl+LdvHtPHe
a208pTWM5HBMgW3adzSy/JSDCuuJ4VxZRxUQovA9Iqr4QwYuiiZgZ1vO4bbUp+pMjgXUx2J+GTLl
nXSEXv5c2kgrgkcjcU9YtDCyd6B+aPccVOCQQOvaJctbBpN2ds+mlZqYMCPamylLpdMWS6ouQh+8
ysgdZUMIjRZEfqpPnY+9CKlwv880vduWkn5DIUTDjjaDQho5LVKWUHJYRmsbSlkBLa4wJNt4daTJ
xCXBlDFXTf7EdYb+7Kh0/QNITbiOIvkAvMoCf0U4tpMiocqK9EO4Jj9o2NhjRrjghBxdVggJVAQ2
z6RLrgj681VHWV/yzDO8Euu6fgJqDROUWidG77ubI9qX6L4J7p7I6QxK1GL4MAt9UfAUOd1o/aHg
FFLFEGjUkVRhDMZXxHFFiI/oCNkf7ukx2yv9R2Be3oeLb62KySEdl/sEEFotqq9VFFLvYfykVTlx
e4mPApDqZkaRhhWe8QKBl0syXH/RRtTmTJVo0dODXY00Ge9s0pNAmWDWU12srvVU9iAD8mEze7/w
gM14c+td5LkmfWTvbHdFSSOm0/fUYcQfS1qjgzy3lXI2JDqc0sGfxkAnvBRlo8zu88rzyHk8qYhD
he8gX9u9ba+MHAweRnoAWYt1wAGQVJCkMFo1oT2jmJ9kqJ0mXEEfuq6y3ZgbXP+o+k6BCZ5chfNy
N4mfErcCDV4DCEAxF30MsCzwCNjZMVMLTCKvq8NwAk/HkR5keiKFqTpGM+YN3Lreu8lQGIWWYpMk
NGtbkXL6DMQLZ6ya3olaSg54FizPxTIEB+IDSd+vbJ7kvadp3X0Py4Em/UNTVOPH6BqKWFEgPHMf
DcixZwbtyS+Pwu2DQVB2qEE7rgAsPrpZ5J5s/mu2YJKMsgzrPf4WdUrn9htR42NQ6ub7OOWP80KL
CM1OUfnxKxjz+xbRPUgSyfOoESJciNueqCLbYGXQSb6EObxAEXKHSGpc74UanXfyaOZI5h/Ncigo
Io0AYeDs6sUHYPpM6L/ROZl3EaRWxzY4weprqNQpwUC9o7QNd8QjsM/UOipj+o1gm7rnoGogfcCo
Mwo21RnyDxjQb04GLMqLNAlWn9/nzRp+9mm0ToQBEWWrS+ZgCOxu/51VxPZBaCPs27mc7pSkJ1bM
/miRP1K3OrmMoXG5fYQI6DHXY6YJQbRpXQB0eeQM1157BKqnfRpBFxN4j+fdgsyaskBsQqToK8fC
lRFNao/hJv1qGTr5YOYo6BWTFXqaFMyNRfdY+wHZBCFXHm9vq4H779lueD+EZGgR6MtOU+OWHXFl
zfyWeaiwQUokSlgzsPb0AhWGVXyaIIrQeGdnuhl0OMdgi0ON/cIgniH2+QFa/bvByb5qNOF+EKf4
tkTobVpyZfZAkNsdE3+RoP9MxS9g1/op7l1sYEh1B/rERGFBSSaAWHMduXFTtp2p1f9BojUcTI0p
FNkcwLxbbtYlXHpUpHfsokO4N3l8Zg3Ye6p90uf4WkdJvEl0fDZGB8Q/J/9qBzgYLZP2y1AcB3ce
pgvyfpJ4y9K44FVhdJep4dh7JE3EV4IYw50WwDeI+ivxBsQ88x0nx/5sAILdVV1yYjXY6slzJ/t2
G3ntyfUMJHAWaMN5sHC8DRp6dxVVV208SwTpVlI1T6OL9MsiR26Q7ob2RH1vLkLknp1sS56PDwmu
PbRiio9B7rLfn/r+kxYjzTTVrry6tE6uak0c8QR2eUZ10Wub1s8k04ewl2TxaO6ROvEPKoLoKrAm
r5uoc7dO7vJ+JAt0pV17m56dE0jthFf5nABVVwIfYtnj+2GVYlVuxXyinmXjbWTNnpHZgvDJ/0Ai
/+o8tt+IFKNVPXEUF+X3Op5nzQ/TpluZy4AUt8ql1UX7WMrqvc0oBXrGXKecMBQMxEhkvWLa6MvB
ISujeOp1/RVElfeJJnok0rcqLimyMqJJH6ia2do3Sn5ErdKAjFcQZnTzpZtY4CVKz+l27kfSXmwb
2BPJFJ8hAiyMRgAkGZcN2FK0Afj7eCeHTcdq6xhNcqY9BZk6xgg3Z9ZaVOGjXhxclds0HpjiEpEI
68kM9hnmiqUTW7ih8aaZCTNqRay1YvP7phHr55rOyTB7Eq/aECXlstGHl77J3N66REGWIp+0j7z/
1HNivNS6Rht75LI2TZorDKBHNjAilH41uVgKyM6kYbmU+A5bHa36jlv9aHeOBdFKYAlU2TE2BxzK
8fftVpvqfHumE+GZ2vkB+fg1keN0AIVNkjw0wKAjwMqzCI/Dy0WcfUvcWMH58TpB7VrRNrC6etcw
KjqkSA3R/TGfJqi22YHum1ilCTMUJhVOb1Hvu6F4AgFF2Gv7IjNaNOyODB9wNildy3uAc7e0P7Q/
GnBFM41ezKkEu1WlmFsFBQvCWBZegszQDos3QCOsEAWqnFIiGdWLBYpmeG/SGt/srN9psn9ld5Oe
q7k7Tl34aMnxO7IcNBosr2PDdr0bY7apeURRyL5zPXOqksl5tA1OOtMloI6oBUozlHtEkTEjUGKd
oi5F5W4YGIvtJwPr5+gws21Efgrs0mNDz3AoDYsPUHUP+simSS3H2Ms8UmOLtntM0volCjjplsa9
2Igjdy3jys/t4DmeXZi/i50P+xl2iu7O1BkSWahbGYYfGh03Zb3oF9zgG3p1zmjVcD8AvBybVpjP
HmErp2FgU9fXhFIvC/aoIfWqG+s99KhwlAUSPhsUS2lbDlxDcUsCtIFgYiGG1yKv7wrPMjd53TX7
NBb9TjlJjdlLf42Ar0wTl4EYIat4TcHMXq9BcqwBKCMT7riVcfunyZjpTwk0j0f6OL8AeTgkLszt
qh7M+sPDo0JLpPIT0iNodpAFh6hk3E6qpLIJcA5G2SlkkVBDDR3Wkel5Thilx9NPm3GSJg0XdNwM
2zmoHrSGfQMTyW/HfY6yWnubB/sJ5Adb0jy/hmUc7lr8lh/oo4ES4LLqBiyOQ2E9T4IL9vaVEzcj
ALJBT0PitrFCjUArrtKao8Kq8N6oV3voibmjtEnG+aNpOLhlCm3ANr+sZSUcakLRE7Pl+qZPwDv4
GCC2ZXBhrk3HdPfWEOsnbt0aIpK17QrxPoFOXOdTKjYlTm22OIH+Thz6solpmqc8sixqMm6FwK9p
RgDkxFbyYcXtPWqh4ikdihGC4xyug3rgDwq5HfXMyS6amaIQ7EmFXr4+1iODEWsJBKd1LgWBByIc
rHVvE+Fg5mRM2BddY08j8MDsq5kti2tpxkev0JsTICCxkvVK0QpA1fsYhvNTQb7mh0i5LTahzpsD
7OhHwdnkrKFBRc1E9gXofHfsDRiXGe+MqERWPrCsi7y7i83oR/RyBO0rqwfWqPe+moJ3jRbjZtId
hB9pqL1XobUllg7rbR00O2Oy7nKqMTRKVb+FGwrQzBDje9pPuFEbhx7W3JnU5z1BbiGtW2/6hEMR
UBkCKg/YloIGij7yQtCvGpwXC0XPWQPiAp44ij/SpvwKveKSEcZ6pp/XP+lRf3+7ogZBHBqdp5mL
vczeU+3PPy+HlQA7RG+16rH8peywuyCNdmbjfYALlbTsvfaqaEvBYgvkB5CkdK3PWXdJCbJ/1Ov4
Hh1FQnD1CiEO8cNWP1G78/dx+RA5047RWxZNa6bY9oca25+sAacAZxJ0PawoStn+oVlgOHSxPdQk
76WomXFpEVojjH9PcTI/VYG4Em/E1O/RHbNpX2Vsdluzf+oYNu94u0AeRczSFPRACjWHqxxm8hEh
lffevaWVbF7Cod5xwBFOSLiTNDD6LQMyFmHCT1YzqtbrMD+itQ4fVMQ8sw7n5Gpk4mMAyUZtzgAm
MZkCenVExdFzb8bqPTTog2lLvdZpv3GZguMLGjjDCZKzCWItEmmXwYPNlOT2oFpGVv/ptdtn/37i
9nV/X/v79L++dvtE9L+/6Pb0P73290f91992+7b//+v+00/+r6/dftTf3/b3x///r/39C27fcfvi
f3sNpxCtw270dhh4YVCORNTsvUQ7Sp2GhhZ7A4D4gmD4hdZPrwmyIqFBG9F5wzmrCPDGhMSHeYIX
GdefUmfMU1htonx/A/z/n6/5Px/ePhVWmDedwNA3t++rdMfjpr0bGWifhInleMoXVFjvsfvVzAD2
QvTS6wYNmKX7wQhuSY0OMU0PU3G+vYapvjjfnrpzFR46eBstzUf0jCKczm5PZT8qYudoiY7nUVZ/
CoUcwzTbYKs89cu15eRzfYzrCe7aid7yChgPrf3Q+B2rBnhhMNOZ0ZfoRC1TAEis60T8hJ4SosWN
91yhzbcHhwtUOwzES+N+olwLJ/jpdfLeDvIXoewm/ZMmucxTaux7L370OpLAxwk2Yl9HX6Ra15XA
QD23oCJtONvTfOoAG/jAmVMWZwn6Dxa5LnpE2eXGapF/FMsv53xJvEKLsICii52I9EH+EOltkZ4s
7NbPwO+RuTmjFWJdZyYoNlTSHzbR4C4o63K2W2yRoEPMmhSK1bpUxbwB5QL5uu5PekW+RxYEL/sq
R24TAOyhh1Tv1NxdrJhurD7GP21pfQZ08fP6Vz9if6CfZB1rkk/T2Q4h0iQXz+LA6ZJ0saahpHDA
iXWJeOd2KM5uLbDlRxr7vvkHhi+1RdzWftpUbLiDY2/CHZSh+4P0igi90SP7kHal1du+w5wipUCs
GZXSipz3Jur6vjLR3nAYBedI9lg3mU7SYB8CaDNFTYLioPCDaEvckLwnGOSEJg1yZ9olCOrQFQ5V
iOyHDt7I6JtJKoieQaufSqhF68CjQ2vH8sIOcEC16uwGhXFBONEuEgSFZaHzPGcu5YWJNohhKZ1d
CsGlB4HCpybEOuiv2TiF+0gClBfjIyATMA09Eqooi66jA3a8duPPrJ4IoUCi7t/etV3XjedYoBgq
gxyZMLCGrV30X7y5kGZLvklnwC86YMxNnEA0cinMilIe7NmmLZeSaNbnyDqDBGRu0C7AIf7Ci8Gu
nWqHA2zHqBbMVm98bFJbA1HHoRl8DdU+zldswpYTRzQr7fAcE6lnMnv2XZptVAr4CfnqJ7onqG2Y
9PDJMWaSkO7mJPzyAjjkNLboFxDrQ0NBfI4EEAm9dY6QJIuzy6B0XYGBZ+sKZj8pTsILIazn9JnD
iAv29v9HjUWxcXuedYumV9HQg9DSSkxLbviJ+YxjbjntpjEIH4Em8aT14Akt53ddIyUX2Onb0VVr
CDFccTOnkmrC9qFXO5uuxsLNokoCHbzcbPD2aaX/4BaUPslX8YE3xKGt6PkE1MpEQoKJsTptQxbT
HRHjh0CSEpS1CAO9jCxWNK/dmVJmZ3JlSAY9vows89wUGReSRRamaYuWAdpy0JE7n/nTzG0ZFX9c
CUMZ6wg4aogCW0UrBSkVGVoQGsOSaNVGlCdb3JLWatOnfPAzFz4RW/OKu+QyvXPeaPc9gWrPaC1y
PrRljm8OwtetQTBhTVm5Z8aErLJM0TvV2vQBIdWbIB2aGKcQOrxPxLXl3hLamW6IUbUNa/WilxzH
R9KOQMmP5Yne5sZy8x5lXDISqCIVpIfEHyrvSc3oCYOZwYsU4IGXpeF22590aZLKAoI0HxpwOz24
spPODSekkPGT0LDRzafJ2ZLxfWnNLmUNbtO+571gInQMXQJzWrc+uiY/umxgugQA089JHjx2FRNw
9ozTWq+mkw4gbU+f611l9TVjt72R5jdscGQFNr0EJdDRZSmz9MgCKDlhrosJHyUAQjDrnojMLLxN
AaVmhTGBiGqze5sqwIlJScrFuIiKPhEpgzRouMuCaHmr8p543yhOiRXpTrdl8faQFuaiZgr+WTQd
OQ+gA1hN/37F7SOnmsh5ib+skiuZ+CzvHEwYcTUHRNDtKfGrZF8sn8hc5Z2B7codqvAXz+pIO7Rg
a86RcacC+0MAWd/b495wQFLGyYAnq+TQucAkdn2DV4+L3SardvpuFNiqydF+RZG7yRPrLqjTp1AD
D2Rw08RbsHJrT/Aeip/QgXn8IdzNEmYSscVCvNDe7Yy3c2NbD+4YvZL6w6TI9NpzvzxMAEcxHKNE
HflBZOP4XSmJPhCKfap4LqI6WeNwnDeWoQiaSYrn0NTenJwY62R4qXS1YS4cHr02kCc3Xc/98GcZ
Yu3soHxzbZRwcJm3s5q+84UC0jSm3NS1z1obwpteNhcpLdupGGlM5CxjsUk2Irz33DCOZLOLc2UN
lKYJfIoybra6Ta9RR6ft0ZkKwi7e9DCiPY1hJ8Z35OQYdVtabNsBHXsaF8/MqDG0a1W7sbqgOnfl
CPwpaH1hZPI8LQ85kkwiZPJkMxs9uWtkcW8D71MVeuEzitYo8UxntbRaJcXxWtfD4Vz3UOwkfPY4
yBhmEsxwls6cnnOtSg4yM4/12F0GOHSMnwaabsz/zuzkkYTEA4j28TIVze96cY/efkqv6IlU3vPt
iYUYbD2wo9ozLb0mLcuP03jwCrynKgXqIC2HDtZi/I3aM5kszXlxyZ+H0TaPtoTmshxnY0om2voC
T1UMaDjDviZkAEQhrQ413dM5CuHZ6xpkv18z9vHT4Inq3CBpYW6l+1pM46pariulW896C6GEKMpT
5qDdpGiYcoZsDTox0tr41bnBHWBQxnM9j/5U2iHKHnYYYl7OfpLUG9BDRA9O42Myh9bGgNJaLH/8
0sDtyvh8e3J76Nu08ydNwxKKDW6fN/ED8aWwMEaPgLAWWcjt7jwwDakFKDrDIZCRt2PEnR3T+56/
colh4bhiH1vuVuF01Djbt8VrUlp+NrWyOFupA2scn8yG3KznmPDTHRrI+hA6wV56nPJGerNPI4qI
6Ck61onZn8vlwSjqE3Zvsa+ZL+GNAu89sHnBPvPTLPnYiO/ofyH7mGCReYn1FfVEgtiEN7AhrXx0
qopqHwVm+DTMLLxeiVJhnL3DiCb/PI6wYXSkCIzkRz+dVXrso3OqJqZyE9UbBRp+VxRolv0ZxdmW
8NDf0rB26BCoZ23ufmyd1T3T+HM7dBdjZJ8C2cWvFghTlkO+QqnXp7gUwvLOklq1i+LuJ2I7YpbM
9lyXiNdbueBNIS7DhTQvgvwxN0YaZjb/CJk5MaazXTVrrzm/8Pz3wYPlcDbYe4LkDR7NJZCBHQUW
acJeaDL25UYLMnnIHQs3fXWpYu04pT2dYjy+mAgAziTaSztqbNoC8lxa2yLfUD02eYwernLPUWfd
T4LLUksyv253adcnR8SyTO7kXY4Res/KTGrvsqka8tcEiSok9TmnaGDBv727Y8dlm4Ixeo+g9gyA
hkl89lMJPMUQPlw7sBj2WV+2srOdEcIX8vr24MWzH6KsXSN0YENuBwfmFKRDTd7P7YfK5a5y++i2
sv997fbUMCglUkf+87Xjco3dvuLvN/zb91fL27PcGhEpggT1vBdKlrs6KqetJmL9vS7Emwln9MEd
svphruTr7WWrIza+skBD3J4SBvOAG7FEYJVW93mX/txexmsPmIO93A58R7N3PY5et0xACaJXV3Tt
GIVNDIl2bqrr7RN/P9u5pzFsrcvtS2FcUPOwybP3kR59/v0q2SbpsbKcazyVxnXC+7km5YUG/PJU
HzvsVy7w/yIJ9GudN8VVd/95An7EuN5evj0sYVkJqslV5E07ZmoEMBBB0RAGcTUIa/rnoWdwvpcR
GhtsnnMzdNfbF9we6MyY1xaYpE+ocegXHdacyHKhHAyOvOJxeGnc4T0JFfOTrwED2JEkhJNWoTmz
U+PFEzhARGNdcptqBwfp698a/tZ8QM/HlrYDsSkp3VZ1h9K5iDFoxKAPjc5pT5j0mdHmAOq65cdj
vmmOPfzqf31k9ggh55SB8vJZh3kQ9J9tkT2GNhJJjYxJ323FeLw9KBYxuNtAMz1CdI6LEoE6Wew6
LE3MxNldzYjPwiI+I6IEMWdGLd2h22NqoK+FMl4fq7jbpAD99s3y7PaSWzDu6lFqa520/cj8NBc/
hOEM1RF2GIWs1zx4ynhhA32OdAS4+RLUfvvo9tCY5BCNCuTnfKh6WsJF1cx+v4hQ3Vx5mK3oUaI2
Yfm4pfQCY5oB5A6vQ2v/pmqMMBgXv0edonVW0cD+1OqPKW3wTWwY77eXaE+5OMg5OYSvZ7ssNMrj
2OcOubhgJ25PHfbVCGFzkD+4eMzVtDSfgjEW+7AjtXjqsNkiDG77qiEa56oQ2wFRqNlrsKiAlbrl
N7E1L4/cHPDbcyKaMidJdCCic+k0/afGzlzL95yJ+WZcdNxGXxczyhGaYGFpX2ytYYoEbmWTxKQN
FKbgHdLHh1j/QwWIyMmJqA8GUtqxN+DAM4uiOsau820YJC0S4sJUfTke/xwB+VJ1gE9Dc862DL9e
hiWI6vbgaMG4g/CDwxH/WZ4gFMVX+XI7AbeHKUX1nObiNbCjgw0HGBlyQ30b1bzx4G3bFzlmyR5J
a1ou+O2HjE0gIlHzLRyHV1Co7fZ2NNnwl8fbwYbmOa7sMnORS+sB2cz2bvLM98DFBDqmWEJ4C9vm
rmwDbu09jv7lmPw9gHUPxT1M9bdAen+ykq6i5aHJboBQHF32HaNJd2YMA7J28+fbr2YCbR1SbffP
37GcDtFk7bzWvaHf58iw/q1X1nY0tOmeA47Sy+gkfjpjnBcxPRlrjW1upaad5zLutwn8ztzSD+ni
zWE7Clwrit+YxJeww3mpWz4CFVxp5rNJuBKpZfYHxBS0g2lSRNuZu8LtXkBcbob/bvlHvQTwBwMc
88AlC1RDkPIHbZTKjsFI7EKaVGFF/tmoF9cJX/3V1Duc03PubIwmRnpX2xeAKDFSKfyi2k9n0n+P
TZSrdmIg/U/IK4GY/IfaE49Pd3YaGb4nonsJIs/5woz/Ox26lBYJG3GMnKwcxgSia4YTmJDVG2lo
gqZxuhblZimsithzz6JOjGs6ssGflpKC62rjOUDL9CD518PQTd8Zk3BISVBQVeuCE5tC6AOa/RVO
wbNrwxgJpjE6RUSAQz0KPhT9i1UsuoCu3kfr9fKAnnEXJUG8r4oQ7tiwhKwJbq/HkJ3Mqg2oBBgL
o53WMNb0f2icMJIJlkbFM+5bwqqIuI+iCbAz80gyq6EcEYum2FjvdQN3Pz3pr7LHBOxM1AHtCN5j
hqIZ5CS/1OVUY+9pGtpUOLWyuN+FRIYepqC5rzgF2x7HzNoRgHY8onVIj/SORmoAx4u1k2d7BV4B
AEulOWBXTgmBCqDdsb88NkAtDlT+fO+yYCw+3aDihwTZJWkz8msRxl4bx/WlrRnXKHX6K/eMrbJ0
0J9DDwwOccRTBZKPjkblruBTmEwfZmyfKMjdP1mOVmbIf5FBC6UnMalHK5avfIj52wFtI11NaQHa
ghHWZz4g0GRLOxYMZa1qOBLuiEoj+LEYiW+QBEmMJe1JM1t3hxYzOo7pu8rRYwaRgMvXjWz72+or
dMcdE9GHjuiyPZunNzSE426yQH8U5CZzz72As06YHvd3wv3GomVm+P1zbcG80DnzY2jmJLKKTY+v
z9dpUhGXGO9U/Ek9g5DbrIsNVwsuN/B4VQsZJTKV31nN+6Avw5G51LEdGswtMbVkM7OG3gmIn2Mr
13JljXp11xBsRF13p7nmGsHH0hwZeXtO0R9lNX411J8A87gjMu9Uc7S1RGehWK3Cs7twlyRGY8OJ
DoU1H6uQ7MSMZu+qzTUU8A3djTg50XXkXhr1j7guY0b/ANQL3MRWbx7xN03bDKxarlGwWfZ0B7w5
Bspknqt2RNaUe69Oo6uT5slD1rfQRwaYH7WHrFzaFskTWFqqERdg7ZjPCIPeaWk/pLXUd6Ezk8Ji
wvILLRtSIo312h0WuQsXhQaE0Qoi8h6S8jhp1itLAGLzjAbqrEEAydlR0CBg89Dfm0aubSSS6kDP
vVM1FMfBY0KsUvfUtNFTT3eVuhmJX5hqpzTl9kD5MV0Gp4cco+H0cPqElhiYiG0fe/vWaB6Iwtjq
WodZR+mHCB0DbN3wWCxRdcyp+j3BHScmQ+0xTWEzadY1E6CLW0QfX2XofZmmVdxXDWSgpEU+lfcn
rzWNVURk7MVBPuHryFHxUjp3QYW9wq273w18mFXhBATaRSjvhzyLtuSqfQ5zT+KRYxckEUfVvqvo
gI4hrR6R/5nTyqGBadCsXv6M+KyC6FecsH5Azck3sBOA21XhSw0VAlGjAcAkRA9Sppqfm0PAJB+E
LZd5Rd1qAudaImUW6tEOUHm+VkFNxnoU6CtdovgtUNMdUpQr/BNbnQKV/7jeU0ZdSWLNdolXuMdp
wD+bOxkiUvDGJ8wAgVmcqTWjvV3qnxNB7tTqeeiLVry07aDv3TylkpzhfFHhbmFI2S6LezGwzSxc
l6KvpHkD20bmscAlUVTkt9p7s5WPqlffdiqhURqA2nI6G1OV7MMBPnaKmg2dLLkZWXGte5JtvVSS
s3TXcdhloT2QKERFnCMVQuBBK2bMti0jj0HRSBv67RI4ZFFWo6ieBf49t90lCbFQFmY2V327JSgK
5gveYgs+1vRYVx3uCdS5Kb7CvF7nQX3R5tIA1dJnG9dTbzm0dx1OD2ohHRKtkQMSk+qu4VK8Y5VK
TWLMaULmu7YgPMdklLBNR9wdbqx92EJO+0mf/3AucO812PV1htkrfiY3vIUHXqPG20RNom9Vz/aa
LGqP+dmBxh+jer2HA9Pjd469hWWj9ppOD03HvbRLc92XeK+RbQOjjcYjkilUAc7MAAp2WcXmydHM
JXkxYyBqk6AWjM5DFlePk3Rf0XA3I5oA4O0lY68EwjUy8TkhNqxGN41N8RUDwqVLlsr/XtUUUTR/
X72w+EKCQwz2QsKkNe7hIF/m19+yWShfNIpRvX1aXRVtNdzFHFvovcrkuHRxDcWw9nZAxutLLvL9
IMxt0dsI9YqsxvCyYKRMcTGH6FkTd43E/GqmsJ+nEOjAjN6bOxsAP+oKziBxDOjpwdd2bQWBGcUs
OGmGXgTLWvcBuN9UecV1yNWWdvzInX4W6954DTGjsHr3PxF6a9oZI7NwfIH1/CtWYFyduXvRZhld
LVVfKEvftYDxkTRN3LT6/zB2XruRY+mWfpVGXQ/70G9ycKovwhuFIqSQvyFkQvRm02yap5+P1T1n
0GeAwQCNRGdJqcyIILl/s9a3zCNQKMRrIRReX2vPmPwxfTOVBhRKIZcT/9dH4bi0te5ZbyHvBsBR
Ms3+YYp16X0T+UgBIaEjHjOzu2MBcv+1RZMXZv6JxJj+tTfcp1a+RijSlgrfL1a18l2hdWKNne1C
E6peYCM9Rp1ZgCdBXM0CBktl4Z6qoU82XlHvDcs6MQ0ZsO+ivB1L7WR6/aHM3R99cjEZgfZDmaJ2
nVJnifajb34nszXWRptuRhATzSww6QdajsrV7oCSfSOMLPZD3B2AW77YrnwV5XCW+7F3nvLQ47bI
Yhuju4leKsfOE3c3V4T5IfS8X0ahYde8cYQjARLow/NIo8k0Hvo+uQguagLnu88EkOKiStSqc9Mz
bYBA89WikdWl3IDyPMtah5QMbwNht8ayCl1+pUz8ZdrJ18aDzUzUtsj3s+shW2NGTt3okkvrEmSI
17C6dJAbML4bx5T3P9ajdI2b6oogDjeG4nK0roY0jJOoPeiRIh53bcgOtAL5TCjam7L1fGlialM0
O4Ax1Tao3HPcV58Y+Z4CrkDGMcNhSLRf6R/nSd1xSK0tdFUCSF/ESH+LOfPOFoeh8Hdy+CU49WzR
4i5EO3w1Wrl10SeMvkYqgA3uaMQxXVWQwtpcwy+OEQreIDJj0NldcYtz7tDOnWUTX4yauqy7pKxn
7b798WtRrhjPJosK/WDrS4jgjlq7TdU8/PWL3l6kbSTrxPN2kZnYu7qw9nHEFGrE67wb2sh/dHXr
EQ09wbh6YK4UzSGz4Hv08s4d8uQtwQXJRtr6cQrq6a5u01vSkik+sfFoPK4AHpwwQd3kayw41XTL
qY9uQZeDCZfgjdIBeuSxYasl81Wz79YWNjw4hczLSvnCBZe8WPi/Yw+gdMIsbEK4vBycAMspkLmI
/cNiECjfXFt7K9AeQsfRE1SRHC+16ZigyfVqbWG3XRqBvmp7n8jzNntl69ivXRG9RgDzlP3uWnEP
CFUYZ0u0DvDEhgCRuqm2fHoMBlz4mwhX0chaABLrlRBqx34+eK5tse5cmHxBL354npVr0wB/AnUN
iRkAss2QjNASKncZh8O1jtiQlq0dECNppRfZhN5e4HfWCTzGaBjtQt9P4P/4lEYF6B6rYrrXstdc
OQbOkSxCJtE65h27XnBXc70DHUtfR8ACiBII62RbuWGyJDueIe60ItOwYMxCjkna8vpniaSnddHR
NZ873zEOfmhZwM7qkx3hXOhVrNbQn++6frz4Aa5mSk1vqUMeKVh7b9QEdGHCfijdiRCAjhFumqRX
CFtJ7T8G5n5sLDgxAQ7CxhfOSkqU6WzDlYsCk1Jh1YbcUgAfNSPba+F84pGDB+EH82Qe3nJ9GJee
J0jtLJBkGhaPsWbGVRbRl2bjLRcN89uYihSiYbqD7keAxHkin6RvCYXtZfKTYVA7eG716WKmRnjI
JSTuWIGya+zKbyFNPPGiARBt+zkKT4FEDMRx22Mr84ybY7FmMTpiNioGAou08sWe9B/alFxdZPdZ
NxABiR7sF8Ap4Z+9dY4xrf95T4JCRrjhc00zQinObouIIs9xwL0r29kXJf7ngdNkwarlIbfTA4SI
V9TnNttB6pS6t3m94CRDTT66qQcQLWPuHJZ7YzbM8qdBzgdoF+muakEiYw/SEcEZFGM9LncYZNYa
E+tCsiA267shaNKzove3CXP2Okq7iuLATWyeVTo3TpE1d8CzCGdV3a8FNglG8HsSEXjfjB5r7qJe
aUOIJrHWw63SkxcP4OQ6zB66zP0hFSvlQ6T/kmyoK+ZEUDwwiU7K3NegvTuiDlD6xcEG3ONN2v61
6ybi34KUomKD2Z5lFIKDFWqWu7YAe9Ym7rJF1rIRDZrdumVaELtwq4d6n6tOLQd2XUAYecFT+MrU
f/a7h+/YChLWXs3zqA93uRPyyVQdltJMUjiNB4YXj1EBoyyexNruWN6n6tuW8ZNhDK9W2BCtEC17
u/9NrEJbBy86zVKHc7vo8P14JPc68bgxsi+YaIeA6e56okyD4IFOPx5BY2Totzl69C8scx9NXO1E
80VH5JwCPNnJmN4mg0O16iOE4PphKHu2HZRbZKdsIgP3jEDG7niIyDGUbAjd+w17El392K2XwchD
nskJWxjJ34+BaUhNUMg9A5/wfh0j5xGJcTBCyrCCpRS8lxtuwXtCou+tIrrDF6WherdAyWqvoKRx
B0zhLk9ZcrmOw7nYveYp8AGJiA67lLeBrXfN84646spnCpMxty6YLBvxoTJqtso9q99ZJF1k7da3
PSQDKS5ex6z9ZQmqjWOj2NNZW1r6SoMDCSvTjqbJjxur1z4y6QAzDio9nLkN6lnWCBKS6Cvr+Sfi
4HtqeVL3iXgZeqTVegp+30UISkrRdqyj+h67Vb6EKG3RHlo59rphlg5CqGJAbdBgEo00m2dl6e28
7CQH+Uy2sTzkxrDNa4L2ev8ymmW3get6R1kuFoPjUwmxGxS98+HDq+5xICHp8e8Yo3w5rnTX09Ds
duQin4Maw6pj+vdJBiqziqN3O+y3uqNuuLN+qzh+j6t6F2mDRjDlRdHPWxMGCKcqQAzZwWfpRyMJ
ZKgI0piyPGHOxu06GR9k1PyO49hwOsIwUqMNMc/cVARwQsb9sbSe2WoBop2V1MFzfm0GDQtHp86f
rwGbA1ef2XGj367RxH+7qoQ7OFpvGbmy3IrIy7JMHeOokiuTYt4uoh0LZvyjAWGsWk5Oup2wMwWv
2QgetZ2LWAWm7SLmXagme+VMyBBGPTwNlfzprRhsCKSULDO36MXWqd1eM7caV3Q6oUeidDV2nxxL
z06LcrenOMNboc3BIt1Aaa1bP2h9nqM82BBxxZ+2PQoL+qaEbTb4ZN5ZXXPuo7V0cc94OKWWQrTP
ep7/oOSiS2zzlxHvg9k00YKQm6fG12vKhxKtdcK5PhRE1FldcpvpUv402LQhXXVnBdViZA5T6xLS
V83uMII7EPrgW7yESw0S0Rdn8mYM22Y/Oma70atqW8ToVGzc9GFnAHQrcRyAGEBBn9aI11vE5l7a
TDvPwIo2JGDdrBmfq5oaCtjR6mwMJOhnF8oYooPLxYoKoebRpcikrKO92yUMFvGqPNjuQSNx+ztI
hjdyuD+ittH2rts3L9CU53wmv1kZ0dyNgZTR23a+Qr1lKrRmZ/VRQ2vR6RtpBuCtdCvcOJUkL++t
FNUdsR4HFNRICyyPTmfQENUEp54Z+BoN3n5U5NuDBX9NJMLlEidqY7XItMzfyImfJ9c+IfFhCQ0K
zzVjgj/otrtofB7r7mdK8ueCKmJ+1n5VDheMpeRRm4x7QboUaLKN59ozKEytvFJCVbbEfZZM6ODc
mh5ImCtPWCz2VfVl0EmWM6U0HF4N9q0bCiOPKxy0Dq4gRyJeCH0IKX63MVuGy8E0HRyaHOD4DrWY
8R6bOYhUEf221cmSibYxernpckbZnJ8Ld0g3U+rNxveOkZqJQqgzVz3ImZVrRA+2wFMyDJz7ptr3
LH+YEvg45d2Se1C7GtaNEN102VVAyiIOZ/KUITzjZ0UIpH8j7XkcbLj4+oiREuqF62WfflbXxxKO
Dp9W+tP10YAaMnkexjLd2b7zAF3IW1euRTxDZ+CoAfdNiHEpMyI0ALX3SOGYQeg7JaS1jpDVpQlj
vy7YTnl4JzOig0riRXo9vgcpx0XkQUHksQz6ueMqc+QslCreh9olCIcAsdKL8RyUIl5BZrOW8E6C
VWjF91NvMBUgnXE09R/Pt3gRpfciJSAMOn25CzLtm3gs6Fcan0jdy+9curxshKpKy96bCspdEn6z
QOOZkBAME9Q4j8CMgOr6VTlztWJ8ASO7MjM676QwmL7kxbMxz1KMmewJ2H53msry1coN3Arxu1QC
jEBCvrDHENod0MMY3keecWejTbvotXgy2cQ6zg/UFP5yNGtQlC5N7nVARXgaeOV2cpmTc54htTcL
Ro8gDsOa+Bkh6l1rg/ZNISuyTm2SFldNPh7jqtmryIRGLyi9NeqPRZBHT9YAMZRgtUdGhYygqG2S
QTjEK9RiIfMDudsZbhXmlaM9lyjRwpSuvqjqCixLENw5GYYjAiw4323mthF54GVP5Ty52hLx2FFW
2f2AjfTexT0Dl+lq9uFHzdZl00sfdH9xNiK22jCCUOe63CCp+kpZVy+BGplkYFx0/BNaAKodvhiD
lXPZoKfoA1i0vgfJA0pUEyl/O3YSOqYOuJHYiVZ0M9KGKIeyPLUxQ55abY0cX/+UoXkzSdMKaRcY
Uj/Wo9xqPg+dsngLdDs8JKi44jkXgTnXBWHvl3PMdZPgzXj4Ao11Yzbmj+4XFq16TcodQ2elERqQ
iEfkVoce+eiirspnJgQAIMSp4yCUMAe2+G5YuGnjna/UJrAMfe0++2H7inbhpdFgqFoUBiWZSgTT
6V8O4Pd7q053Of70KliNMAh7VP4bVSOmEDjWnUR/aTetQeZ636GSaEAfzOfuommjZ0G2QaTr8SGi
wk71Vd3yRvbmGclSvMqL5EgQtA5QTWo4OYv8PlbIlel10RzJ6YhGZx0y498mEapQ9um4ty+5ljTb
XpkfemCt27Amta6C5qnH7nfhBKyn/R+9QrklnBK+buleIQoGLIZ2mSqfmtj9KBMvpoTClRrlNABo
Cb9ycWIIcwLzEH9WiP6UlazgiaBMJaRaaDyVPCYcM7m0q4sU+mM/7glwuTKGZKRhpzfBJoQhgGat
7eg9nMgv6mKTJi4O7phyjMwzyaYPkN21oj2y8p19xwKGa1u+WCWD3CKh+B0E9YhFk2xH00/P5DIn
wMXywo1tYbFlKngAh+KAogT04HqlTVyPQoHbkPc8FsBsGrqMhd9ZORR55nQmpi+uXp7rYWSTk7my
eu+W4ttydPUYVmPJoM/47RPt3vRxZFclaaflzZQCcKej3bX+7A0Ed645CcyPIbqGDrVW70+vitiY
2i6ewA40qyCo82NlOPBzLfA6nRHC08TG7WWvadg9DloByrvwH1m7nl3kHEuYB8ka0MatbBgET0NB
KeoRujOKOQkoW/suhHiM/PoYdOteMAMQOhbORGL7iXtm8q8wU14aBfQGb/E9h6zCp0/sUaeMdVmP
u76C4VURqLkLpX/pDOcDU0t8yoPmWwzTbxN4V1sMZw91Yj29JGarKLHUQxxzY6BsOTQx83zZmEdD
OwyVcweK78tuqPAdbqPOf+uYNlFF0ffOtGTVGQvFx8I+cT+yaaeEphCMW+qrfM0dt/Oc9rOiAeVG
oLmJPDjLE+g8x6/WXtueG4KZlHgKSbxctsT82RWDmALh0qp321tWJykHTvNYD96lDgmZa6sWfjbh
7NDdmEgX17wUO8DppmHhDeKsJP2amQSwwMAF0GaUGAIJUsIAdi8FU4QhtT8ID10WoSjwtFoc+2bx
MKYqXDX6IzkX9SReiYT9mlJ14Tw/hXh81+TUQKxTap921Qn8kXgOiLw1mPH75ngPpPo10xJnI3vU
WlAG70znaLe3bpg4XUH9ZjO01dZnRx+Rho1hbf3OBMtmySeVlJ/AwbEzqOokRUDFYCy71qx44x6A
8rG4DM4D1NaFLaet1oD6gVA7IT8BRZIiQKBnfbH0+sFBPyBJ4aoGnvAYAMOl4jkOtVmtLDStBFIw
fTCkfU5GAiLZsTQb3YAvWmVpj4K22nqBrgHW8k9VQUCLDmoiLsgHGQhsqFhak039KpW78cjJYzZM
SInG0KRo1SrxcTYH+m9fygT3Jasic7yWgXpPutS+szM29Rlbckvjbcx48AY16jpXwEYykbtCFvd5
6MbLVliUDA5XstZXvyIymB7bK434yHXupGLV1qsMKRTSJuOrrjQqu6paWuQoaybKtUY/On2YL9hR
eVb1yhJYLWy757Bq2nPQkGHY5x+Gle6kJx8rgN3C59LqMgf4NKhKAys70iJucAe2nSa4jo3+EEyk
PXkPwnQqqDX9xED2k1pE2+aUS45HxEXocPt00XDs3eaJVRbeicliTey4j15jnBI0DnT12rQOfeu9
WEfQSiHymwvih7c+3BrYCS4poq1xSBUEbaGeIZYl25IB3sLn4e65T/YI/l9d/LTjeZinKGDJjexR
DoztBRCFQag8z9kO0M+SMerGZoDD4LUihVbz91g/OZhC+INh2OySwIKjRYAThCiDx0xKrpVGkiE7
XP+oav2C9JwLamjMTRDmzgivk8SmZDRbdjoxqq75F9cg8iEUzbjRx8xDT1rA/gq4NaFsed4KKWwH
tDAEJp8iDmBErfEZ9CtOpU1Ipbx06oLFVUPYXsvHoDXjOnPSI3UOWxerCNmKm+ymPAzqQ2zJSyuD
X4IS/RWNmFyO4BlRSUfYHB7xa83kML9cYtueFp7/zSfyI9tG7lh+h2AnWOr6TXMYbTks0OvAvMvp
cEiKxPXDWBKMc3/EVJStWak4yCXJpDbVKg6oWFWF+rVrro7FUFGbgK5H6YVYKwwhClGhDGKSyVhP
Z7Y8qgJqbOQ1Nz4DWIIJXpHOabGU8NzvRPsDGmOj5dZFFVSTLBHFfd+qo+mCUw1VTuRX/t5PNKCk
gmnEcXaAZ2wGV04Uf2tFXyxD7MVwHR7HbngzPZPoEXKeA6QpOGHWXlN5cOqvvHUPdoOcEfMS316n
79ao9GOoxTvfvCJ16BdtMNyzYhsXatPaIWQaCxS3Rc2oS2Z4bdJDDq4eKULkop3cS0lf0NokC2PQ
2uhBDCBdAqCjL3OoULsDd1O9bSduV1LJffnCptzfEeLLOGZTT83FhSVn5tPOdxTZY4ivFoE7u9/G
goUduch5YZ8C5s2mMVpnJzPP8KuWMefjSsJ6RnRUQswG6FWqdzDNvLm09YXKt6CmflFdPKUp23jP
g8XnjQaUPIJa6b9xFZQh4+wGC6blWhsOcoLNTWvFaM/CtSk+2ZjX4CIQjBHCCRQMYIaDrkRPQ8D5
wVtTkSuQJ/VXORY30jCqJeF3V2fUFd5kDHNT0/lbsy2fSh0HX+U582KEdWtC7rbhj0cZBnKldwSl
pFCNnEhdiRHNeXTQ1VdBmW4Sxz+7xHxGmljXBlugLq6fzTr6drxwWOmKkOSigC3UO2+TWXsQ1yB6
RMZbYdsP+aQlEKisXZr6d1qCkWPQu4QBZbl1msreikYGK25FFb3EDSo7Eh9+bZ4qQ5W/qSwgMpJJ
YHFxotPUZK9+hHyN7DoOXxQDlbrhjP3WomoTQ+ypiKhMGv3DQPW1ROtHFJ5TPSURAcxDQP/yV0oa
uwZDY5edGiBfOJYqlnmSc4QlWs55DgpMBL99T2veR/TfHWajOBi/qDwYYgoeCaWXoS3LuKBb1nG8
780+TWDxu0xOEgUGfmCH7NdmedHXfkVgWtiXb6GTfs7+ipUFg7SFo7AUdNBrzi2xZrRKq5IMGU3w
xGoYHpQI8o3ZM70zXLpfsJBPQckkDqj5PhW9vjS6vYi+Ey4bKBByhYGhw61OPCR3IJqiUKJoxxfc
VsGHRaYcMoG1wKp0Ht57AqfGsna2Hk8nxBcpjKTARztLThpRUOI+Lx7QhUAB9pJ3E7oMKqCGmMqY
xE3HdQ9p3gV3rsWjomcwXbkNASzmuAG/+wgax65ASDeo61ax+BZC95c6yl1tMMu9QPIG87ZOty4P
6zrpr5JQ07oxzlo2snjxHhJkO+vI0chq1PHueU76Mz9PMdwLklZYeOe+OJspwqK+2lt61XCiU+7j
EsroR6B0xgRSEARDs83ii7+ZIGij97cVEajL0AM3JVxoRQpvm12dcjJg+bxeocyVaO5rHT1cOCzw
TVlrycRq20n5bej+acoCxkU+92sZWM9jG+2hrzhkg7SPTdM9EMEcpniUCmH6W9SEH+xzVyh4472j
w5Yi4L11VH+pcvoRwW6YjQbBD4XEoaFNv0bFlFyn11+bOHTzsV32LndkkqiH2iKZrzXiVUDLvfK0
ce0ISrNIVLteGz5s9H9Qv7j0+XxrK3Y3EYKnQFBT55WyDgJ8CoceJKyW0mkL0BckEUsxukQic71w
OjYZPL0o6H2ueJQTVQ28VGVbf9Qr9oXstwYyCZc9fTfCFFnRqsoNKTbxLq+EjYuMU7u0Q5NlU722
A4YAtlXZG9+ycrRtyX3HRnGh+zrShWYw78tOPwIzPwewAeOaGCkJAJmxYMj/U2DGpoisp0nxsFN0
VU1Yv3U2QTYkocPpbJKzSKKdMeexFP4noOX6Lg2BdaYOQW1hl50if5/UbFDhv2fHevKfjBYV1khD
k6bZr3IChrUm0hVbPWthd6oyYazqIPpFGZsuEqQCSXOOScuaKr9Ycu07C08hlgDADycxIDx7CHcY
vrR10Q5vUpq/vuHyiG2LZTSCPJbRO9Nil6AlEuHtDwoqpkREV9bIjbJBHou222lju69NYGi1dk1k
G6zcOr3PiBZDxLQmT32LUZXxnPnZB+ET/OfXUIRvQRHcCvtTR5Waav0ttlAzjeFJdxwMC1V0zEEe
ZaZxX4bxSfUBS0QEv1mHlM2IHfteVv6ZoRHKGSIh2iIb10nqMVhwNawaAYuHaTAp9XCPdHnpLOC/
qzm8nVKhq6NXa+aAjfKKAPUVW6Pgimi/057tVO9BUsvj7olANuzn2vjOMuS5CqzpjpCCb32rbN5C
SRl0r4/Rm14lP7xapO1TqG/agEu3Jnd6Y5vOj8n9wZaRd1KAzMxzAlT0sfXwj5Wv+cTquuvu0tbr
7//6xQidGzrJfmNqsqKhLnaFJTYZFyMC6zg4asi9GmBIS8ZGzjL3QcJeDJmA9k31eE2yC4Mt4MJL
S6thfoGrPqUZYjCSIa4mGeqNcfHG9MADcNY1Tfu64pbMJThHXdsPMtc2udR/4sj9lJrZ3dtdtUo1
91kZeNtdG+5NIkjrKR88RABH09Deahcladfr+ca1sH4RKfPFAjtdxz6t2Oi/j3nFpUJkaGTF7XKY
+ne8M0DhUvu3NkoQgnbGBIF/khroW7M8heCvl/e+KJ4dpNcHR+0lLJqT1SDD1TTJN+uPFvO5FUwR
UL04dZeDsH5SbSSKLg7BPbWsDmUAlNOsABH98bf/+Md//sf38D/DW3kpM/xCRfOP/+T332VF1FnI
sP3ff/uPpzLnf3/9mf/6nv/2Ldtbef+Z35r/5zed4u+6bMrf9r9/1/yv+a+fzN/+r3/d6rP9/Lff
cC/G7fjQ3erx8dYwy/rrX8HrmL/z//eLf7v99VOexur25x/faETa+afhMCz++NeX9j9//mHY5l9v
1D/fp/nn/+uL88v884+7+OtWx5//15+4fTbtn39o4u+WS8Hm+6bucMbq/h9/629/fcUw/s7A2+G/
Og6R9FyHf/ytKOs2+vMP7++OA4OBQlBAFBaO4Ets+uYv2X+3HNcmqM3l0CGrzvf++N8v/d8+wv/z
kf6NUfKljIu2+fMP0zb5B1T//KznF+cIoJS+o3u+obuW4Jx3+Pr352NchHy/8T+yIjdMgksZ8jcm
0Uk4lVFVI0djWctmyhIsCoQPeZTeq9e978BxfQSFzCbhQ8D0mbi+lVv1y1J9dJj0eUHREoUE8NiC
VQuZBI+DgrXSCaYGFl5/jAMmQ+WyAlkX3izf+DTMEgJAKK4kiIM5RBhOU5pte3d816rZp5aIbQju
x7sswLsiBIm7j8S6CxlfkK2LfsrX44tuIdTwobVTwKqP0Llv0foRuEX2ajiGr3Gs3yUif+3icMPI
9CgYbMRsbg5NyzZMVaBJmXnABQ82ejwiWlTiNLFN1w37o5sRLBYTVELGdsHkP5TklA++/IKFsMx1
eYZ3I2nkIh/06X3Hi19MI5HM1F33ifTujERDoajF+5L47kNsshiIehIlPDxwlhu9BiUYj9b4RjQO
kE2qfUhoCPTBwcqezcJ41uKy3nrzxGSqnN1kmNcSayygVzq7tv5wdIqD2iDpNc15CJN6bgbwqkp+
uOGC9/VD8m9E9DZmFgOZJt95dTGhYzO20FBfQuI6IS47626c7qIs/7GaElliLPlYW3mEJb3NS9rB
zGXrWKVM0xtr3EyWPBoy3wm92Ed690Hz4LZMfkNfbg1gk0vRNeeGHrCNz105XTMfJ2qdBwmO0G41
foS0H1BnDOj5C8+sj1Wa7MyaUrYwC7Cu1Mt9638WoRdgKx+PVjpeLcGFRYVYcXrAjDVCdmPhAIyj
IJAjcSwQ5yjuJMHspN5bl27blNVTAV9wOf+oxLDeUj85ZBnUJfSNNcF2uKurDCssKtuCi6dQwzbz
iydM9oywXa6XmHQRUMAseOAjIiyc8SQV2BGH2qcOV7ahfQwo3jfSepBNBU4VEt++91aVKELE8bT5
GD1XuJtJxuw2blHeQDo7hr3Pq3bH/LxcDJaxMiPTWfSTtTOT8EEzmQ5UU8IJ7KuJgcKA0PMumdDB
T7aXorQrbhETy9wU1dLvR+TKjJzDoTuLUrv4fcE1KIJsk1f5PRSTvZYTp9x6z67UPmphsLz2onTT
jv0TqWmokyPNO/mZjcbLOLJg1JkYiU9ECmdUBi9ll93I2+nIbcx1xmuQ9WIKdxvNUevZv2Us2ciF
Lz0XlztO/pJ8X4kyG2FeXxHwEab5h5I4XiOE8xmjkgGRWMAg2fTjfkP/cbV9/kCvoSdKXKJ8UbaT
KeGai8oZ8KNHzxkvE02d+zQRMUWSdaNYMIlm0/fhTz7BWYQBy9QlQwBUNMc6rc9CZDsX9PGiMZsV
GqF0L3So5h3WDDPUFnmDWoQko79yRl78sTQOYOyJ+Mgu3JKsnjLnJW0tHUq7c+Wyx9wS7WGQP+s+
uRuj3MkqmbOEyO0YM3WlLC3WXhJ27BmxzYf8AIm0wiRcaGVuyew7ktT33HaRtfCG9FkE5TVKrYtn
eN9dprERmMeTU/g4f1E1ebbzPWodpY7AEF8jo3mLQDvjiQEXFYRrEZdsEkytX7m5ujqNAgOGoCC0
8nM+d7iMcoHqEZckHO9OpdlKkY+z1Q3re5T1tk4qB3cwmNW8lds8gkmtD94WiNu7bzclMzbaGSp9
iexn3Ql4wNilqKqYUQWYcDadDRuewIsufXFRttRz6tGYeK8T3vW116sPNP41FTMCGmn5Z+GLrQ+e
divHBAo7MRMTtsECr9CGfCGY5eNwpM4tsj6/S/q5vTTwkYT9I4ZQpFSmh764PjXlsKlNxGuquTIk
Ai2ooUQhFfUa6N7dWJt30ECR404RDLTugsxiHvebt6G2d7lbs1ZXa4Feh3P03csSWPe4Wsy7uDPc
VZ5PJss38N2Vsp/M3AdTDM6xCcZrOzJxjugvh6KFBTq7oMUu6rsdhuZrY7AB0gJrI4fxk/gih7TH
6TtiThVMSN+9+gO5xCUPrDcBHZsgwGTnjNzVkBPqtRv81oFzqDDDLEZHbMTobqgRsxnynKwaTf8M
HHlO2DMzRbasTTcQhRuVLUTkUt3bBRj22KuYgqGRH5roUsqnOnvQkBi6iJZdl0isPPgcyZbGA8gx
1kc2OiXJ9xIswkqWAGFawULnronYO0Cg0jt2PFwkF/jcjHPDEU/jobet70gjeFgBQFLCZLyXwJzp
VcIg0LhgquOSz7oPHwTjpi7LBzM2OV8VfnjzRH8za8/FvgTHyikW+lvGsARAKUwuVRoseExQqYeE
NQn16VsiuroFu9kaf8xQ/DDgNleaXnzkRnEz6EphYHpPEMFn1ClvaF1al9pJPoTZp2tN53oTAyp4
HZejV0I7S2hnDXIHbMV8uVLxxzRNR7SwdZQb20hAyyRbZV/k2jXLGEz3aXxvEzW5S9Swss3x06+n
bW2a7Ii7FzRRJ0QbsxhOhcuhdq7AmFamEZ4NR10nBCVDzsymLfRpNZ83/RYdVcM2i3HconQV6mhu
Os25K8P8jMu5wROryaMXGjdQq7emwf7KjFdx2SYuUgJT6tcJD+6yN3iHZ5RuXYz92tbZ1JDKcOiq
HA0wHiJw8Ge/RJ/qtbscr7EkYjKmtf5Fca7tcE8zhSI6uCvRuub2q+vTNYS6hqIOYjFRM+xhxpfJ
GtSud7NzkdfX2uEZbxA3w0LNLSECS+TWTZIctMF7aYr+BdQqm8FO/6nRZbops9BO1fM0AasD1xz+
x7ndB+SOT81r9Rc0OggW4SGZKdnLfpLvCbBHtIY/Qu9w4RMt+oyqhk/AQxjRMwb3S+qVknERT4jz
ECFcihoyilXlIsEop4YeysFUltMF8se8QadyqzuqrYQdIxTJVTEQjFURY8pwd/gJQg/hjmO+eDDK
8C8wVEQ5F6OdRBNbvjHfwJpAArUBbmLpCulQKbpfFYqdZVqmj9JoSKouMU0yhXMBhwQub+Jo0nB6
7GXBSL4BVQYqBbRaJ4MAPOBTi/gv162L4H6v/fGMUtJ+1OhJ2WW+6KBEkHi0vFDqAHMi/Q3V5pEr
8duFKrnoyXYjh/R1Pje6bDrifLxG9vAyf0KynrE9St9pNoCyOmUAW+Z7+G2nHrPNrK5CnEix0PU8
xv06f4x6R6O57N5kT2pM2trjYkA22xoF1U52NTtMaknrnoly2w1BuhtSNDCVJ3e4iJES85Hgwzwg
nB0N6sEQUsECtrvgoo4RjUNF9P3t/2LuPHZkR9Is/UQsUJtxMwvX2j3CQ2+IkNTaKJ++P2YNZroX
PcAsBhigqpA3KzNvpDtp4j/nfAd/H7ElVkPf0J1Lh7Ntrm357fOYdIRzLNSXWTq/ouMklKDDH03z
2ORuvgLb1NkhRqcxwyI2ohoJPXx2lfXeAR/agLq7qtLZRnr87lPXyzWJZvK9TbrkGV59jyGgiFK1
7+vY2c4AYex2q7yuc4a90SEeumPqB49hDF0rneU9l/Bhg2la4MVfUXH0KHQS497oHHgCeF68Eriz
OjmjdmDaThISdv3SA528UmD408a0Tlw7YDo5/bErMaOOzcfQ4WIIFeE4coayDuptVItXbjzL0QNb
FXCs0lNEJIeNBCUU7pQGxOcfQdM/56ZBGTp8p0bHmIvwZ4y8UpbFxxQfjJLTAmgRnrcphW0Zh+T7
kKYcfjLKdcgOsfRjLv4OcP3BU7uVkFhW8/mqGQbnMBl8r9g68SIYc8kLJXnAvhiB7TKbt6/vvPdS
YxdRicdgziJ6QSl8f//HTmazUBr0z1CJdtLag6r50hVOJLqRsp/KpJLEJJlUrg3T/BVmSyaJObt2
m9pizwBnBViXZC0n5B4NYUGwHIk0fozaZxF5z1WMuQD21qbNTbrbSw5+YQIDmcNBSp06SnH06mCz
9cQLbxf2VNN660bjdcqdbZxyaXGZj0/f5H/PDXuSVaFY+9iomAVtNCjeej9QyapRYe7ujIzi2lZU
bz35yUzdijkeGHbZl15Y/bJ1+kUixYuVimwT2ywi6cSBhFvY8/wb1Xb7RoT6GbLIiE7+FDrlM4DR
r3/W4M4eb3RRP1MltnGmQHLZpDXM4reuzU7Sy8xOUQYzcc9/icPp5o7iNL0XQ3ad2JLjtr+lmXdu
eH2RhjiEFhPFaEXxWI3Z24Q6K0dt2uM3bSWnvJQjREZ9nCcOqizDgynZJtCpsFLg3+uRP1fYplNs
ylCY6B06OTHv8MDyBT9lmzwkUCHOXsJdYg74e5OHIbf4q7VwXzmsmrVfgmskCwpHlb19vAW2991U
5bMM6rvEq7COhz+isRMVwYViFkCnJAVsq8427xPeZEDnX2oMfioPD6thyt8sgO0fT7usL/TdMIwE
nqpgE9BFIpPcXWgiXEgNEKAOThil39wOgzvXfrwZZvyoW2xDCae0gEUqHu7B7KwJWihxYYxl24nI
4mT8ZBDt9bPOuWbZddNH7hQJ3K5AO5c4dYXinFuo8rmLw6Mi1LpiiEgzEg7aBho5iT5avMXgpivN
Ex8WrojmMfVW9acssy+npDTRGZ7ixN5QGlksyGH0bCZkjqE14g9rQI8Z98RBbfIC86Y74FxD7C40
gXBhIc3a24QQYuNLoxYGz1uO4YcnlBsdZvMo2AXukx7yBbVW/2E3PCRZpm1Ft6GjiwjInMzvrdrf
x8hyC1bLrSgz/xxl08UnK7xyGj4Ag/qRrTXYL70TziVJk4NBK9wMFt8xxYFz98nwDMIgv6Yy3VFz
TuFP4m5TRYhwIhCJslEulRw+uWz0a8w25wBIrzK/697ddFgD3lovuPRRcSMZF18bwfahiHaRKsQe
3J37eEZrQRFA6KvspUP32BnnKK1Z5VtoZzorPJp3gmetdDAXhg6SrkN9Xts7D63tnine63ZFhiWI
UKtHQDr98Tq1ngizL2r6jQ6uajls221M5hbtNKYYHedvdLX8+UeVWJ30nRV6N87G09bue3dvUDJf
/mTIuriWymedClWoIitjsD8Dn2JUE3EHNYF9muRaF03pLUpQm7XUfMFZeqTjEJPoUGOTs2iEQLrE
qdCH+9Da8JuX+GGFWNlxW6+xE9vu+CG1oPmQGLsNMa60Is/OLvAwjAvqq56C/YAP0hv0ezJBIGm9
oUE+bgO4VMUhcIs/gxhIGd8C13+xAm1YVbq4CqjEnHsE3sxNBMYbJ/9k3YaofOi7+iWUgban7OZK
Boj7Mrh0kZELSBgDwwLjce857fDJXE2TM5FfcZRC6M1o0FtqPm47wyq26SjzjV+EHB37HKBalWsr
c0S0odD1GEr91JvBIyyzv5YNC5ISQMD6ME1ESMQEoTXnnlTIal9Iq1vZwWdje0/CKJ+TKnqurXrl
1djVs3k/K7JHu6eWBYf+W9rod6JUc2bld1BiWTcFYE2Xd8nraQorDX+DcvuoJ3g/anxtp3rC26+M
Bx0qK+iudgZ/yWInp9tI1m2Rj+TRaj2Fr9+UyVJqHBijQHxrBjKSPbGoy8b56Y2drg39ltMFUMF7
1qkTcLJbXlXLwE2n3eTzcdVDvslidSWMBVsZqt22kjdXDtStlttGmwj5dtW3MArWYNAuzGOqQ+eY
zRN+Tw5+JsABWmsYJrTtofXYLhSR7Jxmu6mZxGq+2VpEoBb2p28WRF2T+JNhvEc1hJraF3d01K4K
OIYZHn70yiAzweQstGqEV1t7sXKa2Ga+dOt7JlWv5svUs+PXFd3Xjg9VAKz7So8l9ZjyEWs9UaPW
eZyoalsUFSJT0L91XJTL0UFAb5pFSGxIQfzQpfltjhbw65KC24wqHad+STvz4Eor2k1EAQ0Fv5t6
2TnLN3+VutPQxxXT0+hgVq49dYBgA8DNL5nyps/zJdNKKM2jbiInrdzGO8zSwFHSDiG96NcM1QTV
ggaWSIsRTVIMRFOanMIhmrVBtF6Fm/8NcXcrRbXvJzc+lKE7sfSELJLTPL+Z9JdAR8SrrdOAO4DA
JkbIZrC/9LYnzdVIzj9Gf7Mg+e+9LtraeQtnEf9bO9DYkOHXiBxhvM6AfZ3GQkGJ4wbk6bIwLO95
BAaI14w2voHfmzwGm3hgnESU3brCO6ZZ1K9MXBnLzrwNTukfQoh3gztN69pmVBQb9SF0tXYL0/+h
CNzfQZIwpCW82qgQahXhvob53EJC6q+VezSYi60iTgBESKKFXU6nlntuMJnLek/GYxtmJf20AP55
x1H1A3AOY64JokDxS+ecY9O4eenw5hmthqsmgLuBQN665kWH1rq0XX1bMWnFeNnwrhsFlSbGF/mb
Afc4zhAmMQAuWaXWkfEhZst107z3jcFoxoa80adJtyVjzN5L4QbqHyFj6Vr2dhLVef4vnHr+TFX0
O7eytmOKfRC/x033SLD26qoKebFgplZ+aq6BQu602Hy1zH6TdTwIycibC8p46Wv8C3FX2bte+NOG
4skYjzkWJbZCUW51n1tunW0avZgFQ/+dt+2ZqPumSxh79xt6V4nzz1MUJUvOIoa3LUKQ7P20hQD9
GDfAN/gaOtda9/q8ZtnIg0278gump4U/bPKi2AWF/mALDD/SHo5xisjnSSg5vChlBY4xn1LQw422
VlwBl+faZJxnaCw/cSEmSsYgSVTZsI/bhwbuBDn/bekYp8KPzW9gHWM0PISZOPazrwBU9MLUoO+F
k/du0/0OJubDQh2G7VLtmxq7cZJo+zEggs6kAhrAtgvqB422Y99tildF8YJDLcbCJxkg8OdQeS76
Oa2NmTBFIaYfNMa/vrSr9p7QVH10psLaxXVNaw8dVZbXsZp52k0UpbuhY3Bl5xOCZcY4qB2HLz0+
dTWzNtkwc5+q7K1FMF+MSf7q9qD3uhE8n/Ol6WlGy8EMhaBsV2DNCav6qrMJLaaG5l8/+4W/ZO90
s7lEgwFEvkxJ/zF/8bAMriIFfdYkbs/MqYWpzXcfYEzFN6CfpW6WqAkYJ13RnoHMOlxhUEvTjjMw
xyFlt+Yi1UcQPiOXh9y0vzSBt81ur6WbPgdUka9a6Twqy+FxNw12DXSuhTOym2I8dJbGQIHXxN6n
1+XBLSnx8uyYcjs3jGa4+DbC9lzdO+IMrCw5ZQuUPEoXEUxAJgWKAfpyo0/TW2dmB/yOZe6Fq7D9
GBk5Rl2zp67x+6cr4men7HEGGjeWjgjgov6ohzrsz5xOFtMhvKPRuFfJc9U6MyoTWGzDUdzSsrPn
uX+0bGCz6NZGadD5FqNNJG4KR/HtnyKtJBxxRBnAM6disjZlIQ/mqBFmT9SbCSxC6xghA+wcd0Y5
TcvcD8+6Gb0WnIkPfc1fqFOgHVA13nGIXFCWTWlYkO2duP1R7ePkt78WZPRFgBMGCEb2kuf+uHcr
+h5cLcRGmD4w+PogFclFXfPlumfa2Lb1R1xx+enTwtn2iv9PE8MpcNKrYYwTMzlW7F7sSRx7q77j
YJDpWGFgMZBKGH5i7FgcXRSaEmVnJpvbCqWJA5UzXIVTNcupii6UBf+A6OFokI9kuEdCPPS0lFq7
h4cNMNjmyjJPQBjijHvFz7uk1/Do2jAAwgg8koirXeTSpjU5N6vhP2SbStWfDSe/jgN2CDt0z4VB
k9sgqW4e2svQgQsXrvUd9xxUEp+RbMLLVQnevjHLOBmR42Rku4+YFmL+Cf4Ik/dMmLX+pBREishv
aatXvblPDfWOEzBekcMnZZ71V0UvCbfDuy/Lfq2WOjSzmrLO2tij2HC2B/YsGUPtxvEHg9JH6KTY
c0uxc7Gd0EV64iJd4nhIB8b+xXtbjnc+Nlb8oCs2jmjmfNinhyMOWinDjtaMX/OOLbmPF/Cz8wVw
qR6ERPeSmaA9u8zEt+g3V/o6bN3XmUUUf+FECi6UJ2gvGo9Yuabtadz4McMfqmDjpWQ3bERYnbq4
dklCg1xUjv2Wucm4NWuLmbzZratGu2LeYkclNZFTAuI6VoK9PM9WoZ0Lgn3VskyzgEPhDFoL86lK
rwDLeLdsItc2isTWLpnJqJrjX+2P03Js1VuJVOK5FIhk0wHF3EbvyvU9PCjGmbguOGfjielxum6U
XnFcU1+Zi3NaDswGmgJ4PDKOEa5dvY02eoeTCD3tHXohNNW2eh4r3Ol5ueEB2IbYry6GzT1bqfFF
ryWHH23c0vAMeXC8j46EeFgH277aBTYHXXSKuSWRjd1grgyBItrE8ytfU29iOC/dzIPOR95rTeLy
hZe9MkpieX7wOara3boBWUBQuynyoklnlGQ0Wdr6vsvbp6HxvjUKcdflGN17eFc4l9Z1C+EPclQ2
z00LYo/LLLC4O0Xpn+7aOa7h7g2cmbssq/QDvt1TZnNzKRnCxoyjTpxOMayxDwfjhTUjW+mKZcni
XeLlfuvcgImNTpTA+EpDKtfBUMs1CNZtamvoSAJrdWo167He50nbQwky3jqidUsMnB762IgBaAch
XN9wbGzknuV9du/1TANrDUxE+2hRXrHGWbAu3Bp9nFyYJ6hCjcKe7E+tnjNLvTH53tV0+jgZR0uP
GxaTJBqeffj/0ubNL8tdEIx3cPSfScZz1xBOVE3GxJHnJk4cUG8qWdomNw8zFj81rZOZLX95Q0h4
ZdN87TbOgJjuQwbrcqZ/EPyKnrFuMLwMnEX4mBdVy40AU0IgzS2xIh4Y1pQAFEA39LtJJFfVc4Af
rac2qj466yN39TttWd9Wy7GYc9CSTuyLQ/5c5pOxyEz+CYPXfDcJr/kQZUu+Y3c5xz06Jg3rdZi6
v1bOtlzPkz4jaI6V4IpjkYQcwiusbY5ezYB9kyQoNo03Q8vTle+MJw7e4KHr5sJzNgr1lojEX1ut
lDyTFePQUn+Z9HxVcFRbaBKFu/+biu7uTU2/mRxxoMmpEBaFAgbQG0cdgGW5+dwYzie+bQtWDq57
doXzP/WPuuSgFQ3BjzvVCEpBgog40njEqlZmNqcUWQBOJc5kecfcAV7ih/zpYKZFhPlPiD7HDwJl
hpTcts3qGwSVeomdSS3dPmnxhufY301mm3m1Sa3uZMmpfbKDGeeApD/K6UDv0ynrBOetCbdlxZv8
TJxmNQkm3Do+6l9kQW/OEyRde9DMWr8muvtgG72gUFAr18FoU70Ai3fGJ8/2+qjcerF31kt94IJB
VIXy6ey5mQb0bze810GYPwsqOFlX+MRDtlrD6ZMnLpvJE+i+z4k39mSqJHmKC+zf0OHKjZl6yVPk
Vp+jZzBRSLofEI41yTf+pyin90aq6fTPr5TWEMv00MFyQu+EWO1nFtgOAmmfnA2rdh+MhA+u5fcv
C6fdVVXNmMCxultvVfKYphO+U1+ah8LEoEEnkM2YPQbQZlbhyfewv3j0o+JRpek9A/Z2anPqY0Yv
pSlQvfd9rg42LSfLGLl6Z6bsswWZuD0fhrHEIUAPdoOjQw/zG3oSmZG039YeecmY5M4q8EBo5mE+
Ar4JsVug552j2qeCreFX859S8x8ZrrMvAtM9tcL6n3++LNWm0hXcKjFXRLZa+Ai9I8TZJndTnWSX
f37FmYdugQhlx8cNsbEd/QeByjjrvXOPTMND22D7l7nvbYPMwnA5Z8ZZgOQ6nagCb/I9xyjjFbwN
8gSogythuE8MNNbKqvT2pSMfXPA8z2+5aVR0CISHzhTZUyp0FHd3+jCCsmFylDVHc4LnUtmBtbVk
ePewin5gpLeXqvXBZyoCIlJy7GFIXmxg//nogxeKiJ1dVycgMwHeH+lN63cp43/kKyy4hHZrHD8k
86wg0oHsW59ZoCFTj7LkQSzMjWFDRXYpb1SI6VvfBp3XKPgm0mj2RYWi2nmOOdPawQeUIEfKqFeA
G6N1aAbO35i5x6ah+mseUJFmYJ4eln7PgLU85S01jpoNRmx0y30GD53aUEt/qSY+TzMlTi1IjfM+
OfodkoQ5OPUHVEWSUnRbk/2+jZRV34T0n0geY/ItrddQ9s+jzmENyHu0KXW3WjfXrh59RtZThJPj
NTal9pT63UOr9dm1T998rEwogF59ztE2yTZhF4k6wQWAzE09X0v9UeNb6b6NoVX8bUeZegcpQe7B
ilkrL2JuryZ5ZVIiaJKYSXcWik1QivHkStCymJWZPhix2pE+5crfJnhyJupd/Y5MuuNqYsfnnm4K
3LkEfAoYueOcR5rveiLpt6nfeGs3QVOrZt2X5d2+I+7zg03hY6BhhyC7au4AKs8n6viHq5nCCMYZ
OyjvAcs3xSPeluHwqqMAaDNWOvJYUBJLCHTsN71Trww3POImME65SgjJqhAthI67wQQzGvg14W4L
RkXiOPbKo3n1pkWztdwMMSINlHsmgjR3J5ruqeMuuCO8jAjhbh2zWxZDpLZGXOCuobRyheVxumcR
Xj7rc2jj5q+NgELksx2fWidOW4QN2jaVy5j4z6YFV7XCZjwdQ6zXtvWZm4HLbW0KH9yW5RXzMU4g
PyDUX/sHPHfDzWmJLVBOiwvW7e98Sd6NkUhwxrKRkm66jDhtnuh30O7kDEL+HctCBJ+wOIBJoHQF
ZWBeaVeEXWpLgp+jSkDDMzPtVFET9U6OHWAS6k8ia9Uwf762BY1vsa5xaXHVg0zt6NRV0xu2Bffq
t7qHOz4wsSDX7EtUfx4Mv2CQaVSv//5BbCZrYUfMEOl8mYyBTn2EH+CVc70V0LN804bRR90gHi4G
dxCLFIz5pmV8clFtxcRl/ELHgO7CcQG/DSr8/BmEcHXXHl4ut0fexdFQPsQMsSJsntdByH2APYzu
TlHvO7NgaRFeurMNbsaOQUVfrhEEpLVItWxRIoGwvSayiwLPse8wyvd8irUn119mDm4EG+s9w1uT
QUrWfZUjZxhrmjW35D2JuafDN/GPcqqeOFYPt6SJm9U/P6Iy4Kz/P3EF/7eG3//s9/0f/513+P9L
V7D7f3QF/zYFSf//6grm7/i3K9j0/mW7jnA8U1B2ZQk8t/82BZviX7rpwD42LNfQ4ZD8b08wV4l/
Oa4Q0tOFwMHFH/wvU7Bm6f9yXQkEy8VJbOu29X9jCjY42/4XUzD+M9twdSzBuJNtWMYWDuj/bAqO
aoQ9aOQ+eV5GAUFW4uNBh1m4LhEcqfOoVYqyicwni+qq4RY48XusAndfwrFjSmeGBuzjSnzS+oRx
IKu0TRqGd6SwkpBiISBPBjvaj5J91eiXidIOaeIWzn2f2HjlwbLraf/QlH1qyNzuGV5cm8JzN8AB
UQBtTFzMX0IMPetO71/1hKinF4TDehzds1lYcKKjSHIaFbhJuxDsmp7OXt5gFXRtAwgJUnDhmVBE
FdErphw2pOhuL7qcuyw7kHzvGdgsg5jhlZV7B4Zb8ykZ3SuyvEcvN+4q99NdlHM0i1o1U4CfDZQa
LrcM55gB0EC0tHMMNX7TQy91zYF+r10/qscK2Za5yh7uJ1JcwRU2MS2KbEroEj6huoUfYbIasw6D
mv4xlvSlRbKGd5ZkeFgszSRhzLxOapAFZNKdItotvY5pT6Kpr4lx43Y0HtJGdusWpyLz9Ed8p9k+
jpHL2uShNrX3vk6cFf65myxNWEVtdqoL7YGIBNYyOoNqjNrmFF7IV76CcUkzbnFdTrIkbYwWahM0
K0HdHp99xU+5gLs1EJMKS1bsRZGpNeHObA9tKFg4XsfvTJ5QawNSwnBGVvR+LGxYGDtLcQNEDAcO
3bUk4srvkgTtmglODh7BlXcZx3MOXYd1oSW7voBn0PTmfB9dGDoxS4rDmTF27hr1311VBNuIR9Df
RKEOBz5iPSK36mPmOEtiSdqh78AT4DBdwDrt+GvrcOYB+vanGRCVgfcKZqCLvzwwgoMzJi8s45Dn
zzChNQ20U2SV2lNjDfqhhKUSZ8yOR3kKKDe5lbFzcvSCGvUa0acIyKBPvjr3IhkJuDCZSkRpIwhv
OeCgHllscFgxYJOa6uhawFsahD+7ImxsQMMFE9hA1RqbVQOmFLOCuysGnMBMtV6t6RIQIKXzzGMY
PNhMObX8QA7+L0k9fy+JAgMg/huFh5/XT5ZJyaQ1J4socK1hEWdgnKYBD4KEzQUvS7N6ZBJRsWHk
Gv1vbnuhqarduhrZc+Z+c5/OLWqbg8Ulk4lZAAt9nE1i6FEGZ3MuVO4c4tEOaFUe7kVStUAlqaoB
si9c5wmlEtNDFi5HPGscfspNqQ0KbWrEZRO28twgsTIomTbs9ntfJJsiid+bqBoBcEc7V9ou3YEK
vgud8X25Hur+xzFtprRT+exJVJvJBObQ2nDC9HkUY8vhveafAx5zZGwN7I1xffhBkvSROkjeTBgT
aZEtW0nloWaKEREPR5QzyX082B85IM+DNrYHpz1UwSsaTrCuI9wVptUzrbHse2GNT1wMjnXhXdyY
dFMvGJNJ540OcmOXarRlhK67kuN8t7XtZ1UBIJs6FSyV6L5N5nUM8PeDnfHvIJySATHM2dCaz44p
ncfToK14A4Z1Y5evUH1DS4ldXXuHGljYxN8Bdq94x3bEVawy7y5t4glUMGyJ+GQw9BJT8K3tkE0c
CNA2Rwk2z0mQsfOC6+/A6quC6KQgK5o1uS/Zn8WAluJF5CZq8KNbXTdPQd1Vu1ii1NhBSKwNO2Id
xm9Gn+kHx40+7GIq91rR/ZAMAYjdrDWEdBVo3wwtTjDYjvpkH3Mw9mKeBLNt/eKf1zv6qu1LSbl3
lQz61ogIRcjJYSUqzQxPSPDRlraiIQJrYCnESec5GgYg+PwbBZtBDg9Z07/2ygZdVWS7gvTJMq6S
ZD845lIGEvoOZ1OrMIaThzyjR5gPfDs38ekw1ujUtAoLP0cUlzCfrB/bAvDAHTZZKsu7qdTub37d
g4IJ/FUTVvYqCsZdHUhehBLRgr2GO27SQ+HsQHqwWy0qLu2GEynWNLEFrjOiXrcvOF3KTQNFDUoH
EYQhWlEy/Gu28oHui6ufyweri7M3IACzkkmqOWAi3IoEoGLQlnsuAYuhiS6F7TZLWiyDpag0bZ1x
77V+ag9cFwatZmOZFrbCDAcRbYwbmuXO9TQ3CyuR0QqwD1ryu0ldveuwMbsKB2nfrjor767KSb58
HooEhvLXwKx9lkHq/EvrR+wWoUeVWab6Q5B8Y0Or181IKTpf0Htaehy9K3CBiBefmkdzQx7iDFP+
sSyA92LSXuRKeyNOm4XlJRO8Q05ZL22p5RCmt0VH4K1yG2PjZdq5fbaaBAIYE40t3LjgEuHgJjQw
h71TuGLET43MxbvB/W7QSP5EyPsTvQO7Isxgt1p89VNVMaca7ir2F0WM1DjN7Q5OIyDEMQhvhrs9
Fm8ig1KLYcG/8yYuqapz123bvlkGljd2p50XPemlZa9lkN9kiv5lNUhifYEPXxkHsAyBHb8a7rhn
8UwWzUzL6C2736Rffm1wPPJFtQaitAVgi08W5pjTrkWGCzZ0qVnLRv0FYe4xnAhpZMlgcnvhS1bS
QXlCz07AClHQxgZqxxHjl9n8ZNd7QcwcCkRMMWiJ0GdniCcw2VY5KcoFQt7WCNwGby4k+iY8IXHu
JIHype23oCJk8ctwGBTakOQbc2KeNIQgLCJ1nPFSRMO5wSLpDcULk4CjzScPS47oYVXFHwy9n+ZX
SRX9L8ewn8KLsbNoxd7paVNLHWRZ/vkLm2IB0BHNZ5kAaWtN8Rnq76VX7D3GIkQG4ncKK/HnWNnK
YdBh+eTshUmJQ74EfPEDRTzaFnmMVdqdNlWATRr0gVBGsi+prNXJoyAo9fWxN4BhNBaRDzZI0nDr
XDf+pEMXqGJaa9fGjzFtsxYXlCY4zLmy9jYWTaD2lOLDxChBDJjVhGiEjOyrY4bQpCKrW6op/dT1
cqdZJDZELS61VI++alCfY9XQo1ohs3jvTlw9NKGVoteh4089exWB+pNj18m1db7NtsNSkPSs0iI7
eQPTEKKm+LT9YQkTeW6+8D6CDsS4dPluiW5mgsA/cqee5ZewhoUxqvGvoKedTFGBJbQ3ntGQSDzg
90rK8lr4yj6KVr00hlpWmQX1DT5G1T+Fdd/tgFB9xh1FL9JxWeElSnep6zdb2Y+M6s6WnebYAkYu
/bX9EkRySWPUoovtvbetqgjbW0biIq3/MIEf8fp7FC12l7RKnmnC6OdUDoWhWiGXfiY24FoFPt+i
iR5iqm8MoXgZ9NJFekn2ek3xFp5jjmSQTwiAULdmPZWVf4KR5C49pDkkgEA9lSMmFeWWh65hTqoR
ZtP5WHIS3IusfEjb8C2S2FGYctIEfx4i78Zu9+bXPA8Cpjtbq7mEokPSezI/qzH5tisFprHl/jwC
aAnxuhuenEe8+plCtx3lJ5tWv8R9gz4xt9oP5i+xrCVjekmpb36aGv8U2/YRNguVJYwHNPK9mMQ/
HMc3t1omvfVY1rc2ZEZWF39A6WvfH1aTR5VpVQxoA2B7mrpeJ0nbLHudX4nZVWKhmuGisNDNnCik
wi6XL3oyfEs6eJlFJH+dwmmBWnQpdCgAXAd5dqr6xwsyeew995hRIDrP1kBMbHqoijiNvaXplN9T
N/6kxRdTTcL50BAvbqBvI4nIRaJEZ4qvPoTAHTp18kgPWMXcq0m2dpX9+s2hRWb2lfhS3XiI+uFj
bGoGmEnzPsijD0RIZc6n2eCkw9PPe92SxHTd+KIbPbAaO3LWYRYH69Fj/GVH66Lz61UROtTq9A8Q
+PBNFONPjErSxNaqNkkwgpGTfLXaex3rF1HepF6NSy5VAHxCexvKyljmzYw/waXpm7HczFeaVU4o
Z0EZ18JDC+SOZL0HOtjSimQTJ1eAwSInYaC3Z1OfbnVlcTpHxwfWV94dlQnUdO+JNoUSEQg9zlbj
rRtSh/LD/Ih/Yec2B3JGW23C85Fi0oWnERNJ4WA8xiF1M9OdQeI9aMEPh21RM0g0yBPEHDCYhhoG
HepmcPWH/ikyqUhyvIOSylwwvX4dTcr3LKyzfLf6lz/VbGz0PLb+RF5v5HQ6UhLLSGvaWmw+y/RF
5sG3X7QchCR7dZfO9ZcEW2YgitX96XqyrX24pe90Lx2cAUC01epnXucCT7uDAYIKXhp756hgByrC
vLReyVZRqG8viz5iJugrRmXmQPqMYwvZqf7SF+Xd9pEZY3GU+qPRBW/ZWAR7B/vWxoRXOXKla7ks
E8D5wplj3zSXI4KT+hu8X3xdCbPIICCj6DmsHpr3C/qEFdUAYAZuz2CKDPCb0BrVPSsMbAdlFySC
wKxx+FxH+GCxfafTWZKbITkHktxstZPLCr8dBb6nOqK2OnPBcIY9e0E1aslT3iKY0C2PRFSdoLh8
jb4ozraRjU8FgbUGSWSt49ZciULfT1mX36IJyaRvjm7Pa9Rb3biVtNavCBu/5KGmLfXut+Sh44Gd
ThxV1CnKh2E/2uG47/ywxNoUluhzI1f2AjtzVKwZBkbXcol00N2c2qdmnbnEtqMkLr2WwXjUEHj3
LuD7leeFVNXW1IYgP55HlhCVqc8+BWPPVGeJt/mZIM1hwvJIGzeiMMbKCn7fYO4aLfjSYnTAvPb2
AaeTPG6wHwUIp0X8A+1v3PZdfnFD3G2WSaQqp/KaOiqoMvBNlolKTlBOQQmwV8KBYHl3Q/Hm/Zoi
vuWWG/HlOtusokbKEq9BKvXFKvROnPc+qdP8CQcOKQ60QjJCIO1K94Fqk3btzvCbFrnGMpp83YXu
a5r3ZOaYXW06I43Ogw06PGinCNMaG9EYUb5RpiFt363xKK3dpDc/yPLWtteV3MSivqik2/mBe1Qh
Wggy7LTwk/CQhtW91dFuG58jndnSMRGlv0ki0/VoiTlxeMbWJnHbIXk/52Z3aePKPmYBWDWGrZhE
nG+Fds+jqX1XHlwoLaUOOMDUkDlAJ8KIgtZJzekGruG+WHcUMvwHe2ey3DiTLtknQlkEpgC24jxT
1JjawHLQj3keA0/fh/yrum6XdZv13d9FwggmM5VKkUCEf+7Hu6R6ZSC4gKMp9gozxiKin7gI2p4P
su0fkqoJXlgzFz2zoDY5JgZDt6zUH1MYfrHC+t15g7tnx7rUbVkv2rIkdcnbY5TGtIDL9EK3G9hY
jBh5M02byQTzogSpgFGX5c5CeMo911yzrf/dmDN/vx7fMDdKEuTFCvNWsDyJkAumFTq3BlMs+oKx
jPGIMpUYD0zY22Ne+ntkrQ3+mt3cMeCarDNTAblBnWG5mPCBzsiJr7Vod1TRsVPAaWaNZGpkiDHP
6Msl3LNmF1SbQKAMDfCKli469zIMYPVEfv6zgsQySoLStVX9MfOQTCTjmyHCgFVaOOT/R1L+/wNN
oPZC5Ph/gyb0f2AmeP0/BWXnH9KSji0gVvMJB5LzL0XZ/4flKWHi2fhbT7b5nX9SJizrHzRfCCmk
a1qO5Uj06bZkNgv3wf8HTAiBloydBk6wcP47gjLcKb7Kf6FMKP5tqMyW7yu+GpAJ/r7/Q1D27BSQ
FtfHpxTzAZbQUM46IuuICJaZJWv39Dstu25v+LKjK9E/mZXyL2O4a2tn2HoBjGomzvlLfD8M3rDr
6JHA5Y944bIG/UgyrIu2dM7TVL5oN5yeSYycqcD1l6KZrHUWZs7ek9wKO+eiU41VLQaSlVfOeBwd
75fgA/ECt+Vot0OzZkb7bfKiVzfFnuCJ9H1yBmo3qS/cfwZDiiHCzM7RHdLm5ajLUyfYSdfy1Rka
eeJj+qNsAvGamNyy8yAIN4MVrEq6NrcAqGv2tpF3NRKJz74ojmaKd8tVct+27GSrCENyNM/ZAZbs
1gUBsne1r9fwtSkLp4B+6Yyxx+JsHp5nP+h2uJxrYESuszAxi60Nnymr6OrxWTgYHuMZrUXMk9qm
tma8dt+nd4lZfs6SdZNjMegO7eyiCjM/J1zOadyR1Li5KSPSIGx3feN2u/SuRlthvg5rI3wv/AEr
lp/DlLuXTzgt2kJKWfF6aFz3ijPJhKrobbNmcM53jQJ0WiN+sSJaSVl+6SSvP21YuWTwsqWuVHYo
WjYRU1f8TMfgz5iK4gqOfCZBbK5wlAa/ywmVMXSh/VnakHvuhfUlowkldGy6rBpx7LBXremY2xb2
5CxBPeEo9SFpj3mPvERpiK7z6mbS0MVa7e4AysJxSW5nXNZSTVuZMuLMiIh4tvFN4f3wCq0MJIDh
31i9XBJ6RldGz87OH4L6eWR2v85KOq6TpPku40rvozu4086x3bBpMui8imAP69bGKQH8WI4FCXd3
+OmGu7oMvzxq1I/iTvDJO8hgidd3Ox2nH7Q5VysRSb0qS9e6tUIk52b0zgWijak/PJwWxRyBX3Ve
esmnIGdFIT3VnfyeRpMJx9Oys0Ok+cZA6Uwt55gqDDN2qeNtMgRXb2zsfTKiOKucfVo/tgy/uc2v
TDAAUQYX3u49f0lbirelrv6V0qNxF7EtGK2cjgk3kFtp5lgxDPNuF9LFh2G6q8bL1Vd4I1MDlgg/
0nXmVykLsS5177KKG+sfLbcMclcUMrHAltcgr77ZaIHTKuB3T04k1mPov5TTT7x23c61rfLUGudB
TCxDRGgum5K6M9O7dbHdbkuJM9cn9V3l4tbXaXTz2uhr8AjIjdAZz8rVw1lG9IqjBZ770P7jWm18
myvqKROaI8+TaokSUi+5xcVcX1MIqv4w/hwADt1MW4prmX4zDDEOpABebYuwIV0U7T4NxfOgmmSf
0OP5WhTsdzHATZAi7INkj7z1rK49PA6gSlqwYCTAAPEPqzCeukvvvUcOo+LgPiqmx0dfmxTHBLnt
ci1GdxXC4zw8DkHPI5GXlFIwq6dhNIhBgbU5WUsHo39ktpd0DkGaRQT1cQVXbNNMKhIAF95rK7LR
DtZmGaL3RLgG7885QXYtgVkfGTdEL1hmCjBcvrN/nDZOikE0l7DQEiW3k2EXV8PBGlfG/FeIyH4t
a1NQsOxTd2flxtarK/vchiyVtCjeeqYCwGRKxDC8tSnVM/kr0AJOA3uwThQDL3uHmqG49/70k4Uj
YRj9aK38Rs7bgeoqqzKzk9e12enxSN5PH49ao8OaRH5njkFLR1QrUMXDMrw7lOWwNYesOPpiQAWc
0gwMZQAvnO6PPyXeMpaebrIxXCs4RIoDm9MXdIv2IoG+LuIhz49s6miUITT+NOE3OdZoQrsB5heK
5mC9hZRcYcZ+L53Jf01joMTxJNxfrT2sG6t/oyG12ca1nx4JAvk7S9VnZpJwaWeiOKCK2J9VnXUU
ivnLaCM8uq4znJt+GKinYTo2z+H748xWJeKdUuyK7m8Oo/P01nZqZCKuiUtEj2kN4bV5IaEaQlji
j9Lc2Lz4YzQfGsAJTx4WgVny97YQh679/WBp/y6TZ/tsKryT2QULsgzO8yCgoU6uxU5x8uznx2Ec
CF9RDKt3sV8EmEHoUcgjZVxpdeen2vv1tpdT+Px4zomtHkW+0ytpEU9Cicj3o1D6pSEUNfljeHuc
CSdGvZrNamPDW71btrlJzabJQten4l3xCYVa8szww11POX+liUUfbhwLfw82PDJwbH3Wnrdqs7G6
+bxRl3U/6tXkJe5WV/ZfHdU5f38C0mLqdxDXXr1MEVqbSPeuvaSgFw200spzkfs1zTErVMqBYUCv
1dloo2Cn+/Km84S63McXtOfyzg5nU5wXA3MhL5PGioLiZWDLYj1Eqbrit0EnMJv01afbDIdeYn3E
BUmZdLL1zzsyEzevz8j++jiUWRlcIyih2Govj2fM6qRJ1hytsPGO9cRynUjvz3FyABHmYzAcYXdE
7XWcE6xdOJfOsezMLbzB333eqbNvWj27+FH+sgYvWha8JZe6k8Z7iP96xcp83DxOiW+qp7j14+Pj
FHjxgZw7EEDPP6qci6xOSGJ5+UBk5n6KC8faw2rCopmXkhJr2CiubVBbwGDWyQCwB6Xzyoh7umSD
kb77JpQUYunPj7MGW6lTu8VrIvPhDeT441k2XcbBiPVNjMmtC0PnV1xin28BFD23WZ7v4xYIlwMt
9QfMfMbU5LnsjICe2VlwNUySUVzee2rS+KP1Ubih/jUMADaSwa+PhA2Shg7gMDGMdddN2bXAPLSM
UmN6FUPgP5VKjD8yE1wta61vUn3LqY75pMQYndC1pq0a2nGHuEBU0W9fOxCpu7LpwWXW8/BTkpYQ
8/BVjtW4DsltbVFvxmPMReHpHti0w0Z/Sq/qdjJL3WVT+dMn3B3x5HmhfcJk2b1VPsOXOV3ZCD37
uJ7yY4kgj5f3/vBxyMu0ODKOZeUQzgD5ZzNeuWVDoJZRKOmg+zk5ftaqRME2MGvGS5nmiUvgIoQY
CWt+LKkUdYM8/JxH77lzek2d2jDd5sIlM+QYHw2S1y73UWuiSdAuTnx4YarJPMyeyN6pi/HuGEFB
OijgPUgarFQoFwYZ9babXphzJ+dZp1eLHzbJySn7Vj3Dvere0pbH/rApq5H3qA9uMvD76+PQxBX9
cAP5qZBA8vbxnJU79gb8GVxmYf+2wmy+kGHs3/hUP5l5an24eNiPoZfHi8dpL8FYFlbrb+iwtz7m
av4t3OH/+oeUA6Y98T4VgekfLuwN6vKM33ZFvUjvY4fX9gqrxX0IquiCino2/ffxXsZWXDM9iaiN
I3NiQu+iE+ZbTdbRgP+zNLJBnRqPu3+Qdu9d5HubThn0bIE2AYg17aXd57/SCnwYjCj37Ot0PLld
5i4ev+EPKdDfuvmowpMDRH4PQpRvdQzrt8SXA2ozveaPUwZADeXG5efjzB+t5goF7fg4i8d0vKVd
vcwhcsLYEx1VIxJ09N9HN4h4XPXgn804PfRm0B5VKv95+Ps1/+VcFtPeJTj5eJ2RdW+JZmogZPFW
drrKVqkAzmtoJpkEpZ2LHTTu5fEIJOWfvAaC3MSRe6H2y71I7VAJCDL3/uNDocgG/eWb1FaOdfiO
dyDcO9AJVlKFRKWjYjtOvvHG0IXn2yBfZbT1fVEptLXihO+pds2tA2l/NzcZCEtV1z+nLU1F2U8i
tc26cyyfiilVvqfptHv8NjtBkqTmnB9lJeVzkWBKAtZe/2w0A1hqvaKrsrv5RGHgtTaAMPSx/nQy
nJ0dnA+CeaP+TOFbx8NLZdEkTsfPdqqyeJtWsfdCwwSu0gwWnwQpgMJYfrQGjsg7fWseG7T4u9ty
BDq/oZ++W7Z9xMdQJmifoweMyWMyGI0RY8/7KUyX+Pp4JIby5geBB1yH5x+HpoE66qRM0//3U5GI
Nm4zRiDJarw+AwES17x7aSJUpRoL+HsspbsqR8w8j98V3KAXmL3Vns3y1QyG8uSbVbVzMoyYGU0x
aGlWq5b3DC6YZzzWzGzbS43FRpe1IBTaRduu4Lb11AvBysMYWoRhRO+VqB3KM+Ctgubf50Bjg6eG
8MeTNcpo+/e5IXG7x7JnjDeDaKW4kSuOrtgFSXoB4ry98A0V18dBprJYwSm9u1qa4JAVwc4YvR6G
RDUlpyFVyanIJExkQlyPp/79/OORwUaT4oDq7MMLMYVRkTYtawXJKbdgNtsUyUXq4t7fuXihVnlZ
l8Rb+SetkcgopBxgIj8edb6eD0lQw+ABQL38j994vORxcOi9ZSirsJRNHkaeOG1akH3ze1NgmsDa
NZ0ej9z7o8dphq92azby71c8Xt/UyN1ZbEGzaC3GHEYst8X91Cyd/MBeCuaPTTnQAtLEPscEcKHy
YHrB/36lvZg6ODOstpUqsw/mZHRbt417cnAPfAypD3iJpSmd1/o5tsPz41XMrrPDnbdGhRj2s9b7
SGtAGVEQm6/mfH+/Nip9VnQZr+NiDMgYtDGtiKzuVVZEK532xefkQ7JoDAZjjSO7jzHaEs4oPkGc
uYfJIhD3OHXpYqARIXB3ijDtZx3HVFoOKeRDfMdI8PZr2321yZC/x2JOby3YiseZTCPz4lbh6+Ns
8Nzu1Gg67acQNGGES2jNNog9VnbvupmAcbqPfUI7jCsTnMNHpxXw9jjwziAZcNKk+JtcFlvkY4Pk
0nCNT5xCXx32P1e3uA19by0r06bAMgA9lrm/Yg0sx2E/eje2T2ftGkQcCpb2pGrpDmBwNXf4zqyg
VvDqS2+VmCNv5PvBpjT5Ylmt3qaBZKp8P40qnDb07t3bjwLf3hIWCfY4VxazMydXAB/OzXATol9M
m3Y4MtxbEY4DnTHm/nGGnfHeWJModtVpehpNOz1V1vBTDc684ZOYnv79fAQTatUWM3DPlIFxrPHJ
hAkLVT18E6IgEehVP3GbggY36vkVsA0zNW2tmkioTQ9Z+hPg3UejS3FFwJ9eaim2+WwZH2lhKtjp
QNnozAs/2xFDoyyTYN/3GOejKJ7XsKzUqWzBOgO/Q63Dwnnio8Sd8n54PHo8pxu1H1GL91K533U0
VXt+RvI23MHoHa62ramJHefu/Pz4vh7focOeYqvK9uXx3f/7+cejHPXfDPMoO45CTtspTuOF9MN0
W3C/IpVoRS9mEfSw66fFmE/6prsqPufudLAHZ7o9DnjNM9rBGmDY0L03dk/Hi69DSGpFpdxVVSsK
pluBBf5+wFVNHzxBwHXO2/30OBgWQMcmmvoFQczmlPlE/MLanhg3u4JGuGClSW1datv3LmAjfPzp
vbFpsw48zOMVyifBywjQXtnsWU7OiVxvdUorn/l1WfQnvNpA+h8PMZXviO2H+8crK2lyLa+7TahQ
F1RaeQcA3+rvw+NU5MkIhi0ofo4z1JL/eMnjxW1PxsgeuROQhYousT3Fe5M90ONsyhUxrcfD/s7G
mG3NnY+XISHAaDepnEDUoptWRd3e8Yb5I3IrXAnmeDPNUd5cGJoAn+aPIOAqNo+guR+n1L+oZS91
t7RT/5PBQ/6qJiKh8WDYy8dpGRnDyYvDzzgleJPeDzhnAer0yQ3DLYEGZVwMnGGLvPbEjoas8NUw
pmQ7hZ4CPFbdlVcc+wNrDOpFG+SGQf/i+jcfu/G34/MVp6jFk4yjFTxkAEchM2vsdJHmA96k75pc
y1r0KWXnjN52RdwYaxM4MbUBEgKFVa2bfK8J+Z+xYrJOnPxPpT69iSlvVfXZKi/cH/x/1VAc76i7
Ga5w6Dr4C3JcfT2j7KcsiNjAd4BemtZdOzHarlFremnc5C4+h+U1JzH0JKfE3CXtGOzSO8h+dqH5
cFXstGEtO0GNCwVVDeBxtjBpNlIFxD8SBrh7SgDXt/apTlgKjsLdWOBCcpt6cHgKags3jSRmYRUr
n5rfeDL846wNvvDsUOtk609hB3+5DWVuTpV9USKAFN1S0O3JLVUK7cGKcoeUtYVHC50APjJlWCzq
mHX3DXZeg+VFZiV0upcDDgi16QJ28sSu3uIE35Ji8yGbJDj6nfWjMp38UzrlDN3Gn0+j/6uYAbw6
1Xcdt/nnFLf1vRkOcHDL/roORMvkmN5O0dlyoyRT/SrHdJuj+yXpR2ex/sWYCNUU6jllry4Ym3Na
9Fh5xvqv1p65C/X1sCIKBtFztPhD/YcrCdg5Ot5laKBO33Z0Zf2JCbucIep28DbFAHtOZVd+wPkV
n9Xdwp7SMcrNQ7njsmqb+gJIOrklvm0uJtd8HyVghK6hCL0yhrOPt3ffIUUygd03xaBRZTUmun7B
J647lwUgPD9k7YJxT9Z1faxK+8Wh0GWTx+wvY/q8V2aHYb7GymC03bvv2DGsS8tY+7Xi8mSTkgpy
ptKNnW7IoZ2KdEaFndzjzDybman0NqKefsowcZ4dGz62qrJnilgXOK0/6gzxa8QzTrWbfSUn8muM
R3wppUAcC/QehhubDTEFaAbpX1U9ZccMv5ugSmlBz1aNE4iscYjzVcBRgPmaPrh+V4xRzGyCb2s0
452gWTDo7vWeqicYN7OzK1tulEqEaxjiB98XOzlY0PsElGKLTJQtLApDh4nMcsl8s/5hK/dPDhZi
X2bJNojTaUM+H9oASlBO1wslrTNj5vq1GXk7xa7Iz2Nm4Q6l92YWKllkTQfbicoGyu3xNBjx0m0p
rJxZbey4PTwRJbIuRvldT623BaDzjoqI+RDSx8iNiv140z4NvvqRd50AdRrTJwc9BNdpTe9cvLNA
AVYR41UrYcay6P1ZXlo7o2pc7GM3J04l53HZ6PiQsP54giaVrRlywZAdrJwVTFFs3S6ijTunATpz
g0PowWz09LptuRQMaQItABO5l2Mi8qu4fKNE5lcwRtRHJfOBMQN1BDpoFnEitvBwuuN8b3nXsfsj
1OxKZQQkTRbjRvatXE0RM2CMZ1T9jcaysShwKj3WPYi+J9SXbYrzxi7wkPRuHF1lItdd4Rzw0yxH
0wcwCQ7iCeQMpddZvUNUYOYTjtsh4n/Mp8OdWZ+xLliF1ThCsVwQYPLsGovTYBPIr3+1JOCXTdHO
r4Qt31DD03Nq2/OrETfQOgp7aYo43aZynM4iMa92Dmm+6stjNj0jnm7ANlA/gumM2p+IJAYDNDst
dqwO91bQ1SfPqcXVyR3nMvnHUjMWczreWYw10Rs6Y6eS8pRM7Q9jdmI+Crm/Bv/sx5665g52SlkZ
m95HMCPVsmeheeumnaiSbd7TT940M6spe17Lyf0rE2K4CMGSShHF3IFIxmFPtaDp8mGLCdSntYTe
sm6FZDE7hiHLJpku5tBo91SqAMsnEI/N3FozH7NWiY3lDh7DzUk6boZYUHYeoO5N2WYevhGy6W06
XWbf1oso9b1dSaFZ7eJJDXppIvyGz7Z6y6LQXSEavjawuonD+mujDOQ6q3T4Azf2wjXRJFgv/owm
g0WqVeuXnB5of5QAwMtJbUjGDqSJn60AvwHGxwMt9h8EK8eD4Ya4dYdx58ZqOCUMQddsaIJLj0sp
HqFMz7X1MtmvtV06e+fOjOqGUH6UdrKd0y2pRXIAKUADL4PHZdXhG1RSimdnl2ImiL4Lt6jEPm19
Opi8mWAdRiqWRU9BUP/RCZwPV8fPZtMYh7FTDE51sxVu/1zOeUOcL593hg6Xc036zhlEvsNxdeB/
9SJsMW28PvJp1CmyNbcUej47f50UzVc23+8Yfevv7QqgQdVCSRzXPW7ty6jmi+nQDFFlLE3jexCE
SoRNL/oZnDyt1tIRz+7UZLved/Hsvgqs05L7LqwkrswJtJK8c37MCBp5g5u2CyvaiLnngF1ZZend
OhHiJUsLqUCQAgXgnSHgLaZ/2STEAXRATL2bGhsCDYsQlOhTG4Q//ADj8tQP26KhbyhO5K8gYJjo
leMbNenhItZ/DW5XrS0/U09hZm3FYLtHU0ITdsL84HjZjtYdf1UHlQ22Oq5PTA/H9TBN+qptsuFT
IWHdM9loWuOdoYoX6vpCrFQvSic8xoZM/0ombm7K7g9p7bvLNoumtWtwGc8IkhBC+mwmO/zoeutX
kwU3P/qGH0Q3dzW9tJW7r03LuxYGeXETb+EmSZX5rg0TGtD0Paaq3I0wol71QBtlO8KIlO7YbOCe
xu+WwVbVmMtxS/Qifg/6FIIYdfQ1t3XeCMANAxhdWlH6otuUkMqoiMCCZI/JHEStPBA/tZ6KucQo
bDRPVRSl701FpjjW7z7D80MbieTdQTtj/JaIU5A3zoZQNYsPGjXPlBSbwE/WdG0SUe56ea7S0OIK
Cx1upSJLLB5PAr+5f6z9eFveXyODRIJ8sHZQfmPwvfXOsJ1n3I39OuqYEacYfBFYvTO7IlxsgBuC
cRKkygznRP06NVlMM/YhzUT7xyPanqZ9zCB+BbaXNvmWAqxSRfvcKgHM5P3Cz+IXALoEVVTuLXTO
nMfsk2evq3K8zwx4FeEXkbYOdxrnPZnzJwBn1BCFu4wADV0Ih6wEUxia27EtvU01WO+M3uND7VXZ
2gzL/IkFt7qUXvdX46XzqgaaIx2zOri4h5dMWlkUhDGd3OVAUDvsu/Uk59+abvPK+7T7+mrStrux
BN2RQht3ZA+XxrAEG/s4OK3RHxILKFE5Ve3Wp24tSAz3oo+mRW3RGGb80P0s2Beh7+/Llh+v1U45
hW1Kn7wGm1eQphdWCWj/ljFeHir541GHcMqbbAaDRh+167bWBSZV9FLV87nuuXs31dzDsgnIFVm/
jDT3L6nGKz6n99G76b2hyOljmF3iu5RQIl0xeLGibTPtzKI3n3mGVK90ks1WeVofPbd8QZH9sG1c
mNp3900PkwaThEaVqewNHliYU5E77v0Q+3bZ+MbSm1jCsFzr19pJwnVqqe8Q6FgajgnNsNjE5u8S
zZNZK3kG05D2qslooQ9gcnWD/GpbZ5PS7UyDBf6FrD86eQhlXthLYvsBE+qGqz+dcQQv65c8Sw9K
l8/M5LPd+Ek5BQ7bmuRSZYG5iRiMxQZ2SxSz5VQ9942fHxIZnqnUuM5GStzbjHYebWNLY4qjhQh+
AVnpN56h8kWdBC39uIZYqt7FQe3+JsaQn2CnGIshAr3cGd1vaxQtxBnamEL1Ut51m6BiYXpv+uzD
GX8594tDlw3LEWzYVcfQbm0D/6MJ/DIAVpM3ZbWEnyTW02TwFNAh0YfbWBnPMOExMkTJBwb5kxVb
xzKq9KL2iIrJtDzVef9i5UKd59R413FrkFmR3opW153VWNmhUultaLiyBGBEuM0AWJ2UXE8Mo7mk
xvkZjOY2xni7rELDWYQRXvB0gpRaFT9KIqWrZLBeHafJz1bmbkCFTjumosvI0AV3FLUNC0JXlpre
tDE61IkooACU/W1GNo4UvXSH0QHSnZh2ss5H9T2ZY3CRU44fYFgODol1O63ny4gR3zahRAdchOwy
pCbAjN90KvIrg80rHh53B+VIiKcxoqgGfjmUkJwxg+t7+smgWMQVXksmiRtUGahpLdzdmI8fvtG/
iAzjfEjsB56LKZZl2qutM+n3MR+GGxeRP2zgjrx/Lay0rI8Vad714NxjkubBKW158/sb/4ARzyVe
9Zb0h9OX1Ymtr4VOTf7DmPUhYjVxwn+2hp9e3jIFyF15hrPqdAZUZlNCsnmbzWBaZRa0cDpFn1rS
f5S1hs8lqvkizl15tRL7t9QFTSlcrpcyyawz2JntiPIND4j4VNfEDG+8tcKvuzTiUbETUupFmeb7
NLDFmnP7dxvYhBO6NqWw1EDyB8rqCHG7j8g2NCQdZV/7yEjtRwrvcFW4XEFJBhSbzg33Zjn4LJWN
j5I3Xux4JFAhqE5QPJYxrcXbRN+VIKtXa5EZ6F4RnqnUZW3oB32+YEJLOtZifTt181mHRXbm2mww
PsNpQe4qe0qKulkOaTnuamBpLGy8tee306uj9E+/b/rffd2dpugbdphxcUvvjbSGYTNnrO1ifKrN
qFxZOFuPynM2pEjoJ8Yl+DaVBXnKuGOlPlG5k6VHyLfNp6aFEkqAbI5SiuakkpZdgkfSqXPqQx5F
R5M93JPbUDQTCR8UWTHsDHK9y1SG8RmF1Mfp4lIDA1vxk0XUIcdJ/5or86umCwGBASebV6mzSa5s
H+hGrA23tF7pC8HJBSn13a/vBQsakCFRPS/QN6z6eoWL+Y3cklqMnvye22okyewIwPWh+G1aM1hW
ab0CoCQXTBMK6Ld1VWguhZaWL/ycUEwwl/8ZYC2KuJLHVrHciGIaYIc0bXZpONWLCGDWTir7YnpS
HN0A84sS3feUxC+zD1V1pBBlQ+tst4m5eO90HiA9TwGkE6P6jG2MtxGzjrL2fhCAQlRh1481fSFo
ARbxtK8m5a+GOHwflF65VmYd2ngAggWJeR6BanZmQ3Otgm06skPi0iPSkVJbHZTQjcB4sR6Q5b64
H7rotc7IphbVuSlEDswnZl5/UtHWclW3C3QhoeDm4aJ1h2qPWywn49vb/3qIthmziKVPRtBOVcuw
u40Me0R1qFBrGsj15ij+JINOCBuAtLYjf107Gwgi09pSo3419NBshIPJzIjUMquk3kaSFWWggwu3
WNoCrH7clPawbHVt4LH516FTIcEQU1HMZxPs6t0NF26KOI0w3Mm49ljvFcPzXcD7AW1qulYyo62p
oXZgzmuGeJSZ1DrrXgBFGouyKVmXke9YzAQE3ruSpsKqr7+kA7m6dYkeUkP0XvVJeSWydKah8Ane
Ubiz2Rw1kkWRV8QMYCFysK3PjnJWA2KNiyqJsnlke4Gcac67hPaaJwkV6E0v8nSgCxI8+gpLn/ns
wRTLStZMRrhyR5eAe0/UjRBs96TcYXr2DEsv+GxQ/qMYyYKy2ZAKSdYdiU0KN7eqcdSzn2j7GPEj
zxC9dkEjvav2rJx7TZUuYfaNW7aa/AfUU3rzGKfduNK4i5QJ0KYPiPEMk+evAb37l6gpIuRa21v0
eTjiLszd6+NQ5sMrZlCcDo5/tQ19ayMg0EM83cgIzTuiWMfWYQwXp6dcxdtBUOEVM8j12Gsu2gg3
qqDrRyAZFvDUFj6l9AjPzTrA83BokQnse/fIVI2nTIYwPes3B5rPczFk97RAW29im+88neoL1bMv
GDH5dhN8G1tUfmwKjBJiBNClLAyxT7z0KyhEc7YrXGD3n2dkQU9JhNggu2abwQeGlUumYm0V/TQS
ikaaortEujAPsRQmVkDnqyzvli/bytA8KkSt7hD61Ir6iuAKiM5I+vOG+NayHxnKFCFyvVeqv6zU
P5NcitBqAENUFaVhHlutKK7mVdTRn62hvhSh5NZ975pEHU+Yyia/CgVoiHph40XM8ucclN6xlNp4
mREJVrhXrVVseYLFGEkMpwiMY6imryEwKUUaviMwAHk1fdKbYh1IieeLcWq/YqwJS5IRuJ/Z5toA
Gp4a5EwfBhOfXo1NzH03vdraFlOOMlZJ6kxHnWzCtgNXm4df5hz3C8i+tGHm9bNqu+IDXtTvdsiX
tqjHU6iLYwUL9tacElIFGyJQ7AgrnHxjT7o3+5KZ4GtmpHitSGSLyWIpEs280jZgagnpWtvBtr9j
OoAPYSLpWTXTN4O+MCP2llNbGvQ0QJ/Kwt5fxSa2ik477DrYqOOb4f4goDev3LxKn6a+p2/ITvuT
6Lma2nX9i7k2E8/W+F3N7nRmm/Ykp+cgZP+CoE+UqOq3Zk4nOgF0hrfe2p0rgO1W2ZyNiotKcU/w
FCgcfPBrNBsukU07bIzCfXXug+CkGWmjNeDh5+batar6XMSiphUtq9flYUC6ehJN2Lmoi+5nZPUM
AOZQnv8Xe+ex5Li2bddfUagt3MAGsGEa6tB7kyQzq6qDKAvvPb5eAyhJ59x6V/dJfUVFMAoEk8kk
wW3WmnPMSKf/Y0mIerQUAYhq6XBlLKBhLeXeUQTrEqu+9GZSX2g61RclIZGCzeDBCzSMgF4Dzk2E
hImzOCELBGlmpi5Zm/5wimY4W8mwchoiZLA5AlOPpxzFXvkc6BasajvXcUIrDrFUEdRuXXrmpmne
e6bPqh/hXzTCWabdEu3ttyCna9bnxqIcyI2NGcMupkjKTYOufzFJ7NlpuOrXgKjzXauVKhKy8UvL
CPf7qOx4MWr+KFTsnNkMYp1yqzX/OEbWOsLKFgwXzRyNC0Az42JNms8eIiA8WR8qOl98vHgoqxMZ
PthOUeHuSr6jsssPimvda8VkOZd05M3FgFQik+SjtrYQrQ5OA9zXAG6QRBer6gGSMdhocaZu9RbR
IW3QTUKTFr2fD720aD57fvVLJfd46+sarEaCcPbI7xiXS/InUeQQj6TvYVn1j9yIyjVbAI9pKz+G
I4NJVL1i9JQ71J/1uw34n/VC8YnIYHkoB15ZMXkVqY3VhybHYdpURXpXtFg/TG4eIwkiJCtE54Ss
So5NAQXDKmm3sig1qkRsbS8al75CSDWc4y+REhUPnRHR8sttksr20FpWf2ZtRUhcnduv3HYJK5Jh
/qujm6JgUGTW2zgandc6MH9ZZVG+N7UC2j12iOwhNYbYQn8NSMxeZ4l2r1W93rJMa2gF9ZdKKF8H
2SRfYqFRA0YuZtRIYhj6vvo6S0gvjYZLUfT5ygKIcM7CcKOXKrZLlw2ArMLxkqEeWNWaYnwobr8D
BMMm3Q5pWjXWEac4zctcJQN3icc5AFyXGwfF9n8oA5UwvSz3HUbAxVi2+dFnnpgEIF21BDLthk+Q
ounKMRiAURJjs7STFCZvHz57UHwb31b4q3KNYq9DSW9Egr1KGpEfcK2+RUV8GxmcDHZKV+Ax3j50
a8TFvb5CgWrcc6sRT4Af2IE7PFLSqL+4bDIC1+kvZj/AU2iMdTKErA4avX406TFXM7F3JR0lqX8R
xV1t8gGnaCjuvkr8IlD4J0KYYelV1FDzyF6krnnTqO7oZR1eaiOwHoIVNbESVrhlJxgcAt4Lmu+m
fgRuwtjG32klinvL06C7ex5SJhzFSLWtS0ZheEX+z7ZQuxujjUGXkcgjmS7yLsWHFyRHpdKUB4sT
rlrkb0vpockZQWcnZCtuLaq5674FTm2zIB/Ukgx4PPlhHMZvXpbVT5QMpg/TE5VKtGvy7suQAjCI
TTpiRhCdLLPaiLa5RLab3Wg5nHI1/twH1r2b3jw9MKxnbcPobVIQSlhfrKdD/sVBIwJAVeJPg6gO
0xL8KhUVXTfavK6Sz8FRjKds/FMfqw6Cm3hjgcTfuE5XLrMeDHUJQWMbR9kmR1r60O3B2fId6FyN
9RsIHp9r7gGZNjlWqKoWtP0+F6Gmr3zB/ogC8PBClqfaRMVQAFWJWeLhlG2LRTpdbInNVjNmOjk4
MlA2oxaJlSE/0R9EvKGSScQiFc+7qV8g3r2s7pjDwJsoHuD1FTcjr2NAH82eFfq1dxxYkT/rijZe
4vqUWZS8fJp5kh8NiBqLbKS+zNjL1omOfJdkxHwb8GCykNB73arBYyrssVqNUl26k4mt7wOvOstY
nkaNeGkts56Rxh4ORFE5GBsLDetGMYaJeJCPz6EJ08uYh2gDOUIKSW9bp/7trh03UJ/zDZwLyktR
dwHQUVeOoGFow+kFjLTVFMkUaxXIkBu4iGpkRPsoq8iAl84jdYburKWddhwgHDIInSPpD+uiYX1v
sRB61MoPZO7Vm8hKmgWWHu6HtuAb/j6Wg3Nx+jx+UnGIAX81v2KyP2gqfa2o2T81x/TWAEysDSk3
4zOIDHPXs5tagrSAXZfJnTa9Jrd9J1+LSF3VOJT08FILyH3K4q5Tg3jl1H39GIPvGnzkdmnh7+5k
Xt0rW1MvgVKdDf+qobCgi1QXG5+kRb0IEqLTMSgqAW9i4YoYVsUkf48MfykK6FO+Q7GVWSPwQA+K
BioePHS5T1SSRYA+Tvhxqe9qJ9XOQ9z+8MwiuEs12Et8XTdFSXa1yLwVcWUd4uPxgrgxebaWsiPR
9jSaXXNhfvvM3GGd/aA96DrgGLMbh1dZX/OSPxI97rXDi/qMClYB6J3Z79hAbNNehAzCGLYm8GAw
+UfklKHKp7kSBnsucJwrMxTjWwowMMl0ZScHyj84sNqbm86JStVlCMQDS0P/FCgtln6W//LTDJct
WpeqSMortd2D0fh03wcM9gruE80i7TePgRIHcXJDmdBcTYv2vMocssgi28AtwsmSJJWmhmVU2YML
TmeQT6HrNbob7A52ksinadjDbvBRXZig7VcMc8zGouhPCB5DZjR+wvXGt7hLv2Xww1b0h2BlVBAL
ZV+ZBAEjZ/SGzUwBhaOiEGt3qZDYPOcbhP1rJc3F3ZMwLEI0NVvLYE0UZDYhtbn3ipk8aVDxsXhZ
T8ZdUo8vjb4gUPAMYlA+whPmrhHf/tLsaVuJevxkaJ19qszAZMyK9wZsA3aQafIyTL9dqR2jqUyx
A873RamktpIFPyfqb+37FEdTjbnAtpjZ2yZgNrcvCP/VGwkwe63y1Idhf8YI473mF2gSqkg0McKA
iXNqmPE9ThuCEiJG6yRS+cPbBna3CLZlDdo6Ih76wFISgiZIjJU94gweYw8qvoeLGkydu7IDm/Vj
z1pLNmyFyqrzSOq0dSgH3TEls+dpsCajFs8WsBwA9o6+ZxGt1BbHQc3P3iQLJOd1U+c91Y8gc+6h
XtAR13Cx5YZ2Qs9uXgtNu2r9aWginPQptZdMJ6cmQBtbsNJcpVy7cOL1tdWWwVvYjtWr8puTrvQl
V6VXv/DDveJI6BfLq+uXnyO29h01Oc8PbRKI6G3RG0d0K/XLRDi2DA2rPsxnI4ltuIgzZCLTz3rT
X+raUtnOT0ykWLGmPOeAtOUsBfVsow9s+Oefbbss3zZwvdbzM4epVUFSyVMMArzEeCjGfRKTSD4/
VSBq+wAz1Iaux8uw8SCeFNMv2Zry4IJp4myRjPP7RQkrv5qi+P23Onnj3mJX2/9+SQm7zp4AiPkI
52X3pEGjxKHaL8sQSUdePedTNV9hl7rq23zkU9jx/dS8zb+AAOwH+Y3xdT7SC/2H2/jq7/cLa0S1
UJo6Ps0/aJRQTLUklIf5LcC8i0AiT7v9/KOuSKiJU2fczW8BMUvhOtEJDZvPoh3yNhgKks18tgvh
57iNka3nZy7cMdjBG2xW8zNrdU41A0rDEg3JO/KS+to5urcri8RdMTJ2uAVyMckVom3fVe17T7ts
mUI426P/JNPPV8oDWoGYJnhZIJcam5fdsk+KbZinWOE2NfLv97JnmW8SenqYD3t22Av0NIBHXPSe
vgqLyuUTwfXpJSdVqdqXYBZdNCTKHOdDHSzkUpVhesj7YT2gOXzLOuVrbfVHf4op/T2UCQflgpV5
u376rtcsazCYPOEo0MDK22eWJ/AaFHSMrk7qR4Yi79XF8KXTkaur9KCw4gtdjdAJN0lmkEVJEty9
j82dY5f+WtRAiTJ2xj7Fg5U/RogNasSFflIRU1mipu1iOAI2pa01NKxwG0FheCH0rWgs+VtiCMGW
a86HPs0Kvs+HhuQDAp7dalSthvhdAmxYeV6pbOdDHm8smXKn+lR4TymFXcOY77NN5dQZkYb/vhg6
vjwCsdjWn67prAyYW9T4VCsUMQrRG2vRDj8Vk7cTsS7bmrKno2bo1tGw2p9qz4SJ5nmpEuB50HxV
ewmKB8uYZcNhjDsK1TW+bYjpP1OV3BwY5tVCioQiSZ4mR68bMARYob8ca6M4OilFOkoyXxUbAKTt
RNW2swjuDSp1n6SEr3QFj2+LL3ZSoiK0oItSP3GOhEBQvTXw2VGQnlKssw3VF/kqQKvkttHvg06h
1cMFvAjawb00R0IDV1yTOSs7+5lKGF5RazDUEi69oRJvM3vTz63FXhutHahqRJkF5UQmtXcnIa50
GOV32+617eD1klC74TAabnAOKn5/opGWXOdGcRpSp947MVd8XeTuKzDZpw4x25pSnhE4naNB9z4H
frruLciW1PVUlrPI9f1syPf5qEHpgcscNSyWiLwkw3v6QrFy7KFPQA+HUIG+qttVvYXqU/TdwoMu
soIhF0FJDH/ZaUPWXs1+tCEPYpEojPmRogfvwgC14bpMcX4b/nJaLvuxNdE0KCS81EC92URrh8HE
WZfJ7hMJpcgySvc0qOMz53cNaDXuOUtaftWLL5RzqbThWvXURUESG0qYvllIZPcEH3ApJMj2Ar8+
hpFNim5jGEtWugQawfHQacy9THQrd+EEMCiIDuvN9hEHZXCOzaKjd9oByR6Cm5L1w2o0p/B6JFW+
I3/hNIneQRPAF8OlSaPEiN5tk5x3PxLHSAdcXShx/G7m0M+HCIeIPn1HyqEL101mjtuIZekZwyhs
kh5FiE2FElBfnbzTiW4WWvkxckWTYururFrx74msd3mToh1rkuycSBWI4hjoi97uf2C5tQKVLEFh
fwX7TBNx+s3scs8FwYS3+RcDElglIVYSHz3qtvK85D2rIQON6K1c1JOpJQEJpQTqdibIH+hlC/tS
liJ/zxI7xBwWnMikZf5ri/eiMojg8PVvpgFQyHE+fOyt5zqhzCCJ+WABs1CtsXvvegPmTqdO4plw
pU131YY2buqGeb1CqHgYdbVeNjEA+rLuWa+laDuCaQBH+GauHdsm+4nG/rsSODWSp2jcpdDo33Wn
/EygwzGsKN/aXfKWjEn30vv++1gJ8ww8jYTQcFAuEc1It/JJW7Xbq0PazXPgCqFjYCLFfTd1ix55
7V7baWpI0GScwwIgQVArzbuLT5FZhe0Fgk6d0o1sn2MHQh4N1XaQ8Jf+Pzjk/w4cAgr6/wwOOX/9
8ZVUxu9fy3/GUfNDv+khUv2HYTsoL7V/glEb+j80uiCOLTQWhqql6v8bHaII8Q9HOhZrcYk9iDSs
v8GoNfkP6QgVfrShqgxEhv3/Ag8RPNPf0CG2pusQeRyNFydpmtvmxKr+/vUtSL0KUMl/61oQ+7WH
idobCf2rPEQPpxJPRUzk7IiWExJhyqbAdX5OKr+9wtoOoWHKSsIhMbyHNtEXt7JBIo1/95vZf/vb
e3nL4sHL0v+SNsktC+h78BuhpPzx+gxTSNO2eZ8cmt1/oE30KSMJ7Ui07CzmnRSq24JVCERj2kKT
Id0MCESi7HIxDe3HWFNLCIYP5o73rG8OGa5xO2fVH4TgmP79K5P/8Z2DMm4Ii38O4Hlb/PM7J1HN
e1SrIWUQDLxlV89mmZ61r4Mh6wN1Z/dFvUIZR3tJsCUFoL3RihrZXgHqpw4rf0fqQLCIHcLtGwLK
DTKEUGGqzyTS3gPcYK1d/CxS8YoLhK5CGHev1u5K6kesoEi4MWR6RPjnIXWi6qMa8fdUnNHl5ytb
BhaOPL1Y6tTYMxUXX1+QJBSY3wS8K0TydEb0rswpYoPlJyluLYX+coUJT1APcQXmHpvRnua5w9Ta
dHW9UhXrFMICIDQ+w+Os6GcSBepV14/vemDfRia436Ci3/ydf/HRO3wB/vjopWqA0OHKhJSj/Um1
cZAZkMLNpZkTdbvBSwNDzxl3Q9U2p5APtYZfdh0aImYrw15Hmv1N5EGLcJkSTTOYO8H+9NgPArVf
LRZ6MwDx7Dx311G5cdCu5Ja601ubP1dSTk087Zyn975kra7bhMQVvULVXFWypTMa40E4FP0jmgQb
u2A1a0o6HAqmZfZZ1BvZXG0azSgvzZjunaxmNoVuTGBKdCzt4dyApV2WLvpgQf4swSrpMRrbcD3g
EF+qsYywYwwfvgHJnFUbxklUGIMih0uKPrBr22fQpsWucwkBKrLhMrR7RN6o+jQ9BWeTuUv4Df1y
1OOLrAb1VEaoMMkpT3HzMeGXJt0nixyoNYBSfZWQ1I7cC4WY6VWnPhFvXuhn91Qzb0oHDTLCaE2r
Kf6WduyaFc+Otl7tL3M1VLa2YX5ig4xEyxoOOkKBlWg772QY6ZVwx/72779j2r+6BCwAjSZ5OqYu
rOn830anmI0PsALoq1HrxVSjQT7ilrjoxbPE0bgqFQs+MvEjiSL22SBeVD+Oo1eQWVERPVmWEZkb
yZqGV43KHJKxUkCDl538olmacYmJVofl7q19Jf1PLl4NWNSfF69ApCGlxshlmeY0evztladVbSuh
TsWZLfLJI6NnnzqZuaX7kW6koixUctmXxF5me6EaBftluskkdB9H/IVZT9RMm/Qs5dk8YenBNgL4
DrccwxzWEWiynUHiK0F6cnySu8ay3QCsX1uoh63IOcMALJclS+Xdv/88xDTa/h6k9z/++3+dZgsw
EpatqrqqaaBiptH6b3+VoYg+1UKuJiNDrE+YSzmClOzCDPFOQwHJbE90AT+nGfXUg6lAVRBjgX+K
dFsEfCCGNO0/mSD0P8IUeEnMhoQ8WLZuMwj/OQzzgrGdYYpbmkNXsoY1elQmIyagYMHkO55aN9ww
TP5QatWc2l6AN0IMBLlBFJCCcz5PibJUoUSqYXcoxnQkdi6r0ae6x1EzuqUVGjbFd51YIZluQx/1
ml6YLlrh4VL7+ZP3I1t1YPJaDPv/2fv9H64iAyEH059J6AQVRvWPq8hs+r7E0sPsLCy8TkHxpELL
3svfhUHooIuhB2iGSBFho3oSaAw9U7jJ5fDdNwxrGTGYI3p+0FUx6eOVPE3er//9NYFCTPvjqgCh
IpkJbV6q0KVt/XFVeGoHSs/zmTJKixjc2ovPJGqR3lKTSsaywDpYaW0dgkizDnacf1VaVVnP98de
gE2XTClaFwxqo0JhkC1n+SDF2D82VlYD8IJsGmmo1UuDInhGuNZEg1/klZVf6Aobb1Xu3Of7XQ9Z
CpjEfqenXvPZTn/W9Nc//ChkrAo7ZmNR4aceOmXvDUm/lr0mNkHhVS9brVj1B4gU2EZWL1oUckte
Ijrufixx9FuY6GWGSHE6S6BZewDz7S8rkeX3klQIyrXyZvbKYvAd8y2JY/MNq3a1LkqS/Ob7yrA3
CYsYFj0dpPv8CBLNEc6pYIfmk/ONE6S3CTh6dvWIT5290sawtfCCtTe6UPLeEo0X00XmaL5rPjkf
xn2DWd9TqTSp4xeL+LKFwatfZzOySE6kosLVnJOXtfEaTHi4DDtXP2fNiL1v/i/dnVtJ7Csri8pb
y1TVX6K12i0UAo8iB+qdvw7HHmBVVsINIThLrmIXVozMc+z/TrdKQKC8gNIOxypB8Te4clGNo/WZ
uZb1ZTzZnCabmuXSOYnU7lM0YAErSJk0KyFOTRCIkz0OaHOm1G7S6MzbWCQ7hXbzxovBGxFGSWCs
7MvwWBOadVS08jt9V0ryoxnvbB8+c5zW+oa4qfHKgqlZJ5SL1rbe+etknL7BbU6Np/UyWtc/XK8W
724C7awFKyHQ276D91BOiUuLSp8OgzTN6ZNa0Qod3sNqg+KU0le6Y8pNl2zA6MYx6oF0UfDctIGa
r0O25PcYf8deraelXdPTXlJwsbhIFR99pslTXNufxKi1jwEr3SMKxScT2BflYo7sQKhTCKqy1KdH
qIlRrWPW7uuxJg5AlY/5xh8UfFu90PfzIck3yq63WK+oVioffRhlDx7fh5IWsyHeWMmUL8GkYulR
SY9AlC/FLen/Zdl9PmcZ4ZsbGfl1Pupr/adipe15PlKxOsuS0FWaTiWVH185zzce7pKzXZQKpGgm
uoYozxCR8Uhxiu00kxEPlA6WzhQi0HZ+9F8/7ExndTAnMKS/mr4jLlXG2xNAAm01wdsj8moqWY8b
JdD0VzJS47ZGFry5Dx7Lkj5dhjo1Lp3TG5da/fCRccMF4Z4yG79Q4FZoq1jWpS3zYmWhxllhs5nm
pCEG/BZkb3CHiAYckSyhJ/BpyWgm1Fjlovr0X/86hBRWUb3hRhmOJS62U4Te9fdNi+9p6Xd8VGi3
aPkMEkHxfNoNRiOnd8rgZBKFO8WAtWz6FdhLAu+gLRTtbpVoa0PdByESBqBgS/Jt1UrXz78PJQnN
bl/d58d6zpBfrC7dmvNPhqp29yDTHg0HW0GSbgok56+G2LKLyKqPtuIdq6YjcNkf8znos+Z8rpoe
OZ/DhvP73L/4uemcO0Jx1XwfXLfIh7uPOhZxflyw6OJwvikiPoy6TMdNCM/m933ITUnrSRBT/nUf
Ju2M7ggCr5oIHvQyDJHR4F8I0zrNR/ONBv9tlbKd3BZAr/ZGWw2LUljdXe+dC7noI2QfjiAid/ci
L7dSbcMLxdAwWCb49ApKjkiTcuA1cI6mtw4mSXfPyai5FqyV5yNT0bxz2mUnrzX7qwaZqhZ5h/nM
06N7135jzWld+xCXOBhzZ980anxORBndC35DKdXxHKlNs7GmjA14Bsk1DgXRQnqspHu/ML4MQZNc
UQtrpwZ5RxKTFgbAUTnqjRz3yHO3rpupGx9ZzDIb7fqmt319S6b/eccUePvtr3tH9gzwioN2Mz9o
PqFQ+8a86TzmH/nrfqmrL5yuxmG+f36oFK26oZdTL5GyISAqg/Jg+4X9yALIwlnkXuajAUrTqqBv
thGGYz1iJOkn1S1+TcHGOCFHfW0yMd/yUrMfVUzoho/ue8s24SsNYPtMdVmHTo+LZQzt4QXcIEEm
WCRrYI/DywkIWU6yKYpkOozopu6KwQN2Nj3YkMMOBbWy1xM9PSGl1pdxgG3By1trZL9snejc0fxl
uwHkzz4auKOPGtqUa69lhbmQLOOoYF/mu2CuyrWO2ZVAP5yXTthJ4hGy9knAaLOpI71YE4jboW9x
i2PTw52fz2aeLe8uUOz5JFKZ9qll+VEWo7zOd83PRubCLUlKZzmW+eQwJuf8ZGAcPY3T/xpRHRlc
xnOc+Tto+uO1TJzyocUahoNEeuuiyKtHXUrjPmAWmo/mR9jalGPF9nDX8hwPOU0NQsk+zY+Y7+r9
/ocJjuk03+UhSNuZERDO+WReVz/dhFdb9fJuNoOO+ckDzYFC/xI1IN+no/km6ujkxmXIilYp/+d9
CiLXpeUn7e6v+3QtXYaEWt6KLGbrRLMQnR9LYAoWNmaGtHg25jRPteGP+Yjk3+IptVUYMC/N9/Q+
xXqQsChubLa9bcEfHbW1eBhVBgcxElguSTB75Ejb9gF40QVvmniE0w2pCyqbGN3Bhx+A68Ee4fM5
oWrsNrKt00VV98FFG8r8bHmXOEmDy3yPnZneMcf4LAvNupd9eWhDyWQwHcl61G5B9T4fNK6yxV+s
nG3Xzc+NoRxkEceMHjQ1ya0c+q3ngCePpMRaURxAnhqfYwGipij7wyi6AFSlu2hVKc9KFcuzqPSI
EkBP0lTXyrM23cz/K60Qdio/6Wa6gV+Ob1zlCWycUG2RRnyynOJnG8K4RPnhe6eoT6o7nSHEN3jj
yfIGVbT861iG+JU0j4/dDlLrEAqfsjSE3A+ItJjpHK/ZhE7vfZR53y5tNBhU5ll9DASu4RmUyNER
wx2SrkLroxfuNphWJKY1ug8V3cotV6pNIVCFID6xYEt2RCNM+ieTSfaNwPUl5RmORE0imavYfL1D
dKRjL9YdmVPnssiHcz8YL9KH9RWiLEwmtdK/1eAM+oA+o6V3eCEGa1k2NkDTVLxhQR/2qaeHa3zx
UIeSjuwLpbqg6izXiRoQAVQ7zalsneyomQUiOlGuteiA4jG9DUkw3HCi+XvDqTcCx+E65uWjxWKR
6ndylRXh1QvEAMI/a2wamz6oYCdHjtuTVrV0BuLRTDz6LF3yr6VG3LQLLWpfwZFYNRFcCi+RNOvz
MDwbpFojkakJRTIdBSfk9JFVddecMrqni64O/CuMj6sLW7ZaUKXEZmrQybar/M7e1d7h4qrP7mxQ
SYFteHr7YapKuEpdG8CPF/ubwkevonSmfpXdjxnixX6WdnWbBTeG5e4ApWMbos/dqNKw9+hl5Z0G
SrvwzXLraDVvN4joHtUQmAWm/TLJ8xcHZgLFph2d7DC/YRRHkN0QMcbyUj5jwGJvRkFjZzpCsSGe
+s7q+hXoBvOOQUU83YpQiMBJilOgVyldEeoo+7RVlmxUw2uTtOfUydMn9s1hWYJu3CLPNm5OHwHo
VYjJcFixn6uEqK8gV9a4CdDPmZ+8xvK/jSl6ssBwtSNGepSoqR8OrJW4vujZG4ROj9ij1YI1Z6Qf
PGMsT4pBgzFxgrMFZvTqdeY9J0fj5Q/PPqOU5Q4sywCW+ds+ZupFAaoRlKSlBAjhZTsWbhZeiA7a
RTUNGDKBEYUS3L0goCt5+vQo1w2E2q2atG/z07KCWClYKh4QaUM+4sVQ2he36UY8unrwpiFxoSYT
eJfazD7ApBHoF6PX7UYL712n7+aX7GQJ2QZxTUJOOwYrXDLBAbeqsWNkBuo58sfkbh6c2eYQVF81
m7ZCDpdnmzQL273qKuFTrbwPmQmiT51a7tpBkF4I9mRbNXn+4WUEJ1ZGMZ6Q7ofLPuHvc8KQQTWj
xCxNYYC+0dfzomdQmEHMenhD1MJiKRpH9ZCG/Q/wA9UJnupd9XzxJtIgpdOFRXQ+xD7VbLyq6Fch
VepB68LbvEpLQD7votakyMS+KSXAUL7QR6dbCGofpa45V02WzhUlfrUJgqoiXIXD+YSLWmvvEdee
p7mst0TgMCFhCVn5SBO2SSygaSiNwpUFvLQTmSBQ0dzlmQ61Iqk+g9ftjyhOUduwrTgxRduLlqf8
YKUSEvwxkuZFjtOHILAb2glEQWihL62QI2N9r0Lj8zoiCOF0uzKtrpiTLipZh49OJddr9LH3lLBp
lQBZg2hj682pPlRot09pZM6jONSEkB9L2n+hV4R7tB7TlcVNZvj4GwYIBkT4slBseRJDbaeUOr1Z
2IVi3HWnkHeRk8lBClpKF4D7ciQxqDtKv9l70nORRUv/ig42uApCD5ajxuSrK/C7KQ19hw1j7Tvt
2KZ4wMzK937iX6pbs/oAL72LS1095WX5kVE2P3aWrB+CjiUta3rGKM8JekPlSmDwSiUFcNGRvSkK
uzy5Vlyd5v+RGgN3CfswHc3qc4b16GaBG1/QmVfXjkkREooV6k092/EV6RZh1uvrGr3AqaNBeuIb
+dPDJrbp4gjVhZ4Kh0RonZUSbMuFqsbqjkYTZJNUgKYdxl0ANAt3kmhQDFXO0hGCEFHdKNCfW3Lt
lg5D0/Qm1XWM0YYNGnvdtNpE7egecrTt09Y3XqF99zd10jHQIxpJkq54xyv4LYAYtsgNd1jDmNSP
CcuNDBYcqg3ry6ANyZ4I9vqEzocreFqnRVp9JqDsVOXkO7NKWnJZQr1XDvgcJNtGqvSq01FaqUho
ietqhSc1XlTqCE/Ey8NrlKBLLsvmVlD3Xxh0pym2RdlW6mKfhqwEqs5JnnbpshQPUQSSJlICxNVQ
ApX+I0mH/iRNa1KL8Vb+deiM2UmLg5znipTtGCjnLBu7H/3/+o+XO7/vmU55xOVtRCyCNb32/lY1
9chM2qYr4uCfpWbot0ElIk62Sbd1KaqvTFgwSzWPmeosPgOckhlUEJdtqCOzZ+sLa+3KWj0kJP0B
t89wN9CcVqibTNrQXxhD39hJqye9xj2dF1q5TQsHvUsDu8PRRPyolMK/kxK4SHE4bKKSzHcLChGr
nApBrcoXPIr7g+22Uzmv9o7I1sQ+UDS+w6WxKaLvVRkHK49S65HVDRLlUCvezcL3d1h7u/N8k5l5
f1YcXPqBqlarWEm2tezQ4Mk4u/Uwom949r/qmn/o7JDVosgQK0l9XBpWgVQsxYqOu5ZQ3d6jPJ8R
B8jepSac23SxWtuQclXYlx4u8ZUZpAaZM4N+HhVbp6lDA40CQhsHOM3x9kh83OhJ1OxAAf+cJV58
iFRknUMN0cRLiuagoVDmui1fmWgmlbrVtD+xIuQngY17F3Ix41owCSYqK/tgS7zs2GSxYQjyphwz
2KS6Qz5iY/wqy7BahxllX7vAmdCakxPpF7sppEsFBUYpxSt07GDn+wAuhi6z+IKpyjItUIbBUxn5
gjqf/Dz+jHS9OMKDvTidK05Z0/3EIZt+oqVyjm3kXK0Gg8FhotHLTL1XkRNdgqx/G6xyg8bgI+3r
9tAbRnGjQo0l0XDekJut4e8Vn428EVt+Fm50IsQ5iRl0Oh99V1w4nzD0lhtlJBkoqofmUtT+yhjY
AizKLMWkwna/SAz8HWI8i86u3pIfI+jSN7VPbj7Sh7OoVcjZbGjhXv1AedVvLR0/H5aVbG9pJE/G
BrIpviAKShp4RcCA/f1QFsMNukseJNemw6E/spM6ygEHMkDa6jbftFVx9iLH+uL62icKLt/cwiyP
SLSGhUZHeat0kJRK/PTHhgiuQ2V2KMYnoG7k05sZyKrcs5jfe6jC990gA9Sf+D8Gq/+kdPmwa5Eh
rgFVo99vjXFn0RriY0s/FK7Treb4aIFt9P5GOu2iXFu/GFNFqxjLQy8/D46LbAg6MksXrKILkVTj
MhKBf/YcGzRF7930vvSORZ72bP6ajFRzM1ukMko+6O/ywTh4oWhiSiwJ9//B2XktR45sV/RXFHrH
FVwmgAjpPpRnOXrXLwiymw3vPb5eCzWjO81ii9TopaJYZHfBJjLP2XttfYRvTBVT4hTXL/yaKGLC
p0VZJz9LDMWE1JSjEDu6Y8FEeq1tRG6+ljKpM9N2P0QJa6vcWyRdyySNbXpymkszgPchEHcDUYOQ
MMci7x3KROFR1DQO/rvKXmhZLOYGJPdjMWR7SxfNLguwzivYnPXppdL9RxQ2FB+9SOOGjJpljQxu
0xkVDCS3RrQdJEwpOzTsClbh713oL1rA3/NAUbSNrgluHMe7y6cXjvC3vm+VfdB26eaP6aFjltUK
sTKL7bYB6wWDZe/mjVjb0pC7ynzAHuIfio5pFUufhAw3UtOU1LnqSgeLoE71Sy+74mIQ1muDGm13
eimG1tygYN+45hhcnl4K0FWVycQMrH5GbQNKUpwXAyaksgM7aF2afeKs9cpRefq3Ymk1prdURxd+
rDS8N2r6FOuCHYiMdKFrmnNQzPqGtRzPF1W4V4nWxDOdMt3Cd4d2m6VFu7VVq93GKsm7OgvIeRpq
NnVstbwNi3xNlSqaJ9WQbdqyk0ug3yad3bpBD+A/R5UereIyrtbmAPyWKjiukEokK2qpLAhFsC1r
9dJE3L7NbNy4SCPaVVHpKx9YztGXcK3VDI+jKYm37Yl7S50KM0YBhySFhbyNZLqKh4jeoYWTOBKV
PKhVEnGN1Nl+VI34idyOzIS+zHxNN0Ww6dsQaiJ8sw3GjF2al9F+MFiRag2WO2GsQ2FZ9KrbbJ0r
BqIGH5EIT6IUEmwYXEAxp//lDZDnzBoNrxPdJgNMdjPByGKOssV0ImYxtuVtM6IkzCahweB6BsB2
Cx8QIXt40IoXkoxl08ATT1gjDtxFtsrYAWLJ3JWdh/XWJW81YNYg3eJgdJpCmE2DPl6Ns6WsPXvr
tvRq1dLZCEIBZ5koNBTqvrZty2Ez9iwBWYpb2yygEWJn2o3FRGk7lB28m7qfSzimB8fm5mSls22b
8SZMg2sLn/C+bQcbhjskncCPD47Ib30vlVvhE1ClpNG67QQnundnnoYBPY6z6EKbXMpGDn3JQqhm
CWZdOc7AWJY6M0b2wwObNYtkVa5Cr1duCELtrhNX5qAL0+e0QAAHNOaxG+nItEF0gxuERmvoHIqi
CS9VyUKX8qdHtZVyr5sDxoF4yOrGRXpdCDyG3fTWmdBmqNo4GCBJRs9UdmFdK5d9V4Jcy8I1YBiT
p1Fp7kkI7Ll+e2+DdF/F64ewwgRfcNNMYkobVypmtQBDsYPFOx5U5q8TGTkYYo6B0tezVB2fBtMi
Zow3XQHIwEBqOU8zyiKjl6s3toNq1W/uLDvq5CyV3VWisoqe8NN0gtagn5tdGzfdXAcIzt1WFau+
UIK7EpnhDpn3Y1r3z4yuGfoUrrUC9c/Mm0KG4lPekPComAx29hQTi6ajFrpT625K7yFSmwAI/6i6
KoPsUBU0CTTQbTSmZ+Ss4Plp+9G87YpQ23g1lGlIqepBRDYSHqtCBM3KZD6c/G8S+09i1LOemCf4
lD3mnGCg9IOSG8pjVu5MRtywBWNChFN50Zqtfq9phLl7SazjoMj7jRKCjSdzvVk1aWquXHeE4Awf
BJDG98pEX05ZUr0yKzQhWePCQnLp5nmDH126Fs5Rv7QWvW0QB6nLYzWSCq3afnRQ+103DPWDEbrf
UcrwWCZ/GB8Vtb6Y5JTtECjqLFOsNTSDhDNczC0uxwPJLWREeXh73Tqd1zTgZi1uqWYINcxNbb4g
iYVOfaVIaHuY/qoWP6dMiBEi1i6fjRD8V3kdkoJT1zMRdUwdwRlv9PzCLO0clJjrL5uo2Fm1RlqJ
yTOv166amIeaGqQPTlSCzLO7V8c/INFoX7mOX/siM+9Kju8aTqwHF81qL+Iu8BZZknzvXFZpkQzJ
zpheaqvw9rgKDkGySpTEevZS4nYyAiGYoOTDt7HCe5HqD6WizhUe2HtTo0fWEhpxJwIaAU0VMK+o
nDuCHs1ViiBwjiXvWm+U5AV9OTReM6wO6WjRM2i542JPlXdeFMbzbMi6S4/W6Cosx+7SD54l4VzX
8A6Q9tcpuKjTOr/X0xWs7Rzpi9ffRq4zU3G77jIc9fM4HK+IF7JegpICF8tF5TFQk2ReZmV5h/UJ
14wl/etG5SpVZb07LSFLEITzQWQRKpUovSJ7KZqnrcksoDbMaOUr4ntZF9ZVQg7foQJeGfqaD5k0
WWuu2bzy6EYJXdDmByaFDbQotzxlvA136khpDe5P3EYeiQEwXiWYne8R6nt+6W8HFgbPvt1rC6FC
3q1G96Yba2WvhvWzz8yN4hl9wnjqwpxejNTQFz1lxDkTsXIfEyG4ryBkaN0PQ/GcWz92GkjIsBJE
X9/HuZms26oOHxrxdgpRABU87CXjCRNid5zpnuIeOtPEkVEUyVF3gupgjj4Mryl5Q6tvHCmrl7aT
tJ5xi1oGFxEkh5RtfWpbkew534ia2hilkGfjtfLKHIoMBlXDJSI9C753eZsdZVNjDG+NboNaeE68
uebNKoITEmaOqzTQKE2Q1YpO0y0P6qNNqMV11mOoHkRSPk9lPGh1LS3t9gfR8PbcEiQ6WjArhj7k
SRDPcdBBrtn3CuLsvC3NZzcmtBcXQ7lymn4AzmdBedUWY3/faKF4KJCaA6OlrAc2ozkC5IOeMPqs
Vgc3XKtE5m4c0WGhQtyHNIjMSr3xrqG/FDegerl1KphD+gZ9yzivpT8+B456iXlNvah111xKC0xN
Kxxv19n98KTaS/YI+4ox9FTLNGjZJZUFk9mrLiN3DVxK20dVYDEZ5MRVQN1nalDIZ62NaD3Xpf7s
D6wBYnKQMiUWT44PjWFUvvchHXz0/e0VRXqVVFCuR7dMs7tKIkeAJUxOkR7615AmDmMs7Afb535s
K9lc1HFY3bhyyMHc4eOtez9eytZn1oAr8cCyonioKeL2WGuf+iqQW18IBLa1kZNxN6k0ovE1d0tj
TbfI32cI3ACVtdqdLodsFtM2vtUiPYdWeGmXRQ+UZNTXTj40322FSeGoAbj1fXWc22XwkyCz+s0V
EmtFLV8TC86qr2Ci9n2b+U/tV9uQ8HfiG4iC1hzrGmx8zbyjtZaYQrI16S79dd9FGLYw4zVh+VBI
ViDx9KdWhK8gmzJDvTLCXYsf9YjDvLpIiwIhqlbWf8z8SR5XFYvAUEHyB3Y974dpt/deUiZPYHSZ
iOsLdSxJ0Kq09EhGDUWkJvIfprQKJWT0B79+OEUXyValp6cEByYW1XUjxA2nOY+gi9w0uj1e67r5
pjtZvGUhQuesH6YYZ/8EwtZxpTmTqhKaCFqkJxq39U04gKWMHdhWbat8a7pM3Ntpticvgtp2YSR3
LCnCvYaDeQY88HHo9Etjih2gzFDOCyomG2ljFoN6bG/HSVhRuelNYGuHetQktcoB35xjxNTFzXFm
itC8wh5xT+OaAAo9wlY/VSpCFbc1vPsxwikTTKAZoSTcj6eDlQDjvIzrWNwW5QXrMxtzOQVvjTLc
XEkNaI0sn/eDpXdLCUbhAh4W+jv/zRdJcmOlcGiLtMKeCCQUGhWpDf2lCBD2CmaWNKS9OyHr7Drz
y8ckQw82pDbnotEOfWtqe+FEwZXjP3HHuYgDrGGdNz0ghrp1jwW2NGx/oX3tspJ7zpilYWxNs0vP
TzIS6BSay46TUzo31T1i6HHRqBObLrQTFDsmzRdT7nrpQRInGuNgEfdc2jGPhNygiUkozhVhIt7l
0EPFIc5Hg58t81XkmskisRRS3JuaJFvQvOXUTBrqXr+OY4gPOHzDye1AcuNtgK0uaHkKxZSkDkqP
PrxuCyJzweZWVNTozXV7pg88cBhIfVZgPWjxAbbKacfavE+3oelTUc/gsOWt7e9kbCC/9OMNa8D6
kbz6BQKSZBPDCr+ApvfAlGR8nd5koTKc3ojpE6OOHk5vpl/ZDvgCy0GiKXvkqyKt/avGiMxtLQNl
SRvHfLQGG4pGrH13q2hKNh9WFgjLpV2p/VYsqUb1P7CgUD+FbHVHxd1Zkr5FYizhl3st6kAbKPpP
O+77Rc4iisiUWLvVGY4AuTb3RpJm987Rb/ElajwA55mkrrKJbCPdigkSoNNz96M22Z1eosGjSqCG
8ugUnTrHpcyTUe/LXVn81BM6bi6qg21bTDVVmATT7JHjrS1h0aIGmKLaWMBERDGZe2zR/lHLCeJM
o9xgqWy1dx0UJagFzqZSvU2kouWcRV5tHHO9nzt+ijPYezLVWnskpBs2hGMNc8Trtuc2RzcOzGOI
AgoICCxHO7BIN9M66LKtwnAaOc5mzDGF+rllLeBEyWtqcwTDKU1kXED+iSntK5cNy5xnNNpyqdnI
A3ORds+KcTcp/pC3xfqyQcq2Hw3sAwN2okfm3WQPmkxACIBxHkFdPEVGV19FbRDcaYKxMdKsDT7e
eAWykBphqKZHaFti69B4WGmOUd5JX2VKF8TtN2lpc8xYJoXAuIfDMFVv6oE44sKm5afKg6Tl9j1X
mrdE8fI7U0/1tW3VpJ0HQ8OzeqyfRbKoXMN9ZrIfbXoyr1cjBRDQy8GKtSLKOQ9WGiK3YiOL2ltH
NLWfbZ1sA3pJHrTeqP5mt5ayVSEPwe6e3vpNxOO1l/Vc+CJY2J3tHVBt+IeQwvzh9KPqSwtEbnA5
QLjtWsd8iXtvTWAEBKQQi1jRl4JpvL8za+vGPNV8fC/XNrXn15uu8V/9jmUwItUB/6FExr8acV2j
XY+umMTWB3BYf77EYcTWnj4EVFKJeK1YuU9HJ24EffMyv1BsjYqNFozPLtWF0RiC12GIkLP4PLaw
WHc8nvbwQyAXeT2Z9aWxkUYtbwwa7ZfAh9dqa/OwB9irLpomI4bWZH4EGaTZx6guKf0CmQI9Jx7c
Ii4XSpfitBfutTmN36eXWsdgNtOHwF/ksjyQcbXBgnjzV41u6lvUlgaUK4jt/EK1fP2ycq0bI0/6
7emn04ttUcRSepuKWAV0aiw6/85SDe9u6H9Gjdnh9FfcrcaFRwtcP0bgi25LT9RMU3XK1lGtPLt9
Cbtu8KIrx2QJAYzGWwwh9ElFUcxj2qh/vsOc3K8oTJBrW4P49Jn775mfA+S17PvTTzEe4mXs4Q4p
WuU6z43xx5BhLc5N+bMq6HM0VYxrXr3yCqkBmAMb4pmG2Bp2I7YTEp3AgtPb6UOnk3sPkfbGmCrS
DdA63LdI004/xp3+PCBhv9Gk9mDQ3H9ME8VYaIYdHaVhEqiQDzB0NW8XZnEBi3Ywyn2AZgq6VYKj
rcm9oyHC9WkIcKdxAAVAtKgjUsx4kK6aMYFtU5X4GlkD3ioqcmFJC/DBpj+NUDBWnjtZf3OwxKhK
p90RhSk3AlvtQimq6gEDs7qKLM1fNVAWHsoCwmQ8UGLV05oMiWnV1DapcZnrybKKNPUmNbyAVbZV
rwH3G1gjA38Vmzr4v6Ji0e0zVntE4z2fvYukHvzxGd4XqBp+3q7SxtYuTy+FbOXcZ/rM4p7PxikI
I+wZoArbQXw5uOlFo+v9Q4oucJa2BtGGjd09QGsi9IQVrZ6/ltL8kUotuiVJxLro6bavCL6znjtT
MjdI0/uqdWG16g3ZbW1wRUqieR1q0joKp1qefsojVoyWOUVtgGwb2Z8LmoBbV2H+JuqSBFT8xWhv
g35RNlw5fua0m1QfuhsAefZ14a9PP3RW0t2UiodUrCC3I5/+AHfsRBlLAa7SEKxW/Ri7XCjtny+p
ZWBXL4Mu2ziO3IwGIRV1NZZrFjPiqWwlIfW1cuNMoQeD9coOJKsihvY0FxoyUSbQEtpViprfYv6x
NCm1zk+DHdhVZXt6dxoGT+9OLxNGxgrdZYnbBt6pWjzlWMVOi3QGPTJK/vW5SdvVN43hWzd9btLx
ZXKiYRbiobW0IxVXGlh80gOdoaLz6eS0+VuSeaMmfKTz/9M1q/pNNd9C0CnerPCQL2EtRxGhPocY
pxcC0MSsLnvr0E4vp3dukv75jjrjistJ0HuNrG3hVta2l9qf7/76rDCUcAvKEuN4dDBYux9O71og
05QHAxORtrz465enz//6s2D6V35Kqobr4yP46xcQMsOl7rMGrauqJ0HSpQ6WD8qd55vxlW6Ou4QM
1XuvtbK7BOabSxZpRQ1hlfqJS2Mx1L2dIu15bkTVhabrw9qQXnLLVBTvQmmKH273RtnafZVpdNGq
SJ84p866Mobk0imbAuMvLXLKjK/0ZmtwukV5BDbx5qQgt9BDYOGofe21tCDAumH8zWA5uaxBbID7
tgjZ6EY6jOi69qeX3lH/fAdZ6893OXsHltKjqGTLI8vdfGvEeXUZkKh+6YjGOwra5tQYKe5khJg7
eSd2Yx0X6yHKl2ANSJkdFHfBWtv/Zjvjli79hVubxmNYJ+V2oJc/9xp+NJy0XehMxnuHLBarb14j
DhQdEwxcSYsd2AaRcgjx8sza2EjWVtN7R73LnlS0eHe9W5Q3nUuYpePYd3FHT9/N8jlwZG/nCDRw
pxcvxJLDPwf/X7fDY+/rUB86JdmDf1LWCv3B00enF8GDDysMf+EhlV/mmkFnvdHwxP/rxQkrJZmF
CJO3VpfrBuAl1pb1YFxQhHayWVca6Q680v+8he2RQnKI093pHdPzeYmxZjE0lKRP3cW2FN8UmVdX
uZFntyb07oQ8XfBZQFwGWJdTt4mOurJ1zdiet3E3PPU9/pWO0K6ZknnOpiuoEwVIJ45KVk0Djv8/
7whcj7M2vdJS75uRuemhnFrvGWRwMjgFq3dSMG/z6KIQqCWgiMFWtRYloHVi+yp/YaWYdVlt/0hT
n/taj2ngqwR8p4WJ7k9Jwh9jcW8pyfiqqECPUoqzO+EYczFV6f966bPhu8SPuj59FCD9TtHW3JMd
RhpJRWnR6yy2zBM/uUJnWEKRapXqkyi5cI1CYA4l/3UJRoOINadQtp5h/0Tug3vRk8p8dDzjXmHY
3MSOq3D6HWONaEhQZtZ3nlbGb2mm7RRAoH+9UbJhK3ehKeixNlNNyVHoxPj0j9OQcCK7tfcs2W3W
Fsmf7yjS2/uIiseFoTSoN5BiFQQSOqmj7kFCQAE4vT29WNOHp3cq1ottxd+dPrJOf0fbFMviWB6T
zi5uLfemt6r27vQyCv+2SZzqSN+wvWO00OZ9N4VPdQnMvaCNtsGQeld1leOCs1r1e02IR2oS3Wts
XKt4CWRkP3SKyLe5MlXM/cF+qHy9XsU+jed++jEZQ6hptJu2ae6aLKg4UE7HVUNtl6otOofD554o
54MpDY8chCoTj7Yj8AafuaojRFUwxwl08cLwsqS5eh/ZdMJozlyrYnT2dU3SjpJ23czUhmGFcGHY
Kn5frJoKGSKGSJ/eprim+lgdaOV6kN1FSbJyI2eKEWvXVvLt5AnQRMRNgbFjGSiweidVLYYaC0JR
cTPazsDTT2seSxmgbNG05CGBgjxX0fhsGbWSlRCY4wJLvvaNkwLQnWoghQTW33RMcvoB01haEtnr
PJOKsU1bToE5oOTwGhtvsUH0q0vSGTa0GJ0XtDAkghDdHGPrqrm8LHkUjYJCuMZMOs3I+fKNu6ww
uzVxONdhFYRIQiCBJ4CRFZuIuu2pV1xBAMe7ugN8tbS7QS6AtZgbBVYDY056ayaUPstY7a5CSYlB
yuao1zpTLzvGCTCgb65jPVwXqVmtbdimtUHp1YZVqInSupBjutbVDJqRVaxOJ/0/3hmWq3/+Jz9/
z/KhDFjEnP34z7uMkST5z+nf/Otv3v+Lfx6C72VWZT/rT/9q/ZYdX5K36vyP3v3PfPufW7d4qV/e
/bA8kQ2umzeSVd4ontWnrfDesukv/6+//Le3/wsfYbID/u94hDv/7d9mL/5L8lL9ykeY/tEfeATF
0v+BVg9zLzZfOZkd+VX3VtX/9e+KPaETzMkEbkhs4PzuX4wE3fqHLh1uL81ypG1hVK2ypvb/6991
9R9IxVT+niKSIInW+Ft8BOudt1EIfK4mHlJLxYOu0+o3zxyvuWwrMxiztW6038IiEVs/bZt1lGgV
hNpq3Ho+7SNPtCu/sanMe5TMpJ0pF+bY4s7KRuIpCdvwavJUkB36qzJplC/MxmeQhD820tQwwZqW
cKienA03NSbSchBUckuR16ChVGtFN2JiRDsB4NpgV5MlsezUlDJq3dgLrN79agCtBHm+WARebszd
OgNSEqhz1LX6xS9n/DdOfm2yaf9lGz5tn7BxiXKeDCGkmAykv9iGMYQMfKPGIjvHz8IhamZVmCx1
CqfPSqQjOUUBPadHIpbqREYtQ08saqaVR2wrxUWQNvvPt+g3Z1Xqhq0DlsCardmT7/aXDUrrrGF2
H6ZrvyR+zQ4HTD/qlasWiDV1Ym5c05l9/o2TB/bsEGBgN2wMmY5m6PbZdTR4lGt6JIgYPjVrbYmL
OMZDXOEyszPji+P92+8SNveLIzRdled75xZ5Uabwyli7i2XlV0datZf0KnROs2t9sWdn9t/p7DqW
IdktgdddWucHs9OLUav1NFnb9tDNmKOg3gVbpOYJwUQtiFHqrgsguXQBVYkeRVO8nZ5PcEB8F3nO
C9BGJvWV1exG2uYL1Rpy8oybeteV+IGpqW8YjdOj7SrDF09qbaJ0vD8vbLzDAp3JjKFr6hnFA1xc
3zBvTtbULa5OpoUsBjqLyHQ26ogvapljcPKTa1JBSK5MaB2K5AsL9XuXNweQB7opNEs3NQq/lnp2
vjioGZlaHdeGP+QL1aNrNKByi2oyidqLvrWx9otK/+K8fbhKpm+10GFqDl/+4aY0zTxqaiXDq5Xm
2aKhF7KozWrbA4teaDEZen/zBjBU3P1QXHSp0zCRZzdAWpsgzm1cQVbfATHP7ps2t2hvrQnh+eqk
TuPJu5PKvBjogspQI0HoONOu/3J741F30iiuAO/KAftSTjiHgp0/LOCQ+jA4vJ7OVf2G3YBwseob
3gVrFrm1sfh8l7Vpn863g/sPggqYHR5KZyfWCOq6sgkvxP9mrDRIHHoJOSR56QIDcY3/QLuDtkK0
JiHpOQv8H0bRXSmjeQmr9unzTfl4snm4CsDCSL5skxi990eEZKUSyCVH34b0il2TmWehGMlVX4TW
Vo+9t8+/buISvN9xXUpgsrYK7VR1jOmB8MsJ6KCYNRZE6nUhdr6L3ipZdsYuMMtdP836QucOdPMX
o97Hu4jvdBjVLUc4PP7PTrrZlaWj4cdch0F0WQYBTdJ8Y8Xye9QAkYvkKxbD17+/m5ZmnHaSy9o8
u6aboU9lWRXhurPSh343+s7PIkpQf1DkVKeqRdkgBFK+OJcfHl6GLicoCngRS7M5ne8P7ujrXp+F
KTuKUY24Cs0EAOL16TzSq29Ocf+399HCbM1Ei9IBddizK0fJqbk6ThasKZpQJYu5eEmFRcVEx9Oa
kyr+RgsugeGg1F8MUKczdnYVAZMwGS7YV0aps6/WxhBXkEAzY5lDx3pjjGfpztRLSstka3UptGma
kLteew09kqxFoDnXdknxh2p4KZXiWEU7p3KblQLo8GmoG1jfV16zs+vkYPZFdbSo70IEzgHApfIH
BTpnBnMIB3Es94pwybXQE3vFIVg7xSC/1QOVoczdnFbIo41M7m8easthdiAdi8vYgaMx3VW/3DWi
BQjRDz5BfXaODHcIlVnXxZdqDXinz9N96fQbn4CFK/6PL776wzX1/qvPZ5C5ToXHV9xiTdSxbkD9
CsHKqby5mtiBn+/mh7GI7zI0lcm0rZuOAcDs3W4GVUeC4WAXa9nZ2wiFZjkM3LQtKbdfDMDGh6c7
XwWky9CmsUhq51+lBMNQQlwvOL/qU2bDLcb0PE2C5omJMstF9xkRBtyN3gxLya2t9NEc/PwcNB8a
qzF9xaKxyKonHs9k51Yl7EZyp8lqtCnX1j8KqMkzBtaNhonczMKdr3UO3tH2RUvQ2ft+piyqEKYz
Bfjrzw/ixzn/tGvTfAs8HE+YE4Dol4sl7BOwzHUGVGEg7TqjrDbLe2fdJtZNXxe4aSEaRoRszNrc
vSx7oB8d5TSnHVdo6F4QF4GlIChv6cXcVp9v24fHHpsGCMoydMukcTOt2n69jofKH3FBKfm6SsEz
E58NlF3of3c+wZdMy0LUF9LQDf1sFGxs6uWja+Tr1M1/WG4fr2Tqziu8+EsTRdjne/RxBUPvnVEI
uw59LMyU0/3zy9GmXjlUpF7xbTaB07JUIKN5OykTd9m6MWpL25rsK2m8QUvzmoDEEoFAWZ3jhA2+
mrR+eLqyMaifDRrlqs2M8WzXhZF3g+b2BUIn0cw7l1Mv4XUtKm28xL35LdVblK2Bc6E5ze3nB+J0
WN+NyXy3rbHCZnnNKKWejcmJyLGRSD1fq9OTpy3lupKkALmxVS5q315pQENrW6hEoyrPpi6bWZj7
czoPz56hecuxKPyFcAMXAp5GnFPbQPmEnhpRHh9TI8ddHZsbTMAXRu7a87r/4rY5nah328+UhMKB
DqSfie+HKZk1Iq1MuenX44DxNhIxWQ0IcrMpAsxkiu8pE7w9LvES6+siJ23cRyhEkBIRblWgz6M6
fwy0dlkkBBVUTTQXOJQCWbywcN2oTjvTBNY0iKkXUokvORL5XJJpGGd3dL6OpFWu0F9v9E47YKGA
REKMHUnb+FxFfRFp2rwlqm/h9DTDaTz5i4q3M0dB8dma11xu8zbKu5lolEebSrjhuz+Nwdx1FB2Q
um0aRb3H2NkBdk6GpdK6h7xRjZUyIRwT4X5xB34cXXkwUxvhhmApDX7x7D5PAPZXNc7ItQluLtP1
vVMa7SIPGU25J/bY6kkiiKJoIdoJia9B37eo7usd+PsoHJ/CugmWSMfvaaUfw0RFStfKS6vBHI15
P54JElCyboriwhrZPLQSlF3b5uRW9E9BTpWe4Lm7pBMa4e6k+HxxpU9X8tmVwnKFNa3OvBkI59ne
+YlPnIJlpWtUCUTTJvmsi8aZRBzqhdZKqxuMBwQFSrcUdC9oAhDLsjDVdj4VZWdJHSBcMwEHZx0O
DTVRsbjohDzqsJ07Whmfb+2H5zeQRvrYJlUNxyQ46mxjDSSFSPMAlIkBqLWRmMeMiNYugc1fGHvX
JxTq8y/8uHCevtE6zX4FJTr9bCAA2xgmPX7P9eA+xR2plEYWImoEL0ia2sxulAWVHQR6lrkJbWsR
4QX4f+yzo08FHCkpdZhnS3fh664PdGiSbnjGMqcVPfM65SpU/e+phVMpBfP/xYTi43OAvUa6xYsB
0lWe73WvVrZmZg2FI4z5YLuHaD4oIYQCrmHtiRz1i7xOSIipIjDDtGgxw8/bNn3IcnfzxQnQP16f
QBHpWJnU1qDLns0WLWoJjd8M6dpLrXCuqNba180LhYhp2/052MoF8Q0vaYhv3yfYPb40a/fqi034
8CBiYavyXJzwdEBkjbOnYhbEDc9LkEQ58wyzaN/0HuLz4NEp05tyFwf1bWNjACCIZ5bJ1ls434gj
hffFqSpwvMx6vDl05X46PtMlI4UiG2NN/Hwrf3NrTIUdKLdUOXTqYWePbkdDnRf11P3dliwXh1QF
MqtnvjCO0ylSMnn8/Aune+1s4Hj3hWfXZdCO/ViofKGVo4WoNxIpUuKktE7G9f/nm+AeCpMnMaXy
97uGw7Hohc83NWsDatEsGfJbKb2f8RdrQO131xqFcAYWU9ME5ZP3X0TUZmmVCreaGLofbemgkSzi
5U0RkFhpBio+G+VK1Q2InLb9MhJP02fyq234zXhM3ZQOgcpKcDqR77cBidKYmhr23sjViXxFsqmG
eAw9/Thwxc0afee0IliTmayUw4/PD/QZZZISHVc66wjmW+hvDapY778cKD6uhpyCcd0+ul4HuM6p
86kJf+Uk2Y+E9AIPznmjyS15S4wJrvqUB5e2XjUzacxUf270LCH62nlEJ+LPmlFzsYRfd5GyGD3l
3nOse1yluNG18Ul645PuO9vWswcaZ/4jVNZm9/kOCbb3/BpFb86027ZQeJ1fOTWtQorEDgczV8jD
MelP4+64hc81fHH7/fbaEdLk4WTr9EPP77/RzrlOXQsbBXj0WRId+thKZphm+aEV9UavXOwszn1T
OfC8uvEJMs9iQA7w1YZMd8P5PtOCoIjBIMCq6WwgYE4YWmVdU+olOXjpC6KAl+1UO4ksvCuqbaPe
KIiaUFJwhzkrF8zZYRSE+1IYoMAGQLOfn4TfbRD1Gx3Gt+SaOl+d+ojb80zDckCZwZghpnvBmO19
sdsfZ+w2Y5+GkY/umgNs/Gy5XapDj03Kh6imRMasVivGZIMM5AgsY2B+L23cjaKtd3SHZklhImNx
7W1gjz+EDMHKj5jnNEIA7KyFuq97Leo54kjs2t20rJ/BzzRbyyGgTlDtL5IvZmG/ecJAa6EDxxjH
Su+8/RYKzSwHT4nXmSIc1uhEDudRdCGN4YGgPAeLm6K3mMRD64vJrfab4YZyPFBTxjzLdM5PDtHK
Q0zQIkLUjHU/aSXz3ErJLEuN1yJwr9Taekqax2y8GVO8Kp9fGNp0Ts4uVXOi2lo6E6yJt/t+uHGF
Bf2RFtmahfOxT5WVoumXmUtMKJWHyhl/9O2TNJmRNvYWzN4tjRFMTfB2CPf0J+Fr4c6J5TJIxTJG
dBpfbN5vj80vm3f2hHN9sNkohSfSwo0scbtMl60SN5CJge2R9jZYh14/hNlXS47fzb+YavIUorUl
psbw+wODDLZhWWTFPO/qW8Nxr1ykxyRGC4xgaUJ3Zk52qjkxLsCix9pK81QAjx2EzPKr6afxcQzV
JsAzBRgK/CrV2Pfb0uGxIF86j9cVEZXE762E31ZLt29fWjwn4LEWTdeTMzZEzgzBKVlDol7pirtU
suwqbS7T/sUurO9ak6xC/8YvuztCHH8w+rDeJIQDgAkK9BB+CojcvMfSUFgTOwx3st5WL/CQbvv/
puy8lutGsij7RYiASSCBV7hr6I0oii8ISpTgvcfXz0LNPLRIBRnz0NHV1VW698Jknjxn77W1jqxM
J7lTacq6dZl8m6c/n99r/WP5xK+kzcTtFoIW2rsrvq3jJK0d1TpmfLFCkoCiJLx6RfdIjupt1BH0
0/cE1+fFD3UzX7gLQIk0+2yUVHmVLr9JHd51CyO/oPhzY/riJMKzoHa8zAwPq2BPEBfXxAQ2hDUH
LXGZ5JvPz5//kI/DGJtXiXEEN4q/oEP19+2y+HSwscA1nKykHF3LDhkVXyHO9ceF5JWmafBpTzcj
/ugaDiH5hS54isfMFuzgaA+/eMnFf9kKf7/lTJ6BrFBWsTiDIfj7G9n4X515KpuDGC73p/5UQ1+w
ROf3lVL6jSYvdsc0fpo6OpsuHpqOzkiHmXE2zaCaTL8xawz1cY4rEHBHUGffNTspPVmgsUk5nKFC
Hlo/sSOB0dW+1zrUrrjFiyP5hwTKx8gM9deBgf/Fmp2NTphni/iAuUnVWyX124w02TKyD0MVzdel
lD+ACJu+ibchycR4OdrqSzmoeWgk8i7rxjikHEUhNMmIgZfza4qmnjhBRdA0UaMbYdBTnhd9DZqh
J8OESTI+5EAItKF728WLlKQPVs8BMINZXrc57JfqNd/Gj8TzZlwnulMdotX5WcfzH7IE32awYf6M
/Opcb4sTbqb9yqLE9LS819DhH5yYyBZ8T5iYCoJ2zF7DD9z2Q5CRqnXd2vNhiHBVU2tkPharlTpt
GJ76qbwt5rgJ22ScApmbUcgA8Sfrse0OQxedZhtFPEIqNNJAue622vCUPGRjQNsYOa/W7BX91aiO
j3qVVOd0EaM3zNFpQ6RxvRgk6g4qeJz5CgfADwFww5fzMIWyHKJDlA7fcWXfgrnN6SNjtkARja0v
GVyi1UnGVbDIGNYB7Tn5sdZ6SRYZ+NnUcq1kvZYCu76I8kAAXvJ0ewYkwEjDyuKTisfsugQISYPU
uJpRajYt0Q+tImEm4SodLP0imdPl2E+5xlOGSjHWVkZ2Uv4pMYsRSwBtCozpDpLqTlmy7Vl2xBM6
XftoKSqwqrmJvHX6Ma8lLiEafkFuMnwtp6s0KfGqp5u3aBiwhNZcTyCzwdIVXmm2i6diiw6s4xrR
MTZE9ZDGKRO1Huh0ZS0/JrS6ndm+wCHID7WQ2SlTrwB1lfVrL7scrYg4qTvJSpo/4IfTMtOSY8sS
kikaGPfJtH0n1q1Q0XX9mIXs9tNRa3HP2zbjpA6rWj2Mx3TSW2BJ8mZUmYGMM0Y3WM6RmJ62gs6k
mh6VPL0SubWGFp3gQBmVw2wi5ODpvV5iqEFSTw5KSgaSLt4GwoDsbXuAsnTM2+G3VQvLIw7gOy6C
n1qi6a6WxiuKULomumu5aeV0T3LSNBKjkjLgRS99QvvMI9fSn3RMIssoDjmO3UemR4tfJiyVRr48
r4Yk65DxKuF/WKTo2GJ/q/TlnA4w2yyRUrbmPT3pUp6HjbisrkA9iXsXaaRum4cRNRLPovViyzkH
zrhg4SL/KJ2XFOLs5FcJuyvuz5cV9zUZW3MOP7zF9+NNsSgepaUlpzFVkQDLIgqQFFI5VsVLMWy+
is4W/ker+nWSERmrx2QNt1j1IXXCgne8ehy3W6Wc/c3EjzDBWjqAU5UeXlNgQ0PzWmkJSXL0H4MJ
9KynDvdpVJsXfapo+C4EoCmdhOHUjAD1IDgWeZrezCj+mH+jO8fN1loB1LUV3i480M0Qz8uQu5qq
16FYpkOajCwAndYdF0eMfq1C+cOcOlzP9JVg14werEr9ZqkL2rVqed8X35ICH1NRJBjAJ1NcTzQj
wcqubintFWNePgX1yuralUYclBWCzxE1xakVDs9IPj8k9SACBcWZG1tj2AzR4GNaFgcV1cs1mmsY
Tfgpg7HUZTjn44VC/C2gtvSQx/YuoSa5HG3XsWSQScNjIvdNjvDHseZW2ASm7rdiF/4av9ZOY7mx
bpQ+YYTQSdbuWaOd7sY93ONFcU4TkeLN0k5B0/6KmrAYReQTMWp75RjkVkz7rs8tItroV24OJUjs
6KRP/LQjLL/GJGcMMG0EKKa8Fw04H3YQm2MsKhJLeXIoN0Ff/+mkwSq5LSYgc6f2gP0ZP+YGFQsV
1UgQO2l0mmoSTe2k0GvtxgrQm7ffc+COhb2UbzW0KWca3LQZfViuSli1LGrGNIStqs0HyNYGaBvB
e83L2Q1RFixQL2ysKG4m6vmlKDVfWlAcoV5y7ZDmZ3n5PFkaIXuTwvIgJZ38LccMll04RtW/2MV2
39d4Upgs3ysdVb1o08fFAAfFiBrJPz0/v+5YrPpOTCj229xDMab4IiLLsAA1aWUbEa+Fkj1tow0d
zravVCgTLn53Qh3TmnyA2tbDVejAaBbWKc2IHnusnOYwVYfCXrurEVBSQjhIWOrI0j8vgZy9Lv+r
4HDoYwhTIDWio6G91+Dodlsr6KCi0IBOgFc+vrDjVIGYL8ugUKnfGofT8LQmwZpbZ2GQFaSazBya
R0vL8pNU58lTyzzzu8y2joaMXLa532SSR6e+JRShh5RWQOkCU5jfsb01HgvSDGX5WzRbKnceL++i
LeeK3MFBKMl9i6MkWhLFExxQr5I4C/KqfVEWGC2J6F57K+LTt0j6Sam8jqOZX7YKBDWkdNjOrE0y
8yfQr1yU2CObojjSu5mOVkM+1byRSDBlz0PcFRd53ks/nZbMi6fk0tBrYHmFcgNKxx0zQYyStKHr
EZ5OyMc8u7Oug4cFYAT2rf2VAi0kYUa+pQ1odW4lznVNdRvdKoNNHU9NxD/dju0va25VOuDTM9FT
6UFZ1UOx6t/LzeEsIoEzbZI32UqXg5Yq7TErcPY9Zirt+TgDZ1mRf/f57f7QXsDOQDyKzngGQQwK
r7/Ly14fe7gtxE4tpjTJ6gL7ucn+7fMP+aj+ow3Oi8p4VJIkRiLd35+CjV1vU7NYQquZL0UX/eJR
qUKh95xFW4jWentNXtgD7B7zEOXZzQYQ6aAVhhHmgtscQV4PV8boSWzRKY+SK23zAJUsj8xVoJ6A
AgmUKHr9/Ft/ONTsX5oppIZJiLamqv/9pQU2mnnolDnstPVuUchRgJZTURu3b3pt6QBpSvHFoflD
J4OPNAViNJNDI4Pxd2fmZMo5mWYLsv8NH56dvogSrqM1Wg9pEarVs50xK67qMv/ic3X5/sdqKn2T
XXRnmhQA+n/HkP+ZXVtsjCpQqiFceGGzHlhUo6i+AeU97PYSb4PnP8LtcCdA9MQvJq8Q1bZTazkQ
i+bExcfAKN9MwBgkcRquRs/uAhH+AproU78thmszc/y2kjfMMJPKsaSYYI8RwLIyaM5LH19wsIpu
7S3XPTAcJkaNZx4O4mh6qGYp0+LBGEH9lPkFDXMyZFRtpxljbU8oXv2GBJQ9CKH+UWwsIPR/lEpb
bxre0/v1W7PW0u9jmoacVTpy53MrWAlXDKF5IxMSGzldLdbjKMIJpqi2Etqj2t1WA6jKGmx6kKwE
MC2RrT9G5U8Dis6xiGM7zIdt8mr4GPDvSHTte/0NY+33djWOhcwQ6sWNPFrIpd3OMu4xp0Pi6nR5
KQwnSDlrhlpnMNhA3QxpOL5umHieMN8cqzxhdTDb+dwI9g0SyK9xtqmnpd0i6t+3RgMk4WRC83No
FcQSadtx2c0w2gjUiq2JqHczALKpnOqB31YvXtXXketY+TcxlaDW9oyLzJzucmfChayWR3hGa+CM
KSYl+xaTLisYUnA1H+BXJ8MdsKX7kaS5a9Wc7xadLjc+t8DuGhWL4jKB8ULisq/QriC1yrXa+oeZ
lBs2sOGHjr/XdxrVDIveehrUkcjicQk6+wIAkIYpM2B4vfht2etnmVAdXmHKnO5jLTrF/QwtqGdZ
kibMdz2Z7rV0FaeGOSZsGf7Tw2fNobyGjPQ51ZDuEuo4vZgdjcuxmlXCe1JcmJqNbmuVJ6IcEBTv
SJWu3Bk3Sn2UkUWaWySu1XwNtEQxsAST+sWCBeZIzSDiZpPXozsw7ZWtRk9q3o5V+VZOsMVnzEc2
Llb+nfyg4I4fktRbdKBbenLZ5xSfCTzGk1HMfzITlLWdjemtbZWOm1VG6eWlILbuGzzDCFbcNrn6
xhkq7pInSIskZehXU07OXEMtFyhpq3zXH9qymS+irAdImAdxr2y3iRYRsGVpLXsI2cl9Vz9nRasc
5IzURMyQeXi0ZyJRT9aDVsCWkAvx8RzgPADu4pIqoz1U9HF10Ziuoy2/FnvA/RNrYKeLyo+sHUAv
bYqmCQpcW1rtYUNKGegpjmwraqogQn2sJtGPpOtO+uzQIHEighdg8AW2zJOQE2PvdcRJh2C2OAdv
+Muqsmfs28b3vMP0D0CTABPEgQpsrkqN5ILT+60zWvUtRNCxbit/pLUL/Uz1nbGKDtOw0JNOnZFC
I2Oj2BAY5vG63ZWdFQUDKk+fDknnKcyG+U4CEs6QXgGFFpmZnIjr1oJIGwwAPo44dMYXnaQPukRU
4qq0d6W2A88UmdPfu0dXEDHhzBiIsnE8Mn2leKL+j5FkPowwR0cTsGljJ7+itbyUW0ri7myAP7Hl
QVUCeNjKw6qa2Ec0a8DJNNeAP1B+pMRnzj16GugUV/YSA2GJ6cZv27Sdo6ppQoPBMtvI8ESx4erM
444p9ohgUAYr6NLn2B6vRSbVIF261zYeXj7fMt+3pPcfjQIU7QzqAlpp7350auTlitwIoMTjOrJZ
JCV06Z5JC3IZukLprEAI3MzuiyJG+6Ay4YPRqZv8F23I3SX099XOS6O3C6NpOXhPz3NXsojT5GK5
WZ81e0GPT6KDs1jVYaJnAowSDP0+YqvnCeHnZt87UfQQs3O5gDokedCAUZ0yvUfFGnm6NbRHA/a2
m2PPPFDA2eHQ9KFhvTiRzM71mIK2U9dLMQLXI/0Jgs08i6Cq9AHaWey4VVLIC0MDx2DNWuvliizC
xmICmg4yuWyMbx28jaytm99jEf3ODUQyqVCf5mI6y8l6tY1iuiZYAPzzLDiNsn6MxB8XI7PUWMYr
QAd4rf3i3DelZVzhd78fI3U5Ius/9Fq8B8PVs8c7g00SlonatR2gG4WdN4pIShXIluxmJjUatncT
OT8J5bJd8BeZ7+BOJTV08ByH9jVQtDhI9fJW76Lvk1XfAw5rdpImZpx8h9gbzb2Yah0Kny5ILKKI
4Lm8jGyVTKYExzkRhDSbTqOpjGHdJLUvILhxwJWI/J2ta309h2SQCBpiAte/UR9Wg6XXFE3roa+Z
D4mG81Vbx++cry04TjQeOjHfGOU6npzuBLt4HXFZbfaftaShnqcOP6ter4ypuSOpdPQ6Th5XgF3M
sFITna3uaj9xnXKj7/xJEd8Yuao0dqk55/5hiyr79PkL8mE2wROqq6igJCMj1f6gsW8Z+ma0DNqw
yOqVVHLCy1IhCE1RlVMq8iwomkzzLBCbZqtzzwZvjpPtnMXZk7Oqx8+/zX+eqv896/33baj/GfFS
mjPn/fu1SVqsxMKc2nA2sfhOICkJTP/tRNqbzNKzUtWtb7UMBI1GS1gjrfiolPZNPNHfb4jjmvY7
S/R3pzznUfeLiLaHoZk5DyYAudi14qJLkJ7iiy6b70skbV/VlAeHMzE/v/1tJ9szsL7CN2R9kQNH
I3WMxUwK2hBd/qym9Su0ZKjq3+FsAcYBSuKpffpsyim6yRpaCKQ9VOWIamI4QTV7Qwb/lvTZo01+
GyK4+JxrvLWfX7O93/7ZJXs36iinaBgaiyVuaeioLobXQ6TPY5Jwkh+ff9JH9a6t4ya0JEkZKsKZ
9xJZx+4yo42Bi5qEEZAPV8EH0432ZlXAxy/GvF3mqXWtsytyBUnFmA3Sy+pxov+wtK4jFd90Zorp
roED3GnWV6vuh7OjjaRWExgzd9299V7vkKoZT02DziFFq+aWxVmfmJHnsr9X6FxvGmmj84hWgJye
Z8Vcni0iI5go/x77GHOzkXw5K3l3a3apOB0dZ7c44sR8LzWsWgu9/wj9BZDlqxxm5crkZSNDRZmO
cducGtpZ4VZXVmDV2u0k+u/0NI6yzYfrLjPdIYVkGsNL57y/PPVRSZiOnakwGyE8qT0EHXvIQ3XY
Lefm4jYDC7idy/hKjNGe1ZAdJNZxVxALuWMdzXKwCZFBqUoqsD/M5UNLNM2s1wwZZrS3TmVXIUIU
fb7dy6uihuNXd+t5SJw3EPbdE0yVr8aR/5hvYXel/YsOUEVb/z4uWU+nHn4C6FwaF/gfZml7OdtO
Z9DBqYzRoDWByTLrGQsl2okzD9lYMS9ohdcyJW4eRRQqkM+fc/N91cBYFPsPfVKbkds+TP97FWJG
Pct+heqg0GkKimgISiLNz6k6MNcCBHRQyPcLnDQ62zEhzvNErUwxV4NUXuurImnqq9VgwlpGfwg9
uO5GqzkM5UjjtDNpkvbmS1YBh07mMSTi0vLIMDIO3BDn0RqGkWiQ6WSPa389WXQ2RTc+SVpFlskJ
cqVrLWPTue3gLIJjWn5nGYcn8kXIdSDVerQmnfghIgvsrc8eZN/8GUzinYvlZTV78Hdte8vZxHFH
CcSk00mEa4b5kKlKQQYk/g00zQf0x9m9PvA/2qQ5aDo77ecX+MOmwwXW9lP97hlBZYPb+S9hem4C
WbNoWB+ItUV1Z4/OsdDHe/ptGznUZXKcq+1Pk9i3wyaKcEws4XbrohzgTNxHDfa7z7/PP4biSOQx
YhmWZQnkwe/KRDbbRu1GIzlkFgGLnEBrJFpdiSQVYjm5otpFXxjqhTWLIyiB4XoiPsZRuv5ubAAC
zRPEviaF1iecOT013SQepUjzoMyIPwOKLvo8RtkA8wq8QXesnMx+YOJFw98ZLwgesd3/aB8QidO7
sv5/JDt9Hw/RNvjpzF172SVUIMaMWODzn/6xE8atYJhrIIbEheb8t+b/T5/FtqKM4sBMDqVe/2xN
ZT5UGxC3loBiYDmKl/eDzlBVYzRX9heWSJqnKeYcOComMEl5SYObBratpKz9iptnKhNdnYIJ0B6Z
CiCtp0i7Kzo7e/z8i/9DobU75U2c9gzIUSO9KxVoEJllr434EFvmSpWZ3OEt8bp9EE59Gi4jXP2o
WZ6zTp57B8VJaX9jcvjt86/xUU6xtyp5hNH2ERH0Xm895KauyLnMDxEyB62nO9M7+cne7C8+57+O
5P9u87wy7L0aqg1kG8J+ryERWzzB8GYv4SOvY5NyG1/yM9z1b4o5P28mxBmpKYi26eE3dm37K33W
gIORm8/L7OdTHlpMpKWB6KUxTbQN7RJWhKXA3X9UmCLhH0HBMeKKwAXp1plKUruj3Io6DUb6/0C/
kZKZWn3f/jfIwC1kcIVRaWVgradjqyU7e9a5/f+/vnSGdkcOthz9vVylLOS4cQczNEUTkpnF+Yag
5LzuEpLPP+gf0nAuMO8/K8Duw3xv92eRobdWbeQkNOvwUC/YMOsA3eONGZ8khw/ofXVobNhWIGmR
mBLX3Rf7zodmK7fYNi1VpXVBVf5ec6hM5phqOl5Qp+5eza3lGJ7/bHB4N1vkKTGCGjtzEHXhofji
t79vtu4PF6IOFmOE2Rat97/X4xIy10ifMztMtCXiGp1LKxGEmpbiBDknKYL8LjsmnkEVqQfNoITS
+UZZ+UD8ykvSO6+agmo7TuODBVn+q2/3j3eMsm73jGHGxj/2/iydKHkvVFSyvdo9FAlelyjv8H7L
R81O72q4XLsNjibrCD8CI4M6+VnPMGVZQUnbiLwHqXzxWH6sNHESUQljaAVdgdvz7wvGaH1M1GZK
D8Mwv46KBhQ3ufv8pvzjnvz1Ee/uSdNWW5S0c4po92BLDSFd/xaTlQA7BmfaF9f4/SGCB+CvD9t/
7//sAmgZyD+uGADlcbNj128pnA+UrthUld+f/65/fRSHTVvwtiFKfu8DWxigJ2bjpAeYPVc4gs8U
A0/aWtKvax8+/6j//qx3i+Zu9cFEbrNBGO8NcGuPTjXS9p+1xAEREYgM0z+92QMDquv8NmYKrdoM
EgrWNd/RkTDBJmTfH/oSnYnSHadyyS6bwfkzGT/lhPeJA7/AqsBD1eYd9inay8P10AIVImEZlHnz
g22pchXBk6qSVFs6PnWFGlrzQMyLaK9SI7sWKxBP4g4hduUbj+cGu3ioNlhezJyzyJaBk2ikkWV0
brHwTsEXl2V/Yd5dFhZUBIkcT1A7vN+0uqLDQzagV3FKFfK95mdEhSVScpgubTcCeQymPcF9ZTg3
Fh2g/ZBbe4ZV74hsGHrK+DpOnAVqW14gY783yoW1udx1DbC4F5kiHSxhStbw/pQlDq1sCDNNtjf0
OJCk2JuvG+pzJofXrMseloUUchU3jGvoWED33XytieGSJCdiDZATK1FG6ymMsMd8fiX+tejTo0Na
vRtyeFTevcc74yWpCUg5tCOqhHqYqO2a7kcFZdVPuibxAfam7ijqm2w1+EFimFCmEZH3+feA8/Dx
luweapVymCKM4/XfL2Bbm8jN0hI6XItyxEDjrpeZFlZbAZw1ezE3OqtllIC6m5Kfq5rNFxu3wyEA
4qrlKSZj0bxP5tvSGKOztHB7S0x6WeM8TpE1X6B3hkgi4vno1PRz6R/eaCoKdv6B3ZC/rgHtcxJt
EnFBAoHhDeal7IfxULbXSwb8Zpi2oMHRgXYPU0BNBvTKkd5Lor02JHMlXgixHZT8YG76iEvZuRzp
Ch9W0BHdM3SdldgGfoCea3uG0Gj5jTJfGLmdB70sY9I0aZchWFxCWrikAyhWGLdkXVD3P1cjQvum
Z9wSwyIuUxqEBGs4nq1yfkGWNvGLgWcRxDUX3UsO4S42yjP9tdKbM9DPso9tWu7JTxEhWhs0HYHq
3C1hNL9qIhOemNXWXUtk4hvRtG5XypfeEMJT4Lf7L6PmtC61X0qmcHqJvn4Kux1mno4P8YK+vM5m
Aotqpg1gwldn0yiV+dtOJ4VXmPFdsvxSjQnFQbWqISHcKfXZSEzg+KY78Z1dJncyXp6B6f22fqBk
/UFuqk/HGkjTDOJvcQetKMJKF5cyJyCkq/LFZZrdhF1h/RApqJoS7wWiMdoruuJoyBKIa6hz7N42
cRr8Lv3McIZhdNMfmlahelwJT47TPPdAs3pbjbivm1iu4l+DpaLzPdsC8rfO7FDwqJCjihyiGuuf
zmp8/6+bkorljY45YYzY9Drg4rwzZOaY3RlUx5uS9qe5t++BOWHsGoA+UxUOm/KGSzSlYVc6we98
2Xq/53q62l7P5hmgSRgs7pD3D2mUpb6WD1cAAzYSlokuRcjwHYdHiCE+8gqqhLBGJon0wJzwpxR4
wdeJB5RKJTG7xKuQorrG3nPC2hltfXrUlDxo7EiSnigOG/WUx3OlI+FB5dMrGL2K4rktIvAQprxu
86WhVb8n/og5DbZCfRry6mAnfe9HWbv5psXfxnpxxk5v4GBHtlW2zpW5MiWycNMWunohhUSQI/sR
H72NVGxZ/shxyANYph7Pu7xqN9S5A9aNxs4e1qF9yLvhFRgr81SrvDeFspzHlhSLrFEul+JunJrk
TdHSa5iv0p1tK7uf6/qiW0V/0fc1jy46MKbheXM1MrckzW/bG2y1cVjE3Hp9CW+0FRS0lnpd9qUR
LLWzHtaFASEhUMBot2fNSn+WHQrB/o4q/GdLvxcnD+NtJCl+xM2E2XScs/6NK54yuOG3R0YnD1o9
fjOzBiMGWCh3mzrQomYHwY9VK1is5lvDs0ULCq6Xak7WMVbm125s+9BUsNIgGnNczaD5bUaaV85n
Tufy1Cz3MtKQ4WiPillhn0W7aaRIedK58hgtopwydpNtrD9wUCKr2JjpXikd8V2GdYZEynqwHtqk
5s2I0EZY6p2K3+AqtbZL1cmNI2KcyWiGK6tLA6IBpnDomCWOSjf6pCWbrg5+6P+ebCqJXn0pwQDj
+9ZiwtCyDRmaPnKKWkjbjBv7B7pcrL8qjYqhAdDPcN2tpcYcGQy2PZFSV6S6uxUI4RDOk0xP2MCq
ayRcxaan529ma90q9nAe+ufCds7UqhOJC7oOyYLeg+LwoEa5F5kt9UMN9UBjwN9lKHo1Y2OiaU63
afugxNN2NCt0+2VuBlva6QEagOyZGXvrw5ctHfVFmyrGQqwePqZXP82ytxyukNsQAQIz1tf4d8go
klzTuzhbvZTRxDm2++2oOz+kkRwHuxwv2or6J+oHT+ysGn3VEHZn481C1IFhzM9tRto5v5KRVVUf
tXRGy2kPxzbnz9Iy5WIsVQa66Bj63PbTUcFkX7eIh1d5WBaGQMi0XPLX6bljGUk1k43mQoAT9uWu
xDTU/KnRGj8fomBcuxJLQX4yZtVypxlXnT5W/UEfTPr9DVkLyb3DtAUFRuJFiTK6eJ9p06iZVwzj
KRPM7FvzpCnBNEdvTmpcVfXwm/gAordIxkBs6dzaFUjmcXc2kK7g5p1jH7IhCUszb4NZDGjiSldB
Ug2boyk8dYSTVwMGmcRFJCA2OawDrsyK00qyT5QsxDDDDkH50RDo4HMARKA/d94wRNeT3mMjKFDS
t5mw0fmbzKppqpuV8eBg8+eaQvmfYvDck8BxRwGt+0W8nlvSMa4TTZL/OqVmOEYB+ZvI4rfxzkhq
LdxKWsRNqX8f4/HHpiFhLld2+q1hg0rHLZyIMyTwWvW5bJ5CMpPUCDzQo9HblyQFYQlK2jd1bV7i
OL4jGMc898VPxvcvNQ14XyjmdV/ql22m8v3tdPa1zPbsjYjEIpBt1oQ92UBM2UjMMS35zdB7yWYo
xovOkVjiiQwa1eahQ7ZCJozJZ7ER8DCjOKh5q0ylfR0hXFnqeGdZ+uVS5VUIbvecE3XjowrfME/H
d8B+/DFBDqsifdt1PWkQp7rlLbbVMNLEZ62MNnGXiuHcqor4Xs8SbCAqgKZv0SwqEu4F2HKZV0Fh
rTx8WXtpjVHsgWmFhQQPwSvmLvZ6lRicGhG7LJ3bVWvDFaOJW5k1umOcLrFyq8zUA2ubAgVI99wJ
S3zrbWR/EtSGr2wIb8U5ypLxKI0O/PZwO28QT0pLkkKrgZ2QA9XDSv+Gro2FEPaE9YBanGa4ncUR
ov+0R1FdgSpI0iszVV8AM4NeV/ScgClAqD1GuZik59mibF0yIsfqjUZOBOfWa42Yk3N9NZVWFtZs
/+5WsQbX+sDwF9qwZyXYWlhItHCoEv0AAKJLS2ZJEvVLjLJfhZq65vNvkZDm5HTqn6ymlAPNhaJE
F+xl21tflhi4eO54DbFTqPGlVK5H8iyGhb6AtEsvUtEADy3JUaMYmGDPyeYDPW59VdVvup59gswE
w9OM+Va1alCpJu9zVC36lU7Rq7C6BkNmXkQYFFgKEc9Cs5muyg3wO0Swa6qe2k8RHngG4iy1Q6wz
lSgvaJD7RkzLa0wUdL0IE0xzm0J7HRPfsJ9lEheuwgziUNvkU5LGHdodob8tyRAwLTbHUwqBz1WM
rDcc7wBanEltCnvE/iEdwkMC1sqdzPqHvU/hLHum9o1ZV605iKzIXTrrVqA+jgnFDVrOTKjDRemh
bxEka6b6seyjI3CY9CEz+nuiHRXcLvlbpQ1UnjYj501PaK5EMWtGIeKLwQTCvZB/meiK18QW0+kE
nVw/TGoAqAQvU9a4gwJLPtxaOBwOdTYKYpH7ZIJOB+yV1HY8Q25W6OsxLqr5oiAVM8p1zcsr5Spd
+uo4ppv2xYFL37sWfx89xa7uRMxr0eD6IO/kT6xQp6lRqOfZW0R8jJ7tx4ZRON444GCla+uvq1YH
XJQTR3M9bOd24+oPbIT7dtLkZKA5a8bBWJ+OKzI6uj9k56F5uE+IT3WLF+CrxA/xsH1xbv7HIY0T
M04sGrB4qj+0E9LOypOCpkFIEf86tPWLjiGpFk4Opl3VTnRsnpf5V5Vb0kcmsFBkzAK4akdH3yFD
xUqHwAa5fgHq5yJPCCf7/BT5oSlFfwxgqb2DFUArvbdHR+vCq7DX2U5r3MwdPd3FUPov7qDxoUvp
qDhz2Z0Y19HBeW9u3cX5IyknnPN3YTSKvuZh4MVjPNM8AqB4JbQTSOroMLoqO+esrIoH9mcIpnrN
jk7ZjngOBuMG51jlLfB4AoC5xLzM5tHJkPYN1dzgABtVau+iupN2B+HRWU4xWTk+5QwaZ7PIcKE4
nTsOM5Fws0asKWqb4YFMtEvoPumTSeolLfFrQGg83ZH6qjvFeE106BeG9A+DQq4FA2eIFoLr8aGX
tRE/V8HIpg0Iot/N8xSVCT14C5Eif9EQEBU/99r0lQnvHx/LVBlxLEMrHZP63kz4n25dvzRysqs1
OWxFnboEViNsGSz7MOtNckgmCQmtjm8MGNlf3PyPry9CewG/GHLDTpjR37ViF5ltyxCRlcF6AnG2
Y1JUEQ90aUwrIyGRXaxRKwMycyj5bTKisieOC6MXG8XiIpLTvc5OIQxG6znpeTStdZsCspUtmut3
pYE7RpVQZjvkvLzAX/XXP74f0JjZL2gG0uX+MDFq+X9mw5xlOE4OazSPm8s7/tU1+tenIH7cbwyu
BVO+aynZS6yYk1lKYn/i567c00qtL3viH19CIgjp30kUGQjY3/u8sZnh0stqfopqQCVyeAvUhHRY
TbuJ8yH1Zifm7c+uC2V++nyR+dCo2slJnKM4le0G/Q/zQjI41aigQyPq9pLZ5eJGsxDUE7FzGFQ1
aDb6859/5IeO8f6RqCcYTACl19836XAfJus4/B/CzmQ5bmPbol+ECPTNtIBCtewpktIEQVky+kSf
QOLr34Le5Ip0SBM7wvda5UIlMvOcs/fanhvPQXWZbYWMdOsHzQREJn3/l03+87tleGBhDGDclgst
7MO75WHoI001T+LJ6uH5Y7yxjT64IaGHqyQu7d224ek1TOQ/f8lP+swNCm7T/sP5yZuF7v33l1or
Aytp8jFh3ZCPZU/re9KOPk140tFqwhE2McawH4pe3jLDeyJfob2DCYnWMrhJ3KU7DjzFQzBpT1qy
pkcvK6OZe/uB8Am1o9qZEHcZxVFZyZNG+XW7jh5RzIrZTvuPoSlEvxMpzwgIIjSfiOyqiakiF3Ha
WHsqbAygjMQPhUlm5p+/+ecVtc27+Gk3iQxzqO2F+p/dbJlQfgOAIum5Hk+66N9y3VL70R+vjlb8
XEcx/eUn/vyGGj4DW+4gQCutT3T0MSBqKZ1sPyaKktv6mIso9/u3P3+r7ef67aJDF5c7Dm4p+uxM
1z98q7Q3ctoVG4hTJk/bPQFBKOFF5RT9+XP+48sAd+F1DHzHABX0AbqAB40kz7Hy42Rx9B10QbGT
7fSXL/MLy/T7t0Gbg/UEchNYiU9+GVTcwPDpSRKvOVoxsOUd4wrvVpW4yWaPKiEoqR08PaVm2+QS
QflIq7u4EV1AAAJR2j2jCHiWsg5ry4D5k1NvlGn9DxXmcqAL378ES1Ajn8Ycl+N1P+ojaSKLHZxr
YoRTx4htXTV3fRnMf3vxvE930g0CZVBf8Iuxo36U+9Cy6JJWN+24KCZif7rsyW2XLOpzkvz68mtQ
D86J5fRVDfKM6yZD6le/J5U6Kk8+4CSiUANSHNdef8MrWx3TDD3QtIALxLhG28g3QvqQ+IwbYqd8
ob+jdbaIBYn0VtjHpSQKXHdxw3ZE3+zHBT2P0erWYx8kTiRl9bSQ3r4j81XCluOFRdf/WBROSbPc
7lH7zegcBGWFvzYTgbg4T5lpVSdK9ZacnTI9gcpfcevKn3JqnXNeKBHZGeIbmQbNVwktMKK5QmfL
ZOZXWjeEBKoD5l4zmvriZWwqpB+r82Mq6OzrVRovxhai1zan3k6bvait/tAxQ1tcL1SZrc55zjZU
afZb57RH2wwe58Jqbs2+vMV/kx7xRk17x1uJWrGpzD2CiMjlrSHaem3YSiM558Pwj5ueEaCJ57kj
ESagRnZS2nBwXXhwfe891blfQyrud4muaY/mJK9e0kKfJeja7gMntoPuu+9zUWG20GySFkXpm8l7
r8u/LfXwtq6ldyGNMNsH/WDtLWEUoU09HOZLhea187SLg+ZrZ209Btp13cbQ/SYX/QcdTO3iZ+DN
SQGq0Mi+Fn3f3+DIe5uckR5o0GhHu+ijYMsmnPAWEe1eZcjeuZexaze4ezbQJvHNHuXlLel6X7t+
JVI7dSocPUPKOG4t9sWMc6XJED6PDBpNHzuGMwwUo8lzXfZkgRCkvktrVztR3Pt3cydu6TFfaDwl
6L5WdB2uvKREpYy+cPZm49dxUxjpe+9dMt/fGaQXPLgkhLs1W77WLvLGMefpWk7kiFbSxjbhDqhZ
ietBvqjV4Zo2xrGsZfMFkuB9Mk1EbY1uv+Pw1qO8sf0Q4zmYjdHce15j3S+CBorsg+F5Xst3i/Vv
kaj4uKJe46seZiwIZ7vR0MJP+ZcpL1H2OiTNB1gV+U+39xO+6YOX2MU+WTkHvSBpwiRt7zu9lmfa
jqP00juvxUhkLHYVzV6ynqXB3KNdn/qmkyF1Uuw2Y3Nbu8xDhldEcNmrRNF1lnNzYmLBfFF44oi9
sN7DebijWK9f097f01ku97nIh71Wa9mDNWEXMIJXQ2+LY2K3GF/stdn5GdcRKWIpHPMlwCrr0x5F
bPMi83SP65Mg+p52b9/RcRyIgVxd50AEqgpJdlahtgpss9ZX2q7Gbk4c68j8qtjrGqk/U+35RK2n
3wbM4udJz+JFt7hpIxrknuc3YDU90B+FhQRQq5qYejiNpq5ND8WAkBOvvxvyFliHes7xp7q8BZ6Q
fCPd3LtL0kZjy59UrEX93JbrrfR7ddTWZD5lIKrnIamuLciRnVWbznFufT8sMNzSXJebJsAA7uKy
f9nT3MUSsvNmdDb2RJ6fB50OdBOgBcNPvtS5uh+EySNo+2nfpfOpM6zqGjQzmValtY0nob/BX7Px
uus/3YUcWdmskAADdqN+ze0jffznZJ4emgpGTQa1YBf4SRxYbbvDCmvtUB8NR4CJVmR2+pe69TMS
+MxIjWBoGjW+WUNiYF9ztxxdaAMNkaupSRfMqQjPnrqbwnxYc4kxjEYt1So93NLOYvYcdaT1oig1
c+9OzaK8tWRD7yptbZJUPGz6DL+LqtktADCuTUD4e5YVp16wISfgdo1anZFo3Wljkd00Y2fd6nZ3
7exTIKCmJApXAX1+jNWKAWRjia+LGbv68M2SerlHIcTicsf6ycv+XapO7QbPZq6BN5S3q6SZsDTv
vj4fzd7Tw9b3tqA5VjWG3C9/vlu4n69mKIKgXvs+12GyMrb//X+vZui5DOVnbuwsVhsqpYYwddst
jVLuqbOfK1pEZ8PHzEFoPQaqYSnoomnqkVvRXjGwOyTVZIZCGeUBoeyY22dda76OsAt2rnwWOk1V
j6yxyClQd3EbV0fAa0SKLRGPP7hYC7nHo8HOT5CadZV0twzTImWpM+ROGvMYyQ4gSzX56mwaqTpo
pMxxF2Hk4Ik0jWx8y8M21G5MegEWMPJSkAvWLSe3S83Q6EC6rRrrfmYyR2zXyPAh9fa+n3/pZ+fb
CApjb03jcOytxGFJYvZAMjfFubu8L9pA3HV2TLmlP5OGWu26xNsgQuN0meckif/8W/yyPny4gqFo
p+fC70/v7KO4fR5bRi82v0WnqeI09au6GRyCjL2xMpD+jeMlw+5Qsy3SB+jU2WBbFwZ5f34vCP2b
ghfdbs9UTkdVYcFhPSMETDAsru7iXfLMjEkvHE4DhiYSYqfTko/ZNWCLj+RqdpgdyFluB572n7/X
50qWDAJqSRd3MXrrjxKdEZ2bvradG2ejLShv1u8MLxGT+JiWsrbc6TIAvqujcZ9Tpf9Nd/Hpkg7I
3aEGwCW2yYS2YvB/1reFoLdaVsAVqqJaqsj4KvUTSZl2ZCztdTvf/3Jb//xC8YGAkwIqAk+nQfD7
ByYdA0VV8YFT5Qmy1PL2lkEpSEaH4RAX/PPfIJj/+YEeRzDhJdDoPoZ5lMK37HHm4o4x4kSOdkBc
o612FnkBnexs1HLMJf/8i/InfH6sDl6uzfSwBSh97E40uWOONWmaceWaxA7TaP/l2FVd6R+HQrq3
UDDmrQezeusdEyp5MFhie79NX3VEhHhQ/X942YDxuCqAl1Gtl4pG3C7TIbBA66Iidouyuzpr+91o
NUAuutley9FymPoLAQmofR1N+6ai5X5fmnpzTsi3SlriNDtSUDtIVFysZXDrM9ao+1RGR7nFTM20
iCLdxM1OcDi6dCAa4WyIH4AQyjixNWIuvTwPK0ZtIZOqflfpC8MJDLNWSbPP5O3cmaP9ICbuzI3P
qMKtu72pdU+SB851c9IjcKATA8zplLu1gWOS46OdGg5Mb763tr80CYpy0ZpoGDF1eA3+WRgOzLTd
U2/O/IfnGigsTWB0q9I7Vaa4fJEbe0XdP3tt/46+lXrfJMrcHQbz4HT0CXX7R5pYxhOIE4RrMtCO
xVEM5t1gNNfWdKYDsYMVEpbAuVGSGOBFMZrm4d0tS8vpUhrZbkMpXH51GWVhSxgphseRRZ9zXq1k
nzVTz0Ac8be3yiYeUWuVaeHip6uv/mKMYeHB7hia9qosOm4CAl04tmgbW3zdydzosZ89mBNSAc0a
7XBlPB8O/XxvWlPUle0F7ZGKfvUcmyH/qpkoO9thTvZMjhH1OPTYuvaqL969Niibw1MvznmKcYZR
HJuJqrU9CiXCxMAS7WWlP+tO+qbogOwR692B0vqnsf71PLmQI9m54Vojfgfrm3YWUjwbeUeeeoR0
mCIuyPuisdZlXBWMZ0cgXaPrZR2DoTisBX/gSID8rsMWdXCEe8hWtzyCMri6faLH2kDfiujkPLQ8
Ms58+2ZZe/eI2fJ+mmx101UsjwHFIIPU/TAhKgRWRylZBkY8S0uLs7yaYyshOj11ELhKkN1MRt5I
9G1OjPCe+6IxTknN79OZh6p0OywcVnpR05fJG+AclK2MKi/Xr33ivyjw8Be8+Ulk5sgp+o6JYN0t
2ZNQs3Uwc/Fdz8p7Y1iS5/KZqdowh24yOweiv0XoM20yuwEvOsD6S6cxX/cz8ZDDLQ4rIep7vEZ4
sLS8sk9iXZcwz5w58kjejXQ8q7KhzdtUdX3jzORlB7CZMJi6Z4w1M5B96+xk1k/+SXKjGTObBSG8
NFOIL6gCYuJhgDZQK6JW0lqv22a6Ga01qiz5JV9Qh0jh/5wm03sECXfQJv2ydMt8zMSzgdf+UqMs
+fUi+SMUQCLmDOq7YIwba9UOTWGhSoHfESa990yMt3scCda+mVwFfCJvFnBE6DcqJhWUKxRgpc09
tpZoe6rsUvJBt7bdHTMUfPwxFOXK1Jr9sqFzmlp/aLhtRJ5TVjd5PZzpKegvmut981YyuxrMQZG1
pC72RchfQZ0ZXzL30G7jY6EaMjQTzoemtlFe53y8RXjNfuxGa9+N6X2rS3cP6PSxUly0fQ02CU/s
Lc8XLmJ11sbokyLfzIporbRryXjq0JV7ryYYJlsh2AjHOOUDI6MkT41DupZHc/K0XW/AHtOqMNer
R8rPvSoScRFyzHdZgEW4mtdxr3IoaZZ9SgrDjtJab2KjCng/8gV0w1JDpSpo/aQgjkgYhWXEXVYx
WMe5lZMaW65Ax237ptk0fXD28QChOQdncmhxBO9Nub55UnYhwzVGBZLx0ZS6j47YEB81ZspasWeb
nbXrUQu0RKkWCyPfWQFdsEcmRqbNHM70nGiG0vCWUzgbsOpQ6NQwvFcTNn5QRrBgnmEA++FiD0/g
npAVEAonfFsLmcvWaBhOfZeLw/Z+EQuBEn8kinNnL6yg3NFO1mLYd6QLHaC3QbQsl3vlGLvB7eQF
Q/bC9wmpgez7DlPmg2pKYpnfjMI0T+tSkxLu1FQyAeVMI7FVEvKD2HGK9dhQWN0QMDL/bNWPpMWv
j+moiKqF5seTYADwglyp2wc+IsCaWX+WPDV2r707BFnbLVERCLKioe0pb538RTdQjickaaWzTbdq
8Pb0ZaMq1+U+Q+vOP7b4/Z30iUqMArXqhkifuh8rXKR9hz50X3TFVYJLwKxfEZmgqXdOJv2lSlRY
la0ew0JU4axsDwXSIrYmCSEHa5Xtqr7nM/LuahlMfTJ+p9hfjS9uNXwdSkSX/b0y1y6yhUY4Uzce
nBErWtnL+jqs2VW2zgOGPR/CApu78sWeu6jOXpV+r01dxOYyp5HvdnWYTd8a2+qOPbzA3arDFVvH
N7+WZArwjUqjo8JlVf6aPamag6j1S3+nZIFGBgqeYY8/zM6B/VCzpF1vIT4qjcsyiIGGpDGKqG6X
aPj1NfSBBV6nG5u44Mtc4CPe9n5f8QAVYWH7omWmNSQoBNbKeNRm4tKSUlSRn+hOlDSiorNA1+zZ
5SCPVcYFqSI4hkJpDz2VuHTNX8Oi0p/ssnqyVxLIcqMguQPGyC5nBMf5zobbED+9W/+tfs4Qbm47
z31TbvldIQP8h2PlJYDL84XYoh1qZigBRfBa5I1xcFfuN0HdY0tTRv3Qs44xw+gs8JZjg4FI5E5A
M4RKeqSo/zQbAq0RwxvKiuSB7tJ0C2OUsA4/TpF8P6jMPTMbsSPZVP2+whXBLA9Z6YSI3GdnPBAr
7kQ19T5tAySbQVZP97THMNlrU86mpslr1vVXSBl1BK09qiAWH1wJisSXAwKFdRrvUOUGl2JB96o5
wynLjYkWRkew0Rtr2jkN/aJwnblPsw23M2ssdT/3D8H43ajW5Gx43u2UpXdF3brvD8ussm8iv+9b
GlXgBJyLroof0gneOjQajTFLVK0tPSWyowHaXpGTnlDhQqESKJp5H0qiURMikL11xeDsagc8z/eu
PjvXMW1fff/c46SKWLMjgm1RhYvkeQONsS5DN10HquIQRVcTw5d8LBLMBY17LxJ5NV2CR1LhFN/g
BE+9vfdn4kFqQJ27susKqKoGkEnVRMQVg2LPzuxj5tHpEHY4W5hOL8t7y5svJLsuwN1G+lJLGQV3
w4JwPUdaeFF5iRaNsk/LMggpcPAji3QSgXHvsWBU3/jugpaMC6fo2iN7qLnDPRBN8/M0WenTBC7i
136OxFXELYGZdRkcgnbidec65U/eI6y2Z4/Xjg7tEJZEc+1MDOmeBeuC5uoB/Y3cC93fIfv3IvCO
OU3SipZdonboTlSd32hW8dWquYyynMnCo01lYke86jT26GBHXsfJN64zZ4nro6xhvzDmyqRNC4By
8MtrxfICFwViaHGNl3Lul4vrCDbtYINrCs/dV4V4Q1+J8CkNoKaRMhIVi0UsSpIcl3xobwdT9sdy
aL7bdfXMcf+0CjFHfckh1JdsXwgmv6ihPaag0yAoC7bR0nri7yqUg70T7mTsqtwG4meSWlt0M6gL
i3Bx9bpduQvBLa+Zk+dknQa4N8gZx8z+2bTBiz23h9kghCPDkXlfTzS9SwQ/rZkUl5TXtQrbrhIH
o64voznc4NX6LjzW2mh1gIGQY0S2BS6pXOttzDDI6NemmVk8Grv5Ws/Zz2V1PMgXUsWlEYSBNSPc
Nh2uZdZzUA2XamKpElt/NmfuqNw5LoyAT4QSyRMDrMof9kY9nLw2oKE5oT5I11enwPGB5pUBxZS+
Gc3TPKQka1QImCyLdCUrKcBfpIwNtMJAdC0w7hG1wG0Lh00/GiOgSSSkVXZLRHfLq6VoqPYZr7bT
eOc1c5/LyekOzeq213RWGz3yqyuG7NbFHHOWk0UZ1HC1dYbu39R171UyOfuR2nu3tKXLtfznJsg9
qAFWUzWlOhUJoe5rIbXdr985n0dCj/ABlNuVLq35t6fpPCQImkVPH7OXI7DO4d5KwPDKbv6Lyeuz
AYW2g0MHBPutb+vIE35vCLiyoILLnK2rkwOisN7cHo6UXQx7P5kRJgfpG7OIIAKwWGe+oJ3c/mUa
irDmU7kOU45uBPdNH3/px1HlUJtpwyhcjymvudTYGaGQK5rb2bHmPflX8jiajC2kTTivsdk8Z+V0
bwnLq9P3+hiQj1lVUAqz2kJ4ar7UZmVFiZWlx2KCFNtn38DS35Ckkj/0lXrIWng7qL6yeCpuu77x
H/WEPOeEuALNKKwHcrZ+Gl4a2x1pVzs3zXc5ANPen81/FdCltKqLF7deXnQxYYkwrfkxb/PmRB8x
PXCnP+ljNT06g/ZPZQXDqZDDW5sk5aNlTl9Fei1kL1/NBG18xTRpj5nFim29KuPOFGsUQKc5QqQP
viAbLaPnNOtc3LYVRxSUuaAV+m4dS5ua37np/UxeSkAlcL/b4zBUQTQX84CfIF1C5m74LBaE96mT
wJdKQN6iXr1mQ+fdmv5m5SN60msaDjd9aSM5z+rS2DvaUdq1EsWKN/yZvm93qZGW4nRODnNQ8ujd
4l9rYP3nmro1UR9F5sAtAALISzU0r9AEbgdq5YdyVac1KB50ex3uJ5GRb5+xdfjTk5mZKh5n6hlT
G28NJ69PTI1TlDdlEVdeksbDgltItvV6GHppRw5nO5cD2J/gzGaXNhJ23b1YvVgDUflS18vtnKT7
vpYiIj152Sta5SzlLE5a7W2iRAgXFH8QutxnCHHc8PrhKwFT1glr+FcCKsAGS2Xv5wYdlylmI/L0
FnNRfrTsKjkQGDSGTkf/tZiQd1FA2guUF3ot6sE1a+2ENnVffcl5U58d5Rmh+b3p0/x1Qfxwl2nL
P1NqQfTcehArYYKopJswc8xXAtGrq2HOVoyouLu4m4HDWbnK9RwMRzYVcVkNV51A4mb/v6fmpkPJ
lM4PanXvhMM74CZspzNaytUeBqoDnGqBpjkH/EQEgLGerJG5izZIcessD8Z80ws5HyS0tTgYNXUs
0lqErk8XvG2s9CqUeSW31bjrfIPp6aS9GP3SnlHFm6EnmEL8uVFnfEpEIFwIyCbNE1qgSE82DcP/
tD9Tm6QXSNFrXPh6EuY4j+FXvDvWChGYOAQdmJGaCZVbjbuioU7788d/lvWw3W3AH84YnCcfVWy+
ztUnr2h8NjqTs7kef5Q0v8NxbgTUJ/X850/7tYv93j8ncIsWqIWCjc3so4qo1YdicCsT9YK2sE9Z
0o9brkBoi297rcEUMTM56q1HF67NxVDJ6xiAb4K8suwWp233a69n+3LO2x0DyGLXGpgSmoH2j6YT
EZVKHbeivSBl5SAdVX5nOeV8rnzjsC6Z3Ls2g0z6IGjeEIbHS55eSuB9+FHWB5srhNtSVFZBC6V8
mXDyTadq7Tmetc6hkeC+kybXYj5ggfF8clbZ/PXPzwetw6djAOthsEEG8FrjTdg69f+zGipUmil4
CnxqS6Jf/MULRZMj0icS8FZGRk4YFMz2IMwt7Z0xFhYIZFDhPJE2CD3YBWQ5RbPylxDU869Z211X
/0zSfAjnGo3BNOVQu/t6E1ZFdZs8jiWqb1uZP/Ce/0skL+M2um9YSFfjSsn53Bvj8gx7so99jHLR
5Dg35uLYXwdygELRSv74Aihgi5FD4EHZIa36NjTF9DrceDn45CxwmlPCSDIaNO/Sd+sLbMLiftlk
58hcaILXWnJVTFyj2c4gb5bM2Bev7V7NGT4mKQUVMWnmclxsfz739vsKqx8YeWm82Q5jpt6YpptU
Di7XZQHYTDb38xKUt4Cx6Xl0XX5m+hepsgFuGbC5TNKYTs5YP6o27aO2tNNDNdtI3auuP0ib0ZnT
M0T1EriBw0joxux392szGqEhh29OBTKsFvWT7S7TLZrwZNcBvTj4tO5WL6ODa16cjsNyrjxCCPOV
CXzNZZWa62qaaUvcCLC+2Qmxir0ZtT2fAiwsewvSIQr7KNecNDYztz/buXPJacMfyGngt5zKMypa
575ojbNmLc1JMmEuvEScLWyZjKod2vL+cu+R44ph2AxOakogtpJ3FY19bYHsRjjSWLYWccEDYM8P
V/jlcHIzz9+XkWD+caTxrkXB2LwnReDvKqHPZ2CTxjVPBYjCKnuRNMQvmTYmZwWqn6Kwe2Ipqxfq
HAr92vpHgIy/kEtAx9jSz85a3mOvukvH1j9yUtW72TGmfWCCUZWVCt2m8ULEfJFyneZ5tfoL1+hm
HIur509vsKXwhwpnjBolYUdbo3NcutEnXRlv5eTcCjfHw+BcSmxlcZfr5EEsMK80MaPJEc5No5VP
adVYiPmlQZRs+jTTgnXWJtiZbvYwN4qBdG39yLfYQ6+BwKcuinRwog3oJGoMSGomd4e/vOCfXN/k
7W4ISJz+OuOnj7Mne0izfGxTqB+tug5ybLG9C3FhnpzZ+R0RYjBlG6QZVfqilwDSvSSp/6KXRgb7
aZNB3eiDMfmF/jE+UlsKp3Ah5tYg8u1MIwHTTKM8WA7TFmblmwKLUm3jTeubkLgTugkr3XvWlLAW
2hjcSgzB/bE7zOCgGudfegbOsSZJhEzd5QahhblgzEQFU+LdxvmzlDgAB5wQ/jIQSga/u/KdnauR
pLfgQiWMoun2je4ttxYNbriJV1xOKYBF+mkJ9XjY9fdp7t4VqaGfJO3Uvpzxx/vkvRRdi/bIfmgC
h25k9YjYSeFakR5iSf8OyZZ9sjXrRq4eg6G0w0LjPC+eOsNCfWT3p4M909ER47/YiNezhXi+Tomq
w0z4SJ5AdlxJDdqZ/fyThmisuoxGwopgYHXwEUxDj/0W0AvIyAJebfeUSPMhSIV5rWz/lcSsHjvf
pE6IZa/cde+yIMAhkmYP+mbq9RgFZkg+IzgmPS5L581fZnoUonZC15R0+gl5gT5gPs2Gpu+zVMew
OONxlBj29S47E6NXx5n2V6Hv51kw1gVgnTrqW28rR34/gRrPFkwJ2IqFPJj9gq97bUXk9SMHRnJw
MWbxZpK4+P7nNwNs0KdViT/D1IlMBTtIMuUHEaUuJK2m2lzgwLbsmaOF4UYkVKJAjU2yqTDGYFf2
pqTbWx3eYcFb7NNWi21CRCJGjpBEbYpalxq8W/rxkQiFu8kBa9o3NSdOcPCNDnsqYapHI5DyKAtv
5sJFj2xsEYMsuOZ25rAcGi0Dq9jAl+51wtXMdcNUj6x93zlP89icVoT/O8cC+QW2/1guZYX+X3CJ
GcWt6zbxydJcPRSbQKwZSeJT5VKfGCI1e69fv3DcyJNdNWwyJSKl/l31yzFR09sCDJFKvLp6htne
FgnG+qLQvFMxNfBuTNCtWoW+zneHBjwIWprBbZZT2hf53oGAHBjrg+yCcZvecRnS0JdBtbPioYa6
7eFXwCysec+ABa996yG8cFUblxwmFV6QO4I3jrppnVGgzCgZtgwLOrQn4Y0PjRMMmOJEvQ+wmIb0
ORGeFBpjXsu6q5qMFpwu6Cf53NsFZs+aUNvkDKsZnjdC7mOBfrszyvrcYRLHQ6vfWDPxL6p1DimG
ampTm2GBXZxI+6RjlvXvcpA/MquqYHXaN1rSj8fk0Rcj+H8za/HXXzM9re8tYCW3spThvKkkHLrg
kZGhdOk7vrA/0fI2UhKkLcQsgeLmnAqA0xVh7NyojYVABfd7UcIMLtL5Om/BAUHemJFLGMBgY4fq
NkSCm9HAH976DdmMRMM+MA80VpGHY8FfTDCWO6THIAiyb1nio99WMi7y+6nqstuA5O/IXYNxzyE+
PpGxfRY1rCdO6ssoGGIsU5ndBM07P4RNjbw4x0IsJ0QlrNKWfj+/o32drZVgecVspfWm/erOL24Q
JYlln80WSRwNVxu6QGxMgQxbW+VXCyNKWSwxS4dIeunmJ93W4gWxTaRpbUmPNrmfTdDYWtBRByaF
Tr4FgLp8Ml/KyexPimAmX8+tk1m5N1lSVgSl2y9NYjBxmUYu2zlZMZ6fHxjWIvHyGUp0XlJRTaGg
UrCDQgZ1xFqgsOU+wQJIXHuDTBj3TcBjGVbc8I6Xnyr4fPGgmu8M6aowmAOAugJBMkr/Fqggadsu
DhXUcHWd/Tvr+n3gL2+ps76q2TvNkyJlu15/4L7hrmmmT33wrsz8ZjQy8cWxpievMOuzXeFJrvve
PM+4Xw0uMVQU1wW536BZcNHmcDAnDgTu+3/ezz5f5JnF0yKkrgrQ039UtVS6s+jmQFhOJk1YoDUH
rXDB/XVWBlSxokNNT/0vSpr/sIUBLQEfBXyTz/wEcsQyMOkD72hcF9hT6yRBy4p8BoAdkHUnPVYl
ztCp44gpx+KnJpCL5mtEqx4fKB1K+dqlGNsNh5lNA++EAJRdD/AldLn67fRMOzgS22OBDjeov/Tw
A5aiiSab2PVE/tTN0tmlSfrk46kvWzOehgHJ85Q7O33Rvs8Dt4ntVm1VXzA8pn8pZP/jedsbPYbC
kjw0LHi/H1uVvuo0FFuWvVlH8Nc75n3qlQAiGdF6EOb0+uff9z/qdpwS1MI2zUNuUx+zEQyR6RQr
9RLPZNHs/NFngq++Js1qxdg+UBeoDakuoRhuWTT4iP6ywD6f0wGxvT5mSNNnLPWxUuyCvuTVHBcy
YdrpZEs9IXOJ6PbEjZYhfzQzbmA5+HS2XvWXhun2LH+v4vloL0BFxdMG2bid5P9TpHZ6B9m5mZZY
L+p852ahsUUK8PVfA3PWgcgQo9D+jZ3+Wc/Ed9zq4l+f+/+V8/98aJoavYMiGgS3w7mKkr2iruqM
6C8/639/DC40DFZ0Kj62Y2yzTyfdZh15WFQieFYdMj86sqOtC6KyjOCUclUE0TBucxj3ZmuTp3WD
XKc276Sa6Ra7fwvC/Y/njXKMuEiaRMRlf9SPYSMve0gnC0AeGgJIDw/UZGEXaNgFbtLZA/mkL9c/
P4j/kJ3CBiWu3CDdjAX+EUcH1zlJ+qCf4WaP5rFKWwIkIYCnF0TgxF845ReNIA8fMOl+CPTdCLtg
l3mq2PUBMkx6eAc8VK/8GRXXOM5itRbMu0j8QfBoR0OQftUHJofaMUvcwziM4Lh5pm09hvWKmgy1
F2Onp9qt30stCN20DptFvHeVpxP6ktzTjl6BqvD/RM/zxUF74PeUkHjC35dVxUPpwR+HuYCOFVd5
i9CgdhBdTyK9M4vkfkTKehB16SPKt0HMzgYRLuZCaQjRQpXjyGSMUK6Wy3DMEYYNY2iibnqipNbj
NF858i1tJZzzOy7z7C/ivf/Yy0CzwrULNhMclLbf369yYa0hi53joh6Oa1DdJEuQxwYJPNIuRNQv
8i8/9qfN7Bfy23c93cHat13Cf/9EiL8cg0J0cZZ6/8A6CcfE46a/neDS9bnocOTDSdH2kwQWMyPt
/fNq+7iZbZ+Pq3vj+FEFIZT8/fMHEEfBmqddzLSaLBtiYLa0jPf6/5g7s+a2se0K/5Vb/Y4ODmak
0veB8yxR1mS/oCRLwjwczMCvzwfaN92SO3ZSeUlVN8sSJZEEiYOz917rW4p+RpsDhJzxUe35txYc
3p8/8vTK/rqW8cjoLvChcrwpPcypVv7LskIYuCQQocxXcP6IFKrULZYHtE5Ya37+QOJvXqOBCU3V
XdYVRzgfVk18DSUsbpmv0lReyXK40/Loc25iUVdDC5eGXs9lIZs1vk9lxpimnkJ3vDHHju2eyL1Z
yAEedQK1Zp9V5rXNMGti+A+/2ERof3NEkKiij1XpDCAE+nAlLfCW13gTspVlV9cakW0GipuFG5Ub
J+sJ1zDU8gA9cCZQBtHOIH0zYdRkpkSskPT8uVecYQuLfKnSgeOlPDPcGNGAxB12e+yFunYufTSd
VeT3W/ychiF+sRX44UhTO6r8D1OOLRgOkw+f5jJLCr922Ylj1hTL2kpe/GwKFMitXe+H6QKSKu2n
IDWuR3DE104UsKGZcmiDtWY+pTF+bj+V1kazA+2KuazA48lUuG9/+Zn4eKZPz3TKx0UcBNFAfFxk
CZWVKqd0i6WPhlll5jN1MI2VQC8/n6ATcXfdxyV+neaBrtQWCYS1BiaHzo+0IxrTaOHTzBIzUvh6
y9v9/BP78VL47cmxmSLmCmPjx5MSRzuMHzJh4DTiViO1BbBa3/5qH/Wx7L+8UexapyhkVMof3ywE
ulGMPZPshykZw+mbl8GDJh6k3nUVB6+1qawLOvk+6RCdMTVTZf+LndQPq9/0FIRJjIBlOVggP15f
RQiUhDWxWVmMic9uQ4ST6wD4KTycIEaVcCWxr8OaOUPmkHzTe5R+Pz/UP4CUp6dAz8VgJ+nak73z
/TIUpZZflN3YrOxBPxtDRW5wPtlQOn9fVogORibKbJ3HcJEMkT1jJmiuzfTB1odfTYS0acX764p4
eSqu0LGYwlNWP25s1Y4YWw2l3CoLGQPi5iP+MUZ0yZUvXfe18qy5MHgrMmdVgeojCPXygHWP+bR/
jgwrXIoifwUHsc4C8kbzBJHHFCvVkNa4LqVc1qPSEpNi/zJ3/e+euM7+ELoAQ3ztI52ZhkkaSjPi
k0TO5zZg10G0bLuUAcKVbMyPUtAc6VzCZ5pgHzE0MfWj4v+SXP83pw3v5IQdoB5xtY/rJ6N4Baep
Ua9oHm5wm+JTUn7hQ/n7hwCVKSyOEx7595+WxsZlmqnkskVJ+xwb3qyujKuffyI/7jn5FPBRZBal
su/UzI/2gU6xpSkqp1yZRnp0wqhCRaQdMi/dln21bK32YAb9L67F09P+8MmDM4JLApQHq8HHa3Fs
2z6XHnYBTQx8Kc9fIijCeki7w0ZX+PPX9zeHkGsDkE9QOFNP/sN1vyiVGGEAoMaoz94USVvOTv+3
zASu8pBq+BBMOxqLnJH3b5PZKUGYEmyyssiopvkZrVKgTjPiXXxEnYN7/PlL+vEt4+G4mghHs0y8
6B8+FYFIKoyiCqmssfNU9UyQSkRCio6ckbBSwD2kJguCJn7+qFRFP7xtwqQyIcQRni2th+ki95ct
lFQjNx0JXFsR6ww4yIuGQ5cZctETQyqsBH3G2B1Snw5RZwPna11nqaP7oNmFaIIaKthEg62ux9g/
TlroXY7eeNY2Nsp92d1QUSOWDZN4X/raCQU9tkrk0cuKEd3Gz+lsGZpyK+iOZqNq4wjM3IXq1epV
6SbjtvXLF9Qm5VVje/MSoxNNbDc/RVCyEQkcQzpva7Nr/HnKoO6c+wKAqHKnxJ51Hvscha7i3fQA
KBa0MLpFbhET5/vgcps8IAq1+BS3w7BqRA2IhzFO30TOVlHLmab42sLwFe/s2UGzqwd076Z6m/ja
MucdXCidjqW29IJDg37FTQ316OShOLoNUY5j0FvPo6m86CjMoIiwMfScZF0G4EQqz4arJhV91dY8
TiiCRyQblCydcxWnKuB4t0QVVzmEBqiBj3oZ2b/P9MX3u36u8PxmZaeiaaqxc2uJIhfJGEwYKhOf
5KTxmlKOqkm6rCEJSttuF7mKWBPflBHIsHCn9oYzAa0w956AjlElPrWGsbDYs8Zphpqm5L2xAq4O
aQUkV0elmRAQtyrQOxJxwiijHGfQypVLnAcKUuzCfd5gN8E0vKB8C+chkShztm6YfCpZ77Iumje1
zQGIJLp8LbjvDcIAR92Fbhe3wabUVnFm5xw8Asw1pz5Ty6xKnEIrL6f3qyA5nmHSQ4ducdyGrh0/
6ZMRZoLqEpLVbWrV3VIlxpsBgUonnOwkCqlcNYqBt8DSHulEctgcpNh61sLzwlYwNOsgiJO5uBch
WZN9g7RVmdhv0LKWtpbmp8TxTrEPz7kyE/2AxTpVszXeHRIOI21hG/TC1drJiVPhj9Nfu4bBUW98
1wA+SwbvEa9QudGddiMr83Yca+VGx9VDdR0/IEoWcwDA2kKY2TkPTH1VEHKUYXC6VpOVRNk/B9Wi
Xttcd60O1KBLQ3WZdR6RmiQVMSmN5JyzuUP9p8ktTuvmGt3wl9hFm2UE6ZboOUGzd8qy8WuMjtis
xga4ezdqezs0Xn++hHysOFgnkbYxDL1cvcXHkVMWUAlnrVmsHKvwlmNjipkq22en4ZP580f6m6UK
POLU0sAUx977w4rM+VTmscMj+Yl8axxdoU1HJKGVFd3sswo3oFF+NW398UIz4Y6ma4BhmD+yemLb
a2VEJNpKr5Nkkfjdjayn86SioeJOKDkSsEtk2HPG1zhYaGhgGgAWPMDJax11m2m/Ct798TKrASaj
EiVqAGux/eHSB1bIleCQ0pVwUGq7g/dcVKcG+mk55Nc/P95/81Agktg2U9oADPh4Re+8NNMDj2A7
1vVHe4B23OobA1Ai5/jjzx9KMz4qqUwai1DXpjgS2hi282EPXdhWUXENCFfV5A8L8+Iu8gfkvWbq
T9hgBheinGW+XWxUq1sEZq2uuqwDrwCqr/SsZ0PP6OMBbyWbKkFcV3zJ0S9v4NNApOgGyB+tLPeu
EX8xu6TewaDtFslk/I3ViVEROqtEMikLrGwkin6aNYV4fNVWKgsuWF8Koj8dvYIeEABVgBpWgXqv
39CcvgwDieexBbZECa6xP01CYkzpPs+JFuVC4PhBFSU/azHN1i4oxkXXMamKFTrMmaKustqYqaX5
HBe5v0Lqfg1/IZkh3ga+oH4mOfploK5gbRbdKlWrnYJqCEeSdy7sPJqr1SyxrHpV95E2i1FxY0MI
XpvIumIargMyLtzDqJsbydSbmKWV2VoWsEpkSU6cWitVwpb1g2Ylg8hYBgV2TjeIy/nkFkyaKt7W
TofuJCk2sC2LYxdm5lb69gEyKuxe2iJLs3VAevNpRGx4r8U+4CMrIc4hSFUqndRepEFiISnoPsvC
0lYV86w9yRPWNi1JHmXtf7B7CTAkhpDu+MvJ03BXMJWnoi9eBuFrmyzwkrkV0bdIISvl6k3U+dEG
XZ+YNQVKKTfOox07FDp+tLywWmYbRRhfa9begyEReH4WtVRu7ZyVXLTaybQKBPpqe8x0i1NI6sop
aIZbx0eq79mWtgjsxaCZ/gKFNaCVG+wP1TbM9RfGks2+sKAXCILhN3qf3iQ+kqeo6p2DVg7o3YXD
2aLdagVoLb+ksanbtlwjidjhNwTbEeAoaIfIQBuSo8x9BgZdr+y0ONfsf/Za1W0rhURa6Xghu5qY
+Ud+5RCrumATMRCmKI1VrCF7oJ9YnsNhlTIl6mJ/kaHY2+qZcgOVZGLWHOhDBofOwExYjeyNY5tu
DVcs4PuUfRxAC+7MyKkhmhQqF2YkfXTXOZbapdpkt2ENsB3HMBsivZFzJKWcha1gExDKN1ZEJr0J
LBOM3isfcPciCLMt1VSzrkptMwpfIvdBjqcokB3hQ3Mdj0AGKCX7DN6ao+zGN68RD24u01NeqpRZ
8KTwwQGwNZPXOJXjMnQKrvCdvsnYOWVaah44P5VZjf5rXslewnbF3G44irtuBuVrNci7BIDXFUNf
uvs+jtafL1Hf+jnvKhzSBcgkpc2B5hNmoP5+q+zpMAPRlcermrp6HpucyRKqCNZra54P4T7AzLfp
S7VBKOLDPTIq0JXgizI15yY1b6rABJkcB1s1r1IQoiSVsZgpKyEDANZOOBtKoR8tcwbh+AtnOEe5
Ulbh6HxlVA3cqCo3hiIW+NTtA1zhYhapltwWehzNFQ4ZWz+0slrqHvuhlXs7Dx/t2nlj7vZmRXLJ
thI/hI77hwTeY64auMq0Gi9WifclGipCqIJ72Pz23pestV3hp8ci3baAGdY9cov92KPjSdsXk77A
dtTHW8XBbZc6GWqMitmw776pdTVX9CTf916eb6o+PKeRLWb6MFYbV98GuhKc8uYz3YZ7syqqc2cr
WKqV9hhWkT0nbp64yl5Fkq34q7RvEJ9DBu5F7J76HqywpSMSI7J9WBpKha06CbOr0H3u3cdML79E
7Mpstxi3lq/dmGpQn9RIA+mnWwgg08Q5a5jruAyp87xwoiuPjfeopWuDWnxhNPYp8YL4KhvcAT0c
ZXIelRV7L2QomMnWg+U/dcgzchuccJnWWGcdrKANklarSuoVKaSgtl2zOuD6c/FZBg5ivhagsRpP
TfF2N2TNePRx2a0zTV0Pdil3qep4a2VR5bbcGmmg/UKebP6wfQFsJriqEsxmE+n4wyc2DTJztEvC
20dZwfCWLQhVwMFdy0vT0/LZqIN+JpGTz40iMtmpW3jqwIV5qfKoc36tSStKjBjJalYB48WqvMpw
H0D1dd1lyfWsZjROy7XZJciagHU2YHT6/IaEo+omqLKd3aEEEkbv7ojsdk/RpGzPwltwJo+B2/sg
hsJZnhhXYwsCZrScaj42abiodOIo2qFv5l1sAJRQMiyiJNAGtiFmJMoQAZn3V14VWNBjR+xgxaE2
KBLsGAkbYCRWh4G68LIC/NvX/t/91/z626le/fM/+PprXgxl6Af1hy//uX7NT0/pa/Uf02/910+9
/51/3uYp//30R47h1zKv8rf640+9+7s8+vdnt3iqn959sczqsB7OzWs53LxWTVJfngOvY/rJ/+md
/3i9/JXboXj947evtJ3q6a/5YZ799v2u7csfv9Eg+MtSOf3973dOR+KP345PA8JOqoZvf+y/fuP1
qar/+M0wf2ezymRItYVqGIwlf/tH9/r9HrbHE82DFQg45RSGmuVlHfzxmyK030G1gBSxDNucqHI8
gypvvt2n/64yiCEqziY1eoo1++1fr/3de/jne/qPrEmv8zCrqz9+09/XL46mY8y1poYL5wkuno/+
IWErOZ5iCylgrq1M+WASETLvpb118nhTo1CaFe5w03bJfYSvGHfvvI5Za5O0q+fa5y4N0xlxB7NO
sUicIEI6Ag1CNISO/Lgd1pbt7ILUFzMhmahkdy4O2ZkVp8i1o7PQ2KBU0Z5L3Tm3z6HVfP3LG/H9
xb57ce9LpunFATXiGNJrpCnH4P/9Jav2EoHOuQOBBpCpVa9VZg2Gmh6CMDp7mb7yR20+gs2vFpnP
iVN+GfzxU6BIAGnFjtHRndLZG2rbaRO3ZthzwE9ae9ei15iud3NB4FlpfnKpK4m2g4IeBtkKojbG
puRKL6rrqsl3A+BpaSNCy9/C3Pp2Tr47Jf/6Ct/P5b6/QFRvLsNHgf3rQzkkS4WJvjtCY+tLgpjC
62Cwt5bdEB/qEk9tYKTLr/uext3Pj+yFCvnnZuDbA1MYEnw0zX/UjzIKrzVEgSxvCt+4z8F6ijqj
2e/tp6hAvb0fE5xmbADyfMCoXbF+qns19Y/Q0NYBClpiC3Ya1Qfh7Z3RLmL56efP79Lo/+H50b8E
L83J94MlrXcBso8xNqQc4ZlZ9Y8yG9apuuvqgKiV4dDb+r7HrYr0IQUtsXJs82hXMVHiL1or1kPr
L9G97aLmMYGGHw7JmnkXIr/mMa7lo8mIk1c1ekqJeN3bFDgCIn2rRsbMLvRbqFfQoubuKEDMF/Vn
xtPxYmj6nQyUB2jO+yoir7ZSFkGazBmR7OAL7HsN9slhtFGmnPJCv6FVClHFD6iCrCctTB/KNL0i
n3gtPHtVY2gzlO7kWsmVGn7++cEz7PcXzm/vLv1fOszTVJ1l4f15ozopdLm4c8kwlyezts92wHkf
2Dslbo7TELc2nlGanJU2vNPc7GsUeF9c6Ah+114Jn4AnxMhqcGdiBTHHLVv7xRiIQx1rz7UfbDT4
wiVoSlX3V6VlfIkrsQ6rlUOwsFeM8yTAgKsWS98xVzUUBd8iwqNnP163zEODW9SMKc2PpgLdUfqL
wh1vA6t9iuLgrhXpHqxH1aOZTrtqQ6TRwo9cE0/DeGvlET4Pli5V+exM7nNCiTos48I+AnY8dpK0
RgT6gO9PPdHPlRV+ot0y82qkYwfVtzeWWhxcIzsDY9ym/mfFB09RaafYK649HuNG5NaLWVpYhcdF
X1hMic0VjKNF7YmTiiFH5u3WbSysbfNGNa8cNV87cbyzonZr1c4On+lz3SV8nc+ToQdAps41lQli
dey65iqsrE3AXkY+2mW7rwKyeGHDtaJCy14dK/iPemTNIb2Cs4lImMsPeTjsM+oDlJhLeIOrVeSG
C1/APkpAb4tq1qM97m2U8qG7kXm6d8LhKkJI4iTjzierwa3F9nXsiqMelafQiNZdAF6iBgdcy+ao
hM6TJr0nF0F1dqzt8KwEGvLE9KHRnT19QnUC1gZ5vuuFRSkjDrl09kmvLHUvXreobVO/3HmAgZOE
dgIq87Dz75BnLdzk0LfNLoVAnEZy0/lk78FIek2b/DpSzRXcna3ZjfeR5b9ljb3xkhujMFcz0Tm3
yM+vPbP8RGD1mhLpk43nEEf72m7pKrSmSlObJIqKfF4lerFbaxuw/thuvKSzdFtbxkMp7vzCOKem
CsXEIfgveLEaHHmDWOmoFjI7PYwSDbVt2LdSmqeoBLIE+AcYzguDp8expw2oObfDtOriYrdHe9tW
D41hnQyvOZoi+1JpxXWOd4sd4ElTyav2t9FjsRTYe6RCKI0+U1xzH7kojaMa/EjDGW9L3lDCZkqZ
f7K6WVCOmAQtlNbZzBjTg1DugBfOBSg5owyfay/7JEcYkKW5jrMBa6dWEVuGJ7bRN16eLhWaulTG
s2Akn2owNlSiz4qNasm1OBHJk9IJu2+CZ82QZ/SfGy32bhHyPEce5F7klm4dPasA3TC9SqarT77n
3BZWc9RNzKaDOJfIQTBJVSdMvavGIgjRYR2OvWpeJEQFO/mn0tFPne/tABzdtU9dw+cRcv88A/+O
CWoxSaDpI54Axs5G982S8pWA4U8y6+4zZaQR5RPDAYNk5vQT9PK2UOKbbk9b6bkPeXNL4wz679Ak
3bEK7JNZyk9VatyXr5QKyqy4MDP3vnMy3PrBCd0z7u1FGBAfQFQOuLoED5F8zMPgJSAGbJZ58V1k
Mla203bj2cUe0+6tr4dvvdTjRU6R63v2RjXy66TqlmUo9m2YfMmD5GDl5gmdIeAN4I75J70BHeNr
6n08QGF1tbWaFOvcLraKgdWfxnowK6athDG5VUekyq2mvjlxGa+oJp690sTvpFMSY2P2rEGbB4mz
p5lIoIx0lKXM6PZ5+gJuNRBnBN+ExcsZdrJ4EYglUN9PJTV0BEWVEYlx1lT7lGvRG9TmlVpYt32F
v6Uwn7GbbrtY2yq1Dbg30/FiKTs1UXZazwqDAwMj2EKA5seZvm6cbpPjavbzDvH+zYiAMLLHVaAy
BvEIWCuLT4nxUNnRAVTVsS+UfYeql37rDgPPrA3re0OkG7jEW02ED7kyXrWNS+CXRhyCQUOydx4g
TL0ZoVzUtjyXrjhWmIWjY0+SMCjgpaaWwyx9orBju6pciSG/tXV3qVjlXtHxWRJsuOic8FTqMf5J
dwlvmUZptAk7hJESOWIQntWwnffJZ/puBM5xjgFNdeGs6mp0E5rtZtQntmxy1lp3LwwOrWjmshIH
Mw2ORehsWo9oMQ1UpbsmFGDbFCMB7/0tEnQwtykuPnP18yv0hyCR7xdoaxqhs8NFLPVhY5sWUccE
siWsJFJJ07p3OocG1VWmU7yXpGNimBgiKB9YXtRWnzv1sqvPhvrcKbcGbuTC/zYF+V/Vhv+Xsu9d
NfnfFZn/H2tDix33v/2r/vqb2rApQ4KLw6d35eH0S9/KQ8X43dFQ2jPPQMI3mZa461t9qAj7d3Wa
PhDIok9yjEkp8b1A1OzfGQKplkslqFF3GGzQvteHwvgdZAfK7mme4F7u+tfT+x+Uh9PDF3/uo9EV
IUmhPDRVDL2uhT3q/U7QNzoQx4H6WJdwWPI4Mc8lavBUA6yEwuxUxw2fOikMdqNe+RQI/8WHEb1J
1ZBlU5L3t8fO7p1SN3DhK45zW7GBadjeJ621tDuzsE8T4e7aITUBYHEer6Dl5J16HzqetkNuBEWv
oarwu/EYmbRuS1MrdrLZ5TB8PgP4GhYOxFZGuQS004x0d+xhniw3xd9kXkGLz+Cbx9XiL2/i39SV
BnXkx+Ni0RcT1O+Imw0Lldn745LToRvsFIrINPzU7BdNB4liGebWVJq7PvCHea9b/YxsPjDfsMrS
pojWptNeNTrxj6yjZGoJDLc6aQhjjQaRIurRZ6sX2XF4ypz2zpLwLYUivkLV2cZQ3HY1o2Xb6V7Q
KYE9jh4kEui5U3r9gg48a1oGJN2rziChjOsg5RDIOAzmfToGR8Y6w0zmGnu/gu01n8QWfx6SPRhV
kH/6osYQHXYzW7kaRXRrV7p6DPpuLzKIVWPgqXOI2ggKsk1tOfI4QmMIopEwDVBU8yBtoVmJgaQz
kxHLWDRfGp25BhBtiqjwGQMiaCsPf3I50EsPuRq18VMfJPe9ZEPpXeORp93vF8fBqu+TThhLwkna
GWqMhU18o0rW8qzqgVfY/QtNsvs0LG600T1jZUu5SgDcRnGBoTYq5tyd4AwWoCOGhlKi34kp/A+Y
DS0LsdBImlz7WgBDXe+IFwQzZ+MPpR7tACxMko5R9NusZVOtVLs6lLhv9URbNhaOT9C+JDdmOiOH
0g4IRoPxNbTa2wQx3jhQoVSPDW9kev2Kwh8GgUPIR0wwxTyGWFk25dUQJf1V7UJSNwawgVpcLsh+
PTrF+CAqNVlGbadtGtA8RNZLRnMhwWrE0IVsB2ZllOzCwXGXjjrCiOvG5zjy8SaHO991qnUuRnWR
qwNiXMvcNM2q6XLAaGPBHCWhKVGQGJYSR6gY7Jn4ENxUtO79Kye2vGPRME3v+5NmN9XakaEx81te
bzKAK0+sQ6P2RK2qE+woHJ/LDnGFY21grxVzaSWAcnTgui6hYDJKV2OPe7xmfEC243Iw4pUZQglS
e+Jt40wXm0pod/CRcO2qvccOUf/S1AOhzrCVcdxSQuX7pq/GlawJEyFsx9mlvpWsc4MsbAQxGxbS
OYJD4qDFfaqE41ZlHDBvAw5n6wEZGW2CIYx+6NdUGvSaIr1faMzScLS77OrI0sW8HSsLMfrBXNML
bV4AzUBL498Ji3YBrM9lwIYHqWrw1e2wpMWnvNPUxyEu7GWjpm+i9+sl3fsVFWexQRGZHZqxsWdq
FX5p0iRY+YFagsfznIXUkSKAnHp1i6kHxjDgapqYwDNuIHVZ/tGp4NsoIbmYwCWQ/IJ/1Y3sOvPd
J2am7VOM2oyJrmKcovhECVDtRjcAEDM0GxTZPkg8JmtSKNumE1tVqctdVVurUivPNTWdlgBjsJoo
WVdKoy8au7HRS6TDMYoLgieJ06wdI13WLe7ONldu2tjZNy7jqrzNdq5I3b3Z1LcajJSl11z7AfjA
OG2G2cDEX08K/mJBv09K+35QIUMPOdDW0AHiQs3MWqC0szHmcdBfzUmdmRrd04eaZEDXtM5Afh8r
PLC3AhZ8bjD+6r2IGViEeq7N4hm/zmamdrZt7xEul7r3smJFajMmYQF9uGGIxyst9e+KQL3yVKRM
hm/uKlBb00yG5GLG0nWMYiFFfcoUguTReAHah3Qp4HVkCsNJTY1xx15qa+nOrFIVZCPO4B9ycnHn
+DlXadAvG6OyId7KL70BIHII3pqOFTPBojTzXR0NjnVVUSoOosCzbenbql6xJ+hnhU6K++D688S2
5FyMuVg2gulwZZSPaaCjx2K25cbEnieOvfZ10k9C0Gkzo/sic5BYqkAPVfbOwi/EEsQVgcW+DtxO
0RJkf2BHRpex+dco7a4kzpVtII8EtrHId45YFbXaA0tzHgJVKhsu8GcFFmGklE923TNB49vzNu0Z
xcePhYEhm5hiZ02Xch+OSEp8nC/L2nvRlLbGgtruuizUFuRsJO0gd6H+JXe9ya9qxfPea0NW1jbc
joV1ciO9O4BDZhjepl/RVF1hqXwbuIquMt1ARzsb/QJrr02jrCOf8JNsmwF0heA65tKOje3mZJqK
BovQIQFvqE5hlYi142EjqUxWPlntMjlWuwivPA76ctuMakNdchUGI5BKe4zBRTQjuXAR1FSnZNae
wTdNlZ05aPBB1NhYQmkY4EmgQO298lpp024bhw21UgGpg8bkYhjAlXvxQCK4mvYAJ8o5Vm0g0Zk5
bHJRPGHjy6BuquijuDLmrFsdyriZHwzpToN6FOmqtTTH7HaUt50t3Zljd2/aOBDuixWxrqaFFIOw
owRiN9Jo2AmzpxZP1CTaNDJfw9y1CCz+MnBKzNomBdcofBpsfUBspRXsK7W3VgpYXU0xp81OuILk
qO381uvWKf3KGUyyZ6Bvgv0ANx5To5NhktGuoEFP+mxcClLGT3noOodKzyCvLYdKhQhFAYh9aDKx
ExjrYH1WXC1fk/uezKtWi/daWbwS1+I8IXq4w98ePAZ+e5BKs7Vbs3vzW7lJSrOYBTrEjEoH/dHp
ykvQ0x3T+7kOteBIjvIsrWDkAxEg8ZzF5aTlZXbKJensUsEXNvZGvDdDCA547bmcxd4CYqu+JcXS
hHXiZLva1jBQ+WZMdz1r7isGJySP26SfUNJ+JlWGN0XRb2FymWGR76rWz3f69C+ybB9S0lGXl2/l
va9tw3I/MMDjMh8cJWI0gDlIAqqJA4E/V+WQ95EzLMta4mOfHvFy08KQ2RGHvlDdtgG1kFQYnad7
++kOJ9w0hWFsL1+ocXpL4uZrp6vOjFjqhUwmXgNqxB2NH2daFch77vSHAuP1Sp9e3+WvX/6lNuIx
qzxvaejr0TzjT0Zm5Qissa7+GACKCtCGLhOq/4USY/MH98cznG6+PZHC56pi9/fY/x9irYfMoHZn
HQB4vgmjGhXJaB6bTRcjj2TVyedGaRLbmUVbtdPu+zhAWKNIDvh0AzDiLonQG5mYQkg0Hg8WVe6a
a0C7u9xUhX7nJ1hpgGWNhFneY8pqd5cbD0fLztPdfhk49jO8g2Jnjx6HsB04EXQ7CJcReht4HmQK
1E24Re4zyxLSAflOzri7NIHdm8fLQUEvi0qpG8Zsl0DlXw7SevzzrfnzCF6+p8WtCU4SCUJgm5j7
UBJNb5EfWJiTOhdlrSWBwrZGztd+dSqbogTna5EPYzdsFYe124fq5nI467TQZ0gxlLkFy1BdXo62
Zg78IRJXFpcv6bRxudXz/VDHbDgurz6MIWRQrZNoEXw/IELTe5KDsld4bqQ+J85ravX3A+G5K0X0
9s5pqn6eKSKb2yncttnlHUgLavsc4/2sYyrs8lHSq3jnC5fsjukmkUChL//SSAmhSLxz3ZI2z5Ql
brfFTmsJcPD1L15tQVTVHUmscDajPyaZTHADoyvdECG3vHwr0qJyl+oXsPvlFuUmzy4NDwqqfY9P
H6cRcdsEXKtr9ndkvqQemCMBZSX2lLnNMrW73Hhl4S44wbmem2eI2ulAYtWoBKzjRCTAchroKAtG
Qo00y93lX/10byUUiI/egAW5j+t9aFWfo5q93xB1zc5KTYMhSEONIRGfXVaDyzv+7cRhXQCV6yHz
so7FdMkQtXFnN4zGJW/O5cGzr6TFAKYohketG+4MJUEEYUZIU9DecLn1AxKiiV3OgSOcBt9xaQTq
Zn0avVkY0JvVvDHYpNOdlxu9GfSTLby1ZOg4T1J1DVOjZCCUIy8hP+RyEwfj938V4XKARvPt2x7a
ykWvw6LnQqadoM5B/KKlxmiKL12kA9Ir452R6t0psKrulCTxF0VtzM2YW1NTfrrDjTTjCGrwz5+6
/KhAk32KAkusNYXt2J/3Og1I01JNSjbllb1WjJ69qwhZcer4BdlDcW36Y34zOsn58m3wHilkZQMT
6fRTtAzv3TaRMH3z9Fxm6sPl22XAzC/vrHyduyJ51CGGk5ig5GSn1GVx6FymKHbtFX/58vK9Ybrj
8i92TC+oHfTV5RcuP3v5/offv3xPHdyXXmRiZZve1sPROwO4WM/ZEzIYqreYo5yN1ZnJ2qqNJxfq
1kFRZ1INoH5GyYs7Yv1uokPEjC+ySYBlReBZcL0KZ6k6pqtYLwT0McgLspsnpa4eMkX6Gz12rjw2
wgTBR7uyWvdKRMhC6j+FNYxuu+CymobLVBtuhso0lorryV3dKwj8lTsg8MFSo0odY8LWZajsorA8
pp659JXEgu/VkF3sxWKmRn60IlMmQ0Lm3eiJRxhOFKWHDMbBX27kqDAIkeoa9OWcLAZ3k2n9Unjp
zX9SdqY9jipRtv1FSMzDV+PZznmuL6gqq4p5hoiAX/8W5O3O1lX3U/eVLsLYZWc6gYg4Z++1fdmj
eplIYC8bOx6JV/BBE1mI4FIH0dvw23G1BghrfSegElFdHbB33reqYhWBkMVSjNmDGG5MPb1OUt6b
iMGBQAx5ikrcPrDI+zOU5b60nR8jzq5d053diVgzX9hAVpJrMcv8zKxla7YeyYU4nCBVUzka1Byc
liaEnBeWNnSrGBD6Bg6mWQ0NuvCyCdMxOEaZ/bOY5mRX6XRFAGkAExWh06nfFBygKMck+HZ1sWs4
daBvtBcCrcZrt2z46pOzZ6td79KM8xblHPHWx6YM2lPmz9Rqu+ZZaUVDT4L1sL2cnsAdS+ieU3WN
tX6bRPF0bpldslIYIWfbFNkbTx7TOjjZWfpemvSRBvwjx17MJAPb1jUHGcFcxwtl0Rch9NeHxNPU
cda0PuQHhgaWJf113SzkwmvacEJwxLLqYz7TpCOA+dGSzgz3GsGaMUNpaidOjLl2YpgbalHOPlfm
0pVKxu7aa257ncs5g4UV8Uf2Qn7KFBUlAg7Dfm4XTndWNRTiAROCsAtOX5fMSB6GXn5WhvaJzaLZ
dU2109O8ORluRGQ2WpCcXJmQNcHZmjKSNCNFoQibr1SOdU6Xj84mjHPt8sP7ZkZ5Aygn87d7obSn
5f+cfNmjN8P1HIP+6Iy4dzyXTpVogmch6ZctD4CI0Nqpuj+2uplSQaYj1Ny9Nvd0wWuwEzN29rBT
w41XWOcKg8LJY35/dYc2v2bcMHdf70JDleQm4vsS9ATwTHdawfQEzaq2UZVRbbXgx+SX8V7nQofi
VsKrboiCocfjQu9ko0f9dqxVfXaWu1KuNf2uiDQXBDPpgZ6AltN0ewBFKBqQDsFvz/4K8PlU/NId
rRcQLcb024njQ1+n3b7J4rC16fFbSa5fIWqZNHT5dhAMRJRJ50rFOz+ngMdskaKLlcMS7Ld9Z6FI
Xb5nXU6/MLvvUWh3GzeqyZOzWA2O4m+QU+mP3ItryfjcGpLgVfHiQ71cTscgq56J34OirDO9rxN0
YFamP88WxReUC+SlQeUOmAGy6iAZW5eI2YP+qpaN3if5gWbTa+46D25RcPeI/WNGcPUhX+48elqF
VmwF235In4KWi62hgIaY8S1ZFhRamz+ZsXvHfGdnlMnvXk6If7X5V/RqDjroV/MYqDpnigAkM8sE
obtLsrWrjkYr1bEe/Q8tsu56m2CKyEbeqlXipaGBTptQBvBM3eBKMGH0tRf7MyygqSUNcHnCwYUc
xlXx02+mT2MIxPV7o8eVvPru/M+xeZkpV5Z2+n4F5Y2LmaT5qS2pfMWp/2Z3ZbBlNoB36YetsJvQ
+qZCi9a6tIa3sq6NDZOkfJN30U60FnUQl+YXKOnDPI32gSb5a5nnLC31AqiW01GBwvO69axfhKpQ
+C3a28Hv302RtEezmSDEQv0eG7hOeRk9alqcX5vOdnYYp3qqEfTpfc062HxzYoyDbSfiFlISdwDH
Te8jM8/g3psOJKQKSxSCWuGOBfkaHUXe2E3zEAKttZ2WL8KYpbx6aI21mbdWi3oYiPUTDautXbry
mrmZujp+OZ5zaFm+qi8ddIttzD1JdhomgabvdtwWHF1jgOzqoyos8gVHmPr9uCV4Amuq7KHnQEUG
ijqn1caI8pEUDaGf+Z93mtBEDAUVNzS1R6uJn2zvLVsiVdaRvfT7gbBWfo+8tbauXo1hr9eXpG5T
+OPzq1fAORNCnd24QjgS2TSYXTlQNqz+Gnln7d3eHa5AJan/OXpPcafCKIVPb7fenT1aZVt0JL9L
uziUTUWMXqH317LPrb1GTh9MLZxUo7qzbVqAPbxurHiSwrYDyLqJT5ITBZUqcWZFYzACBUfAtFC6
dJtpa02/rZXezs4T0P2zgf2rpGIwqFUl1l27Vu9CtHx/YoZzIx+eepORRVCL3bW6DlAs/jEsKEE1
u9g5ZHEsB/2UJJa6pp0NkF6L2V0f5yWzFCPgXHCy6lISkNGmlMcDZGbhOngZzOXOk65v0kn/Acoz
oCTkcduKyJGpjPRnNRKl1zHwSiOZd+by9yBu6qlc/NDBQJ3c7mo0cYagU+rEV2BXydV0SKKJ7SVJ
EKU8KR4nJfq93VOjou86hfPEl24FXO0V6Z83Wp9ymmX8SSgyIQHJlbsjKMFGDubiqPCpgqWZhliB
SZU5TefRNZzNILiS3Wr8KQqhkQ5QttuMqh6i3EFd199fGWmybeqFuuanPyA1M4uB+65G5imNp5W0
gtUjK7djqRh+ekfeNvn4N7GWrj7ATlwF83QVFnczUYAeLGPvOcXcj5kgOUjZ4K8ZvQPGFXF0U/dG
C7iwm5E/pSR/SwmG5ckckt1ACivng3aeqGnSEhsypPhlt0PqeWF1cp+PmkN2DXSugMVGQW2VNjP5
lSyTiPKV0Rt6uJyR0NraQf6YDuZ8jFpV06N9bhJtXzUEfMyTc81tFRxjvDytHf0WFl+wJIuiAN/e
pz2UW7yPoTX/HhPWSEELftlZBpwx098TbyyPfZc/JGOqQxovJEl42U1ByMKJOkYYlx2SMxWXh6Rs
P5eh0XF/mFwZVEtM7gzDTW63B41Tg5I1qrQTMK4Xs1Fq10biAifW3hANNO/2dqtxywExD8VXC3pA
pxHnA7l7Qf4B2ljfSY0JudV6OFdJpUVr1pM6axM9xE22MVoXq4kk/wySoKkp91wPFBUcKlJgj5ud
UvIO0Vx30Hp3NxjEpjT0Ureuf7Ecljzu8jV2DQYgzfol2uQn+dKc5hAfQxGkj/qUg0rMuuxmmFlK
cHZ9Vm32rseTs2uLaCu9ifJnkpxd4X20lGa4suerSdDOzN9ojmzKYXxxJjzWgVDd+ZLJjkEvNv9I
OgzAfX1GBa++mP6kwp6Szjae50+bwFAWP3LaT27zdz1rJ9DlO7gM/Ubnw6/D1FVEEDXxOZi5qxCl
UF1l5NFDWDbrQ5Iny33DfGYR/lRXYTAQZ2bykmoWcR/MqPYzOcooLzWfSI4muBQea04CTtZbPI1T
AycTk4uv2/4yJn7N/9dx72t3fUol5THXG3la/x0peawRvsbGZagYASaC6ShGi1Imt4V1NO3nKlkU
dTgNDE1doozLoJy8YyYKd9h0gwoOURBU++9yzHct61/Hvtfq60u+n/1XAed/fN36xPey//sN/nXs
++3Xd15f938/9r/9tO+3//60/+7Y//8nWP/F//hFKHdyNyVxA/TpugNtoazacKvbaZ3+OnbUFCtX
1bu8pKeZZ5BptfYs47o7d0uNpTTMDyWJY9DpykzYWdCaZrMz3WiUHp/sOr/XmmT+IBja3A3UWI7D
bEYvFVZ8DD9wztWH8kl0sAQk7qR1AH2DHwmtKLrJLVE9yj6/yfuGaapHVGAGKfzDLVQQCmyWl4yI
hRfqiKfEhTY2dmUXJjPmxAQM3M5rZmM/jXqYLP+Iwhmg8K56IzGrOo+mZpPzHLkfmu6/wpBtHqdJ
RDeW3geb9Xg5IVcdPaz5lh3AdkZZ63Wtd2bGRQp2N3zAEe+Pmd6z5tYeK5W8Sc3vAI9SXKJb+Zrj
XMXEJlD2RK7/7mp1v7i9SB8kp+81IpdFX5Ib8759J8sm2PVzs0nNRKeoMmjvmiIJs47LV9NUPaO9
1oTr8YlfFnmlkV2HuZ5eferZ9vJ6Xwruxa6fEW+FTJCM9OlDq/0XBdTzMWgLeSthMG6CSnWPUxs/
zlmQ7CZvaDajrfrQ1/Lgwxf6poMn+KbSwD31/ZjuNH3YtoFjPzMUB8vJQSwSUvQhN4pHYvrW3wxH
aHNOyBv4ejhrxKflE5EE/p0/R/oBe/sJBel020/ekzOSPWbSL+mSlKm8lSP2NAvC9AxyU0SRGSQg
pdtklNpL7vaPsdOlj2M9dfdm63/mQKvep6xHUFUuRh9RUbOW7ZmemfUkh8i9RbPQEr8yz1SYsx5P
0Z9x4AtrXDs5p8FUHfWuy/baQHadTp+tHLqjVoFGSYaLo0CYiZLeb6ZhGQcim35UBKNSt9On3Wh6
9/Ssjrgr0vcMNdwQVHRQmGIc+BF/KN9jOiay8t2yi5+k5TT33VwMT37gnFrkW3s37yhEow8ISVcZ
dqknnSN5O+apiQr44mlDsaM+TlnK6g7nbdjhw73GDXR9z66D90zCqPWSUl7q3tbfPO9h/epNWqFg
+Xt962WD/y5aBj9Bm+tWFI7+JPitJpj//HZ5TweL0OmRUj8MmPRDb6m711Fx9stMfFgTXWFlYyab
MGaclpFp8cz/oUFOgDfiNdlo3nuJzkba70RIO2fcbkDql6OTn3oQ8ATexx4Ev67P1msWfDhAtd+N
pOwvOpnJ4fpwxtm1VY5SBysFoOVRzfMD3LBt5z/7bpneOU6aoyDhOMyxcc8Jkx8GLWBEH7k2VSl+
qbYmKSsJ3Ceni49MrLP3uSrNkxrogC+6iRM4Z7l1KmcIAfkFu3jicujmyn1rU9xPhV6/4KdTd0bm
QlRpxBsrqrGU+rIkosdGee1NJ9IHiWKNHm95mMvnSe/Fq2mzri5YR5GtwFDKdErf6F7vXjsCPI5u
R7gql3f2NvAfc2k7P/WjJe4p8T/pFW0IXSbGLWHz6dsg/tieB3Q3T7NrMJbNnZZZf9cPaxoFJnRp
7vczNwU91ew3ahDcnYVNFMek7Lc8e7UTJHqDkuUlzdRpdJh8ZjoXbp9E3aGiX7WXWUMDqFKwxd3O
uk7Lw7j+6YNf7VJRPvsE5t11tv93LGfjjWwokuAdU9+tD+ukycLJtn6m8CdBTLb6W47MoVP4dQY5
EAsStdadV+ufftn5byhp5oPuDQAwBFU8PfXeYp/GRlrJ+Mbljv1Gnp9TRuUb/LboBuwUMswEhiGL
G3TdALVIOiBgcv0CMrOFzawBj+46nQW/OE21os/lgeu3wC5s5oIrLTK0YxvULO8mqz93Msv2c2u+
1omyzpZHUUkra+sskjSg45ii6bc7dLjc23U6vQptQpcfdY95YTlXNEPUok8Y8jo6mDC2M8RwzARJ
nmFFu+6vz6+vX/f+u4fT8m7/ekmpUXf9evN//bv11f/l6TLmm3ON6hC1S0Ncp1Gy7g1U5LiVsRH/
uRclZaKH68G4lR0ti9yhNq6Le235NSKjrM5x3PLJrFdvAkFrl1V+fR6WTe7zY65767GgJeOvNhmM
3KWd2VHPOS90m61mkHiWLD2gCITLuaOYcARqsIl1g1k8d/DuvG4o/vyzl6r8vbNm4ieXJ138w2cM
Hu3ZUyzkcbfjkkzH9uwHBZmcTFI30/KwoEd5TiyzJYHzPx6mPXhsee82rtibvvfQVJ55JryTFvDY
2nd+QsaBCZT97EPCYVBiOe/G83S2akLGfRWMhyCKrmgdSwyUfbPLls+w546Rp49/rZ/4/bHfD9cf
j9V4RZP8tP78nd3wc3lDS9jTskviJgXZsi0hKCTt2Vm6X9+b9VgvCrUfZnWPUgdLTVaefEzOJwxD
dAPXH0Sa/q7AlH/8/oXHCbMKnK6DuTbVlo2nV2WYq3GEMN7NpJIuHc5AtPMB2uxxWjqO7tLvXPeK
pT+rUw7i5k8tfVobYSK5SclV3geLxmHdIO+ns5ghWWKZi1MDcpAfmq1OMp30dTTTQ20dFxdMAP/n
TIppeV73vjdaGpVnxt7XKiWcYT3TkoxDHmhxgNJNY2xjVvsEYQ51qHdcqVDsl/Yzm+E/9+rAw33a
byJGjiX4kQ9LxtGfwmlMFoPCHG3Xt3bXa/P7U0aDFic+7Z/rSbxuqjnQqJ0tJ/W68f1F7z4Vp2Y5
k9dzOgCPsanhr+NMGdU/J7Umo89oFveNU450DifOc2r+/2w0LCanDpN/Ei9twaYaie+Ihq89T7Pp
ErrJtU486L5OAXycBrbL8jLVfrvAofUdbVakAVWrDA0mhpmdesq8tKeHr/eBZPbP3nqMuj8KwPXg
v17jLx+tGmq7BsP1NrAKcV430zj+s7c+9PuURCvFSrzOaJADTBRwo+zxn731mJ/pB/gDjLq4o4ha
XG4zvWpPAeldRQHbpi+R0NN1dhGP0NGRPeCBxG1hDNtlTcFNN4dzU6THeRF1RW7HzHHq3qo0AgUC
ze7MvCMAeF7eT66ar98bQpzzja7NtAKD0bhAnOJD+3pnECWIR82ML9YMbMqIbZSCPZnZpYGspcaX
X74LcxCXddOQOQges6zflaz9fVVq7qVHJHOZAdF/7a0PUbbpO3/56Yj8pO6iZRdjeUVaePjwl826
tz5ppcVN6+vmocdry0I13VEpMzYaVr0yXkqrD7X1B/k/BvNZtx6YU8M9jH/LQZaHVIcLLoNMHjW6
ptu5TDDs1UN+JUI4OqZpTxeOvBdEZdjfrfq3EhYMjxkiViow/+Qi1u5taudcKaHdM4dVTQZMqXsI
Ki3+FRu6S3JRJy8sxbqH2TEp7xuSpiTy12NGKnJYizTHYubHe6u0fTBHF1e23dFD97NVoGqf7LL8
DRYvvVKIg+SBkXg7UIq6S20NcLGn/P36cN1MznhLipyG2g2tSjeAN41IoLhbNwYeilskpKioGUJn
m7HGLshqc0tiy6h7hnoyZVsVmFQkmN0QH2Z47TYY65dxSuTRj6o7i5L+0TWE1m5kMylK2KrZJW2Q
X7XmPzYt4Za4jvpPRNgUUJfjepShf2qS7fdLKcfASYnLHClV21+1peK67vV9PB46SurV0kSye/WE
JFkSfkWDY934hFpdLMU8xuuoG8NgdXelYdBz7XQX188wqtCuoHjpU19evw5GqJAuprY1l5plsVQv
qflaYU5LLdScdK+N9DlTnMi70ruLgyA+tUEaGl3/ERQo3qiznM2lqOL1pn+xE8g4TUodlKxUvsiE
cAGBZoo6ILwQLrNIK3p6P0ZyxeqeXNPB+N0PAJFQDR+LpXMhdIp1iTGgJTAQN2V1/KPO2w98RBa5
kMtmQaKWdDtQbEeIX0oNs+BEDBIEY7qQS2koHtIHxdQc8w4jZh6or81Y7eE1ZWcXnOLWQnpPygfD
i8DyRREUroZZW0QvjdrZsCVJ2K5/btJs/NroA0gfMD16RZkfVLKjDR/o6Ph+KaATU4Hvdd3za/Oq
CxvH7jKxsDsbqS9Vqe06xdB0jn3PONZj0mwW3sTgfc04tLb/r9OO9WFm1uMuyJ1P2EpMWdYpx9eu
11UdHL0cBQljdzDaEQnKy7SETixqouS+WY6v43ecM5yv4/e6t24S2wydvCMIhKQM+EG+9dE53GKD
yn9e38Ze3ksZA2AxR+2TfEyN3fovS3vAQ8eVQrHWMEkiX+YJ69Au5o7orLk8WUhstxQ0kUs0xFfO
yqEVXaB5NZouD9FY0t7Ou0thdOpcuuSrbtz6h6pQ0sRe/2cKUnXOlufWvWqQtG/S+YAMmgFVXwbu
r90eB8TR6eztbCk8A+vwXUujROG9DL1AQUi6dU7fQ2ywzCDXIX09JqvxiFpMwqzISk755dl13khz
5kdSjDNSXyaVCM5YEEXOCFzczBQhvQUJdHrW489YB+J1Xmki8g+HMaHwMZMivYlbF9nUslnHD3MZ
3Z1h/mmqjq9r2RjLN7I+mbduvo2SepFaFOqQW8lpWKQ9Ytmk1SL/WWc9zGDcU0rK6jLp0Zd5UL1I
dda99dj60ChIO9MaeTQjN+mOpMeDkumGfdUNA01+Ewvlumt5wPKEyve0OZC9J8sIuLyksBjK1731
WAvWKPSYP3Oq8sS66QeGbthm49dDLfIpUE/ot9qBLt/OVsWApM/bokgiWDNu79bpy/fEHKytmaek
BxvmYxXoBM2MSXNvNPrtRDeFKoAJgIPVHfxFcevO1jsoV+NiEvKYS9Q8veY/jjTdQ3vsvZBiV8AM
v/L0bYS7Ggzm9Nz4gggcK/owTIrGGXceSavs1PuKVllMgENBqvDNujGC8urZbbehnqd2gMmt+6bp
KPyx5EgW0RwsGM6aZU8P+Di4KVAQjN6+lVBmN36PDgTnDBFVNrlYlv0O259r1krF0W9xvKGsfpsC
rziS/VhfMz2iTN1abz5qjRF/nYzkFWJZvZd5559zhKUbyxYqFGkr6ZdPRw3RNvNYx7uNVb6g75k6
+4asEMX+rVx5FCnVZ/TUyb2ZoedFuRKccwbLjTQiTIzae8ni/ehnLeghHdco8s/0TpCQ/ljb+Ute
cItFEGbuyGl7Mnyi5AaQrC1MldG/Qk79Z2Na5Q/brXcxbbeNSgmEJiuMWvtI9CmjTI+w+m2MRm5g
FW2toDKfu9Lp3rsJCmjtBl2obNmFOrgqsRllhI9QSfGkeoJckmy8ro9yOUaHoaTXRshe6Oaz9272
eLALw7PPZC577yEno3wwA+ludeh5TpZy62sM/WjKe7/3kAcX01sRR9pr1YyKrnrkXdeHmBEOZhZ4
j5xo2TPJ5Fvbktqr3RNBq2kdrRLbPLQmgWDpOKkHgmM2EYltx9b3YoyZWRLGgJ5uiIkzHsjZ/qUl
zo9YL4cnIO8IgkkgeHGchFiVWPNuitENToDHmG42d1/WrlKnUQ9SVN3wPg8zniOWcmlYiTlosFI6
aBUm45gVJE8XU5lfp2q4HZL0sVjm2jnE8HANyVOVru68gkatbNLpR0akw6ae5tc8p4XlSNW+FpjB
y4SceSxi7Ws8AHNMzPFZ+elJdM54UzVzvK+BMCD5Hcx7w07Ne3MkiG+adHL0njvoOx/KLbKdYyjj
nOY5zpDGmXdT8cyQaL0ItFjMjsAiFTaVv4aUt0s7B/4l4IzZ56NLEHj12qoJcCjW1Fd+VsfsjPtJ
+icHAMfNuolmRLl4zttDNIhwKs38TsIBYI4MIK0qRtwZ8A12A3fhRxEnj6iwo+2sOj/Ec2PfQvfe
+BSPTq0Q0xa5JGFBlUd/k0yJbdRg9HR00T3QTGQRZIKLgp3ei0egcfw2s1PfprqSJ1XYhrkZE2s8
4tfzbnyWNDfTc13Uz7GLA3omyWqv/L68OBrksSZHkV42gASMrPgVmOc0m8tPluDIrAF+3vbSd69E
eYrtYA7yOc2TJx82KylrFKXxrr/EhvMsAn26XR8xhKJcsnukr8uTQ1kBMhpRb1tD+UTBvUHHNkRX
0wAPb02HETFZaIvJOAjh4F2xbjPTrB+/Tq8Z99Iu7jCp663vXOQwE+VlPQi3IOkWFwaIr/ucUuFN
YQfx1yaY4z9ubkNayn5ikIDVmxrpKWq65KkjXfpUeBpUbxSPleEnv4w+fpNu9RgRxPViT+4TmOju
yXd77WJTB9vSHsWIgZSeANsKnsuIGxgpliJilRGlN/HK4U95rSJ+MDH5yO6luvVymvpaFPvv0kuN
7dxVGrp0ZrUuf3Vr1LWtnjcHnUyQJ2KSmfwM6sXsaYmQFEmGmXypq1i9CLHzvbF81rO7BrPyiddn
V6zxw2GsgMmb7lSFZZQc0sLXHtZNNrPAoSA3Ts495nv54uVQIMZePrp9ql6MqjrSHhkf1ufKHIzN
KMeLVk0XUTTg6YHW35kw+InCArG8PiSq6p8nQLbYFC+Aui4voxKM32PEcCYmq7xZN50Xa4uQa7la
uqWgbeBWYjIfZTStg8otH1X3gp5jeCIbZHgaZsabxJuxWEmvf6oH5SBtEO/rI8p45m5SSDgTe5yd
MHDH6JxFrlthnGjzE9E+S94Tx/oJ102ubryplvXWXprfti3nq3Jn/obB0YtJbdAscAzhuluXg7ys
e5jPxcUgDdwiTH63ID5ByZUNorg58049IdrrI/oYzWXdSxyVbnNXJ3QzGxFBTH4/3ZhMS29UZ70W
WTIcWU9NN3Gtfg+DBRcX5ca9mw5Lhh4sv/XhXKbTfSJq82xH6dt6qDBcImXwPh3drNSulF55uP4z
JeQ//8x0hdoatUkmmU4qI8HACW6hYXgCHxXDbHPuIpNH6yF78UN6iCUv6zGDS/DEGUSO+PIP1mOo
RZlLReKeaPThaTaZISTVQIVheRNBGes+N+3d+qRI49c4YQqTglLUwTBbpePf6AQdPfVZMW97T9P2
c2zZQE2yxePS6xerpWS1vqTuTP9poIM++0I+rIca8sYY8KL6GCSt/2QWaFb72KU87W98Nwtu6Dy0
aAwq5JIaWZGbPJu2tlHIE/ZBQQMef4VQpAuIdIJ6mTd7VWikI+Jg2idph6VOYUyrTM870dA3X3Qt
2uCynveWjte/Jqzm1sukf8uanyV1XS6wQGyHsVdd6siOzzCBkltydpIOi5KiKiqGeRc4GDzwTVis
vypVmrvGmn5Dr2y5dnJq3+f0r8jEprUYx97JmaDWmbUFeITqNfOsB0dN74MBJbkSSOAHLDVj8Sdj
kh468/wYFF6/nZ3sERegXUwX5oIa7pb8PEvnlahz4NEaAkPZIV2c+C7JK3x2zeJWRChXI/LSN5aG
YMrTO+Retmtc4scymz+RKDqgLVuSf85+7r3KtrXDAiUgWd2EUNggDM098eztRidU+SlvbCiZ+Cgq
Ts658j6dOZmPnQ9EIPbVp62WOPNFuzEVEGukI+6sGausHDCKpnRiIzSESMUukzRGSoFuvR0a9dtn
0rmoLKN9Y2MJ1ZjbbDxZjNgQiehLbZtSPz48jfU6d93xYkTuIpqtuy30Y8pbza1ANYhutFQHXZJL
3Pi/jcqD32NbTRiI+SE38TMDMdmRh5RsMrcKfX18syqKI2VLJG4r946bnLQemGguyDuOZ3lDb+0T
PPGmCjTvGGvuwQGLkU9OcIC+edekCUVsMJZNGiGqs1+k1aAih4ut1fIzIdFUaMLcNnFBWylYbtsV
jfMJTJBbIy1PHWwjLcLe6M0RToZ3z7pAs2WF7hysTp+Poqt+aUPanFA21eQrTpuRL/sw5tqnvCTx
kGxYYRxKR53sgOB019LSY59ZzsYn9ZNFy1Ubpr91G5+WzpshCeNBzfZTeTa9X8P4nL02vVoRM6Ah
ozQbCOvWHpy7OsKuR1W+Yz1nQwPXPLFtzHqvCMwbiVfegBr+m4p6gN1WJweSiy95GWAcnjNuj3Qb
JHUF18UVmepes2tN886RPZjWaq7wyjyn5I4f5Nj+VKlHmc1xZZgjQsmj2rsdy5K44yLfeLH9qHxW
yipJ7qCtv0pvTG/wPNoXRZY2trEWybEAEdBkDyha0FveCX7VQ100v5rYPwjiVhbX4mE1g4i4D6fK
CljvTyGS30PV5ze4csZN12dMPBr/mWRPAnJRHh1Hp39oXP05I6F3P5jJzgdk0kD4AJJxS7DRQWXV
ib9iFnqm/itqWT5mOuD8rJaPmWxvXFiPG2fyxVnrPUAbGIWrmuvEs3Fqt2iS+PubipBoFKHwSc3b
oovfS9ABJ0sxJRjt4KIVKqE0BDEedOeBCDIM+AQmO7B00jnjsqv4DcigTLQEAbmfv+H67fdBFF9G
vTpaKrmrdEvbAUPnFkL2oSpi8FTqJYO+2rrAWXzzTu/p1Y6OiydnoAikMonfqa90cg2MA57io3RG
ThuFGarVkDBzg7xtzL+iaayH2DaJqm2K6jA4NEyM4dX3pjR0cT8SiAachpxLIMxaTN9gOq8pY238
kVaAR+KBojKe1m6DUxyBA5zdTUJ5KsyTd2k0oT0/+/nOdzj1mXxsqsn40xTej7j2PzWEbdRespdO
Yj3ssWh4BXqEefibKi55PGnvVTnExy7FkaOL6VJDbBqliZJ7bhxYJ+QROF0RbK36sbCC6UnlxqVH
v2jeGlplhIKZK7XC4aUNbutS65md6EB6RPqTWbrwZ0bPKL3Y/KUoo0q6iIJbkk2Hig+8m0oSY42c
CZRHDvRvZmgAnYSaGKxIhxd+m4cdw+uu6JCAAeTYWn3w2CbDB+Bw4woL4GfdO3fmYP2dNUKblFY9
NH73GTGflDqVDhRzjTuonTtBCPKz+Q3o9c+B5VdCdtjW1MriNsO2HaRaemhHP9jMqX7KZuu+NJzd
OMKzMWtwOwOUOwLlbjzWsI7QQy1Ko9/zwP3L17ZC68r3eSazW2Y31lQTw2cfWgfaLYKa1PfrrePm
j43yXnyLZswEl9pgftn1NrcmXZ0kki46wz0Dontj1vnPONWTbZpnv7zYJ1bTefNLEn4D0/7RddWz
TsJcNQE0hTe2rILiA3IL5J7m/NOubJ8YPvQ6BEn0hvNWMamaRH1to/nOoY49tw0nT28inu6Lu2Le
FyZjG1CpLGxHD86qawAMikq1DcrB2BSkC0cmy/aCs1zoOtypuSferuTqjhcKW0bV10yLhy67lrrB
We5boRtRoQgIGUW1aWQj17x5gQabQAlBBRCUtA5nCnlUzNEtZt4FCB5aJZNwhebNqRW35glCmEUr
AGHg3wBPAN4shKp9Sp2Av0VBzAF51+6rSSyv1x2KwmAwmeis2bjLexd99DBAylWFTr3D0+tjMkYf
ZZ0ZYdwRHGclx1Slz5ZHEPeMRDzSxHOgOpKcPJur2vDghUV4cKjNMeMO4TsdqsCztl7STlT3yQhK
pzm4vraGIh+M/HH+5NCWzLLZzPrk4+GGTNK33NL7/8feeexIDmRL9ovYoBbbUAyRoVJW5oaoVBRO
5dTOr3+H9TAYvMVgMPvZJBqN7qqsEPTrds2OYTrcIAvFKwykF3SgXaDiU5rE3H2oBl1DbibmPsVf
YiALiS2DQ8x6RGcb19EYLT6X5ITk8ITpEs9fLh3M2PNnHDjPcdwDvCoP4MaG57h5Sk0/BSScPoiK
syjQVg6TiDZXDUZorO29RHUU43fmfNpyuHoG2X90Jhs6MRGOtuFUx3XUj45D2HyuVikvzlrT7VMl
sdb6o/XLorFaqdKdw8mueXJX9S+SLN2PI1imCm8//II5/jYCdXFmk0COjZdCaFScI/DeJgtvguYg
v9PktwoaJiRwADsLLw3DiL1DmgVF0g/Uijh8XeJu+FJdk630HMGcC+cK/jThAGY2AOe4KvaTJsO6
909cwectDI1TE2wwuyDjJnI5kDJqukfT/dbyYp8btrtrdR5lNFr/dCk1xWPkDAunZO23zecwAR2d
ClbTAH9ZhvrilOF332oesZeSumGW1OlBD0RJfqAhU5PxOSit8jWy0w8d2jrPqpHlEKmBHNNrQz5s
48/1l8L1RTARdqSRgftLbvY8vRSu9WrDLcyBda/aLvilr+RjFvzOsd9mRC355HWRHEAajFjQa/D6
UfmqHB5obVKcS3IPRKTTyziM9ibr7WPlmNe49voD7XQ9PHXvm+P+1sroO42hLDcV+V697bR1UiEK
xO6yDMcds/JLuNVO9NdMuNm1ZGjWwgePvwAcKK0ydsOc3aVlhFqgLEx64i6Fs4lNzMvScGGxsfoi
fY7rohEWkLLss3Hb11khP7ILpteAqFGWdveu4Vk7DfYSwuBEdPQOTI817ehntRB+Kd3W+2Rlzhit
sQRuxkr+NLI8Odn4hZMJrHeVbRIRSLqDGGsrTSqO8i70u3TECdTt8Rc26z7SmN40qBYSq3BYFCmb
R63cNir5m9rkPmY2pz1fMZR1+Ngdf3Vcl9cRXTB0jOoNM9Em0uWuqPpN19BWPNJmaeR4DER57eXg
PUjXOsoa3HOZG8QHqYER8A3X3QTFrrSTd9Ybu17DdGxm+oNKxXSVtBtMKnofFXhGQOK40teNkf02
k4toSDu6lQ0fVfukuUOPWxIOpTMb01171hi2aDwYSRBRVrZuK74HZcy5UxjkEQZ3OpVdtKOK4cV3
DP4huNW4GS01cI5/tAUX0XYiiqm57dKmetVs8VgAbPpjxaiHgxXiCovWbCqndUHtNktTArEVI/bK
3BNSKpjq6nIzDGxSwc6trJl4BneLl8lMymPq/ciGEISXVXhfbb4MeWrYG/Y1/goABLWInp+dNdzL
K9cut4bm32U6Ahnoy1+/p2t4Hv9G3vicz/GbbsCFGTrrSwumDg5OOd9wDriha2skGl18Or0sYKpV
suSXpDC5TygNiA7G4GHTa2Gb5iJ+mz33IRj1EZ5D90GTw8rOiGuIhliBL6+xi67STOcp+Y0IETxR
4oMXMsirnbFMPhNcBmfWi4vhyHfW58BO5yZacQmkQch95RVdzwl8zrjEgTarsniZs4TUQhpd+kk/
D6VN64YLAtN5zdB/EkIBq4lFV1WnrCKDDER4tTLSVJ3rVl3LAE7v2LdrBjwJuDM6SD49cOvHF3da
rOkU5hW6omvJe+nrTBy41ddINI7Dwsc9Bbr1kWDZqBdFXTA+DW4F17lpP4bIX0Pph5VgnUhrtgPm
QB24LZimDW2dPMhp4ejhwFN8kOEdB5pTYaMANN9j9UyJx7N66idiWkWEcF0vgyTZtDJ3Q5YNPLoc
CqBEFLE0IalhVnO3TfR6TS8FgXPHZ6TKj9L2qzVVId3iTEzFV94HPqUocRoGSTtvKdy2N7qPzX9I
aZGlOSvZtvlzxhGFw8ChOblN7maR6tsshl0VtI9GG/DmY3pgaeYFG5Exk48BPgjlH6yM2YqHE20P
/aqIpl+7wr/HBLXzRv9Tn2xvD0UlCytBLSQ0eNfRv6G+2qRQeHQ3rfpjDMl2avAr/Puv0+kLKWRG
1RUaGNvxb9yWdCc7Zg76y1bUTvCNaV0ObDXTw1IfOd1HUhblJw6lmiujWJWpr3blNNl7LsxfC83a
i7pQmHQwzQnvA8NjuiprRbbLd0LGsSrU9SDM/OjdM8RCIMifxtk9q3ERVRsffJfFVoXNVJzi26Q3
oNrHth7hCeM41HIZb4OJwzDQSg6pKrrMaUTzFg+4A9Zmog2DphiyuS4EPFqHcSChpXvk3/PSPPv2
R6JP+SYBgSTaNmDJ725t5SBb6S6fsHMPrOU2pTFuBoOImFNnx4pCL3K15H49rhN4Oz6J3HaPCkxW
zW80RDYQyiChV0djUdLKstkZjf9ZJ5MitMszKzBWzmh5u3akmoSHHMf1OG68yTV2c+Nr11qgJ1ru
vAYcbu7Nvn1SjmruMILWQ4xXdCri26DbJUhj6+yVIOymMeN77NOEZfgYehkAo2XfbuZ9x2hVlmvl
ynyfmd1WG+R777EDi2cLzIp8Gwz3GQLW+IbJ+0wp0K4Q7vSGD68/jRnNni50oyEwP/8x7f4/wfH/
Rvf3YOv/nwmOlzT+af4HvHH53/83vNFw/oPG4y6QcUM3oaEDAfxvdqP+n4XMaQc0UAIHNB13qU/8
X+xG6z+OCSJFNyir0hdE+f9mNxr/cQMX0KJjmoShdM//f0H7O5bxP+H+nunbUApBPgNPgoBI8OF/
UgpZDBlxX1fblP6/WsM6V8W9Ovg6Odc5iVlQFPnNNd9L5Fm+TV596UoTOuhU/FBy8lj5pbObHFM7
5LF2LfZBOz+CPF8u9FFzqSOmVFh5wkuPyegSE6/SO8+RYCSOmvb6Rk8zHoLRvKfzcT5Jy6tJahXa
Ch09XXcPJhzEvpeogtG4IVeXNlbw5frtlqjvsa3hCcxV8utVdXwf3QG1JEjFvmwc/SLaF4gmla7L
MOHUWBuT1tyy1ke5TVC2SrsA71bpDnNWVW/1SmJjcvBIiXG64hP8I71oYp1pRucSTIkZWy80hzPX
efzb3RRrR+G/xe1sHKOGH2LMTzLNnL1TEPaPDe0SzXqyl8m4MxIlT62GSiwN8GZ99VpVE2WjAlJB
6jFEm7pOYUtcUuvD5orJaVp1Svg7llIKo/FqcjTtx+6ZwfUqF7euaG59QXS3nKP3ygCSgJ/sSB/W
OiZruO29em0ZidgNuvtUSz8LMdY7ALn7bJN7qj+DgmT9lycs5YT1gzi+HZ2kuUYzxCn8WpgB6m8x
Od1BK7L2BpBh2zYUKAnzPTeouXIa04ataW31sfD/eEMvdpx43jpwjGbtoHVPpIOhdMZhMrACDMyR
i2rJ7kN1PT2dzrb2g3bLe2XvRtjR73OeXJOp2M9l7m/1rmQbQrCQGvv+0+bYRwgzv33EtnWdeTbM
+x+yCGrL/31L1BeUrqroNEhiegMzujktsjnP2pA9224Oo7oYky020WxTGFQ4VnJqLpmEX00BQjg2
+ZvCV4O80DXs7pUi+eqidS5L0aR4ETaKaob1kDi6Hhy9ioRvULiLTHgOVB3t8sUhEXkWlWq++Tja
Ga5V3W+4SVu4U4WBPo2f5FAHLCJSIplrLDLTEVl1OtZsDrfEGaBZAxWxBe4rVwzb0Tb2gwd2QozH
EbTYQUErcEv6A2oSkTtVXmT+V9dHWrnACgJz6sEJ+cO3nuS/ctB+2gK/RABqftPbnnVNKp9gqNce
J7MlAOJ/SqMzz7z6safgDVc49qk7fC3NeqF7Itj0qf1pAS6anIh5M7dYCAdgxWqDOk2n8lbEP2hr
SIzkWM7TT0xUkXh6ANoqzTfOzNbdaiCq6UN+qR3wWUGh7yY3VlzfGnHBbf5HkXfekwxc65gx6f6K
CV80/V4AsdxFMRsVF3a9lwwEcDAseFzshAPq3Yrw8WWgWs5tRXlGNtGwqRN/OOrA/Mhu5ReO3f3C
sfCy0J2SSyHdx6F0zYOpV69mzJ9eB/zFSxAYN1RymYPehwQqqw2zS9jOfRIaynNXA59RE3uYb3nd
FzRDB0C9U5KZsnBDbybEmlMbr2RQ2Cej6ZkHPK/fJHynZiK4eCyaJVqKdZYsXQvhLNI9eTI/qtGb
IY44+taOobKbCd9wK+OSNC0o7lxDUoM0haJAY9eqdmJ3l460JdSEWGIbI6EZv+bWl5tza+ISdvMW
X3zjLZsEVYf9pOp9Ia13ocGQM71pBPle8Vf1EYpWv/LqtALyguFCC4xLYPSkbvWanA+7j8LrcP3k
xyJBjEWRZsUW11RwAlxD27CKjTH5yTFCf1sBIe+CLyqH7lPBJ7VLcMk2uN5gVzFxI7ZupV4na9ZL
GiQVW3JHx/nVdjhUylh/CrQobBwiOB09dnuNNV6WC3Rx0JOlr3eHOEYf1GiYeVIow08JQbaqboNb
GczezU/qbcdXde0oEWwCeHyznMRjENGy0qSvXO0NDar6GHT1/V53ZXEfMaFx2h1GFAfZ4CPve4LO
ulyYepYe+ph4Z7vp7v9+lPSyrgyKXAmw8BnwrSu1NbTFWYMFoYGBMIsptXB7yIPSod1DZkTKPCrn
4nIb033xUhJH9Cjnfqjod16zn0nYTiEXuqP3wf1jP2XOc8nTdVS1dayDvzy8mkvsgD/vp403mqwL
7YEKC9E8wWfj7Etz56Bp7rox+48anKzjdtGGjpJVxo1v75aoA3h8NgrNHG7TU8N3f1/PE5VUQcWT
2IIFmLrCf20Nnsc2mexzw1v9bEGWxJtJXeJH39blwRvJ7iam0Ll1wAEXeTZTgsXiwdD64AFfdbt3
ZWew1mzY4YnKOgy97R8iRQDMtEW7HzDanzu8h+AIKhTgGe+kyFhZVR6CXO9RjxIM4t4qrvKB1Nob
apuzLcUlF4l508yl+2ByHlkHO5uqsqydBSmCkE76RBUviYou+nBHvbnrzfSHKKSLhfLQZLB6WhH8
Eo5Jw1HSXV9pGngTYYZJig5dGkG08XGib0Xd3/LMMp47KLOuJh9lNtv3lPD/TRqPndmcAUidJHy0
ZyfI3saR31rJcgzp2yXKn9H0wGHhkDT9NPsBp8kY/HKwHSFv6g85YMNVYEfHaECSzYRP/eKytOkk
TW+VVuwihbvDS0wGf4WXEETI0THpDvtHTJttsMXjlLvI5hertbWDrWpaDmDOjHAjN9SbUibhM8fL
iaqDEkfNRLOgSE1rE2NldnwvPzc1ykkKZWkDQ+vbzcTGdsCnsUT9I0DOMJCY1TYaM55wTdOB4tSv
Tpogmi87jFbwbODqxHsPNNoJjqSitpYNJkdxaZr1dztbGq7zd6AHyEiO+6O7XX+a+3uLeeXBVEAD
p7FD1ewdieUUrmKQUhyQ2yaKe8+rUeEXLaBhVIWxtwIB80f4t7pbBL9yL4kYEj6mM6l8KoPmZ4yM
+ig88zW2hjNvvr0yJ0pa3OCSJoLltcHydrb4vqgB7+Nkvox6PV14vRpkCZ1nsqpoDHGCuw30kVPi
0aBucZMX2kF4cloHzT5LmYW6gFVPX6e7YJ6OAfbn1oWeqX4jU8JM5PqEoIxBEiB0LMM+rsOS+9kG
Q+tH3WlXombanzFL0HuZjLeVoxMCoq5bZcNwsoTGFyJBI2w4I3IB4XZMj1Nc3gIneK5h/NOsuQHp
bK1tj88Io8cje9wX4Dr9WuvkmRwjbOOCTIUNa9AoH6zGhUDmWLehbF8mMCahGeQsllI8okljfFZj
wMutE1HM6ve2DnOv+O70huuoQEkohooW2qrtz6KjWqXKBJ+POow0FBEPT+S2qds9U/allvw1ZTQy
4FpPdMjFtH5OToHHEldmY+ZHiy65LeAyl/ov0CNxodm7kpCyzwF9TbCJ4IOsoDuSsMAZFMW4kMEp
nEaD9SWTahoKyhMxrp0nu0l2UUAxN1pUQlaoRNBMQk3FYeylfogbIVvVdaCuU6b5e7h7R57gxSob
WWci5h1bDlCyu3gtY9nIlYXZBVAFIOUgvSXsW/W6ReFkYNoM+LDW9YxSKIIdiIvshaBWmAb1zozQ
wau6ry4I0+ha7muqtGkVNZXLgN35fKP+Tj4cWtRZ6lV0ybncFY/au1Z2Hz3mpMNkDK/d0jI7uRKv
imfKjWeqe2YHDD+Je9cDOotaJpdNjyt/BT7Egz1vvJdGTjWQh6ZDGnmVVwGwLx8GHUsXcBRaGU5F
p9ZuN59mXTx2RlSGiSLa7CmWV0FgGNsSzxpI0+X9N5oTAZXloTsstmLvT23EN6H76cY23T880wA/
al60qhNzHQ0k5031GMe8aGqu75lGc5LF2wPZ/RWqsI0M6uz8zoAquBTMRFaEumiHTaP+1tncs+xo
NNbBLFam5QNFkD0hkkuCYfpTaMaSH0p3bkGheTWVO2ksn7wGIdL3Mm1lpSzg7MFNj17fmVunh52Z
jvwJ9FZtgwJKVNFMD96YFqsoxuPSZWOyUbJLubSYr8BV8dz71X6E4rluUf7pRryYTv3iQzjZFSNb
7QSe1QomV7dJlvdPEw3P3GzcmLO9V7n32In5j5ixAKS1TbNNOYduLA6OK++khKqNmdRh447X1j2S
+cLbpTwwfsNL4hK38keDNnt62WwX7xdaFW4iZ+mT4rWoSeMiDqdZiiW0g3gSo4KtTTYlQJ631M2T
T3MWJmBGEI7IvLOOwZavxpjQJeTn39FsbyMOOWw0OEySYt3xnNz2kAehOvPyxQpDuQVEkthdt53Z
DJ5F6nBO1KydhvoDfpTcYVaU+KJ2WCDvFe8V6yXy8g0UkZxOgW3SQwFRxcml4AknMq6LIZDdls80
vLq4lyfV1Ge+s2hMnEPruXIOnVLT89hE30afhgarto3ttgOsr4L3Mcv3PMvgiBmUTrs8X556q8WO
E5QB5z4VuJ1vPLiZ26y12FnnldWedW16LGltT2hGcjXCrTLGmZh75aHDsMhmXxs2ksDruiCRsmuJ
CO+R7x5hh/9odlo94QF9ghP3UwdspUelX2RFbqFur0lse6EzeEC4s/pFt+q3rHGMV5lnS7rOZHBq
cyatzDxpI6uU1cZrKYlBb13Z/kQxm8GQ0+EV7UamcgxHkaOviBEfIccEZyKMrE7m+NDK9dgFLhZ4
QqhCqzaQ8I3QZmNlp2PIQTLccOYOB/x+6bp1Wn+deZnDhDZfyVA8Q6SNMFhBPsEUlm9JJGJF8rRN
Z6fek9tjrdcVbWSBnq/lgM+gVRQ2lKPN8ZxXB+gCXAwai3IrtTJmea+DoSUnNV9sqdsHtwdg52Rk
eaBq4ftLihNemWbrku1YFQrCoCdKTAxMvnNLHDkb2keuHhtZuN4CgWBzFXNt5XFMgWha3wSBKHoO
XHs76Hn3GJNfWYtOx+6EGmoan9m/f0I2elAt5ZkZe97LKXp0NJ2M1UDhmuaaN30gP64M7RRECa0e
poJ6OWDAStEhqMQdYNULczNJecjdqNgnZsNVL2dX7bTMVw7FZ1je1kVmTSfZVGHflfPeptcDQ2sk
4T3P+q7xizd233+bCjBuq0dnqCZ+yDI/xP2mMaziHAtc8IJDrPYCQOkprUAj+kEPQ8q86DLujobs
u12r3W3HfRl081YUcRLq8/CbjQDQHEe7WXrz/O8y/u8HznzEKLwqcMvqhznFruW45a3seKuKEUoH
5jWqFIlcZ8ZG0QHNn033lNr++9v+/UiW74QFSBTbWLeulv8T20Mwu7RX4F9gh0alAml3hdPB9AhB
iTgRW8olrBVOzPrc6nqxSdPZXjfWtNf9Fs2gkLzoyXUyyVu4LL37DH6G/50AeiXeFh1jc7wnzaPO
7WNnSf/KiOifE4szP8GrdGrpm9mK3B524AEGHtdeH73QBsKxJBCRWBPtemKkAPx4xhaRYfAg49dO
K23dRdbd8MtLrqs5zBMe5JnrU45kRfEhGoO3ttbIOVi/VkeJ02xot4Zv/7po8wI94zUR1NpOBvQX
MoZToTAWqyWFnRc8JssOB9HYX/794GLrrwsZBlOrr6cW+492mJt4fpGcQ+NyuuqmOW1m2zvxF/yy
eq1vbELDBkLkV5NmqGiWYDHTYAvtyXd5gUaXmtf/WgMHaMxncMXUn2+tQuyKuO8PfJ0i/YmN0c0b
o+aBGhatYXIxpqQJUw0PH87R10Hp+2KMKApvghfP1J6CdP5T9s+RnzwWrf2WxcFH73WgpEs+r0uP
e9qMOyjhBZe6BO6breSVZ+O/kCm/Y5c6W9PFSJVM8aNJA5Ye//VJkeK3UgFvvxp2U9zvUeaOQz5/
lD3/GlvP7+1yecfRahPEzKX/aWvUYzcT9TDp38YX62LQqSge5+Pk93QRqkuXQd7nqrs1I+u19NRP
ZFdqbY9A4OgAC7L4t6dMgyuddnMM9YQSfSmIz7YUuiZUKLIWBvvzAKT1VGOrXpWdhDomeY5PMWoO
PJ/U8FZNfx8oyasiPDkS0jUr2BloXEek29jXpf85xM2vCNJLUnzKeT4Baj7piFSWs7ipRhKtvHJJ
mb6LyDlNBlN7glKI18Qk06AoB59fhhQ3qpfyp3BKwl3vgmU8adxtHKUPvje/uWN7bQbcziiD+yjB
K+Q27xofWKE7xkpZLPwcQ9sVrv7BuU3riQm+XWpyX+fC2Toy+fKC5u1slaiLPapnPEYXobqrDwm+
Dj5dnE9eWuZcUpCXC3nwbefFiCnZ0VFiCtHCU0Ka0MdT63OFmfCtFEtbm19EsLz/xglWSSsdkehq
5ziQ3gCtFa0syLr02oHMxAa/9czib2XIZzXLT6pa2IPdE25C7Sy3llNr6wIo64zt0M+ck4wgZKeD
x1yMfZO0HnYRh0cTMXm86skpczVzJ0dU8pxzi2WZvWaofDQjPvkdMIUKQtqg92uM2siK7roAhqzS
8sEuK1q7uUsbebrW4z5My4TiQl68pVQp64NFvvJ9nkusydNN2s6fWQ26NaMIrSmmXS+m20joDKHs
WHk+KkanLBb0JB2tYNy2ETUgrXHDkvisiABIhoW43LgWHXtWTZkIksiaJ+4ZqhSpGounBVDkZuuh
1cw1my84Z1e3B043WAe8tCSUsEXVPEBNjC/ZdLUycXYE+oYr7mjf165SOiBB7VVjNK6y4FQr64Q9
mXuO4TyMU3uWI2FsHpjTWtKgA6DlLVkcnXCeKvBNmKYLzuJsPoiqf6vyLkzwvPPw/ERcoUkpZaOo
dzDyJqyoleLdAQp5GXw6DWhZPBm2PKQqeohN3Ld1JSFuS3QXB7hxJgg+VpzHdaMztbPOZ3EUshm5
VbQw1bldILPqp1a6S7FWtjK4bUauvoNlFWHN4IiP+WzAAdh6zXiViXgbk/gBmsIBD9/F5xRwXsnQ
nEpdQBS3rgZzT9vWL6NWs/wAmWqyBvI17ZZ0rNizlAQsF+dqRhcgoU08+aNkykBTcM1T3Ki9kbT7
VgM6NJrz92iJO0FXYnpB9kUW0Kpocc7SIeQGAiveqTjWH9CKdoPX/QoEE+hF3SGryWoSAFqpmisi
UgfYBCIhG9IduIr0ba2hhirjAxcyvj8nJ1KbzQy8Yqur/JL02hlz+S9w8Xvc2LcsqQ5dHDwkucbE
sEi83bgEYtb5aL5L3L58F/ZgMdgsR5AKGefPOY0Gm4wCFMXlA9+H+dir/i8TDu3NloELA6kGTWme
6GDxsH3O2btBg47HeBDlz6lUt7hIEswS2KIpm0xdvGWF8x4sNmQ8KIk0w8Ue097jHhNCYFhPFQK1
aSMtVnWYVsObyOtHoUXHUfePtYC1r4321hk9btTN1bSmg2K/SPSHaqWoxkXSuFc3YH2AVStT9NFi
1bBo0RHQbusBdruemw+t7gy0MVlrAqc0fUzFcxZoD1YCyDKVEZH86oNa02Yr2wTXQMFTn+MTTlXf
imhlGzVOXzZ3SUfgdDh4bh/yNLRJWVa4qL1bqy/+RvJERvqVuFA8WSoS3TR3iuTh2BFOSwPOPTv+
U/ncNDs+r3XKulBa3yN3fp+PrCxDH4yaqOxbU6e/tOQOfEUjIziD2b5o+pyHJDnPgidrWl36rvap
oYhREkrwi8AMB41/PHozGcHlkdyVHtMFER3kq5O01SKm/2AjHfbL0SU9gdkYtaeMOZ5I3PPAlN6z
47mo00boVhPZjNJ7WJ7VXq49iDR4cbOIiTb/JSXxW1v2CyaBeMtljDSKfgSF/pjhXsRxZq4zxTCf
03GU4Ndf5Xpx5pP/XDM9MP/egTbBerW3qXXHuYD0omhVc4ybM1YDRtaZyY4vnmUGz4aF06qDvxTv
IVjjLMdKkj90MHg2aT2JsHhzdPfdmouKeR3DKGkrBrjdWKALlfgwvaQfeNDHX6oZfryBaqsnojIH
cvT6psn0RxAGeLwZFiCNfHLkv3h5ixnQTiBoMYRQYoBUmVUnlF10evqu+gJvuQ9gWqrnyXrsWxpv
ZpFgaGaCIwH8FqT4M9mnGKuG63K99CYIRmPPFE9xnF9K6sH6SB8ZU9yHrK4++kSmu3/Uwn/tI9pc
4xaPqUCiFPOKwWQTPLijeW1pyQ07JtAqmN8a+ojm3jXJgjcfmGy+cipzbNf5oK2ZpRARsFYcjA6m
wySLe9bD5iwcZJTB/wg+1WT4u4jr8cor7ib1HMecCtbUwSL770dZ4Xns7OxE+Vyw1jw0ZEPLWbfV
Arv/UmuXROmwbWPkCjyz9qnHf4Y7C6TB5d8P0tb7ii1/aDb+Dd++2vYdj20i+/bqeRwid+diad/M
felu+q6PrJXltsUOEcPo8NcGrNwwbCuxN9Nf9AzvHPXkNH083TL2L3iCciX9s/Skf4kDOwVXHDcA
SQ91DYI5Y/dAizItBJpif1Z2IfRlez0NutzWtfenG4o3Iy6Jj1eUWxUAc2M//VQDduasZjwoANqv
C4NgknLVzqXt6KEiIEeiDYMOUt1KOQBq/RwZEOuYPDCVYMbuFUiYfHlrMdJukhZOmR5P+NE5Fun0
MIiUk1Eezf6Kkw0hQ+X0eZnVJ4jEeg8yHn+RpGeFhV2GObmfUtqPFXtpM+Y+ScsX9qJ4Lxso73XF
8gUj6LL51B795idO5p8s6NQ+hbRBtBJdmOWFcIL86HD7hD5lUVmVIPZbHbdpf8RM5kZUQU6Z3CeR
pp2KGFmpnTxkoZqTKWsfo4q5JUZPiOKfwZcwGnB7leWijo/lm9LwgzaGE+YHjs9fepq6ULbmIt2j
E9NzE1JoRtQXjo3ZtVS+dOpbmDBnkwJpMIvRhDD5EWTU652bYrOq4ituNp/hn5160nF9j50uxKD2
VWTRF3Zqh0k+qZ+7scuvrGDPzGrvTS3QeSj4ZLTuzBN0oi/gFo9Z70BlZb71aXda0MIbqkvSRzAB
AQN9QOGoJzRv7ZuRtw2yVtvnWcHozIfxjHU262ptC7ph17tZetPri5DqJR37tV6NbWiKbthXTnqq
xYtW1uZzDb115Ytyp8bYeLN8zUauNKeQjDXOekW9heL449tsbgwBFcf2KOFygVwFh7q0P+yh/knz
hZJgyT3j5sY1VCi7frxmEGZ5mrT+X0yCKXwTYwjt3CON5f2psINtQMJJrOKwMz0xbgqzecInjvOy
5cVTE7A5TX1gaRhmggeTWeU7onb1wYH6A1pBfyQJ/yxhvVx9m7phHunYfvVW3qBEUJLHp8anrWZD
33sfMmA6O8ltIC4ps0/eNYHlwFGTxt61DfZObNU7vDoHJxCh0zXfXeICz9NE/tyihvEVm/bevsdr
5/juqdIlixSoejuEINOg4BGG0plP+B3uZLYry0FnXqG7J3Gpy44j7MpTiQERa8Hb2FKEyB5hXdQ3
NpPaM19lzP/DfE5QpC8en47NZLpPhiB8zQB9EvmsVmNWBI/ocuhDy39qh6TdYGK4xn6kDoVmnjWd
mX8yplXQ19qdnQcX8TH+wqUqqIhp2RqStNx6VlTeVN1QBTYtDaB6Zx/igeDOTJQzUPNwoG/mVPoi
bIKo3NOhuWpznIaUswNPHJlLyzHydxjS+72SWgCExWfvmVALYo6ofEzP03Gg+YhwcV/tbV85ZzXz
GmqaZB9DdKUyJf1zUHaespaMHhtuUnJ6ku7p14IFjiukVM1n1Vny7okBcxKCdpJ8GzOBmaziLNOX
j3Fi5DDTV3lUOS9+wDMNnunWZOj8Sp2hpttzEC9Bd5Smx6rGlOUjSky+5d0ob5H0S6Qhih7yiHsB
nS9hIHXzARSusXcnSs5kLdiMU2B7AMI+nlhyfXS+kptGuelZ4pwPPXe0LppLlswY/P5m91W2bcEa
PeYVJai0QT/I1iufoccP+ExpJkTyA2OaW9RkGhmpqX/3OofggyqcG6EAMC285tKS3a83O/uyy9wf
N6IxS5+sE4LX00xOYG1Zr4khpwSP1bzrbA+ZKSrMmxwQpZN+/pyn+NuaUv89Fkw9U0BmRcRDsVbY
ITb+f3F1ZkuNA9u2/SJFqFfq1X2DDaY1vCiqKEgp1bcp6evvsPeJu0+cFwdFURRYUmauteYck4yQ
LecI8M0SlMOMN26t+3p8SgOxIIGkOwhHFsfCq4pjaKV80EK5RuW4QmS26nKY7xTd6x7m1r7xxttS
gE4pQm5vOESZaU1gGs6y38prQvqB1Xy8v/jWrm7zbhl4+WtXstfXQ4V7JqwKapoy1rezCV1j0+VG
V455tOzlGJrxtoI/oOY5O9LV+d8v//1c7Xt/zEpnm/tXgE0CqFNWpxBNA4PyTEQHFNQpHallK2k+
CYkdHJqCPmIog8sKEGGfV9jklckE3LH0SsQEQwVGVx7RhkMruCWrLLAu2hsa3Qn37Ro9NEEolYz2
fcK96wHu4a7/NhqkInYd7O5vXlFAMS1zsatubyWoIHC9lmcudSqBKRue1+4S5LeJU45HeXtJZG5B
/HuZnTykUIVgcP+Iw2R4aFkPN75p/iEvLD/er9D9o/v3Vsy0J77ov38X3S6huoXodSbmYUxGyTGx
ovjYzzo5mtRWNM8HjwK7Z/jrubS4458WNMSGZj5tBNuKj/ePcEbMS6GwUTXdK0Ip+aDJTUrY9bD9
fotBMYYrIpPzmInifhiDB9IWggfRe/3Wtvy3yLQAxY/k1qXOmxmEDmTxWlHVOyjyCgVRtE4phWQl
FNhcXlB37yM1BsvOZt3E08H0wqTnLtLyCBsjwZt5MoH1LjwjcAiTpPA3Nbb1tpkfSmeDn6wkXcCG
rAt8Hp+i7Djfcvz1RTksNAO0reUnv0mA3bxHSPxw/yjB/TQMNg3pGIxiIo1rVKDXwq59a0pBwjz4
zICYGMYM8hJ4qWZANjMXcjF3Kt34Y3ehFcdESczcah1TRB5+soBTHZ2sPJDge4yMyE75LdL57HUD
su+gXhvoLpcqg9AOkuXByQg0EG5EqA+iTMYwhv8cdB6u75qhSusPxzhuasw+Hcd7b/47SSuj6dFk
J1fLTdG38kADon/omFRvxxZ2vagPOTXhmjyTX1nazr6VUDs6a9vNPj9TXGVMu8xm61q1twnYhz8L
vz6mVipfB+i/OBLoWPW6RVdUlgV/gRw/If7bUW5ynPy8vk7931Ar7z3w2vIUBJ1LlYBr39ewOvw6
ha+mK+bb+GqWDFj1tZMD9Z1Rv6rB98893uPFaLvDtQzVvJ6TPN2RUIEbSF/bVm5m6MR4jjiwEdsQ
/ag+/gh9q//swHgsHQFjc4YI7MbZvJtllm3oTuIpqe3HdGAoHNBTuslhHxx7NJ5QYNKgnMs/jfJp
Qk3Nkb6zjT5t/EwYjm+A3reHBjXOGsQWI/zB/nCjdw9b59+k5lSeaJ3shaZta0beQfjQqVO7qPCE
VO4DIVIpICIXiT1BA+s8FeVjm7XdElRF/+3OV7vx32MRuO/gHUitADdNajKrlsfBwU13VtvTQxMN
OYw0FPBqKg5jnRiQB2DXlX9bgnloeuC+rDWFTmlZzr54AgaKEN1g+U9Ez7bX5SjyJ+Jf8Ws+xynL
qYko931k+7Q4l09muZ5m8xdX3vDkKMM6lkQ8rZoMWZLUyVf2aBEq/jftSKSQaSYZ187xE+4hBkGN
FV4QPVULsEHHxp+slxkaha9vmouRd34mjtBXDfMloHkSH2oiqp1RNe2FwQCCN6fSy74EuldZndgk
TWifVFxA9QDG8TeDhOSpufzUtVdseALwTPRhyemvowRush/8Ov1fH6PzQo5ztJ6asF8NHVdvAqO6
7m27WkWe0FsZkdKocwKASwfeBJ2Si47NPVtI+aZMmRx1VXargFzPr7633kTUXBLQqnvZG1vXJ/9i
bos/OiaYAxxYNMAsuI3k2RBvf3buuE/v/nr/LHtFTaUrr+QVfUUtG1BWj5rsRV7yOjllOCe3uZHa
9PIF8uH//9H9c30D6CSeBbEm4xuTlPBkjLQEuI2Xo11Ep+H2cv/8/aPBvaUL5brdJAlcUQKU5fb+
F6GyipOL63RyFP4cIIfzRE5qUrfLUAt5itwFOaM992k8wvcp6ddmEOR9Ei4nrMQYP0BYlX12jLza
PcQuc1kbPg2DQkRXjueanMPG/IyWLD9nultzsZ6HQXXb+6ez2995Zc9QtRvR4XUjdSt12/3zSRDw
b25fkd4+KqrmYx76p9QjWMut2uR8fwGHggLLFClZvCVHulseTN2vaptfoGw+yiIczp4PcVH35f98
JCS438oK+6WIr2kdX8zA1JyRvGHXCvs8mC1tHI7MmzjmkehsY5tWY8YOlsntnNTGS0GC3ZHz9nru
bNojv4xPIC5Z/RM55UBVUmtV5t6ZZui01EG2sRx7uHDWip46E15RHtGWdbRzTFzERN1go3rwTIVL
rxpW48CZXaVKnfPbRCxynzqagu7QhBsVMpG2J1e/dpbJDN0xL2YZji+V8USYzVfEVPoWD74HdIPZ
HrBLFYqbu8hd+9m48/U8niODBOyy+ZJ2W6xBiXKDQqZ8zXTjAvWxseZWoE5iJfdlHInHwq4pbdWT
0fjPud9Wh0IbmD9NRKxjw8TJyvx4naVYHRudqVePCGGwq6TpxXR7t4EB8Qjwh3qFqDsM7RLBFNk4
VV4dpYp+KReavZx5fML4n68r95DpMoGRvDQrtl8BDy2P+oBmOLPEvsfXQgZebwNGr9DLr/xWzeck
Mv09jG+XOl1t6Cqjs61HWg5FOp3Ji5do0qc/eBmtixnXDvZC+2H2eH6JgflDKMKZ791fetOhL5Lb
F84eYp2iI0NXSBPfYtw1dIZYiaZu3vvERwOGq81DqoytF//CuDA9Vf2C5kLnR//xLW3TYq2DYDwV
hTcwymAa6OpLZqT1i+qSLxz42TKU6YzsIMd3SqxoMw0/Q01DKfXG9AjufVp4eZLigoCgxFT3MOAz
ugwV+O2Sc/0BKoWzamn54EEPvUM5efU1RJ0KfKV7z72625n4GtIZJo5XHasYHQjCiWaNrXR88Zw9
+DdNYKzVr5me25es6fp94nCQspgCbeO4/SW4+HMSMWfWyQGeRfqxOzCaBJ9vbktoHaIdqwe7zNOz
5TDDnMIed3/QPpLc0q5z5ovLnKjZRW/4I1GUwaX1NDhH3RBCSBjdsvDUyygctc17A/svHgcaRmW7
EnXlMnUnMAeltntmDDadsw8zDdaCyKwjiocqMwAqmFBmrOql1f100nZjnrU1+LvInr/ufyKS3kF+
Yv4hd2Q+97cvGLxbYrKVN8zx+BzqCfvh1sACCd/t9ITDTQM0sUKsrmhjJgTHQ//u3kTWZP9AY/NJ
r14oUUEWc4JgyXHg08sKKDSiGVYRSUlLkU/MfviB3MT558CrpCANsamQgmspl6W8H/Cy2M0aKx66
46I5ZfnYnTkDdWcwxR0PJrW77+3bqIr2iV1Mj0nEMZfiKV1kTpMTFict7uhe7sfRv1qcS32633hT
KkC1SHzKxKzPgVPV51wA5fHj8C1t9NqPGAXI0n9t22GLCBlIMMPLEqrQExjS4nY48rcmWORzMFcd
VRO9UGwnR4fICRsz8G4Kjc9kGH/EzMy4T31wIjjbgEcgL/PUQ+TBucg0+quZjmJfej6+kRnaAnIz
Hhvc3q1SJNxlaA9H9JsLN2+ysxcxwqHqsc6oeUwioCdAjVh556H++MQ8HJ+zHvSxkkX4FEGMMxOa
BfZYN4CaWHB9A36a2Ws8lp2mP2im4d6KNAfA1PwQ1WueVPU7Rg+/SR9VYf5omCkfo8An5xizhSbR
2EyVHj7wjkIvDyP3QHENF92bNbkcQEmgAz0bRe48c9Ngm/Fwrpp4G2Ld54eqYFDbJgx7qpbVb+78
HlIAK71L3NrRMSbnae6Dd4873QDG8iZdd3oki/UfXq7xnWeQb25ufZCtuJZS8VEJQRxwK+ITzaaS
/aJ1j0687Oqu+wjpiJxM8i/oxpjxq/bnjenE+WZG4LM1ZKOuhKN9KYH4xhrHfgnyOnoh4mOL0dZZ
t4BoaDrT3IQHIFdKK+tgmaR76gQoUZ/k86Hp4+xK631pKFq8mXbFsWRwcB40en7PEtk11fiExMys
IIyp/tmEBepP81O5TvME9sx70aONbn9a1b6s3+Ka/a6P4yPYSFiikIU48sMJdGR1hFbOFMBVCmfj
MZ5M972xtvdrk0NNCAf+cyBEFqe90jtKH01SGvV6xWGPsGFaYasxYZiaj6SGGvT1mctb23Zshktd
Vy/T6CWvpJ5sGyH6XVBAgyLuq19GTd4/oBb4FRH2mOJ2tUJo9s8Onmr8kylp66hu26H1d3GVvuc2
YCHfn9MrpAqxGG4z+0mgfK6T7GOwX2esQtfY1h5CxeHY121JCRA6H37AVs7bv+fEgPy9nfQVLBaw
DhG9tYAHtk6s/uH1u9W+pN0zVrHWlDvRdp4D5+B2DfEzifniTSXm9HHy1wKGG2URdF33bRYOeW6d
EmiUo2Idluk7pk9jNVpmfL1VDEtc2vnD/TvH9sHOBcrFBsUdZGoYX5pOVhH43dru6cUFgag2fdE2
W2HzuEkEVHnzbuQyuzit6e+yHOVh2Psnq+Optphy7G0WFLxwoL6MPl6roS+vfTp7YBiJlzHQF1iz
k9Drjz5T4sKebO9bWqP3WLvqajFdPhE6ig6lrYKP2OILK4N1wNBVtJ2cqb5WafVk1q5Aa9tBZGCS
7bTGl64c61rNlV45nrfBnNQRqzlkV4/haRt0RwRd04WKqF+0gc53eSC+ZLsrcGRcZrv/yUqJySrF
yORZ4XeKDQ7Aob9L0uR3NPRTwKCBfKHbDzvYf1zoJSf6IlA70kRvgh540e3Qe6V2essansEONXaQ
yOFi0RBspmC8hh7XZO6z1yhvUFTlHs4l23lsVe0+B95wagq3O3a2+rn/1M3wh4AFtCgxt0IrzFdJ
IPClnMZTGrDoTLfbXpR19URo3rdfVdMVNfJgwn/w3AaiWFIY16Qbt+6cDqsZsd02d6GQaAvoAmHF
7TWu4FoQc2rQHYwWQT17vHlM39u5fC1DCj834Whqsf8ytuPHV573I9I8JhkWiYoZsIqTw6HPKTet
XRuXIRjsxyIK3ZN20xmxAguA9tN201AIr1zOsHt2UWvjemW5pSdBp336SEQcHml+kbc5u6wCWr45
Eyb6GFjxA8KVnIAOQmN9hj8EhRofjSz0UkNhXc4m973B1JmpTPXQBkrCweanw/JjPJaxLR6YtD1h
dnxWY2VdJer9LScU9MhuYF6Rx76x2KNsoUbezeSj35ye74aS47UpYbCoBgZwoGJEqpN9jeLsJSrH
6HLfQvKITQCc4j9o2+LKKA5fFEoq3NGMit0BPTP9bGY/hcO91CQ7U6P256Agt1PXoZJjE6UsIo3l
dtW8mTE8aOFmP5kYIVXN04NffkXHrH7zutw/SSpKGH5TRwQSE3oMJezo9pzsM9vN1mmcrYIkmd5B
a6vj0AAALDoCSemtvIzFj9tQhlhx/NV6AZKO2y8DNqMeQBcL80z12ey9kgIJD8T9x0nNkf142phF
7D0Q7+m9Oe1fVjHaGu61NAKSkFlKVwUyRo5snxOkExrAJ5W68pKr5skDSnIclficwxdYtx20OAqi
iubFGoOtt1Om9xgURf7kW91L59rtw9y5yA6a9J0GjX4zBvrmcjAeRw+dKlfUv4TzMC9UWL0a8FPe
6Sms7LKcvpy4vqkJi+hh2oTphBjAwz1hF9l8VTPzm1HFOzBb8X6OxNPUy/Fg5s130kvoHNhax9b4
gXgCUyRlpxtRKZS+NW67d8FhngYsIO2KW3ovInkTv+Wrxsrqa2REL/TEml+EiYySUHQKlUfALKlv
0jHI37KQazL5Oj77rT3tG4eHc66qVU00LVRb+DlmAiera4wncssHaEzxFphh+NoEAwxYJ/gV6VcT
AESDJxG+9Fn2khDbvkld1iI7p8ev/AxNgZUxN8sY7zK4ZlKXCEREAOzSQRNgDpJpm/VVdaF+nZcd
HsmLEOF7XGdPvSnyXw+8xFQHxd/A8OTSDMFH1CCI9k7FoMZnVHoqYxHuAspIbCnuNu3m4BGkEri3
ujnUwaRe7aB5JrwOGYiXvXAGRijXl98lDxB0cOskGE1ekurGpiHC7bFHWMH8Z8AIFsgDnf30BKIY
M2dn+KvJssFpKqUQUgzpF87FJ7wW8G8ZDXZkamAjtVoO9xdWgPHTcgyEgf4oX9zG8NdIxPpTpblQ
ZJ+iS74FtpGb5p4E6EfcCN3wDO+RaxmyedSRwGQIrhsQZVswtEDERxVtiBJvzVz9o9M+/HiN+WOL
Ov+oRZevMC+8zXWuD1OXRFt0dfmhIy/jlN9csAFWiRdmBw7SuTY+ZCGJLvOIc6CzmXPzr2fZ3n6P
vn7MRiP+U1vM5NIibdiPXHNvZqW30uAikJwH4dYbLesAH6empcaxrs5Ld9NM2cjulCC5cdjKCCH/
43gWAUn2SFAvy5K5sGgqrRsbV9d//lzUOt0OI7jPlIPqySx7eaQPvGW5509T4M8LntiEWO3UXqeO
Ss6pFT0BEoM/tweiLXdQXv7xlIen+wv3UXQi0EOCBh5WlKuE0aKKRC4VT8apCAocOENC0uyQzGsr
wS0RdHC7XcDJWD5VwNFN7fWo3EPLIsyXNZzrwY+cXcslpbzBH16nYmbNxLfbWdDRIPpEp/98Ulmv
QMBuaemuwnkgGL5m/ikO2a5WsYZlUWWsLLERt8t+zqv//D5M+RPgj1lyGvo3AAo4A43YWCubTsVg
0mWy2tTHIRojxEJHkJ2tXFHS+ChBh6aBHQTEaINGEoWQHMvz/aNM88b0svt1Gdquc/T2iLOM9Pyf
b3/7KAKOso9C84QKhTDJkjQXM6aBMpjl/7wUCe943rABd6b9ifRMrucZ83Zd5W8tV23TJ3F9mFGS
gYq6JWvNGSOs3kdq0ULndSuPI3yjDqTHIDnprMdytuYNdLL8UNwik+4veD4n/I/klszwg4oKm52l
OEJRB1JG3qK7aGM5zAYNRMq0ZQ73F0vD3xK1sb4HirkTtgbuG/y2osME6kA4rwx5tFW0dbwm2rq9
qAnhHtYqc2pSdAbjSWYlk8HY1wcfbk1dBfl+PDu1xKwCUmDhCfXPLWKFD2V3DwFIjBqfe4QQ7C6W
F2JDkOF5dDsCvK0cCkrtMzKiZ8eA0skg55X1B6Pi6QDrqd0gjn1t/XpTMFBnyIz9pRWdXnFsdha+
9t7ybvznialfugkuSZVTJkgutq6N5T29aayqfxkJ3mvU6A3G2C1yo7Vd4bDG+mbvFM1jliaA+K18
j2QsOQ/UZL/XpgOxihipOK73VqHwaldGuspnwk15p6DacVUAG2+kQZJBTIsv582I7Ai3jp0OLHA5
4IMWlYx5y167f1ROuHPQPd6uPENmaNJgpv1xYxRi3kitLvcEJlFiKxiEuLSauAsTxTtedn/H87tg
kc/3KNu7G/rBtdBckWNHqgL0FwPhH8EOCqPo7fK3YHlIqSAwuHEBGhcJHS2D4SIr+nQY46TCEjSm
SzoOR0g6amMH89v9OmkYfe0QkSgQpE+Fq4AgMBXeBhz+HYcM8dRO/owlRuDhMgWGOkCWrIKeitsl
z8CFwgWnUx/AHhiIkzATK0lIHIvHzagYoMHoSKlZd16bvI7ScpZBoJtd23Gk8gzL3jHtc3eyZRXn
/lW4oD1wWMPsnuCu00RQB22741qHrg29gYEmWLmJCzLhZuBBysTzRBdjnZJfVyly3widoHADS/p/
8rpqw2KgO0RbFXQwljr5Q5e+WLn1RE0FyEvCCXL4zlj4MkiCJTrI+3cA0FEvojG3VqPPs5GRpD1b
wKbGoKIZCJqrCUYEDxWODPS3g7Sxijvzvgj6/1zfUaJfAwr3llmE29neeC1dO9s0abes8jBfd6J/
1VH1kqYMrt1KmytPdvSv8xGQXrEuwu7NyOGf1Wbz7o8tqnxNAkZT4QZzGLDbURQvWQzNBXVjtwRl
kW17x7jQnC0f+tRBn28zMWMe2IBsaqoL4rRjOpYmrjDoFVmWjItUlpQoYb7KfLRQPNwcXij56hDV
vpmlK7ttgRQUPiCP2nh11PCCm9tcm6nzqJIdhxgsOhPHrIytl/vEgzSYBidpyEe7n9hYyNlZOg3w
Bs8O8jUxpcOSIiJdaO3AsiNlbWlyZGXJC46mmYFp6eWjl1WnAg/Hgdt7rUIe1nJVNOizouxU5bTv
LIlRES/nQWJNoo5pyYsoESSBX82GNtvdFBIONSn1FyjP0huPTUNx5ljLKftyNdGjEsu2yN1nNi8L
Szvyph4iLpIUkmm8EpOyzr3D5FvhQpvuyFg6ASicH/vB6na+5b4hBz73iU7XWGmwwPj9GlXKsMyD
TD8bMUrhOYchi1tw5wThtwWVJk2H+kfP+nUKh35FlEpKYgXCiTZBFFWDy1h4Daos7aBpiky7293+
C486H7u6L/eeC8e0VmhNuE6fjf4zojhgu0MDEMjsOUUAhYfhZFPUbVvvrZmbVZSSG+EE30pCL/G7
EkVGb6stvbsGYQ0XsZs/VT+rbW/OVK23XJ//vsyCbQrYJxONGGtM4hSXrHW3xuhBfmS27PrNH1vm
5RpVA1buEqbM0qHpubzH12CKI5yL9MXbLjxtuiB/QVzE8+VdGDJPUP1IQ7pnLXVZGCwChxVNeRHh
H/Thl4NTaoQ5C69zSFBj897BnD9ULX8qbi+1JfZKNvVWNI+hH2CzFPxygSKVVahq4EbqOYS2atu0
4T7vyVSMkpyLN+FlT90CnTV61Am9HD7tYMssS9LUtr/HSet1J+v4JtomZl4Jfq8+GI5IzX0P5CZH
cB/YrA126/b90AZn3MeQPLS6me4KWCbUPt0xmwG9srBGGPG5b/KwQZ3VsfgnU2Ijunf/hSUMyDiz
36xp+u56Glh0jz9njr0bZpeXHtTbVih0WsHIspbjxrt/JxsxI2pEUHhoy18nFWMwjJP2IQtzBPFh
R+RrSmu3Dv1L5CPfJBD4LVTQkwvsGJRqpICSCvOnbekBKK/Ta1XN/q4FRxvccla8Ae3xPHEOWFDw
Rkcfk5RWdoJBBpJ4VNIzaKbXrkApl+L8WJRh/Eabi6nM7UUWZrQh4+XVdFq1jryZ1AbzVeRJe4jL
b2DheoOwB8flzYmd2NN0vL/UTBK4GBxCOxJTlJ9sMFV/6TyyN23hfZbd8MbAq9gOMl2xsJr7QuHz
A0o7Hi2zCQ8aPUsikNcgiz8GJeJtBQwgMGPU2zQQ9pOBaM1JgUhWI6LOqT3YLVYkF877GtdavNCO
8dCS/7yJArlrEYUOGXbiWD5l6cEwxncBk8c3a7EzTOgsmajsjYa6vLBrjtqNFRAkAoWfrRcuInfI
YaTuiC28GvzmH6iS0QYxL11qZHTcnOYjBIp6X04J6q6YWU6h8zV3LjJOeG2rvKS5DfNW4lh6tHU+
cm05WtIf+83tlOZM694iuChuK6sVRIuP2XEOpnjlh8ZpnnX2GtqvaYCcK1WCKHbGBY9VsVWRvChV
W9d5oB5SlRu/Cwn1MG9YpgYT5H+IBg9rvIeUA+oFfNTapgX8ULWztZ3RW8V+rhck3RGF3Ykvv2/S
oxX7vFtQ7lcMeeG74ktOIPZSG36bvKGbaRxfIDTAHYrExc/0P9tgG2kgl+ZBnD4UZfVn0nZ4kOPw
+Q33g1wCSVZOwCEbc0DBf0dI8SIIj3PmGVsrT/9RmrLtWrQ4U4m/xLSe6Ml85nbb7KT8ETWk+8xQ
8bbJ0yVBprfuBLeBsoZkpUUsFoYPdTe0RpK2Yg9Kq//p+iBpIGB7Ox2YxUYONJqzyH4llCjZJx3M
FC3rxzn7daCH7NCH/puxrRMkxVG8Qre7nsJfw53K7TC5oIcND1CuYnCp0auF644T1LKk/keXyaQi
zRiopOKWiF4eaGYZqKZp8VTJiQ2YfgMSljWxLMMxrWwEOmxnx2b4KmTGqkomN5GWJYp/sw8QVmGm
zhoAglFo601VP2n3fb5lNJKTuytG393kXHntBWrlDszMG4m6mCyIWk1/GIr9dYFSLtoyIzk8RkSZ
i39RF4Qb3B8IZPyMUK2hwETK6oazAINRjqFgLSlX6eDc3G1+6i0aQhIXRgVyw4kAiY0VpdqQHMgx
bx8nUrsX/pCfZN7jVogFnKzJe3Ecr6Z059p25KsuPSeMzghQzEWW2a9+MHSvOkebUKW0pqy42yLa
QX/RNvsu8xHANflTOpjfWQfHs7gt2zJhte67H3LE6B15WbMjH+GGTvXSIMQulrOtRM6/Ig4hBRvW
O8XdqSf/60zhsjQFznMZNm+AANqbH79cZG1kvwQ6WRnN4K88nCPryRwP0chhAlOh3LRe86/2iL+k
27EyRgWYdewcRKDmVpIPxmnY9pdDXnzLxDYXPibM5awGb5UKM17ORXnCSpCegHjRruGHi4mtWYsC
mY43h8A+YgGVNs1+EjfKjoZ0vskrLKC1tA9Yd+nBOOG6NeZjv/Na94eWvFrYPX15RkTlTIM+lZjF
24StXfAWg3Gjo5pnIdRjXBxm+zrqyqbFBtN0mAYAsuhiIDR5WEJgWbgzrt3EfRzkzziO1SPvLf81
ToDOUs32Fv1g9NYzDxNNIzffYKpt2NC61ZTb8QJClLMaK3HRifGdTSVPsMIs7sJeXcaqPRvkoy+7
1nqbuhYQNY17NBdEicYcXmOjfOmG4dcd+gMSp0UdxeSHDhAqammtBg66ZL0j4Jic+mLk0cmO4Tr7
FVQwuBlL2nLRZs6cv5MSNQcYd5EmvksdO23TMSHfrnad1Uy8B+kBU7qSHuVRx8xsQxT7xTGwBrvF
ubC748B0dDE4fbD2wuYyiZy7UmFbEDJmHi4lVPaoPLmKVGOcmJyoI0J+iTNbYSHxLi0e9F3ne7+3
jPI2T9A46hACfIRXcvisCidYIbHZYpQW256hC/ihFT8nYI4C84lgOLadcv0TCjLundB7kzUEcVkU
165Mz9XUAW1wsFUNmAUVt+WqDyJ6/ICBGZQTymmVTPrdeUVpiIClqfbIr5ZjY9VLpyxKLLB63iSU
bU3n/6ae+6CGBNW3/ztgKnxMLLgasZPu+rk66843d6LlrDhPnxxKQOU1F/RGmLkdxAKF4cBNY7S4
Yl0iZoxjX+tqlF/U1nludKwlKCynuMWNw2htLSoaiSM90sU8+tYKW0RpV+yRWDBTkFS9Z+SnTiYr
1uBsKYPRZG45tzzDWCJSzM1Yhz+SpP1TVZ3HzcexKZ+hIjRF/gqpA7KiRNiq9T43ixktHKKyOMS3
X0jOKEqtuNuuk4IIGKpnxsgN1pMA5mGO5WwMxiUYb2dZCpiEFawacUyb9t1r5C6n+bSKbv7r1Gzq
FTO0R0HZIAK9H2jVwhJn8jRArqXtfslD8ZXG81dgm4hE59JGqqJ4/GbFnbLSsqIMd3vAM7UPeKZ+
MSAxbGgRl6TZ9Stdd49zPZZ4IpAE1Dy9sPUGA/0rxyxy662lfUusZwZ/W5AkWnwcS6UX+bt7wjSx
K4wQcE6tMrskJin0sm3exd72v80jTF3XGEILjg+OyRFlPDYDsiKawvuJ6cDgzceO4Zo9nQJ7vmDH
A0Ecy8dirm6xLiZdRQHmJIhD5K+zMXAKrF9y4jD8OayOXSMgbUYmmDi7Z3/pk5+gF0jg8P66rr0q
stE6iDz7sZxq55SYZTKcUasA83Y69e3aaVqUnUL8omqKzqgoWMCTIfmqyCURPqFo4fweZvLae9kf
vwv2evCmS5ReWEx50P6aY22dlLso88rbIXvBC3dbEKY4A5tEftOSXhOHoZBEIbnpAMrpKvwM0Ty/
VywzeH67hddr9xnfwzfFW7Tg7+Jj1ZoW3U32/x5T0mMusj+WX746bQ0HZyBgk5jGeFXO/cYcamwQ
oWE9TqX7ysjxb9WE1zCHAYpfkaouisPsOHaR2qa98TxrEqZFTLE8eXI94WxeGGokdGaq9uktwd0I
mfOatH9XvpLp7gbiTxyCxSPqJhyS+tGaUeRi1j4FVSO3ChtFh9e4svJPK1VPY17QQDH3NATaE6xl
xFiZE29r28uvQiJm5ZifOrhoiHbDFxY+xaXxy6x7F6ZuuKgAbC+HXj2FpKRhu3YDEgL4Qmlh6Ups
6PqGANI9g7/Bfexp3ugAWww0BiQ+OKpuRVCI9aHpjzhuui2cBzamZjsRp7igBfbYjSHSLe28dZwR
OhXphTCBoFhJ+oEIY3yGhkirRcN5kHG0I1fKZodo6G+0BgDx8cbZwfNRBhmNU+khugGQvW9D8FeM
u3KquKxeUVKtW/LtOZVG2a4YMJAMnL1Nyo6lV8p9UjrNLqz6Td9z/JkxVtcpgfY+c8rosbN1xXTE
HDdVSqpOgWv77GTjJ+dkd5GjRVsi2LiMktl9nKttm1qwHjUmpdudnLY4fUj5IbVuRUQ8cA4HJApN
LX5O1s8sDd013b7d4FhIiOqZm/dYG8+k/KV7afUXyZF80SuxmxCHY40L/h97Z7Ykt5Ft2V9pq+dG
mQNwhwNtXfch5ikjcs4kX2BMDpjnGV/fC6yyNolXRv3AfSiZVBKZDATc/fg5e6/92fK/Vg4XsF4D
4bIx8YfEIHfjsjmamJNG5ktbkI83M5m/jaIcNxUWOSJHWeZZ8aOBJWcS6koDa+sHJI0NKqIvxMjK
xymTc7+DSFjY884K9b1Zl+MKAPvJRhxeLDkNDoNc9RBN8lHR/9i4PXi3Of8QRKg5+lKHJEsg+c2Q
sOzrLgiPrVs8doHmY+eNgx4hyQ8/uRIecANTIKwyyiOohU0X9v3aiTV5VV3/rQywwfFdXtHcKZR+
QfzspiQAFL0RbioysK82+uom8Kw3gVZ7N0Voq7vEU/cF+E48iSxvY2jys9/hB5iLR3tS8mMW5LLY
uO9vaTklZzRrHriQodxatkmRmGLSqQf/4EcUb3OKFiznR3p2Xt1yZo9mJ8ShCLwNwj25Y6gM5cZ+
FDCKirZ4QjbONLJOH7B6X0b6ejbfcC8xDxUxHVOEysWa11wBKIPI9qSwCPrUEURbP1lQzdfZ5CK/
Xexbi6w6buinICZz5NJEHl6wqaLnNKwvYhu11ov0RvbJHs9kjx+Gsfk2CJHDy/RxV+QutzFaJYFE
r5PMHQXyiHcc1zat4Op1dogzEI1iWWBX4NpGb9pPolW7/AEJVOSqld1Bab+PVa/5MPDaFYDUXTHW
jBfk/CmYm/HiCcNDDG3S5yOx9eiq5C5hKEvIUDRRcIbmpSQQO81kdSDw6yxM/6JL7hTagfjS9wUM
5miGiliG06ooSaxQE+0GyIB0PiJXHlyMz6vAGJABSFodARynNrgjcelTU1ZQoxh/uvoFvSx3uxLv
ZPQRmDW+Go0CJo3qj8l9Gszss07VD7qolLlqOkUm5Q5xsZ99E4uhtHaJZXKe24viZrnsDj7xabzv
exkJb1U0H2HZnTLjqaLEpGM9Tgen0Z/R5p8DL2355gIW3MQeh2oeXTcg17CU3Ra3a3uMpPXJKrOb
rHHQ46oj3BZpelZxjUnd+MUNCY0vPCImx8dMl6fPnWEKJK/DyKvLhtqYaNg86PpLK2FAavFoBx5z
wrnaJUjbV4Ht39VUh1s/wWzmyzQ/hrV3bVpFZFWE9JeOX7hVU4YhhjMjsM4OLx3JOCXI6ADiYSWP
rOjy4Mth70JpwJyqH0jGKTyqFdR1NECKOjiP+ZTtOkd84zSM6a559RYIVL0XaWmtF4DXJoP7felM
8TE7TkN/tTb29HthXaErYruxAwKc8CMMuXERWiYb0fFAGMB6+3Jy94HJjUt76EdFEsOm8saztmO6
ATLfhYGfkCwKsSeeBubpt8xuPoOYhHxGaXiuWVYkCzUERCIZQy64LUKVURb1u7rHStNgKYX4hmgl
auFi5OdIXSz/wVfN+6zyAp5O5p1l8IleKNNcyuYi84Kzbpuvbttv0RaXx3Gqut2aRBS+FS3aN5/k
jgbqGTGiy90boK9ZgXXQCbI69o45BzsqPGE9WqF8HUTLJZsmqLTql3RohmM+RIeqGG51J9/drCoO
ZmGqdTX7h9gkPST3snyNs0zLadzEsHHSAOJdUqMLpROYZX5zRASAtUPFS3J7L9cKXPowMTVrSQYM
2/HEBIwcM02MK3DE2tgN5CGtbU9Om9Ym3MgQJCrFPqYluAosWeuIQZE+N9cI0ZbqwQScIdUeOjDA
t6Rn5jH4zxbW4F2suzvKr/dh/Fr3HLplms77YBigvLQ7AQpljQTDQYdNwA0KA2SM5cHBO+6Qaoc1
2cIVH+WgBKv2OobEMuXE83KXAKuI+SpCzDAn87PsCeWIgh1yvA/eL2vlxcmPio4sKFv/PjUcfHI4
VHmGfswU9HPXZuUNIm60MvNm+z8RBXkbtdPfRRR4zu8iCvZdlH//Avmsab50f4oqWH7dv6MKDNP+
p2M7yvSkbQlHu/r/ZxUYpvNPLTBgLyM71zSVRcDBf7IKTOufjis0kiapcfJph9+wYcgZ/usfpvin
t/xuns0u5CmXGIP/+r9fx/8TfCfJPp2CIm9++ef/lXfZfRHlbfOvf0h+Rvnv/+z47V//UIRnuBbE
Gy1M/ozKUdafkwrYHz2fRtdNt95uQHNJqNZ0q1FWcEn71o9g8LyK1F+3++xO1tV3kuqSdku0jhVi
GwhktOsrlP2dpxs8BcEnplQVnQWqG0RaDoCh/pR2HcKaBDy4SluuHGMdnx0UJLsuY9Ie9QXlIC6/
A7NGAOums8HrJI5MxRQ2M+9QMoPKIL7RWrmvui9+7fY3TU6f8o1wDdsq2LhVnh3/8E3+5zn98bko
wiB+fS6SBoCleDoSGTc5EuXXL49RHvAUzf+d1Co3vCa8NS4OYkdAHEKBTvOgbj4M2AWWdVeNwcJY
zIqDG5U0qZkduYT/xJZqd/EiPcoi16QCcTKms5OJiVHGRyCJOw1D9aLok5ZEPF3Kyf9S9IoZpIaH
Zbj4Nz2LndDv40skAXiGsx0es309uT5cFMh/KtQpBwYQPo0et7bxEvvuh+OlkHKosDK+8fXcsRNY
0YyRzmqI5JE2zDlJG9RtyhsMlWlne/2lbtCToeiyOHa+GyNa2LiGpkUTHwoneWNuZxPbaax+/2yl
+ItnawmFysdS0rWsX9IxrEXx0jtLnkNQkBnw2LioTQJyqWUrSNIa7XkbMorfRNVrQyqCgRL0zXDE
s2Y8luISfxqheXIXIm0iDW1gjciYc9gLK09nNq4tJEKFmdsra2p7zG/xnWQQSmcaWmEdkCsfA3Fe
6TrKdyT0pLsFtbuebAaNKTplOY4ERs1Ws/dYn8jp5RZBCGIs2bxKFsv69w/DWl6kXxaglKarkQvY
lua+/+cXjRDBaYqkgdkr3uIJJZzeqdyNk/yQaPVpdyLJgbtAP2V6CCb5Ug5MkGKuC/E4bQoC/KYB
2V9b4lOjixlF2YcRknCrrbjcYaj7UcVNsRndkufiR+O/D4Y/7SZ/XCXmX+weUmpbS8dCr+TZv+we
/YymPJy8a5xV/s3sSGQbkUAtWMQshfQl6NSQn0T7mVZ60jhnGXLT8ZZsr7lpvv7+Sf7cqn55ksqi
pJDSYTP7Gf3yxyXrVHXdSE1Qe0W96KqFHtFzWTcwWCFS8bstAhRzO5L09YS9nyFh1zBpIjw35o7h
eEX8YnrOfa70Hq5JvOsdfUc3BQN1Mw8PuEU5CAyCxZRxvSdwaqye0aa8Ry53T50SytIS8wCDxR9P
toLaAiIWpJwAdRf6x9jxmAcb5kc7Rj6hoW55rLgoQkd10bJ4LDUEQe5uAH2VYQVDFYiZZ23a9nAA
ZapXZL2IC+JpFUbnkMCM3z85m9Pk13eQlBptU/0otRw7f34Hk6kwelnLa1MM5a7KiM+I6Ub0tasO
7gLTG2hUKcCQndGBCWiWvGj8dgbjZUXwAvZj4AvYdpIERgR2yGk/x7SaHMwIZXNxWICzY+mTkdHT
1cj3MYPDrUBacZgobEZVcD3VhruupOiPOGIG8eRwMWXaD/qMTbUiqp13+vcf2uTg/fVDayEcwRHK
7Nz8NaOnySd3kqa4puMIkrcnakWYewanqAIY1m41iqDdhFFKV6fmhp3C+Ztt0FwWxy/vK8cu1QEi
aZuwomVx/eGIIXSYG4JvX9lZAGJ38Q+7ODiGzLYMZR5yASdosMD0xeKZJ3dSFTsaG/ffPQf7LzYg
9h4TE7/CWCl+vhx/+GMQf6dTbxDXsMn3NpeJbSu/+1ngPkRx2DLQqO+spkKyWjqPovDfGbbKU9sQ
ZwrvSK/9HEp/VPfq0DEdvJg174brJ7wBb3GTWQBcUazqekb7x6CMeDn6UgaDoXkG1egtCTyejZoX
+tqXym8hNAQS4SGZsI6ymYG3gER//73rv/q8pkWPkAQo+NZLrfbHxx7ahjUbKcTjCIai2UMZyov8
hUYhASs46OyaEYDbL2lkBBWehhn2lJvN/UahLCXymES9arxmFOcYP/k2SsG2N5bsb4WbIR5Pr57V
wzlLvzVt4+4Fnmwzt2IMbsbXpEq8PZOtCbdiIE9OOYIkhHOhprneSgkaX5vqwIXps6ClBGBy2tJz
ui+Rw2Nwigjo7CRabKVcXKmIrGx8xXREvHHbOd6r2vt0qoDzM4dsq3PIEGuHIajd0HlXfJ7ZW1sl
AvDcJrG9CyL82cgzNpZn73qfeU6kF/t2dOc2V/3suTcnmIJT6S83aVlwEYEA5OZ7HDflLo0y0HVj
l/zdafgXB4q2PLkUvzaLz1lKhz+8jGE7kHxkdFc0LM1BeH7PaK34nOu+OgmLXYNEZbXLSlTRLUry
cklGicEDEOKduHW+6aqy3BV4GeIozY503OGw9dEOSGq+B8gAEsJmG3d7ZjBeevf7F+vnYffrelbL
BrqU1CZF2p//7PEAwClP26uywi9UHvWlJyy070nuJt7S3dB1eXZNLoo/swy74dRNK0y+vm6TfVib
SyePFwP121vRJSCgq2zv1MzVSn+8GcwWr0FEr7yuzUNc5wQo5BmpDAb8Z7MeSWuNtXewBnwxXtKU
G5K/ll8ZDqfff8i/OCm4dEibesUU/O+XxUNWgDVBX7hOAyeBHEmZ4ahczw1M+yp5/P3P+quFyu3I
tE3qa6ZyS4n+h3ehBCUzkDRDytFY7nwj+mHgGd79/mf8t6JBLrcvFgybgWUK8esmnIEuGTzLYvyP
1QezDu3giEWKCvxkMS2E/MhXt+T3TAyPi5bxUULtkDS07JV1MfBp3uQUbTOrDbYSl4001F54YUkL
X6yDAMJwYofySConiny/IwjcmH0iJjv5hEv8s2/QfSmn6H6Ku2LTm0SmtUFBPb7UbzUvGj2UG1EL
CN6mgoou4z8YwYuGXI9IGlA0yWvP3c+dB6K2EpSQdnapkVjYvRofl6CC/M7vGy4Vigbn3zw7zRfw
xxeeZwevkystb4RUXJX+/AXN0F3qKquunlE/N4EMzpij4tVk1j15s8a+0YANPJJb16UdocTV1OV5
Pr/aKeHFTgop3m8YbtjiUBbWMWxYo8pN0w2jdmCWk8GAtd7YJXe/OR6RLpMeSXCtt9d+BEeBCAQc
wPhBte8QXYsNyTEiYxctaS6qNc6lDQNOTHyfrSXOqigfigaUjFnCbOiMytkXrLmdmXjDrpnT5NCI
mDOuF9tat5/I113odcBVSWHeYmHZReiH4k/covV5tNxvPf1b6B4A4xxLnX//XDmM/uLBSip/T5gu
d5Nf6zHUHNgcLTzGMX6FKLXMx5kwXST+hzpzzfvBgeAQFuO/z2JbNfPKT6CI9w1iKUEzPV2gOXWc
ApCPiYeLlK+Bt5F7wnUyGFSyqnTZ0W+192HcxXc1fP0yBFw7N1ayIioFwBQCly12gehK5xuvX4US
bE7eGk+aRyZZ2SWWSP8iMkPJCLmbGaCvrbk2oZ5rpt3c/DdlxC7duw0Z0jW999H9INcBcb7dTptB
jVCfUZmRIzx6Fu0DJ/IuVdiZu8otviSZhbi7db67ujQoKbL7YMZqb/J7VUSXnjH63Zmz4ZEL1aRo
0NQmd11K710JfwitwWSynPk4AeHUZTVx/YjksU66mpktCaetiqpNFeQkXrjRJYyLr9Ny5YqgWE89
S1EV0WMx5R5rOT9VAxlBzpCFl6LVX5e5XhdjbcbPJk7mKUQ/d2rE+E67Zs2l4ruMCTVTLdyGiaO1
BoN6qgDwOfTom5BVzNDu2ecpXzVpN2tbRIh7hTraedzve5uBDOHqDB3IDNwpO2TE7SjvyIBxY+ss
u6ms/FFaxgFwmYXMl2lGgLYOKMs+H8YOeXRzdfpvte0QW7XUJgFS4b8pm9WvJ8Cy6D0szrYgrtJz
fz2h53KUs1tmVyOJB0QQ7JqkMo2kFDdEpSk/XSvG6gi5qN8J7CLC0lbPvmiifV+Daigdt9uMI6u4
DCCVluJKfCz2l77yQOly120zQ0ARgwg+mcluAnVLd+wbt159GjBDGYby4Ztj9Tdx4ey0fcxqnq3r
QJnreuDhMj5li3TBskpm5gQubJCWNttheRGnWD+hryQHqZvvacSPh8hLP3lTn9MXwcPWy+i707Y4
bPjOqiyHTDjGdx0AKwTcsbMxDBJzhSSM3kaRtv+bVf9rV4QHi0hfUYibkAv1r/eRqDNCxcTgDrJC
t0yYs3XFGH2jEO2shU72tNLs9fwiphYKVfg3hZf5a79r+ekIq3AAS9OmH7kcxn84bOse9YOh3Ds4
Jes6hBlupmhWkaFaISd9F2NBLvAJ/ZQjIGo8xhlfKUEH6J+i74NHj2mx83YzikLkvicTm9ffPJ+/
OG08Op4arqO0eP1+uaRqouKiDm4PI3lzPdrf3IRIX68Yvwwtf5QiEwyHMY6hWCTLPtx4E90ie0oa
xOrTago8tQs6a+VfPd/J/+Yk5LL437ZsTwghIbZQ+xEj++stykGsAQcXKBfxX9SI/gqJaP+sjP4m
hD/zWiOEbrSTnMjvmHC9E7hHiwRzH2dLbdQHq4XIhRYgjBCg1HMT3IGId1+T8QtoJ1Qu4YLUjlPs
/T5GBM+9lPMAmmmo0LWVtfPamd649waFiG+Qziu6cnKdp9ZB9TnmXNdLdfLqwAVLi/IAAXX2msYs
QDTVxoVUL7MU9mPYVphASqI7f/6jBMl7EAZFtJ/iolaYEAkcHZ698jYK7yUz8/JpNnt1HAjIYKm4
6pOLEs2s7PJjRqgWpcNCZ4vCnWcR/A6Psl13P4PAoOQCbSFEyqHbm8/YJlNrWhvmqE9me0cx459N
b8r2LlFa3dweGE0a5xARKacYdr8JkKGobLKrDKIrG8c5dC1aGlSWuvN24+zeeZXh3zcDbnhXOsOh
a6oDcp74MZwsDiqGZCcHIuxrLrAE1Yje73qnK18JrVmCTu9Gyvv3dtHmTS6yjz7KdqlMpn2QR+F+
Ahm/98sM1YL5va8dRGUMThsC8kx33iMvBk0rMrmxKzLIkmIja43jEUwF5MjNVOfTRQbWY+ImEU11
0I1hDcwa3QLAaWM4SIQI2A/8fe7EaluF42fXjL8j9rc2IQbOHWPAh4ncdxnM9xylZ9erCYZwiID3
Br2TBmHgIxDktosP9mjdwwBBS6TqrW3Qps6j5nEYoRAurvjYLp9ExE2DQM5voYkYy5ppweiyOA4K
or/s5LrsfFqMkfzhaFnfEPwejKH7EcPmXbWkNbKXCYAR7QOTxUfMYnTAZ5yjcwzZe2d1+yrnIiyd
r4Wtn9xh+oap92bM/OJhokMnuZww/0IXYPPMOIIfBbEpBBcRP9p/Lhv/M8Rg9p8M/cY8fHWGCmZg
ggUtdp+TrKYx090MV3sbCSEdrO+OdK9PvXIIUs3Xw0ChbHaFi58ruIYD+VslUpq4Te88Fb/VXvzB
of6Gi+ySUurnE9S+2mGa6tNGJwT8CXv5SQX1xxghYcdPFKyZ2n4eBQCFXEf+1cmm14gXCX0nl1Rv
tla618ZJunV3yCDPQ5hNtnXnJpvGqJ+M0G02sUM8rIUwdxtqt0Wk583HIKRVCsPvTtYZHE2jezNG
9J7sgPM2iVyANGlPE2UZmRhNUK4To0mQDvoH3Yzq6u1qj3myVfCcQO0wVGblxPDWrmX/bTBUf20V
T7J3j25nwqYsQMCm9iaSA7HwEHIWdEOzzuG7re25eSpikpMIl8nBArCrwDBClbGytXmakOlcksIg
o4HiE+nhzSwtcUHHT3xIQMcOZmFWOg65Xcm1InfxXBFhURgqQ9YbZlsP4f46G1fS47oT0Ls+90gp
pjF4J+8SeFUUfmLwzdKsshvhJ+dxiRzUpo2ImAkUiiHuMYZ7AWTaAQko9SYu4If4rl1ualgr22H2
d8kcfxdoKNYtrKH1MI63rh5fnQbWZCUrZDCLzmE6TgHIaKS/fRV+MypXbuApIHjm5jCIDyOdxN4L
3sheBNOTxQALUWWGOcSA2J8vg4/OexnCso+ps2G3oLKwX2nv3UoAfjHIiiIg18gXiK9fQoRq8QPW
zydvZsyMC8rkakL12yUv0VySKlbCZ3dmyD1o32i1Ic8cUGod6Fk+Be4UH/yJc0SQTm8FxVfyXolp
LGG/t+B52Onf/DIeUNfxKgWYPYnb+FS7+ltsUb+TCARkA0O2Hz1g95pR/T73PGUho2DrSfR4SfJm
L85AbYwbsy+YKjiCnFTzHRAARlVs/hvTKg55Y5Fgq8GvZMFo3cw6RPDmNbvYT5OtNJxF/sZYW7eO
PETjke3LeDSa6oOGEoMTGX6dI9QREGow4QbBp6gNht0kyx8FLeJjNpMWZaNsGI3+m7TruxHnztpN
TNYupS0W3bHeE3/7KpMsPpnOrZZ9eBd1OUFjFRLuObFeUDwpyJX2lhQjy6nKQ+UH2T5J6nOB6IUo
8ZSY8HYY0anG1ROjUI/bj5Vt8ixbDJKi4sRgQ/ZI1JyIJCJqKS6xZMHtas3hAZeft+wOZ0Afn+gY
yzUuf9K5kSGiSPjPXyjAyWoMSO3NuGngurXmE6HpL6QeTs0o6Pcz8LAJ9gTiRKAB8StIZ3/+oqZc
UN8///bnb5e04xvtSb2NFw32z7+QU9fM6zmYiQZFGD1EPkltP/+NXMKym5TArkxtRV2+q4k+Nw3j
gIJxxOE85KHF5+m22sHI6TyRfPijdR6mzrz6ZvKUUA/RVubnzyRiZGSXQy8o021GUMEpz7V1Aoj0
KpK63Y2W9alTreZKKLnUGSF2oHLVROabNRLJjiZuZWdEiS9P3CPl7eSMyGstfkFVqOex5iKq5p3E
6bYyDZx+5kIFBOABiDkUEOXZOzezG8lPkYnIMHfvBsrz0zAS9Qzc7HEyPRQWE1EJkYcPrMjLLTMp
ppV0OvtxpLcWa3FHRfCWWnQ5MbxRFljjKtU+mizpQkj1SlpvJWNWPfTyutCvbDEBMe/qo7fH7vHq
tV10JS8A95qL2tweN0o7Lw63TnDdXn6pDP2O3Z5wBA0KpyWgCffZD6MGWcVse76NtnnrycTb0Y+9
L93ZXJOfShaDrd6Bj1C5C+s1Q2h6HzcXLSvvrmZy3YcgA7iNoF2TNnjEOqbHy6X2jmoXhEHnFFuP
0HWnaT5Gj6YfuGYisyGv1Xb5gJ3rNbID/yJa1zhmGjpm1lPZFHW7dkWwuB6DAVqRuhpmN+yqwN4z
N//ktDX0BWycD3TX/HOrzHsP9v9DOQWXerabje7VR4XkLYjlhW5lenA4w3sy7nlnOx9vevsi0Ofs
5VezT5+HvE12RjscQl83R1IP34QDrdmdMIQP9jfl+PMGp0d8SFXsHdqJGVnJjWZkQPzSk3oMYwnj
S3yZsBHu+wSXvqYZZgePmOiuHd+5CW0VxmpDT5R3kp1/uDrUpHNcWyQh1P66ZqQGjjk5hzg5zj//
TrdWtp4l7WHe8WYfuxxUxey/EU1yBhEnt/j1R3oYe61VR7pD8iWyrWHliBghao9dNZ+r9xk/jRun
+dpG2LAeczRKdjBjHBfGsbWzYz51JfTK8cmb8kM2Fc2+4Pq/mhlZF1GJW823v8ehSM9wZ054UbOb
ruR3SBYSHzRBpYntTBeS3wH+AEeTYngpcU6ubBUVP9pKlndVl5wakpEf+ql6EnleItyN+/dhjh6j
YkxPJhrUrZodShL8LWAqENDPSXSBl+dvEl0Rt6NSFPsuG5rbvg30O06hDb5DZM6eUNyqVh+18aXD
V3YV4XDln/2LW6HQHwGWRd1wl5WawTxuhGQOH4cqQYZKA+oq6f7jphObQZMjPhQVABIEkYhpy5tN
jCskyga9/NxqpIDGSZPEdCg6K4JlaKmjrvm8Bqycx1ZHX5mIlrsB9x3t5DK9mFCtMARDAalwgqVZ
feVbhFF85NiW6LV6sZ6d5rULp3llNBx00dAcaBiOm3S2T9YQ6yuIqlvK/eCS5xYBh4Ky2qXKZhxr
uitsFcBV+f8VxONt0fnRGpF1uhaOcXPaUQAKZ53VvgB5m3U339TFloWWHBt3+EDhc+YEa9cxkSNI
zSfkb7C81qYbXdMMHdmUdXo/KpJK4s4AnxOVG0dHzktvkQAdQ+yFWplcjJL+Ha3kSyIgGOg2esqH
ujumBKdgXmEDL9CHBE2zxrABK07Kd4iC1SkW2efKQ9oLmmZrLBLuoHEeQ6M7R457H7uGT8SbvoRQ
IZD72sl1qijL2CbtqvQuOftoqxyuzE2KDQBtBsantayq7uQqosWqmhBMDG7OLu0BD88W/WLM0Oa2
wGNy77RLd41J7OzAz8zIJhl9oz3nmAs3PcPFNaNW7PU2CRRp/hiaRfSSDAOS+SpZY6oEsMJ7gziQ
cIfYqJJ9N3YOYZkRAYmhG55VCn9lOQYeiswX9x7ZRRauiS+0HIiu4uuJfLu7hmRBI6p1H0tulgc7
a95qE18Mt+ERrjP7vdH7wacQxInRPUDGJOVG3MdD3p0Q2UaroEuWkKwFnRd459woJwINqm8mnx6k
o8WG3TXc+Xr9NYITnpBVdm4SeG9KTS89XyXLF2aWa+K+L0TB/YOgBbOw3oL2TlbEevSaixewzdLJ
xzOVzLQzCHiyMnM6zgn7Xh1ST0W0BdnWFZlMEA1DJz+IXLRXOv/7KOHaVFjFO9nu4U0XTUqQYnHL
dBdvhZV7l2IkSg6fwefI/Wzir7oMgltkqkfI5t6JLr3YpyokXsYoiG5s4M/iUsQXvVB2IVKgvLD8
4hyKaueMXbBvVf4EctfdlrQJinTJ+xvgcbdN7R/k0iuZgiE/t40CPQlEN12aw/aIhb+yOK4jdpJ1
nHs8em3OtB6CT1hGBAiAmPTK4t3WvTgEjn62rKra8ZY21JygaSw0LuumNLwbHW4ijPJro+bozW2g
DNh8eIvez14umwLjgkiK8CmgfAgNZk1+P+KnA2QN/yVYNz8SSr+nsc7PLrziM/Vxy8XJjx9iLzl2
spw2wK+ZoGaBfVq2oqxN+fQuINBImveo7eZLGRvnQsc3koOHDQA1eUpGXLNEPa+SrKlXjSJTgo2Q
tnlGTosnOmw0pMBsaZNZvPiCF7sNnE2SmvnWiYcWE/tsHLQxT+ekoxmSp+EnmtMpQMzuDZ4JgLpy
QTv0RnJxZ6IkFVCmZGHWqZZ4MxIO/WtHSxck7l6E3sOAXzdhy5pmKzzK4WKqKrpibiaaKfHvGl94
Z54lTtSIRmmJLF6SS4CtqqJZGX/PxpjU6CQZQTRW9bM15VuU7RFsJCc/gxN+xxYN+Co2sDNUsOqi
5KFRKcy2dBp2dRXGGyeLsewV3S2pOndDCFixmSn3NlKSU5DlPv6iEIQ8GdqKhIkehx4Wlaifr4Eb
GFsLQP6WhmW2po1Etqqqj6DUH2Q0FBt3VNG+JA1ZTtrBnuQ+Qq1+62P7jHRtMVXxr1rHSNdx7fAq
BOeomQhDaOPtSJGxm0N1X+ryCxeGbMshK7Cb4nvJ3I++pE8ZHLsyia41cqBGBXRtw0CB3P6A/8Ho
FCjqOoTsVZLYGZcOvY/Y+ezxnu27Nn4TXU2eXxFhsmrDi8pfYyg1F3o0V4BW7QX5EWytMMB7mIQQ
HQyCQ5aHnyw+JW1ssfastS3sOwaxXPro72lacJhAAKE50OQj3BlHmdrvjjPQt1Rw4WYPPy1hB74L
r67CiLUTGBWr1DdPCNm2ZpcF+86zss9BjxuVP7sBZSyLi2eZEEYoczLqPVMfrP6dut67COQbK6BR
DQ2ccuB6kfzoHOtHHYhyFZjJSana2g/FWK4HEMUt5Grmnd4RQ5+/UXAQiCs6BV3J3NPxvgUdNQ2W
UG+fLgCTfMbASF/d35bJ+2i23S70wejVafCiQ6ajlHS4H8zgm5lOr0geV6PsBK+t9SzbOT1wS4LJ
HWD9DnH6xZZeeOHzVZTBVzMHQ54StLIJ6H/em8icOpOx8lDeGn/tTVZ2z43iQMjbT+85tFtVnLAH
ZmCwfAj4iLCOuKlWYhjFHWnsAdAbDPPQZErSdcBbMm276MrsAP2+mCVlnVGdMeHLA3ZMuVOjUe8T
bB63QDDAmEER0tZBmt+oRaQ/G3IjIZ6sC8rXkzdYT75v0k9s5MUDp8FJ/hAfDbpOeD3hGRj5AkDH
ZrKhS8BBGw3EatRP9A5bBK00pAcbwKjZVv1G16JZW1ZaX6OufoWT4u8Ch1AhNt6HKYmi52EqLuQO
o5K8q9iUDnNLtmOT9/dGj5DexMK3YngK5Y2IoL3TTRdiHrDh2OPHzO1qQ0YvxvoWWgesGLwY0X2D
CZXcnMXbl8UVmv7BPNunFuvIxi8bUrWK4RHWC6S+DiVl6BJUO8lno8ZZyWpLVnU/vlpEZuySnh8m
JBrTlI09t794TKgOuWe8DBKOoLChAwY9Vo96Tm5RxfkY1jpD1ZOEe6OVj87IEokHMZ1cHJJpnjBk
xUZ2oyu1gPXTx8ozmicXviW2nFbcoqj4GnfQLQvAdKxuVCinxKrFR1e52N1idmfJyeDaMXllMzc3
UkHC28SZz/I5p8R2bwB7VHRFSMCMKV2jfhq3mKmhiTaqpIUyfJtz2+I1LaKroPxag89sd9mEoi8f
uER55U++F6KEUtvnloMWg4goD1MD/qzpAqDrpFoxfoVRHDTVZkDfjUg4uvpjeELqC83cNr7bM3vm
lITusamQdBjS3VkGDbEAo+iasNdd4k850brutJFFAlKxTRHjqiFm0Omgq4yds0sh/tAp+66Kh+Wp
ts9zilgGjtVurIm9p7dGSecaO44H/LFdj3u9wXLiuhXSaWu695gO7PE74mgjfS4mdfeSmx4POoP1
1TqUthLL0c3M+kc5ee+AfNj/Qjxxo3MMAjy3P2e7s6HsU5bzcyzVv4W4hPumqM65Jc89brjD/2Pv
vJYrR9Jr/SoK3WMEIBMuQjoX23uSm543CBYNvEl44OnPh+qR1FXS6ZHuT8QMI9hVxW2Ijcz811rf
KkUQLnMHzF3TWmgRUNIF/ocFhgB4OjXSn05jTAR7MqoQA0d9oo4Au9m65Za/tGur55Ls5iZn5zGx
RnFITfBeVC/f6SArtqk0LKi9EJaoVqC3Kr8azcqHxQ/v9rHubOuC5XaBrtBSkjxRIohk6DboFFHP
eIwYh4l9oeVjAvAsJY9usQcKTHVnEjdaVkX1NPQoviDpaBOLfHMNV5udbwLzGEwWqIPMZzfEeZJu
G/MK9hR8m9u4VzGEp6RMb3viAWthaKR5kiZfNJykbrMuf8Y7RHehbpvXogESQQqeAgQnWsy4yC0x
Sc9X1rGBdYJ1YyKbiEyguRYGW7HxXcBVhkfdPC3aIa0oeBfuNE40KzEs26HrNrmWjczHmidtVl1l
k3ywcgLz0ecBLw16buZ9U/uNbVjL/R0q0rKb+kf8RvEfqti//GIP/iNs8FGUYxUFYfPbt//nocj4
37/O/+Y//s7PeMJ/fneOPqqi5kj7l39r+1Vc3rOv+ve/9MtP5tH//uxW7837L9+sfwY+7tqvarx+
1W3a/HtIYv6b/9M//Kev/0lsxJxt0v/y55//9383v4B/++f76Kuq3v/p9FXkX39Ojfz8Z/+eGtH/
RuTAFGjbaOwgCZFj+6+6+bd/ngMlLJuI77qOTw6zM0rkv6dGkJT/nhKx/4ZpSUdHtlzp2Tiz/1cp
kZ+2rl+cPh6PB1uT5+MhfsrfrFjKtwgJgJQiZw+mqkiwHg75g+2PyXwvXTG9RsbwJ4oWfG2ftNlu
aH44KTFRrEf6VjpXBtPZ4R/Ylue39Vf/EWIrbwNBAse0iVP9ZrizDFCWVUZUcqizvSDJa0ZhStly
A3A0otpEZ1YeuYNB9n5EJTFIW44BTg/uri+Oz3z+T7/G2z/ejj+74c3fHcUWT8UiSmOC2Jb8/zdz
nOFy/pzYbcw9DWTXq9tAx1kTcMyC2Lph6deWU6/tiRLP/nfD32jmqcEFxJ02Hs5FJ6+y7ZF3LD6l
hpo5SzKnin2CN6IPjxEn1H/whH+3HGBVlGJOYYBgMtDVZ8n9T6K/Dw9duJPcJfq8qbOtc5S2au03
iqNTGpyVg+ctTod3TgBoEICXsNIMmzpq9U1TTR5cXnHwaFCMYE0tfx5fo5LbTW41S8Sw279+tr8r
7POTxaLgYrDEZcS7/OuTbQoNTJBv7txkPhRoQEwSz2WStjiQFQeMEQU+zpKXv37Q/2LS/vmopBsw
HBjYIvTfrjFj6vl4WsbObXHagPncKuUTr88IVOCVxS2lmvdS94c1smK+wwPKsXYT66n3D3w3hvj9
aseYzy/JI+EAHBjr5W+/LKBjplZN+U6ljrMBN0uG0gu4eXfA67XQ25q1dZtDIWTsxZdOAlysMV7l
1HjBqgKBXoflhR+8TobB2EYWfoFQR+FyPOTBQbOBQLF1wotPGg0grJHYSJegsNIgo8VM5tGWo/OF
qUhxgZWyqLx8rwF5WmtksNZtz5ECQuk1wRVZ06Tw5GniqTaMp6Jz+i171OkC9TkDlL/MiLBtvMyF
2Z8dzDSMTrobfnamUZ0iOubrsiMi0fXe0p3sZNv37puPMYYBYnDpZdUeWvIuQOHdN5cZw5Y9iwZz
YU5eqo3BYzF3+OiSrthWTbBP9QFU9aRh/tGPKNz6KYjGYq23NRoxbmhI7eZ2dOJ8bQlpLnVK+8ht
We5JYExECuiGO4Do4UEzm8/E+cA13F9tzgsbw7RveehvWG03wiivWsTApCzabj/ENCagp/dBf/UT
4ECupBsnaOCPaMJ8aUiG76g9DG/cSICl8cN6XXD3PbeMObMg8W9Sv+VLQ+tvMUgiASVW3shwJtBh
rbyF7yy2o4nhjZB8dUto1kv84tqbg8Ra2kSrASb3ylZhvSFmPd21dNmUArZKaXT2way0DLYQSKhM
leTSjRYFtx9uOttvlrKBRqj4YP8D07DB0/3tVj1bAfgMOSwejrDBKv364ZW+LaVs0q0xigRnZX7E
Td8eTX9uqDRpxMrS5lYxbCMEnS8MP+44Fn5qFTdS3yqZubD124XCO8ZVd8UKjB84VJTfueU9FL1z
H2DNn4BXqDz+rFM5bV1bOwaZtyy6d78mzm7GCgI2KSB08lWbRi3WA7FjD78IKOWznIM/1WipRXcP
7+/bgUnTG4RaMFajzz7hQ8h3Zst7zoLjr6Oyf4GDCxShvnRFzsWvn9hMpauurF/yHDXdq4dLnmM4
CIeQMpMFkwpcsDoDUy0DY5onaul57teZXBAAUKpxjN6CmygyJiWWhFNYf5g64q+XTwbFlxoFZNEl
Ut7ETj599AvtI7P1+1a8NZF6i6qHgXV50WnRDWVFMzJ0IYzmqHPeWPSp3NoK6mfMyHWbPvBE6MCB
m+PmyaNVE4HvM/AQk27fz3W2fHzZcPYco7OBcwoNu5njfRZyBq5bTbIU0j6aBaArfEonMAXtVg/Q
AvrpPUj1e1dXO+lKmlzsc93n/tKnDpsAaZEAvCACAYLJTPqXUO8elaLowLITfIEQmKQJtWgay3VF
QGTtcP4Es7ePGjuG2IncHrne3oFEk+ubsSn0ndVWB6M6V5UWQQiC2ZfoWCWmPRJTvXYTlq0hCinD
ZsyhxcwaprTeuKX8YU3GqgK35zQhUjTxFAj6ZzEBuPed6dJoer/Mw7WoOsboZm/vTaue44cPSqVv
ncO9yyvGF4jhOfpj/u0jFXJpMsTmxkJIS6cWm/Zdy3HjdWEtGjrbnRiZ3IiCzxjjVJOb+wgVms2T
M6cb8YGrLsCPYY/2tu3ew55bwMgYbDXKwKLinUuQosUFzponpgg59S7YTUh1xAbYilLFK4b+oBqw
5C8KGrzVGGzHUfuqJ/1ehOgjTHfcJi62ltCfLJCTi8YribjIFuyn2igo/qVvq0e2cAcMZq91a/sL
O+ABXJeqnubkQuGoAxPqQROhdbs/rLHlknIgw5oOWO0qx8yD9kLjNnfdfaWDlTSEfhgs9lwW3hi3
e6G4jVM0WREgClw38PbwqemYCqKUs2/a4k644WBaYE8TvFY1MeKVubOHp5CtmBXTUCMpi5bGZ80U
H1x6eGtpDE0zNCjwkeO2hEDyUiOtVEraT25VqZMbDCs6wZJl21Y1WAo5og9QzUbL4lHnkA0x8hyK
4lvovn4CbR769U1cIGlmaaZtzWR8Kmy/X7UGd44M2APL0YZukuewyPKFBUd6HfbDu4HiEfVGsaGN
RN8yMLkn+/zqR+Nwz0ysxPV+wgJnbj3D3UUUYK0rI3qbxs95hw09gx3MkHvMTib4PDUQrQVLo9f1
a2+6H6jUWdgksWlejY6okjREJf1r0vTmPvZbSIL4S/DsFMOp5pR+Am37HUtJ3Z7loASDbE04uwvW
1vMgeP6J6z+lVscnz/XWjYNPloYfEm4WCiqjDWfGG3iOj8MN93jiMDkB03S2KyjGoT6jjAAQV4XR
raQx9wpNDGzx5RFMdY9awqyGdmJ3DWX4WQ+0aZsKuj9SI7zIWNwZDBpRt6kCh83vLPsW+ITR3PcO
/0XLGvbH+VxoIpnpQjsTK6n7r/GEsGfl0ZtNpQvjQtrMbZR50B1LY0x+eBTOx5z2sZXggQ+QPTQc
4UEk+aVbGBAZ/m0mXdBJgISQomreUEePs6JOC071ToxXCbfDstKo4hwdXl8Phd0vzPuW7i2SQbnH
LdpyFg1V8TlvGK2ZV+DJwxzRnqDIzBYm0zlpPnk2f/JuRVOcvIwDfscCvXBMWGptsOFAka+qBM8X
OXK5Ve5wU6qSOzOAWkZpUOinmEWBz0A1vmi5vjSj+Aiw+9tmGdjY0cHKoRDK8FtwLaXDfF80BdET
RdmBq6eQ+a0VXHZzndYUGdop6mRBZ1i7FX17ksbI/MNfdaq8yQL12Crj1kLJXZbWu62TgU4HmFfk
ehn/9C6ioNk9Aeb9MVbWS1lnu66oMHjKGZxDQq6d3vSlSBUt0nZ6dYpKbOR6aEnkWOZtYKscuIm7
Hju4SQZVLWwkXBbPcLr1Y0TWyKYQmmV8IeqQMm/vMZUm0adg8raZ+hh0E+yj1YuVB3Z7gQkU20a1
y6ryh/DVF9N/5hPck7PuZOGTxdiQnuhX7tknUmdT4coR2K4C3hRpgGXJ0ShLVtnVWAIYIsqAhauV
EBbrZ3Rh2qBbOmIAbZ+70ipWlqv4NeYLHavcXNiyAnxK9HMcyoWrzGHXEdbb1llJGkTXKBhJhiVG
PSaN00SJa0QdUJvDHppeqqmLoLuTcCTTdw+6oAF/RLOKKV7ykjG/PY7wzMLYZBRRrfPEK9eqxZhL
oLCdedDRCmbeQ9ExQS8KB0RfUzx6FNtsKZe4GgFwIFoymL62Od1wmdjSOZki7B1LihZ4ffeZl15p
/2jXZXUDW+jHGHHrSsoct5lnbWkDO6A2GFeqTKmGMZbcqRmH081XxOaqHZFxBJuLTeWUd3pKkwTa
K+irUZ7RZuAi4TrYZBl7hYD5MB6xmdUrs5eE7Ocxoy2AyxF3IVP/BS0P+dJwuldETXtbidugHPoL
nRJrdk6UmfEZAnC2xsjxUuiQcaAZY8Xr09cII8WmYU7X1YhrPnazYrhTfYvE4QMryCFI6IELt1X1
y8FfpGWHAlsyP7QjWZ9Y6e+iuvuOYhzzmQsZCAcEUjn3ol4mfIAZ4bc2RgluVGeNMa7IgBPasbsd
BwdkW2a+dFUfrLVM61bd0BwsY6yIrgcURIxnp6cHEK8Mk0Qt2+QAaLj2zwh/37keaasG0uWYcgtt
8yQjK4bls3duqcJh+bkxFJdXEMJuwfi06tx2O5bZ3smrT9rrmf2VLru8oH+3e9ksZPDldRYicRV/
VzomMgvmg2VUjA49wfFiQugJuNMGs5FU6PfcdfuDaj7zJty5HZe6Gbpy4/IkM9OjbpPHy3E1yJeG
ZdsKFazZkh4kK1CXgO5maHUmciYtQcJQT/mK7KHJxkFujLlxswK6fS4g3rZa9aSyMFyP59hQBjwv
QvxMQonETh95NuBkso+tgwXW1s2ajpNeMuRld07OfZlW9IGOegKSh0yMxFTgBS2EEJMqgVJP6x2d
KptirBzmltNDV+l4eWpRXnnmzaJQ3Ea08nNwuu5eOhkHWeBxe2+ajtZIgJZmsehga2WyYssISiTQ
yoepby4Pk5vunMmR12jSFN1iyUdag6quDaZTjUpWRaEdpZnoS5wKnEDidseGJ9o7bMTo7ImSpW1p
xWyaBpnLlmbCHhz7sN1N34rWYW7cg0+kduXQKas6FD3YQU9HferD8aCpyNu5zEPikKkJmZwKm30l
S0U1SF/urfqrKUV30Me2O3AFfgCu2qRTQG4JIwBZIr5Q+vXsFnBxa716yHr/tvWoVXAaAOW8bG7C
jBIP4BQYRcvBY1hv9MD5+KLS2lt5ScUJAhhZXbXqYOiWvwSHztZCNAuSEvkBeSs7dHQlkoMxw/XP
b1OVASeJ2mOREx0LRoussB9M2JJn+mwnsKfDsGtSwnPaUKy7iPMGddjvPhcbEK9y2CkrNlgLfHms
vQ7Rle+y3lVsc/HYwspmrTSwAUUUUGqZ+pauilaOJ2+9rtnCFZa33ETA7MHAzni3NQ3QfBEjgLhd
Ni0EJlN+90a6HuKaEQF+tqOVh9MqNrIHDVg51oWcVbdfV2SqKIIKLnWL+OZZtXv5+QWc1gNA69Wc
B9MaquF+tvD8/AKy+R6geYU2QvwziB/tWDpnYLULYa8ykYljRvXKrktLavhgHIraNxiCXR3JLStJ
q8/WMBYcSocDkMjE17Q7ju6EAs7h4L52PWRmTdyWZXKlx/2Wezr9UFOznLTxM0ficmRBf5TC95NP
Np4jC3yaE6IXQeId4F2DUN77IFjhQ4brKg4vmKpvbA46qwwCpj9hIUhxighD7KIxwUMR4JmtLEIF
RBmDOZGvblLoyYS+kYfqN6MPjmXpjMCmOwiO6bjB57ZjxSKJDDXW84HMunkFAyVKt7beretMIUg6
MIARhj3jOZgr6REmVpQp4Qef5x8k/hc222onNG7ZJm60zrhLlHk7DNn95LqA31jBbKF+lGP4Fuq1
WDXNh06TwrLt61WZaRMQRvcSeMxpvMHZNdBeFq6JocgliElGF71/ZDtvmWQXxwywJwfMpixPmWg3
ue3eDLl68BTuaAjmWdX/SIec2CMFXH5bnJShPzpKpyNpLo91oURSoL2o22JjsjyLZuI64da6igoJ
cXO0Hz3zxXVy2HF9g067HPAnVB5Je2PieBuw8I4aO5q+VFRHawChKSkVEqJp2L/osfFkuAVHbjpx
pm7Tly6jwZ72TX3Yuxp/mzStWmQMH0BagHTz9HvmnnBtdGPDkRyBNuHqiS3iO2FQviIhP0g7phQn
Kxq6MI1PCGw/QjRE4Jkv6EDojI1Uy8hjmEPpSTrUd5iR2NyOBQuxhOM0Dkv6+CIrPo9TBoNJIcfj
M1gEdMSxYXb34QSFwS2Mc9eVVzdBiTX86q20XwrNs1aica7DOHnrru3BzTjb0cU4BbMEqVBrzih/
TWesG37Gvs0oNKtM/1r7zl2BKUuX5c51ff/YjxUfw4gwKwxGgCrasDaj7uQzAxqdogA1gaIgE22H
MsYgIDSzk18V/bbN3Hez4jodAgBy8dwd1hvk92icxmux7yk9PQZUbC0xWcH2ps6bbSfcQLdv3XOG
tsaJKWEZqX4wBKKeVJKMLib51uHMX7h+XLEfjAgMTm8DZuZ92JViHTQ923p5F4QCFjFuP/YBRbCy
ioHNiybfpjzhPjAV8rFQj4ZK9YPTgyX2Kz5BsoBvJak/U1Xw4RWOfAR6vXESib8wtKnEwkUQNM59
0JuXpm6JaXMubvPXOA2Ls2Fqj1Rg0ABbEfKAIUfwKliTNDTYttj6DC69phWhVpxYbP1ZtcmlYDwh
JwTCdedj6NklISf9lG3f7LCiuwBwA6UPah45Lec7NGBYtr2Tx+dEr1AFC2I3FaVFt2UXP045F4+A
KZoxlQXKbfYnuqMIQ26tmPiZ1QOPmITD7CrP613dWl9YF/J9nVjH0MkighM4aGg3GnZeLXHw9eS0
LH8MdqLMD4Q7ow3jR8rZ86nbFXl1V/u+WIimvVFgHNdFkHzW9aUmPQTtzlLdGp6wj7u0HVaOskkU
+erqx+WWly+2Nu8U6WUAtGHBLT0LadEsBXkGJKpq0bh2smeeNNxOBWqBIWnFnsuhfnocuKnNgzlg
xkEg1p1mBqsA/M4m5egg5GxtjKYPL5nWsVGnmKm6YrX2TEKkECmNbaInwwYT7xI/wE3cDFfofxma
ewkkt+MwEJM9reLoHNX2um2a4uj2ty271YvGcWHoNXWiV6/HJlp4Mls0veK6TbGjA6WAdMrhcqN8
f9gZk4M9x3Z2wNQLEuix3HVVWyxEEsRnLy6+Es9YC6vAPt5z66iclg4PEAxew1mh72k4IXy8wnm7
EoW4o79tXMu2fYakUS8D32MBAzVFrYRFWjmN0Iu7h8BwSerU5ksGy/VMBvecqfqjbHitgY/Al3Mg
ZzTDPD1P8lXYtB4HPSkXuRpmThCdVqVxHWs9vYfa8iPpqH4YRgr9Sn1MDrCo7kfNHQ5VPTyHXUQT
xCjSXWUGWyMe9wld7qNEjZjgtB9b230z0+rJBKnBYkS/VVI5I/1ePjUztT5unG54boiTr3U37g4m
56dFq7u3oV7AM/fT1yCJCszuiso7FucN+jhPX8mCXhB3azB3pzWruAtMa1zUfLDXY4oXVmuTd00I
bK9JQimRZnb7wnHChRGA5HGd9mLJ/Mn0k5ySKI2pYXVye7xfVn/wwrS7BBa2LetgNfx0lptx085t
EbS3HW2LvvmWstczQ5H6SLT8UiXTa1cOJxmvKIPQt71tFTdgKfFDzGbcTgzF3jTxgwpW+UUxb65F
TIeBjNXBxcG/S/XQJ7poPilZuWySIixFdrgaBx4dl3Vw9r47dRkil2/pCzzEydpq56tFw1LLj883
oCsN7ojxdhiNXVZKdcvUGXQ93EsUVLpPgKTYnbvpiJZg3HaeNPbYWw83Ltsx0yQVwAdTNRVlBzj0
9GDwDiVY3KvqmBpWsB2Id44LEE6zmOjNnd39Jg4JO1Ht9hWQJNjm5YhhgvqcFRzvaTuUHNC6oKSx
gbaUdZghIw4OCFaPZsDNQJLzLjQ4aGp+eQdSoFrRSxKqfLgxGprjdCDNTuiqvYqFubSd8DORZvAG
4SYH9YUtQo99XERVvHEwdoLbMA/MFNtO5ccvwkTuymkDm/4ijWFUC3iiyoxbqcTepqBho7c5xUko
NaJifcJfRBqn62YzKo0/WfI6hpogD8CtQ3QOi7GWIQrM3sYa9qut8a719iakLWToSVMXXaVQyYv7
aMxBU1SFYuzpXmAPsIDP4k/UXODZkQCEwrsxXM4pXYD1eIgHsd9lcjvYFaWh4VwlEKEbxEPKwQ7u
MW1H5aYMcGZa+QH2Pl8icdG9IdtBmZk/qM2j1G7HtJBL5mfhVa+KaJMNxP76QluTDqmXjVtWO6gd
Z9XQmVO/d3khTq3qjmIM+5u6vka9f1Vx/ubakVhVDXt73GZ1Ft6SNOoWEmZKVCfopC4+oUwNK7Mz
7N0Q9K+iLUDWhbrY6iM7K09bJ9gVd7ilS7THDsE+l8bKJ7B83+bmBJIiO7hKd691mX7Bvov3OpsG
EkWiIRETDStPC/EIhooohY5pvGu1ZVx+x/3UXNnOwwjSan1plx4yoFavW3eYfWbOrqyHPX7i4ljq
znChXSvZcrMr8GqBz++y4Da0AvkQ1MNKr+DYE8fhTpz2zKbVFBwpXwFsO/ELSAdgcOG0d8T40dtz
HqFBCFI44kdu8/vBLpk0NZF21Ey4yKxQGg52YG5N7b1nItLvu0dedDj3JjeZYKfmOca2ddkCZ/Wt
LKP6teGhXNQGprSEP+y+pFdPBc6uhYRzn2TB0SIpPLhOfSPr4eQMDdMhS3lrOwJv3jCl4sP4yOGo
6LbvumLgF8ixP8Hjp2OFIj27p5mjsz99E29+abVqVcR9v7eSAVlVqoWO2sEUpRGn2lxrmJNWUM3T
GxbqU5p6lCsod5t2iBL5lAWXrPuqzax+JDrJMCtOTxiFrU3bRiQvtU9XTtG5GKaD3pPhHWxo5mRQ
WIROhg5Pw0grddd68nOoMrVojV7haXeY3Aw9bUMTC0MV6/GD5mwRkq7se7QF5rF1bwaKxUDcV7W/
b7DcL7sUiITAVLbrsufAw00cKsgtVbztCZqTWsCIT0uyts71/NBQMwKc09L2DCu5ebadc1CZjYWM
wx+IUuT9umYF9zm9trkwj/EunxxeqYljthpHQoQJ0w1+qsoOsZ80K0dv1oGuF0cIoNGmQJ2iwWE5
Zi7x2dFKjzW/7ltV0QM8EoIFGeBCGWENHCeD9NbUbOHNPwuOd4uyyRMkc9q1Sfxxz0ucpVD6W+13
4rFidsg2Sn1HoFIo6RGUEDKGo/OUBS8vUb+Ia7HjqrF+yW7T+pId1czXxC++D92k3LS2YW61IUft
kBRvO3Kek5odAd6aQSY48uy2oXsdTn9rnrUArZUtpjpZTf8j9o3PyCLPPiaCNvmULXfVsIqU9K5E
o9hrbXmTmGW+qqngoNcI0Uclujr1qJccnLR9lFmgYjP7qgr9yS2D5CbxDy24rpAOK1EV13Qym5NJ
QXs8+gX8wF7djD2mc0Dg08pPyRsDgXQx6yYQ7hNNXADJED9mHGDUVU6y2e9oLVT9dQSRUHp9dVNW
NBDQIl6srVALDrgy5+FSYlwp2jWu2ox00rKItWP+FpHMvOGSWVvepGfswceJHjJuryG7nXM4YdSt
s/6+3tGqyAyOuOq9MWtBXqRPf/y31nRAThC7WKH/82xtMTwkSZTf6v24l6oaHqQVYxg1QN94qzQQ
3TNMju7SOQOX3FR2zwbc4O1Abcv6559ms6XGrQo2SZENM96PzF3gefe+ZsTfNee4WunP2JNxgczD
UVVkd3TzxFTa3VdU8wmgBXd4Jzg5yJg7W7EThRbdx7XiTqtPf/CL/r/v72Es8e99FCz2s4swiIr8
zwY+gSPn/237YzOWf0W///0//H7An/8mLKDOto7JzrJndNwfdj9Y53/T8froru2AfcbU9x9uP+tv
urSk7vEHPwHFM9Ll7+4//g3YLOiGunTcnz/wf8OI/s39x+OSVmAUIhhimK5w5W9smKnU9BBxhcSj
8w4rdRMY4w9qPO2FxVCNhgvaTXR2lToZN9OhyYWPit56hJFS/yVTYQ7sEWKcF7/96f37b/x2v5KI
/v60YDiatkCw4U341VOSpSHd7tRM7jWqLSimOAo7O1oEfclhlP/AfvUT3vefDsg/HkzonokLiLke
7/yvD6bqWOjYbeka1v3nEJyJOZgnHHHz6d5ZNaF9Z8J47kua0HobsBFnON6Q9ESi58OOdWwEwNJo
9P3uwE9Ypl2gJQBYqG3ts3K/vY6K69ININab4skUbFX/+r36zcf28/lj5PK4LGypg0r8zcHpeBoh
Fn1uFDK8D7vrpoXZjD+I3ZkcQFbVLigKiisE0UcnpKZggHOl8vVfP4n/5hf2y3OYHX5/shtqdkI+
UI3pvldsGSltPMnBJcaMgAz97+6vH+xXXNB/ecHO7Ej604O1iFRpUhnpPgz7H/A5L3mtvYdM9Sbn
MyWS+dePZunzG/jrBWK6NmCinyBd3ubfXlypNbC9LI9UkKcX+4LUvdFwYOOAhLKpx7uBGMmqRPxZ
A7TDQGKWNWcACt8tytJpxMjLS0ZZbphglulBk1pxFELRyONTbaGrehB3cswz1M0l44pABd3GfAKF
AE4Tu12wynmwLq/mWfJwR4Sqfowg/CCmBFfEZh84OQiGaWAnZflS3smOGDUw00Gofe+g1/si3uaB
+ZG3g7oAYE+eIund5CY/0dD9OytwVh7Y4qGCfponzevg2rumuEiQcLs0aE5tDYlmzKZnWejRHqJ5
v5R0si+cwFDHwqDUJZ6GQx6CfFese7f9VFS0jOVig35CJKufFiMHh3U+WXsJvIl+DidYhEFHnhba
UUve1Q7K91Bj1uwkNdUjxY4tSb+zjewTynjM3KR8o+JvlqsN6A3hIvex4Gn8MiYUGHZfJ2nlnwmQ
v420q7dCK+tNH87FspnHODcTl9QwMO5H4A285DUNgakPWBX1jloYUxgpzBzKHMvwZnCph8m1eGJI
nd/LkglSZFOrp03qIOn0Ic3zSnhk7wKkgghBWDcNt+lYv7iGoq8tZAopreqYCBlvgPIFi9YCj8Dg
u8vwLw24XDesFgzky0e3GDgYGeF5cDODaidcE8KT1VUvp2UOlo+yCtDTM73IaSlNhrw3wJni8JNp
RCKmwGGk0iF+1leLmZ+L3RyxvSWDVZ3ymbOEN+uVMrUl6KnGwSVCL8d3BbutdO3PsFIXFDrCdcPS
eVaqAd2h929hhoWMp9Odie1uBt/T2M+T9Mqa60TLGQF4z1l2Pe0uCo+QMCmZh1+z5NU6sBv7dVlT
0MfOe5FbKIWZYkzvxANNZtFzSNZjSfD/rWoTCI1j8xIXmKCC0PvkNaHcWNjncoUeP5gD2JlEPOBj
sRpGljkTH4Ath8gDVGB40Z2dYgPLZPsAD/XOrbRgJYfpkxIOAnXmPNaX1a6iabw5tDWYyKLoYG3P
Q+J8njCnjDkwcp18PgTzmgc94URfyQ9qCx9FZp6GCXxBSQF5DYutfszSAlpOlr3BlXrhJofRNlgj
R5IGFrUBUR9ku0OmBGMwgJg4eldB+hwb/Q9V4oNLy4cgRIEIpnVewUenalHPT+zhk2VSEoaspQ9I
asr8I/1UNyJ0CWBabr2WSB1Z22b4mYry3Kr+4aRHurwt/eceK/w9QuElKjuYIDoAR70x33PhPcvM
hDLRMWzxgA2CTqACyU3e7Fw+TtWkLcrQe2aUiZRUu0iK6X0U9NQXSEDOfR68lLbaOqhlBJCvImlv
8NLSBFGRUIqMAJxzLE4pI70Fx2zOzs7zkFYYiZkVFZUv9+zQl1pCOe8YuvrLKD/1+iXMHeuVYnpt
g5l5beXAZuLCH17FIFdemHFbinKmk/nVDUCPF57FDjxBjMoNhyFbV7Glhi8RzIWIk4TT51Vdc4hA
QXGChY9r4XbW6D+ymglL07QvvdZ47dP8Qg6VqzUqQ1QMcO0Wv1eMlua0zcE7bnOjxVGrnItuY6pp
PFMtdZpuH5t1J6xNPuNCCt9gENqPlP4lMaQEjXbkFPpBauKGa6Isu0K58dceiWefUB4jY72kTq5o
KLLrP6bcUhffDIvNvN4Lo/umrFMn2WUSiGJ0jop5W+fk2TxjlpRxIVe8AQAy+MCVMaCUwPDlyi50
RQCMKXedjN9sNaJlGQi5jhNLzUIVvW8suysoMicAoqy0DFXJSKpwZVAfCDI121iY/TeWSjChcE9b
2pm6czJ6d8Lcc9epir8z8JkuJhFL5NlRuEz0OJkJ2isZg+J6t7Ozj8H2qsexfk6T6d32Se0NjPzG
sTsRlMCqzA0Qhk1LJNtZp+lRhJm8nRr7MeCWB1aac1Dl2ova95yLQezYpF5L4xTcC1qKig6vi+vi
N2Tok9bMlGIb41goE0bO5lOuBXC2NUZ4dkfdGS0qLD+0tQbdxYukdWjB94jEq1dtg7+WdMKdGY1X
uwtqxkjY2qYXMm3l3IVZo6SIq6r9m843CJ0N5o/GdWYPvVUv06651+MB1kbzf9k7s924laxLv8qP
vqdBBskI8qIv/pxTqXmwZN8QkiVznmc+fX+0faqtlI/UByigu4CuCwN1PFDMJCN27L3Wt/ZukaPr
IQA26d1taWHibD15YD6wZ1ZJMpFxgaYjW5nMqgciAK8c5pSiCJNLPQc/JBA5OB7jSyOBylqPWrIg
uxdrbYeLS2nd2gwU6h1v5rxAAuWkOjw4XvYAxHagVVSc5HVNO5vJR4F4VM2mNVpk6Lifhm7Cn4xO
F0NkQA7fQy0jehZUQUxLp6Vv4QdFMWppnVjXnCehiqv7wv+Ouzxd2wN9qQJ/rpouvB6un06CtUdj
wor6l/fLJbJq3pRLlkOwjWGbEHxY0ebf/608K1DUDm6bx7wJAVuPnnbsFt41E06oH5m4shs0Lo2C
8+mAHWgs54F4YKLNPHGuJHi6HE09XfcAdJfHl4jmug9YKdOUroldOmtLko4mA3FZWkA/edKFNzNq
nbE+7Ub3oEaAIPSH2W3rkUfF9Msd4nW0Y6abb4hDwGgXrUBpgJrSvFWV6cBCRn/Dg7I2mK8sPE/d
ZIy28no8GLxMiPn2KZzvnWkiblPkmquakiVoy2eVP3jRKNZDOQ9a0CccYtmdIjyMThTzgE1farfg
KZcOzo7VQNmKNjy4x8i6cvrwaUQKscA9UKxYri5NtCepj/RJ2us0qlDSOi9JjWiTVZNNtwJEnTzY
HR5Ck0zrFn+g7BEeiOzCpWG9F7r76IjkLJ5S67SMLEpAxghGzB5m1f0lwtbc8k7cNoZwU9LJTfwZ
INA738rYVheaosmEucv0q7Nm3onDPLwI0mmHDCoiGTfJFxpj7rkOQ+qytf1sC2l52IyMvRaOozHL
w14SodnWLBC8TgpYsK+uAweAvWGMB58sqwW4BrhfNYNjOyS/ECZZx4iMp+XMTyjIWhEzrLbPTPxb
G2d2uXoEbjFFaxf4KS2yIbV1qXaO90VLu6/zZeICL6qNoF1vd1JRZafFtnDMLdEA39gupqVnR1+x
nH7tm3IbNxyB0osUYQxmDGqAxKNsMriDVRcd7NZ/8GDE0NU9Lwv/wcRP0pF3vahotjLdZfISP08o
r2HKnThGswXxfZ+F5TkKbtrHwVATjaquElfuaJXeBRKLjncpsC6goqbqqCz7qsHT4uJqX1fp+NSP
FIexrF0MAoCxSz4AU5v1yBmroRijr1NnxIs4AaDi3Ole/aTcItoYmf4kVHaOQpGUy450E17vXRk1
2hbpdM0UhKFz2V3ETGw4CuSthSIx/8apVO1lgA+V/e/JbKNnEkaz5RCgtYCDAbAQIRpehREM0gJ4
CM4R13qJbLKRyoBdBHH40hu6HpHwt5gvzzeM6rzPq1ttammZd2mzgve4l/l0nUGMRsKbNpsmvbSk
rFbo4FFj1fWV3Q0jXmta0KXs9noZJXeaf08BIKAEnnIO39V5inlVOPiDI/z4MmiWwNPsZdqHl5Sm
km+ZH7T3I3gN8nJMS7UsBChSUXuf817Rk3TlmedG50PNXYGp9paJ7T7omrqeghSjWwCKIea3KoU4
0XHqm8Spr6nc29NkEBwlVH9wRpuUzkL7CmK8WNjiJSvD7ybksiXdcWT1UfYlJsUgbmLeSPwYID72
ul6QmNuc5fTdN22IY8AfwwJ7L4JgswifVOoZ6MXMy4weiuW2CJ4YKHXydsqicGXqHP4yQEWudcLx
mWiHruAwk51oiCz4bK8LixhmnRbwVnbxtxonFKMAe/1j4f7/vb0PenuYI3/b4WbP8GtPb/v8+KoX
+OPP/2zumc4nRpMOXpm/unF/NfeE8cnhOYVpjNASfb2kYfLLyisELTwsU4hwTcuRpvjfzT2HQLkf
eya2Q0MZjrL/SXNv7t391rbgXwKjSWySYEOcbZVHfSErhRI5arCBZNntotjZOKn3QSfmqO3z4xIA
k7Es4hym+XR0CfJ38L1VqYvGKKUowoZbA0MqhLxq6tQAQ2VFyCV/+/j/0Bs86v7M1xRcUHfmZB/d
kEdm0TYJXCpexyHriwgw4uQMjPtaHq4z+Lep+MCa+oc7hFRiAOpXVLP0gF4XM9ZERp0butDFANt4
QbWYivua5NiotD+4rz9fiXaGrTB1yx9hPr+VTSQxQWtAewuf5GxqDnUYb3yEtQLP1T/+AOkIwQEn
2wFvnn3UPptkMOVFwHNhldlNZqonDkZLAVgprvQd2XAfhKccdc9MYdHQ4AEEE0Zz1XSOPsGp8q2y
1QXZ4+LKsMjIQ4BEIPFST/VlmVsbN/wgZOGo/uSC9NoNV87Qc27z2E08hsnUZFEmF21hgfK611HK
hB8+hm9vi+gSXn2MT7jCHePoUyxygx+iSBTJdHctjQyZ5uw4soIZ01wmzZ3rv/zDr82SNu7LedWw
sKIfP/c65AM64vVcNncrx7zCIHKI8NBg+1sZeHzfv9qbxYOtmfsDK2zpPCXHz30tmrrsR0U3CCCj
FYHSqz9sXM9901cL1HwNzgmcFJRjOcdPvAM0LYxtMNGy91d0R5Fzzl7HULtPpuI67VtQTVQgnQUB
KkPwxwlNN24D2u8wHC8SK79C6LpSFejzekJq9fD+R/DmhZx/POxwMN8tFnB1NBvRBiJgsGbYM7tl
ZaArLYllYFXb0TD8ufe+wmn8zhd4s6ZxKeTaLPiGQWTYD4T/b+9+E1dumM9E0wCJQREADQIwFjMv
DWsfZaa2ff/O/vTlGiwyzC5dvmTnaAk1g7rjdXW4MzRedcLCLboPnp+3Hx7vnjRMw2G8+XO49eoQ
iOIK7g1EYU8YF7QqT4FO3mbJuHdr/YO7+fGqvX6O5muB27FMRmP46F+v0WVSeSP2aFykoBM3mp28
pAotmxaakCHjHk17N9x1ITa8QGQvMrP1zfufp/EaD6FYchR8CIVImYOIxff/+ifIBf4gURg07YPq
M1Er33x0m3uTkfOew9SLIfyTya9u2BQR30L2JKo7uX7/Z3i7HikGx2z2jj6/tVBBXp26cwslZD3w
gcc1XkpZikM1OHdBrZ/HoGkXyYRzXLSf37/o26VWKULELLJuifbC/vb6olVoU30bllwUIUJsX/tu
ON55V/bF4v3rvH0/FCmarsEbgtNcHG9ZZEvaXtvwKlr580iLM2EO540PqUDakxcfvIx/+jYp22yT
EoyTIqf613dlwDpKCrKlF1MGzkva1tNkENlnETm56OropfbEttCjh86wHlzMlI5j7P75/fKJko3F
qFe82cKkFrdDNaTI+coEXUP5JMjqICKOfqBnce6ESr16/4p/eF95aAQefl2yLhzP1JRRCk0abJqe
gYO8cDO8Zsaj3vbfaHPWH3ydf/qEHdOcB7uE9TnUB68/4TkXwkqaHsk8QTDmwQIHsQgr80Z4wWwo
xu83rJvIIvDHuUsCcfv+vf7hqWXSzS6qDMnrclwgZCU24HksTzv8qZDV0sxuWFU+WAD/eBGb2EXX
MFgejt9H2r2GEbONL2oyz8vyEePNKgs/ik7501V46dk2XAlBxDyqQjQDRVyve3xt7uXoHOz0Bdz7
+5/WH5ZXh/7KPAK1ifA0jaMvKzJoDugaBZwy4lPRcnCmtbTt5KNmn9WkslsGE4BqVtSr6oMH5e2i
xqUtwESSyZfBjPv1cwKQLyBgllYH3PJtRUZBMT23jYs29LmYWqBY39+/17cVCdcjW23WRCg6ZkeL
qDN2Vt1EkO9jCqteG4nv8KAYPNXoLZ1wXJeSGCtVXr9/1T+8DizZHASJGONEw558dJuG2cde2TFk
1cu1EfWfxSjP0KzSoHQ29OsXlZc/iTQEZREfJj/+YMF7+xBxedZVE4wstd7x++C1iT9qHEtQod6R
B7ms/acg/IUM+9sS508fLWu4RPZChg4Hqtf3KIsMWlLBU4StDm0fDVDMNtGzGKJVmkTLBEGdAPD+
/if7h+eH682HHT5ZsrGOLpq0veoHBxFiAXjeBLQgpxOVkKwd9ecenpUpVB9c8Q9viyv5LNmA4QpJ
6oHX91knSR/Xc1Hb+M4CgBye++YODtwh9hICfNwLi6UGhOIJA5QP1vD5RXxdBxGhRLQbq4pjO9z4
60uXDR5GtMcspal9iebNXBSpqj+4wT9ehJAS5muohpzjrVj6qddW8+kqJBh6gZrwMYjr8/e/trcP
JKdtwEwupH9e+x/Imd/K4ZTYUzZnNmCQlvJkKCJzTiexNVIWzfAflzDztXhESEmGQGXOG+Nv16Jj
YaSgPdhq+4LJlCzrK61V5ZXfhKDh37+vt2UMd8TB1BRs6zySR++5G/mZiVYIdZUdXtmTda37qFFD
EhAyr/0u22n4YP08yv6aC9PXVzwqTJvBK8YuLyRjfGglMeteibteeXAe4fM0edhQL0/JOmuRoxP5
ET7Czm52RgLXMRBdvFRktiN/n7ObSo8gJ1wHt52mgS4tO+Pb+x/Pn94dJTkOggGja2Ycl5O579uV
U5bIKsGqOFAYh4BmfRm430I3JHgspuWfpljz/eLSU8n9+5cX1vxu/v4Czb0li6LApdUj2XCOPy2y
Jsxs1G/HDnQJAt9EOeTDpNSj7T5FPOJ/H3M7oMXuVwBbvgCgUu62G3vbOiApTo0Lw/BzcKWU6IZ1
yd6YsWE6ZtB+n0pThO4mqbHk9qQXKc29o9nekhAVoC8hIkYFrTXLLfgfvkKeop7cK9tzfVAz1VCM
xGRmIpOedqK36cDMY1Td9Fm36VKX67wM4pCE0KQ088/05ofpvAP+gxchy2I7LR9EUJfasFATxPB8
mzRV1TRwZAPfkcuiImAM6AGRNQYqmCwBLrDmZJjm5ia04sh+KVUz6gtzwKWL/T4oRrNbkd/HGGnf
iRCH86LLBwPTqYHkl9CzrkHTs0v6wAhpVWBYTweiR5idngZh2c8j67zF6Q2SjFp0NQBHb7+4vllY
35oQzP8VaPDY9dEbANvi+6/EOF2AgJ3Mp0ZkSYYJNc/BcI2+ZvWXRTR0wIwYO0vMjlUQW8ZT1+vd
5MMqsgW5JE1Z1+FzR8MJT4DZBuKgdJ94eMaS0zzw5uREaeENUyn2LQB5mvpdp3zmGLnpDe2NqpvC
JqQkGT0CHVJ69viuzVoIVEGa1RibqMMwewGc1AVpgfXFG09F7jnG3pRamHzuUYaGNL7M0EyMRVQG
DpRRLS5q+14kNJJQAbXlVNyUbQsS8DybpoDRjyospb6aMnb1eDW1IoIVNhgeCZyz846fdVEZdjM8
6ak5pBvkazg0AaAW0CiKnAStb7IHJHrbdlXRgv9vXB6IRSpTOznPVCAJWbIBjqWHKlS1eciT1M7P
Gie0x00H5tE/l5QM9Vmb8RnvczAJsJxIWUDqzCeV5+7nsqi86RI2wYgEwi81cdEZke4wM48YhjV1
1KSYCz1CaxHYROlB1wmZuPR9ryqTPd7ZvH8c+UHqMzn5nY+dkGbQDpUZo0ndVHGJB9XLbQLSYL6D
+7WrZvqe2GORwev1sV62lMNIxhs3f6ENH3oPnWjr5AlxVsof0S2jkKivEiWHF61N8QCQVaNDFbTh
yIPdbUmyUqUfNedjm1vmdWv1fEN5Fhzwy0qDCHCs5AWIN2MklYdIT6h7psl0ZtWY4bQuSxqAS7jT
EMsWRQ+0I1wUul2lX7S8tIMWTx6Dfx9xfdrQ+lg0GoO9J61G2u/v+4zU4pBM8YHGUzfhuixdyHo3
0LzQGVoHbNQ9eSgdadiEAKbsSV290Grw2Iwu27QuUGyBj8ZVkVbO16Srq5jodRh+aj/ZYyVPPUlo
ILqefDTgYMcpQVJVJJ3yhEXbd3ejwsG0kUFv+xvMpMr+XFTOcOOF+KD2rR034aXlaaheFwYcat1e
BkFcdQTsJDJAemOk43wID8LMmO4rHUHld0rbEadJ5QgFlqmQtWF8R4lQ4uAy6OHZS6UNMYd2uxoA
cmP5V7S2bawxwS0OGnepRZHor4O2bhJtYRSWaz4LV8O0sQSFZ/dXXRKK/J4+Yd6ROdNIN7w1khx4
5RmDZSm8HYWek77IKG7gHsBOD7t971hef830EVFRVAPXugocmY0n3HaCAsEbYA2cztFYJoLYiTjH
NGFOd1JXZc85OzDLjHZ/hB+n+9mw+ndP2v6TuLhzVuzfC+TXdf/YhFn4u0RezH/l1xhNfDI4biEk
hLA6D744O/zUyJv6p7lJQKuS4zrxm3NF8GuMxoHkE39S2rPiGSgrbcx/ieQ5jH6iQOT8JhkB0F1m
J/8L2nv5c8P/STP2X/Jf///37ixtvFeFAZMmzmaOciQdLv5VypPXRaLqqZE0UKqLuoZGhA2PmX+P
GmmDQf0+FVBlBr9ifmwNxZU2kFAiZwZKPHZrL8INpexkO1B6LKxkxs0MaXyoIuciqaxgiz0HTYNW
445rog0cpKeUXt2BvHkUPCXHhPCmsjXtREwTVPKL0ccForeOWvl9D7Bv6jcgruBIFLEAOZ6itiDt
A84VIthzndBWEJkIQhBCAATrqgnF2bCVeWbvguR6HA110EaVHeZgpGHo8j0CkytbqjP2mRFvJHkW
CFuceo4FFRwMK0BZ7iOS3zVpBsNQn2WT93lCREsFMZyjrscmSU5aMWQkOAX5KjbqEBIE4U9W6eVY
zMkWE8Tu6CjVrF4gUrYeh7hFxmCZhCqayXjy45eabYWWqYrWrG4vugBc0JGRq/KGVOWxRD9kEzYN
pfPgDdLbKtOArt53HphIn5qnIqoncNsTVwcqSskAV2TO/nEigPpG0NOaZVWCWKBL6HqFv8rTpsZ6
R5DiSN4IAawIqiM56LeJcU1uhXHVDc5ary2ESS5rP67nRQLeBUmxGXpbwyCbrvJqddLGfQVqXgjE
jSURz4aWrL06yi6grap1i1l5GWAmAwpnkDSjVvNqdQJGZoecuxvgZBQu1uPCdompo0CLDJg8pJWe
CBFTyvXs5gVpMoaNFq4pZbxOgiI/y+Zfhj6+MVGZLVAI4pPGhE1W2EsyWdWiULejYEULVZ7gnNYR
RsYOyFdtP0ZaufKQGl45sl7VqttofKRnZqPHm1QnNSfjSBQFcbK3G3vc6qFgVDAjLenDX+UgEXA6
tE+yyYNtlQBEZBBFH3pdZ4Kk7NhdeEUP/imkAZ9Fcl3AFAkxlW08sC9SYmBy+PpAxi4c1IOoJoYN
AAYghFMHmEkkuyZMXiipygeDYm4RFc5d5KbyBBNj/dn2wnVb9fILrIulPv+rlQLPKx0DxFWWXrtu
WoDgwG9t2+RPpGejJ51T4Y7ROVZmiwxfQXBoOlRr4aJl4snBnX5dJvPjLptZD4nFq2rM8xqF7hKV
8q6y+i1+vu62QzieBACm+ugyjvMaI/fQfSlEhWOymc4DQjX7CW4IK9ii05tnA8IzVIqzwK7kujH5
aIn2yUcd/U05zkRQ+36A1AaxbBpXk0bYsduCIIa9sITKfkB7QNQZwLcGzSEQn5TIrDFah3lTYWUL
QWXgC7cnkpO1AG6TCdXKL7sINL+E4FuG3Aa9kceOZC4z7sLnzIK6CgRv7481jllTf2DmCC0+bnYp
WLbtEOOqb2kgEF2KtSS9TFhYCq1aMgLz2VrluCHJvVwN5tVUe8VZmN1VVoR1uitC7OchFuNIvnDq
5CxB/X0iqH6AfPZLYt+H1ejonycr/2akerVWtjatCmI/tinBaOFE7Rd6o/q87LHtLQeAmNswVRsx
uPKuwKLA+eUrsHB4L05/i5sCOVmtoksQ2wdGFCsqVFoW6j4fh60oKYe9njCPCrflwu29ByRq5qEo
RAGxLrtmJMlLZlv3KeQUijl0T0mqb5URIanXHMiRGBRWFbYgnOffhZuIC9ccN65N3IisHW/HlRcj
lgYcQjAcO729N4lOCb1abkzeFnJEp2avO9ltX+igPqwOKXfWn6QjCcjabKHwRLrOxkrbSJ0oAI8V
hwr9YJvhLqKMIavLxaxdzHhWjlY7Tlu4NEx8psa9agPvJKovSRtxD0UTmPvW9He6U7krPzLJQ4Us
m9XVmUjb6ARg303n9PFeatOZ4TpnPpvwamzw6gaxvW0KA4DwLM8bR6BH5og1NlF2tIbM18kKbkuX
BxvdzB60XiGBgOC7MjkGrFQpvpCu6Kwdu77hNfg+DeGpK0b2KAPrrhf3CAxEfgoebxUkVYLpG4qB
YeCDnAgc2NXRJgVQFBu7yAufAviYy7Bw0mXm6CBOwnJZpSd44Jydr1cCHkbJxjuFp844QtQoCCVy
SAdblJaxydtgT/Q2edw56IAICuQVgM1gA2Zo0XPsOQDa6Gg2WvGm8VS31AkjKW3Gx5YVPtSI3Fcy
cfRd3wO5S8mGEZlyNmVN8GjM4n9TOCVRqFVzUasWR72m4dulh4cILKOdi6lAc3ftHJ4UyE1eoTqk
mCnXPhvU2gs2KODXrqN9Cwws02rM+qsfv8BGWIDz2tg5XIi66haiABJiDUYAgXI4NSME52biXBXN
RBEhQIP5ldp3kW9waOjvdEyeYBrPeLnEqSjyHStId2U7CYGBXpfsNc/bTvjtedS+F7ORtyVVcBPn
xmMcyyV5Ohed4wH+Muql6agnS2e7LVzzIbb9YGN7qlxllofRlWyvk4CDDDjajB7csAkn+UA0RrVp
QMKsa2GFWDXipQvvdx9RFdHHlwuthKrj1jDNMou9HQZDdTLZ2WUd0n6ShJDNyAz7RHZ5/7PD9u8u
rf/Pgin+9k/NP86/Ui7+H0mmUDQu/74CvyHzLPivmzdatvlv/SrC7U9McKmobeYACgnNv4pwYX1i
MEHj0lDzqMl0aYv9FUshPjEpQeaFPIq23Q9Ryi+jqvkJHLQtEbpROzP+Qub2D0pwzK+vSnCa2kxk
kZqxLJtMKegPvi7B/SALkV+3n0kX9cybyZwS76IYYgqdeFANYYsjrulkX4uIkFJQY3SL7ifKDR2R
c9gRpwr48kvUBaMHXa0c5bfaZmoP/aXqanbBOso3Bqfc4CwKszhZwf23guVYJD4Zpp2T2BrNbs0u
m+91gtr2S1YRt1wuFJBPyBpQQVh11g10Y2K5J633rXVPiNWAex+1VVmfCY+IxWUVI0WYG1u41CD3
0sw4QOPtWS3biDQaOnbWaUhIgLitYuGUX5rOcbOd4niqL/om6AXq/yQwl/mcRHWVyyoCHVbSiuux
I4p+xuWKMaR34TdetWr0QMmtDfVQe8L7m7HY01fHggcpR2KBTvcWAtZ2ibFWCx6HzqBB1OWJ6M9j
20OOtkgKheMPNBbr7bVVETG5E8wxrRUelQLXUa5n9bouw9be6GPl+ljKRN9gSEF/VS5cFC8paOmi
g/sghIUdlvAlbWvIjqhfETWe+Kyx8Lanud3W02mbw9Y9EbSACWdtC7O8bh2z8k9nLlKwKECJyovQ
0GeNOxrapyHzLEWicO8H14YsoBGVXmrrTzEnF3c94ILyd5SEbrPLUjsMLlzOAfkZ3VYgbSQ19VBC
R3UbyyZcCz9FgUvo83g3CpoqQEA6FZ2AUYmgfnoF4jGmN/Fd7nQMj+qgIhwO4GsHVCoeLeTppcyb
tacCQq+Tsg5T6EyR6jfUy2rahE5j3nTQb6YFUG+rPbPK3i0uE/b/4aLhwFmcCiOg4V5rsLioXnEN
LHLymsO1DwPmthdAtFaB4wE9K31MjosG4be7LIGJQCBySBdBDq0yRdJRWNnQePJqHh86VneTh0aB
U9Ox6Jxcu1FmjJew0UbzSSOFedxWXhdnKLGzTr90KmknVzE4f3K8Js91iW1te1TiNsFEvVg0WdN3
dNzyGaDn59QOAXrqOjMAJP/s8P7s93YG0XxXhkchlKxFnCn2+SrG7bo1/Si99vnG0yc4vjkQ8bwm
cp1w7hjXwEaGMaesSTGoBBvfGFGNTr8V2vcqHUBpoxyfSoDxTdCR/L1wNHxSZGZKXBX9ou21Xtzl
WkNTclsG4NNOfUs2/hwTwF1vYiRKAUDtQJDKrFVWFxbnMTUH5L+w0WKARZykORxKo9Q5GiWtlQwr
LS+M8x76M6p1ou67tZV5dr8v7AmczsLPJlc7bVoJm48TWBLJ3WjqbbGuf3brA/6UFZ7CrErFIRim
MGowN0E0fdaAk8Mic2Nf8qwxbs7Dr5Xow/SKg5XqvnWdV+ZXepMF+aPyQN7vtTSWxQokYcsmLEur
2eqmNqCSN81+TrDz4Ow0lUdDunCBLNu6fmJjlEpWNBJ7fZXT0av3PqhYio7RmsmCkdFcs0P7yEvy
QMtXYJJ6myrBrcfzzKXIX/VxSK8jrMdhjhHu/HWQaCl1uzSv7dayk51jQQ+9J6QqEg8CbKdxEeBU
tg/QeECtN7moG3w6pYfJh6lDwX/qNbQQjV475s7XaH2T7tnVOripbpCfs3qo+BGUmjOIdFsrvnpy
iJrHimpSktZMX2YTF0MDst6slHGpt4MFHwRlmFp0UVmxBnk64SVFb7ubsvEBtrpJ5bzQ2dFgu5m5
N935Pl8TDNSZy9R6okt3gpH0gFOI/L+tQm9rPMOVrt1zTkrecA7hrv7q5brM9k5kjCDb6jKbYYIZ
0UMkIKh0yRM+6CQkjS7ZI9h6nf2UgXVc19BRxVd/HBoctxm3uIH8X9RgvOuZUKKzTmz0gId8SZ8Z
zGw1tVgB6ilz4RiOPhzZ0urhHfpJY6FDID4uWjqKtR4yuDv1p0Xs63SDYSBhmuG8X1+UEZykhTIr
DNOdbKS80EBHaYdhkqSqM+MZsfhoI0xtU1dYYv2+YhzhdS0GhkYkVok2ryF2T7W6sQ5JWWBUmE5d
tbBU9aB6q3soPNMgsET0NGl1yMTYhHrwsmsgt16+SWXMz2jGWVnuMFMR4O6Tdwx+Hjh3jfVriJ8T
z26Mi0KRdbyM0sFqVq2hDdGeTI82nunOur3m8qJ7kpJnwdDKp6br6/ZZsQJYq0ll5sATXHgEUXpx
FN7G3G28jTSdEzFTJKveVmNpWZseWuc1msowPgM7md7Hgz273UkGNvYj1YpamV6AndsJ86BcEhoa
ZDw50C/2ehfl9blMY7PYaMoK6IAxb2+2EGvTEjMNWUlwMiPgcVrIsk9YbqmF2y4fs+as0sgDPxDw
GXtfq0FT+qNleMrfDyqXDZ2IAaHOkJSYOSK7bcQGmNRUrGWVtf2FDeeoXFd1P0ExnRSdllyVebKR
MZOZ89ZlMnIREjIJC3EKgjmWE9PObuYDIKXW9BL0OEm8OsAmJx1O+hwuz7bxgSfvABAFihaGgZda
d1TTrPu6rol35VhtIbdF3ctBllHXS+k3rlplE1l966CaQCxJxWu5M5BwPxMfSr6DPXVZsm6HOFA4
xjPAyWPADkMgDQEDH+hSjskWJhAUXBRIsZBruYzmj2o+rSHE0cnUk+vxvhX3UeIkJWv0yOpzFXp2
ntzYGhbxfQcshDtRU01xZf6otLRSTJyBUvxpHHT8CsDfz+ib/ztHjf+gXv8PicTfnzTQ6f3X7WMf
Jr83+3/8nV/njJl6Qw4GFT3aaiQXtO1/NftNzhlgCtCxcpYQ6Nz/dc745ZlBg0Z9h9J0lvj+Omfg
tFGoHCzHcUx9lgH/o1b/UfAcfWKGCfMgAk0r8waOPa+PGRFvmzXpI72RjrX8qbLtlP4VMjvrS53I
mdo25cEX0y3H0YcVzz8IQY7BMiHkbR6KVaWrKlJLzxzICwbBNzrXP85t/+7H7j6Mw+LlOXz8D0hV
ZNry98/Tf08v1dNjGL02YfFXfj5Otv4JsZUyeSzmM6uJZerX42RZnzi06pw9OTs6jJb4nV/HVsv4
5PKsYAbkjPrjN/46tDqfOPxCGGPGw0nYZEX6B4fWH+rL3/QkAiELgCWeJBtJ/3ymfv0wjW01KFF3
KfE0RbdivLoxzfHSKoER0DJ1NlC/BkasEimG7kF1q/uDaUcgzcpiP/aEj2uYWVYwOgCUoRcAgVie
TM0ppUyHz7a4LkuK0gxPbINTc5WMTsuMYVl1QH/1uEQumOAx7aV9InwIx799C38Yiv1Qk72+OQ72
CFkMhYp31oe+vrkpYyIGETwklVF9oTCh8Q2yBJM/hN5HXEs3rhN99nLkOqJS3xwmGSZVqjSRekzu
y/s/jMl3SUk9osHYP//P/4E1ixkhTwCOJvwM1PJH0jdS+ZrCjeOMhnf0kKv6S+2AnlbFad3a7RLC
Lj2sLUdjRXXeBycBGdF51J3JTH73Y+iHgfKeiJXBIYDBxnUmwB0CX0kfIagPQQkUDZW6JMIrdJ6N
wLlnbYvWrTQXHIZp4cVrwubaFedxEpPt5kqbB4RRqG0BRn2gUpo/1ld3KnQeZ+6VtDBGn+JoFJl2
dPhpT+tro7O9g6DTsLX0z3IEg5mGDYCs2DNJQvrg237z+c5XpfHARoyfw9CPlFHRmEQWgdr6ujac
q2iWQEUy3aBC+UjQPK+vR7c3m/roG2FxQUF59FQxohKhbRNpjQZrp9E5WPczfr8zIFv4RnSYnMFb
v//w/OGStmD6POs1XeMNA02m0GiNNjfW5RTVjEMrfZk26spNQ3g7rt1vh4hM5/ev+Ubqhi8TW6hj
WxzpsE4eyw6NwiQYvq+H9ez2Okm8k1zIu27MDn2RHCZzuMjlRGIe8WU5QMfV+1f/wzMkTYm7S5ps
mro4WpdUQmHOyX5Y6ylpPsUw7EbY+VFGxkAUmXe51K5Ar2/++UUtll3c7ijrhDx6cDVv8JA1R+Oa
UIMLX9zaNjeLpTzrrC9ALSOCokCnvX/NNxUkH/PsrKJxyVAfC8zR4+R6IwM36ClraZVftdA/r3xx
nodevPKkS5pL2n+z2uDUMRKGFItOajsoE+EHss8/vDwInymtQYeRLWkfSUw5YXqKZgjfdTjssgin
v5PwfOXhy/t3e9wi5WZnhbWD0Bn9McvD6xWZcUekT2PJeISEmCIZ17EKDla3m5/moiPiBhxzKR7f
v6j9RjVpz14KVmCO2jzMPFivL+u3kRoDq2QkaTEgIWb0yte09BAbF430QFDYdr7oDNgpATjQIXvm
iYSrZHG8RH76pKVXfOLDCuGguR2yaAfl6S6taP70INyJ1H4mv/tOpMFZFsdwt/R6Bw34lD6uWuS+
mSyYmN7Jx641L2uSlBbj4D7TnCSfCjsmzrkhvu2D7FtlxF8Aqt3nxvTQp/7XIYovHHvVqvjWL5Fk
qhTBq1mIZdMNKBIJkUhQNahqrBZJYjyqXJ1ZKtgQGvU5qofveci5uGI4ynlo5cTfAvbdwXeWrhM+
CC25cOPwqhy886Kvdj3yJiPdASLeG71+TSP99n/xdR47kiNps30iAtRiGwytUssNkaLSqYVTuJNP
f0/0bu7iXwwGjW5UZUSS7p8ws5OY83Ho7H2jmd6IfANrhsii5Wou4R05e+yg7f5JOqSuJube7Wb2
zecxFAeLEEZCy6+uZIgZBvLSutWpZJFJyeln9rOSgHRskna2fiXFhp7+2w1H7+hq43kGF7jyhvxe
I0D8TZUUW3Sq8sR3CHnDOjFltE5pAkdz5ug6lMnkxV37kqluPEODetA4XE+ZE8YkeJPjXdTzzg3Z
ETVizM6dydiscbw/5dA7A0upmN+oXpATRXkQ94k4NOlUPrXua0Kq+QrggDoPvnPKI0SG/DL/Cs1M
D3hTHEQAYawl2dDIpXDTCbPSDpEwSWVpJiOoYCRgJvjF8eQqSLgOdCXmuktCSlMOI4rg4ZdCHdDL
oHo0wTco03hyB4gHDVFbbADqOM9bZwtlIzl6rfEeiHHnDVF5NOGiENHl7JJGtSfmX4Jgb7teZV6/
KoRMyP+D15w2p6XwHwMzm8/G0Cx7G7RiRiWGqnsa7xdN6JEREKHENGpDuMlpKJfsjc36O6CRGztl
Y2qd7ca03yxAYA99bsInKR5Js31y7BdNRPuTcZu0p7+CDLoYC3KyMWz94S7uDDnOMXdmVGesukvz
BKtz7fXXidn5usbwCXXS/+sYBc+mIDBY6/ynjRbWbR38tRR6T2ZtQTQme4BAVyPIX0eDgMGF9R0e
Yqdbk3NDTrGdYVVqXxhFgbKKXgt5i5FnX1xm0GZEQSHEu1pmQx33CCPJMAuGPejeFQEn6miH5Gsk
DpKn3LS+ogGNodmUy47j/Q4FMmL+h3BwRSwkUQGp7+26tofQQKWzbZt0WIU9WbtNSVTIaKbYYSKp
1stc7ShxoFw6N9rBfMWYTVbgTeuQ2VbsjJn+wFzymDBoWXegFhhTo9Q0I0LuuxrSgG261GuALBiq
tPuMgPtjG+b+dp6zhyK0/FOdFPdzO7m7yVRu7CgQwcSlw9jxCLPDXXqRGTHrYQReVwjro23AbfQH
e8rezb7yYtkASTZc+cEYCC+L+wA0zIxND0zpcFGDzI7TNP1LvQ4XZn8j9Shvw0hjJCwmnTZLHpGC
z/ux9lLGVgVTDJ9CE2reV907dxUwEX5iJJyIJjHrfFzD0ia4eDIuixhmMOSQTEpQfaowf1IjPRFP
RqZRVD/2bARi0x6uY14CF4nIYyrGMO4S/Wcnc7WZeu+x9GW6s2Hqsi6KTTLTYdHUfcwsHc2NgHdj
6nU1tB7IKrbe3mR8Bm15j6AgAb2rG/7S6sL5RXKWv/Fm911X5YVMc+L/31Em6VWeYIJD5EzLMr8z
UTdJmxnCY99H8/Oc3Q29y5tsWOR7TyNKG5sk9EGjaG7Jgc6s7rvW+d/Ut/m9TGf0bv1n+olO8EGI
K8/dxBS9fR5ybzNrOqzoZFdMwobQRq3kyx3jLxHXTJ/fUzdnhTZXyUVwaj0Ceq63gjNf1GUfs4Ih
28ggKFG2wyc/ELCPrA7Wnva7GAv7CGh00CvkrB1RcmmwEbQJcRn6zd2ceh4R3oveMqeMu4UtOzsb
e58lzJyLtFyN82I8RrZh7HNSYsUIEWIaMnGyZxo0VPVT16db8vx5ZQCxBG7WrsO3uksnhOSW2KBy
Lve5VjOqaPI1Cyd8tcWwBV3+llhhFxscd+hyzSUOpJw2hR38Y4F1Iln+Ze4rAJUObKlMEuHn1/Wn
5dQ8AasUJcsqKVXOkD9AoWYiRiDlwjnZNko7wL4uMRer4WfM+ou2f9GtQy0AX2K3kFWcdtmmw3Qd
RXUvsgGdX7U8Dnn7hvxuZxnpU1Eav4jyY6atSM3VU1fM9WaRYJJ7NNfukAfbMJ2e57RK9wQowO4k
jqrJ/RMuwK9uBi8XFc0bZLeI7GtCe7wqMA/I9VnV5O496UfICJ+yIdXg6pjHZA49ch+AEoSnU6K4
mppY3pB7+XSXshbD5N5/umzKrKF/wfra8pise9dPn1TuP0w1E2IJkI6gvN823BkYDefOMB+rxP4I
IJr5TZDf4bIpH7yEW7YjPNwvod/hE/HQxoW3F/pG6iv+smDau05/osv4Lspls5xvCSzxmOXf7BzV
0RHRAQRbrMKpWzNM4pEx53+pYqQ7ooeIew+FPwPmZ1Rm3v7/rtL+s9f9T1/FzocC2MKcTrvBSPV/
izRyajJOjnTg8hmbHT6DB6ZZ03aZItRlCSKjYpyqo5TUF9oQ+mi01EEdWu55LOezms2vpqYLKnnm
Vh53b47WbT+Q3XoIyIemTKnPoQEvwO7fl7Hun8Yq/a7MG3SsfRxIGOjSsrzm8/zP121xHOvkLILg
axkrZ1vS56PsNPQ6GbpDFkjj2r3/3x8fO/7tA/5/X4Bnh+iFQ5tUOgxf//sFjMig3AKq+Eab/6wM
AwYZaTd+a/DVVPm34eT6sODoYGMBUWNCbQnCkyGhWC1YCXaqABImaMrjFgnBKu+nD5EUYCDL/CyI
Y0WsFO6SNvzTwTxCehjuQuXY2wZcDkwRre6CwjrydVnUF0u97Zs+PWvUAmTT2uba0s10ymp0MbZn
i02no1tJWISrOwvdwNFDkRBPHYkzYUUYpM1q6UkBzVmawdorOzwu7o1OmetuPVTWcuR7gStXt0fI
JCEnXQzijDfaxQCEgZAtXeMc0BcRoH8HuG94aDJnM/Z+9ci86qNdUAcIxqArKfoMSUPK1ggxwkY7
5PxoN3//j+qA7qg4dTJHKHRL2vIpcepasJVBqdBPajkSIEvsdCb+/GD4QJwMvX7iMvIWQz+Z/xrT
RG8/W+CqC3yvuSHJ06/yDeYaahdpnquZZErUwScwcq8dor2N3ZE6iuYft4nNk2t6g7uee+o4Jj/n
UH+5+NW2os7Jx7SjbpdbdrNrWZyu/eGmnqB8PC0Z8A6RYAFgprVrKwp2ivtyJ6HTZsZ11MAOm1R9
NuxFr0ZJtWBGbJoWuowk8+t9FdjJmrCuBSls9AlFIOnHfa3IcNaCbppwUiwhJS+Z65TD1pyRIjtj
+SLznw5FWbrYxUHP+p6t+bjuzPwXzAZiOLwQrFJIztPOXYI8BHpwFjKCSD9H5TLQcct/WKPooZgO
2EXq7CzVd2B72nfilV10lxmp0RW/JtalIE5Ztq9BxOo4zQDsiFLLbZDpk4GzAf/OncUXESNgHDZe
P3vI9KLv2s5cAkh9rvjamGICItkjmh44DT/NuYKqII1Tm52matUcd6Cvrhm1+C2pbbJYMo0sR5d9
MCSoN2rjy6q9+my2AGHrziM4xjT0OXfHz7JnotmmTb8hBevYtd20tXvqqaYW+iW8YdxrYLadUZ5U
Sn3IZJUYVidEIdqSZgfz5pUN/XqKivLil/jOl7IbEP8A7srr6DUZP0dyFcdwHk6NrfBKhekOnwk9
Q6nUyXKo++dQq5WWtXiQbjecWkdd4EuRhlpY5sEfwMVSOQ0Hx0Bu3FUBalvlPvS+HPn9suyMqnrZ
ho77oySaCkcm6lSXCWxXIlNPBlLJ3FKHqYyse+kjMQR0Zu1wzj84bXGKJDtbAvNt1gRhwCyrV3tj
noBvQgJXQXifg0L3WS5eZTDd1Qppo2nIFcbtfpcnUboJKsu/zlX0mzQRCmCknYcOSGffhCSuuqfc
z0YIZfYd52mOaFVWQCFxYj/i6ksvKRf2tu9oGicY8CtNWp2Yi4uXS3XU6g9NZn2PU4vqN+EicrH4
J8NSbFtdfRPd+YseOS6H3ti3AGkgdCxzHOKM22S5E25bTqd1xgW4siu0sZb92k3kZffqn92IgYt/
tuNqRIsetdNOaCCvjUjWfbvtHVG8Fp6q1jwT5mYYOgTzdnRA60Ehlrd7UabPGf+jN3PRMJCAEZCE
bg/BeKmcFuztaFVr45YwuLQfrICDbWRDDZ8nom1pVklXvGl9C8taVx3diwvZyBiiF5Cb/E2I2NMV
vivnLcsXbsVpuoy4W2MRcJqHfnlKfbdB5nUo7cYjIsImxbVRvyaEqx4ZwVp5HaL1il+C357BdN4V
An5UmauvyjJelFUdZzBp5xFGO1Tj0dqXOQHgdWluunmc43zuvQ1uEvCQSX0pkIaFxiUvZfE8hMud
75MfXLxWQlH52/Ul5TFYCeQxu4CCqeXs2EriE9fLpPKNj8oM5nyzM1Fo7G1X7wFGcasrvn17Jssz
aJA4mzCfydWoWMd7zqnCCcV7ZZFEbpj2fvHCg0Q+sS0qbcaDy7NTR5DNUmGG26TGtW/WNTGM8NIg
sELwya5lDsAla5J6S4X5D93+KRuJJF0C/SDmz0QK55LP+X5aJmM/5sU/T7p33ax2vZQWMJniX0gZ
sW6dGfl/wvxloCd2jeq9Zsd9chb5kBTF71BCvOkCuez9srv6k4wOXeg9NCkFGMveaZ26WXNvC1yi
gZF2h8Te163hPY49MCOlf6wk26XKLD788Bm5FJ/AxT5qJU22I35zJjyzdjcoi9dt+aox+VCUMDsp
qvI9Ty0SKc2csYM70J+oH7ZP5kZrmiQ/iw4FNE0UzSGJ0COcLlGSUmnfTLVRTekMyefjFlwrOQZo
JNwj5ld3w0yIvedTJsFteoOxDcsEoZVKdiS83hlFH2zaYaQOzAVBV+4TGsHrYjPdcRXBM4vffKKm
xfgxjeBSswm3rWkN5HMFeuvnI76ZCpx6j1cRJcmWpu+kpzrbRjeo1ShGItsl3eMt9lZ52XAMc9Cq
zbQJEq15fKi6e1BUsWH7QRxU/rJtyXJHkVz6KHxZa0Bbi84aITA/8LZwqWRSEQZx6UaxQsCF95jl
A1D4aqPKceNl/DssB7GzeGemAsXebLaBW7jrcgFdNmA0drvin4400DbLZ1w1/wA6X4XF8K5GX27d
2j21HuRSnRAEbyfOBrLubSAXAWxHfrQLKpp8gdR56XvYjvx15tLXTNITljnQL71+2TCQAobXzvcY
ibJ1SVwILEMOq7Y6LtqgOmMSJReWGRavwkqEJtDQuTTRzc9drHsD3+2UWqsaeTjDnYhoVa4ds0ya
CyqoKA6ydlkz7P4dR0boCxfalYx3uIdsjBP0XeyZTzhljFOZd39J0Te7IipOSsEC81Bp8KdBNnHR
LK55XaIVr7VzFs71v8l0G21ViVoK4fxNbln+K2EiFGW251svMLzQ4MuqRQQvaUz9sGi2JZLqS2NF
DF/SWh0C6wYpF3KL13yC6uyYGxrQxySZwM6GzdYoqgejI87f0iYYK6/Id8jrTdrQcjoqjnPMrYMH
IYArQ95XhT1e5wXLQ1X6/roWakNabrj1dBsQHZ9922bVnRKlW4ifzbVyg3s/S6oHhx3hClG5j9ZJ
TWc/4uVQWFfWvgFsN7nh6dVSpBcXfImeuHtSzBQPpVO+9L1wYqXNCha8lndNFb1Pzh4isPeCH45p
Vz6cYCT5lyVi7Q54lOTcNnuXkbWD1zHuhSBBWwU5hD6VhpuWz06OMnjyIewp5DqxWdxO0+y0+cUc
11WTeldbdyBI+5Rxjr9JJwMgKULQg6Xn+9Jqq3hOfWpjh+stLZyTlS3pFuN7dDfUPknio6m2ll36
yFllBpyMHP2AIbcRNdMR4UK/KqvcuaebNGaPsHKznk/R0ostJnSSOgKheLWl/VR642u3LO+VWPLL
4pHLHNkLfJm2ehtFlJ4B1edru7gu5PReLderDqKrniBxAsrKf5LBYRTc5dkmH8WJkbR9u31QFHXe
tVEK77hePlRboJMtor3Kx7iKmv6exqlZ2TqU5Mf3yXd18Y3myPitiDMjHy+lzfimmMKfAqPyXcHw
a+CPwoTQPmdO85gaxBjX8ma5KABrS9A3cRbVzSMrrnHTMqti0Vff5ZxxcWGV3Q793ryFqPtdtZ3x
3bfRBaV29TeCrMFFZpD7EbkPSRehOLOa92hBLUmU9P1gZfVJG5V+d4AmIIF88+YsOWHfhvzGS1/W
hX8mCb6HkxFoDjv1MibBzcHzpDPqrQwkiak0kT6I0xo+ytaP5G+dIvxUbVvGwO7pVtL1ktgv4yKD
R1HdmCYlJVNKF7FF99u8BHJKGCqyJWzd7NSp2wxqNu2DKD3q6jk5Y+NCjB1ejA6RVWHoL69annUk
DAyYwQ/MpLK02Z225rDLu98yoPlOgJXcDwDHd6lmQosj3kGKWmSnfrpd9aqLUKdNJ5fo92NvdPd6
QLRuTgwMVSS+hRoOIXSwXUaiGMaNxVkVvzmq96NhNy9VWg17E2ANDV3kxx2JjKTt4+ZuVIMpx6+Y
c+WU4ZpugzX29BDNU7CTdCapA0EFqja8aixsAZkIO7/W44UtDaUmerqegMSVlVh3syeg3bhw5xk0
7ytl650cAYO6ju3GYKoToBf9v9SvjlHtGlfqzY0Y0wqnDbsh8BhncMDAba2Ov68vH9m9t7ERSYTL
af9s1W63HjsKulprGBqp9429ttr6YmaqlQ0tXbz5ZLvo72VAELyt4b0XkKVxWW5mkY40scUXJvlP
rjW03warTtR0+2yen3ijr9gYYOilUc8vtLPXjcE8kyY8n5qNvA3PHaapq6Jy0q3RuAbuc1Zp4Vw9
uCPzjiUMq3W0HAbP9I+R7qdY4M5bcVLGxEciBk5wlnl19YxE2I4L4ggoYsM/kyd9rCLjtVV/hsPz
NwUPfkA1IWrMkTlXRT3nFUie+aATY1otwzytwiqD1COfWo+b3JCMFiKvlnFa/452OawXH/9WV/V3
YdqSHJUbMWtY6kDvR7D15qkj7V4lRsfMof+NGp8+LDT1bc1Gs7QwdiWsTcYQEQWx8RrMTmn/gOA1
/ZKA+kYlmKM0NtXOPZtjj72wfZ39DnpFN8e2dfbyuA/TYE3YwbDyIjCTncY6ICx7pwZNsgSxnYZc
aqJL+ZiD6bp7e1ictU8XtrFcJtiWjkgkN5It1+IDpbB/oU4B4dNKQsyj7pkujRjecJTruue6t9KW
/UHOkDqq/kqE1UiOu/mMtuCXltyn8aiuDup/W7E3gHgbzIyu+CkYdVbNga76K/AutZBfpPviR63x
iiKTOYc3/b/IPQYmdckZYhI6jsZLlqSPzgZUmHHy+SuR6zMh/Gn19BxM9bmyhjdWal/NXIEVSAbA
kShwVi4GsH5Ofwid2KOkdVdAb3+RgmcQv4kfX5wYugMdleTwztx+HQbtp61AoE9NRZpHSkchA5vB
qLpQl3zabfRLJtq0CpL+q8iLD7Ie+WEd3fMerE3D+0+pBiPWxHW1OO2zb0pcHAYfHObyfd6wCST3
A7/GWdjBT+XhQpl01gDWKAkDzXejx3jUqq0/YSdPqTldApfwP/o5rnR05a7j3hW+82Ty6Zeofhu8
SqzlODmrDOupEdaPoZltc2GrFQ6bV5IZ1sbAJWtCmmVfdVujRek/e9y75QDz8mYlrlMT2btKHrSh
ujgPMQxWDP9psT7bpbv3SYsnDaj+8xsC+9MuXJeTotKObGLWjVOUFBOpZVydZhH8donLsm4cii2H
6E4siPRNORM1Br7d5z6gJyUUGE9MHCrkxylW/Ew8Y4gHehrYZN5PYmXmprd1RVUxQKqPdmV/GNJC
VEvy+4jAeN1COSf0imJWRtxB7dStBE4/tpbiLwjk2vUDUmtHxgxhyx0T7sIRAxFnF3t1a19otkQ1
FIEIT2nrBC85NvQps/8yTfZPlL8XfcIZqiJoIcJ9nsuljBfByYasnlZJ3c+U+1sxevjhLUwQRu/g
OIUlHbZ6hx/2h+UyQTM8485iRGiYls0gBjgIrOFWiyLTiGj/kMKMJDmeO1VYYMedapeM7o3AhLWa
rUc5813QFDHeLvpyE7qamUQfbDmL/MgQDOIMhdHXHJjADHpbLMHb2Iv3Wj75pBDckK7nNDDsc0J0
EnqIrXLMaTUZ0Y/n59CoEteKl6DA0llYDyKE9Ez0nbkfGaTk6MOfaijRDbZ9S4f2Ux667aklzWed
L3eM6GGBYIxhsPSHdeJUFwKqkhBr26mMlVFWpzZQy2Pe6IfJMv4NoyRSb3QcvFNe/xq0XNw3F7gj
8cBXgfxejFqt2xke92R9oQGCEUJpdg3u5yrGVjDRx5nwvCYoLl4wB1eih9kBs5UuumVP7Di1rLSu
0ISYJ3TBK38iYT3H0Qzf56h80TfOu1WNv2brx87cvNUY92G2I8LI63NRzMkqaujdaocPMbw1fcUm
xwfrkOMi8j8S7M3UgMy5mGpFa6IBn0tIN/MMU2C2yeUkSCuO/Hbf2C1rx9BZ5Y35YHbpS6BrqFXD
faihfmuScvLmyYqsV4/GlosuvL9lNmHC9dtVbjWfBTlSbMRfBo4HUohPvat2wsMPOtfXpCpeI/ex
xrdp3Kb4lDNcnsWeYELg1PMn3odVWopn2dpn9OQ/A2NkVpHj1ZfZY9q7pygaO/5rdRJudgmnlCoY
483IjUbWzcoduke8TMxLCSKeFvfRNimV0DwkuvTjIvCrXZ/2VP3wIMSdqt7dJX0Yce3KJUhgIWP6
L89BqXbAdI71VO5YUxrKpVsjNIwdVm2sOu8obeRVBBvES7TY7MkI5fOrh7FPHptQPAhON6Zr/dms
mB8uSjnrwr4NjwDBeSlYJaDuIM5sn/xOJ7+t0a2jNQ0dqgR25YaIw5FuFiyyirWyXgJGQWM0fM8e
tUBhNnE5L1ena2rUwkgZEl/BhFqlmma5CljOkl/A79TdCcOiYa2nj3zwD93N5R8GRQ2fZKG8EHeO
vbBmyfCGYJJHwRps/JmMxiyojsoyz0kiuFKWV8xvkNGwE0di2PvisTTDtRGh+6/Gne3wRpKe/5WN
uOu9zL03lgpf5PhBtMmJjCuoUPO1XfR3086cx9NTvTCwNfMXGUlyECzAyY4+V4itYkxaT7d/wGtC
xEI575wMwpId+OvUGVRs+hkGguDYev1bbXoXr32R/shmvDffpUiexjQ/ziO2o6ZhmN45cpPDcVwt
sFuknq4hvcuqdmfCYBdn095MH9JlAQiqtGCTxCWUC0gqyTtBQD+OPYEFYlOXIX5hHxp8NGlmkxpe
APAymu8gT49OnRVUYUwCo4Y/bGAP7g8J6lCPQxZkm5/SuIP/7LnZ8zjvUcXRvzw0erY2xlBUt2b3
mefMiNXSZlcH6A2Si51ldt39xDW6pms21l3IGpf1lfGGXYXYE9lm+4nt57YR9ZXcgPm5v9nPXSAg
XiPFmyzusr4CK1Lbl6Ytd7M/GcfA149hlE9og+QbUSLFLmMGsLPD5i0JNlyQBC5G5rmkYnqZPafc
Qcfa4LXqd4WYxX3ik5Ll8HUbDo4c5mqyewwd/q0/mPeVUwvcnmJjlhTC6GmYFQQjIlZyrgw/f0IA
uqDmsB/KgvlFZkWYfXCmogWAHMO0YT/Jc+V5HAX+CXre87x4H6hT9vmor8ZIVHtoTGTdqvWcPjnk
1TXBe6r4JppD4vdjrCP5iaCYUscvRgb5a75RwDCZBTA0JUIETqTTGMTrkNbRMPhD5yvWeY7LNvWC
wzzIx5wQiF0j+lc3wHVL4kezGmzJiDCagPCV+WmocghqUTOumvFBgbp7JGznp2+Tepe3t667x1In
5/oyIeKSE7ncanpu35JUJ2uNYAvdhZFuMDBS7A14glLySfeFdxs4g5+uLR+pcKi2smRSFoTq4kTt
mlW0Ok4i4TZwe16NiuQf2DedH+O48qjiWk1xRwCDJCoscmi1qqUHCRXse4fvrMcLxeT24rs518Vo
JytDVFsGDJxitbHvKtjypfmCkpp+yk/+qUw+4cD/9OzgrpxdoJYCDiJqH/qJyxgaH3Kkah4T+dre
fp0JJ98htzn5xU5bZLW5qXS3FvGlB6Nmw2DNOAPDV8caSXywEvoyzjpY4pbTPgDkfmRaTaQNE3Dy
iVbSMX6JlNwqgoy2o/0uDI602w9hOtLYjMR8kW/JUALYJ0ZkYkZSe014pB+Ts10DYahfhFEeZaSj
Yz6R4De10UmNyQuNysgRSi2QQbp0kRp0IfKNIuzd2C6dd/b4+cpQI7JjTTHbmfqkrPDAY4zcPGU8
naZ8/cs8TJtwUhHT0yS7Wq1cqRJcFvUOcBAk3zq9CxobERJD/tUQXa2U2aLiBjXHSzFghtM4926K
jfUQQgn0Fp9KE7Rl50bpSvEwucv04mjLPUxi/M3Z85tk0/ToXgLjlRD4Y+Kmf7B4OS+EPs2kiPpl
wrGatleCMQCxLPkno+tu01WKlesC9kAEPyS5dXeenzlEgiT3qW+HccbQeBuOzjFHr4AcIjnnHWO/
aYzuaNpBueNI3PVLvk97bR5z6dCpdnvVun/SRzxk9ECART066yqTXCS++ZPlxAVV6q+uECqlPu0x
6wEqQCIyDC/7Z4fuofXR6w/o9R3azk0UUBuC/Us2ijpiO/bOfaTUfVDazByqYBV43b0ccHKS13Sc
nHY8o6VTLPMAg0YRtPowaEAg1vvCxJ+MSg8gsrofp+E3IjiKKKluW0pVb1LLsD9dpI5lE2pGhQ7u
doNAOZduYWoLdxdo448Eu9/R+0x7G9CtM7y6qf7HNbRtcpqQvv3ndVG0mdh+pnreB12Ir39Cgkfa
24AIY1ibtcVoq6UrkNr9RXv4qMLygyBf6smF5Yjdi4tBWTBGxc5x2zc23zwZvf1kOo1YtS1pXh1B
sWtNwBzp18GzUTBCDXpUTh7ozkbYjyhLnrPUuK0b8aDV9Ylfa7EOkpB+q1AG3z3qyZLQ4zzrXM4h
gF0hOdYTOTvG56hJIzdKlp64whmMFfQL8/sw6lfX2+PkHE8uNXlVjhgmB7Ihs4Ify639O1PS09e3
33Y0tPAz+a+yhFE4nUir5yIWjHTPXvfiSv3eKveO6U3RGV/SJYtPaObzzSmvZb8nVeDdgf2VBrTR
lkSN/ol4HMBm4/Lyapsqor0Urnp3M0k2njGhWbFQgOGtZp7AtbYWIf2bSebIStj9/eJWV9kwaUp4
tddzcXRkWz9WunAPgWbbTlyAQ2LDWG+7zjcZRRmgQtU5rewjoX565cH53dpLzjfF1mbxiQ5FXJf4
0zc2hE87ae9dh+Ipqp+CKawOTB782+Z4Vy0R44a/KCw3PZpVbLO8Daj2Vk0Jwq7T/5aOBl10TFXr
5islLSwuuuqqO9RzDZpWolFSuUkquQ7GFAmm/eAASdvbjow7b9gHpof/mrBK0VnD1rnnEGK9BlwG
6UpABdJPJzuCXJZ7+m3SzWMxEOoyEbIyInDwPbUnWjXYjYuNiFerWNDKDxmaQE86rCwGq1nPRFqQ
hvRIPM0qZIH2TPhGGc9VL3dhFTwMsALe7HzaBimoi8m/Db1YcJ2D/IbhlT3kh76nvCxg82lIcxhg
/VPU+o9WqB+ndPnRpcsuX02n1Gi/dOfuI3+61EYKUnKczLvMuPgzPZ0xm2/Ulw+U4bwVofGAxJNp
nOTyynqmsV0NGi/wiqvkKFv5XXcVZd2j9U6OFI3PhA6DwU5ov5pgNndpQKXRRNwDWEYRBrpOtyKC
/1AkbXBtd3RT9sNcvCCawLIUbSxzQqdJYpiXiNvV8dFFB3M0xrhkdMJ6DFGOhOyaeOYvVgW+YFKU
7ic3ZKKwqJf/JjzkHmxKj1/U2KTLgb39vkeZD3gT0j2B02sePzJ52x5BHtsPEHj1PuJojHPONgpJ
u70OPs9GWA7NhllQtbkpCoak7y4OEMexrKytCKx6o30323SMqDY0gZjPu4FgpCL8jkIGxwEdwl1i
9sGdmNldybTQR1tb23lgCZCn0qO/AB+fyuxsdX61vpWdt5CDHQbIx4gx2TqHq7vyZ8R6guERXeCI
DpiQ4QzrjWPGgpS82I2K+yCZOBgVNwHLPDedY/7f+VpYikA+bdfAw2/UaPEUeJLlURmjwLwd7kay
t1mecLRh0rLTV5d9wYpZ77yK2UdEq543YlUb9bRn7kCs7FSeZa2cLfP4b2oyZzUxxkyWWxpgiv4N
D1hgB39G5EkKAXNdpK23toPHDEEb6NlI8g/IZ9nabGC68nyb9UbaKMDYZl3aiX23RLmbDlwuQ55u
HMP9muQ8bvwK13lJMovg/Gn4pA6D5qa7Lakzm61M7wMfD54tEyVDQTq+XVjGBdE1HVFzNrilPW6F
3izu+sx7NPzbwK30CvrYzZKU084F7LGJrAd9u/HoOb0VcnNsxtJ8BcSHyj+7yokNYDuCWJ0yn8v9
/1F3HruWY2l2fhWhx0WB3gxag8Pjvbl+QlwX3PTebD69PkZDqFY3WoAATVRAZaIKmRFxzyH3/s1a
3yoQSQBpnSO2c0hsI4MmFPtIQljWMBibGUeIhWXyVphIHsekqdbUVt8hITAbSLyvqSI+xpRg8GjU
t4kBANy2xeeQw8FPGmNpdKDq1Xx4JrX6wUVY+OZIJqJslHWsJcxdxPhsz/rcaE7n1Att12htx/Aj
v/aE0m65LU3q+csURPHGIo0VTEbSYnx3A3gFcHzN4aUwE7RTXnT12qbejhjjaI92cK1bP0wusczN
jTDMfTIRhNDkwQm1siDXagCM3ta7qN4Hc2RliGjdSvp9ESoTFbGdr2zdUWbA8Crz7N9Ms5RNg+r5
xhxAnmJi6Y3oMCkIZycSl6/AiOB6FCAAA72+DE5RMXWOchY56sdosEngSWIUeImYzNlQMtqGqwo6
7VQbDy+mXsg3hmJRzzRbGAMfD11Y20oH2ZBOz5apvA92dyfY+sAs/WR15F7nlvbUuvlGZslmRCNM
grvJv4MIDHYyJVUH4YqE1Gmg+wBhXUXO2gQE2IHbmoH3zz844V8rPZ3nOXc3ax5lEt8Lzbwm7sQ9
u6xkvrWm/AVvBsv23PmVevcso+5mj/0yzGW20JSJ11WswsrofWcInhu1XRYWL0YqSHN3ivwL0jga
HaQcrEFtKqOkGzjDC3jWsfxG54KaQFzLaUWi8z5P3UOXmi+d6dzTYryUcXRKHH1DDnHRB4e0goM7
/+F7I/noeX5D48OzCHDV4idY5X9YzRzbvHnt3eKDaJt7LYZLrdsLm3Iy9oYDbNOLETnQMtTuTnLc
F0zuXz1P3rWapO6MqYUJa6B9CXO3XGQclzD1moXuydeAPYpvhlxLzP92WmTcBsjYy1Dri+W4Rq7m
sJh0kb0708aFNELUqZIQ19S+VF3/Vhni5o3hps87NhRk76I+2LlTe2aLvp064L/JqUrqWWj3HPHR
9f2ZncAximPCM8M9aRpv4dltg8+gXhixePdq71xa6VpvrVVgaTcYUi/uLHBh1jRkz9RDSyUm0l3L
ylNcDw9iyrvw2ey6q+inhxe8gDI6BIV9y/rufZTBXj3XUXRMo+c8SveZoewxii+BB27zSdm2gfKw
zfBlKMxN45nXysO91OxYpe2rClpRoEAb9P7GUJ/BlHZLtxuFH7FCmQbtK7Cm1zY239oeU4i+dgJl
64TaJbOCigZMP7O2nh/WyxR6JxNCRFUxfWHGNKYe9b73h6P65Ay7Zug2bimWJcIzWePxqTvmoyg+
piTadlp7CGPWcl18YuJycEucWsW0Zq27BU9+SOk0pP6Scg0TfkvHYTUp6z7rKUu0E4COjWyHiz00
AOLN3ZAQDMDqLppp7Yzl4WEhrC/LkM45vgTxU9EwOamVe9oVr1rItj9JHlPmMeWbtmrMwmqSD+wK
m2qW6yjyTgriG73Fk1O7L4giO9YuTpyhK0rOJv96bUx7WKc707COZVk/5JtbhzwE7JhpInsd4kW6
ciqcKV36oRMBXA7OeX6d9cS50XQcQRRlnPQYZnXKQy1MtgY9ZGuET6We3kqpXudwuSkZNpFaEJsV
n6gPz2pmnTJHW6ZGtpqs+mHZxqsWo6Yw+B2ydKt2nKOpPDhcjiWbmz6q3hJummVfwPMa6Tgr9Vq7
5u+A96xBtkHw/KuilG+l9apqmbYhMhP2ooQjHKrt3rQpQgLrT1VwlXbKeG0R3gEdwRngqOO30TU/
rrkp7L3oujddbWEVALXO1V/BCG9RAC2n356lLfII4xZjxPCrzFrdmoV9Bp8MvsE2bMPD/EUAl79I
2NuLjDMOHFSKq6s+Ck/DTid2Bsit+SNs++kEL+thYM0tG/2pPZFt/cDJ/mmJibGKyiw92ZaZ9eEW
GCCM5z43b5rTvU2hdq8SlflvssSidnd0dowia15YS5xcBQ6QGDdk3jsnOAtszVrjjzKPh+d/xGZ8
6nEnpoVYBUpyNlznO7fE++BGEIgAQI3eKkJDWNfPFmJfRRXnsXwBa/UIre6ohs5tohD053A96Zo6
dSdLL9WtvktHOdSafHLM4qtANWMGVoX8npls3FifSdA/x1gORHtls7ub9bcl2kRtiNZpGB7Dety2
Wn+AZbHtDN76LDuZYlsrzkccBe/qDMkE+b7A8Qm6TDifzCZXKQNTI1G+WsO7uo17LPPp5LFnr237
6A4K8OIyv2oMBvFuEQSsnZIcXal3DYd4zTiPQtwaf9xWKL6wtLeqMj5lzMMCFOlUp0t2JluDlpPm
e10K40Ri2CFRvTMSuZVpDjuyNlctUFYv66kppvcgSt+N1vieCKXKkstkOOuM+Y8aD4gh6gXKyJWj
Zu/Y9XYeoxS+uHFZTHSBTCNYX90igxe5iKBU5hurdfZ5uNccZdd35gFI0rnEcbBgwIWgMt/ZxpEh
B7P8bsUZcGjNaGcGh3JKL1bM4rT17roenabG2LTM9bL001U1jv14Ox9g4OO308QPGFe3pHDPSOjc
yGQcK/dp2u3CRtvh1TwPRkKIhHaZnyfNCDex2PEnTnLlIbvxVAp5z0nIIiB7I40j2uK1iMxNShx8
zuzKL5Ka2VB95HbxvHNYYC6p5Wn+YbAcbrIu9GsVVlfW70CN3VxwS12h3kFnqYsuEQ+WTCRiBO/Y
SylKPBQYWYHPzDGwVKR/nEm/870dsqIDAdZsoyze1s9NHN1CZIHF0Pr0qTt2yG/U+TetLr5dzpw4
X5rZRwxRer7vtU5eZB1eUgdHKCvJsotfekEdrDo7mjCGWzS8S+TAtc+FGDTZWYg/wZR/YCt6FkNz
BWx9i9W90yJ1nipEVMRQ59Fk7BOraTfQ5dYWBq9V5LB67ZCuN2mHkiDtP/L6pLb1su4t914XyPmi
JvDjwhhwPToD2CWGadwpL3jFgliA/xstaz+hIKx0Qjzw0paMvLkevCADZ+RAGo9y27pNzhefPIP2
SHsLtEqiBaVNIF+lvNiJtzGTbYMOe1MB3ds2NKyeuZKlEV4BbUF0qPLXrMx2ZRTCFXNab1lQsixk
CTqvdPVpl9fj3plM5EJIRqQb1ttu6DiSu70gSGQpmFUm0wRwKVY/iIovroFesDp6FSwBSbRQ73Xc
fBpYHHe48PaDWyKPQmshQ9tZauwrURPG6bYbo1Ua9uWu85oBGQpaD2xB5TKtcBW0g/XSjk2xpwtm
thTXefbCNoBKNpPvYMAtnuwoh/7L/kDO643IFJhMPHvY9qYx+aqZWhuJg2FREOZ7IpXEjiQuAzH7
D2rk4sO0ndlkW20koFSNRsS1KK6XDCjeg6xK2RtN0zOC4Zs5Fj+OR1C81sKzGM1aZ6KA3qXWCuvE
zPIM8Xpa2kG/7W1VHvgGnHDTlaVzaWgYly0xPKi/sAPIiMunY71fMAleq6OXHxtnvKj44Q5xGb3W
Fn9uYYOPmjSGMM14IdgBAlUvIxiZHk9yMYA9MYxL2GfJW0r76mY2pU821MdyTkche8NcRW0cL0a8
+UbWyKNQ1XTd9BoYcWhpotX0DQmMGSPuvH9UGT9xmcEwbti4YwaLlVfdYPNDB1VPY/1VGvZKpVLt
HMaQQ5i9pY2mXDOq1LhOkj2qPeTJLXtdWv99O12bUqRrJVSftUR7jSFwoSgw7R2y6l1r1fI+DfHJ
LKfYb+1pWg+VceTZ3oBxtheDwuINstchLYzNECVH0Zu/rfIHDP87hTCoF8cIZ/Ut2wnsgQ1WS9mJ
fazm3BEO4wbRhncksczZ0y+L/ojpRfpbu1RXKJJbG1j7kDqYtb21qBp2vvU2TxHCaECxNBOpALoX
8uaRt2IVTQ99kELfTHCRMLUJTapHcjFYshd+FfH3GfK8CCe5a5gX/P0fRZ+8O4q3Jtfj0/QQVWhZ
X/udRLZRWa9NweYH88QybtqnKWVQHk7OCUue4TPNvpMJgzbfSz/JTjlH7SED1bTgg3Vn6pqxah0X
HDCcbA3/h+aI2Qyof6RGHG8K0Jp+rsQrj/LBTxJX4KvLLPajiJajDAN3aq8AbcPvR04wa4sUlDjh
qiwICwinM/3HTJozF8nAEjxy2YYyrsvnTxVBnEQ3n6e+BtmhQYrCtwyHWx98HVIM2kz3E9NCvGjE
exZpj4IKUmVBAtIp7FY8TNG5TeF4dk2+MS0uAJ72dW8qld/h91a6nA5krN57fo4Tarx7pdfv3BdX
pYu/yrbaKgxaFjyBLoj7GCpUoByDSuUebqrfplXfxUuWa8G6CfoXPUmPuhrzk3h/8pznPyzsAKSp
8m3BpsCqLXaTX2rsRIUTo4Oygp+CpRgIBR45682x1rIPXkRTfQSqPQAlx66eyAYUvfUYRnMnKz3w
kzb5rotwNy+cCR46aFmzKt2GIZLVYUnn1TTB8k/MynOdYf6AGWpZVCxq4tToIJLHD6V67thNkSdU
aAvDmkWXSs7Ymu6ATfJSjUkrREfeIl+sXg0lcLaE+xzJ3DWWwsIw3hXYCqN14A4PKIrVES6RQxW2
VfhMTUvqp0gpfwQRQbBSKfpns3lp/4xS/dOFwTWZSGDNdTQ/jeBlV9GpwNpdgPHn1PbwkUXNuTa0
exEmJ3Oqf4YUEUV0HbNyZxbFsVWR5RFwigA0jbV918VnvZ9Heoniq8jdltQsPy7LtsREmm/ywDAW
Q3o5gt8eAh4TI3Oepko+sbSHxYqcE5HYme3pMWlZ/cLQwSgxxNtwFiJ5LlDwzBLL0OQPQZVlQItl
Z4uuJjHYf2o6N2GXq9xQH8IuJz8Uzk9pZLts6NdwOKlSze4mQcAv8j9jxoyfqeNHaL5kkm0UIPFn
m9+c2fOuMNn1naesPBtqdhmiwG+V/o8TM7yyzBgDYnasre6rs6eZWvCTle4FY4wlp6fKHl85fy8F
mlJy6V555DCkGNmHMaBLNu2NiJyW3r8Bn84wtef9AR6zSGsmi+UYY4SEeAvlYRNoyc+UmIhVho5h
zqR/kCSgtyhxk4vdF4+68D5zCgi2+mqOQVD/EF7Bs2OGZ571emerwynme8BXxKaexW60cDy2/sx7
AqW9VjjwRlNd2ZP37nb9jxLFO6VIniDagqxo+Zg5z8UkkTbgoRV5vpSWelTm5XqeH0vbuOp28ptI
wRCCRT/8KVGjXMkHjkBPhfzxdzbEBxGo6TMKCwLNwukRivDCUOwFydHdjNu5B4IFnaJRDfOfXhcH
IeIXRSu3ahncyAbj4jSXY7rJjbcq5NvpV6CoV/QDS5BfsD3iw/z/hS3D6ja9smNfyVxd2Kp7QuFO
Tlp+19t660zgupxLbgA6dblIDbykmXburOwJEsuFkutRmYyLgia/5K63NFVvwxrwKRuRkba29s5o
9bVRKSJsVlQaI7yi/myLeu3GylJp2rsRB/cIV/0ML37NvPJAzbVRIvVDWPoKeLDBa4BpSY+adTLg
A7UyTlIZcqJZyprcwDfPk/BRjKrx0Yh4OMZ4Hcll8XJjqzC0LkT+yBF3sFzMlxB4eGgM+4qYSNrh
k6PX1yrnAyapMl+M/QrI2JUlTVap3wGeHFr2ai0bsppCh/VJeGpJJ9DKtbRdqnHnna7j1cjGZ5P3
I5uCXaGOaCHqs57vgLpdHRWBW92GX25hffMj6rXzYWf5RyoBHdTBb1HtScv9afrq2Yk0NA6yfzIG
jmeDoBw9u098s6NBb562jAY8Udxkbq8yh0W5GdrXtkmulYoGKgkcSLyAP0GRXZAYpPM0/WsgJbqL
zReZcGRDI9u12TwkD/TXWNHPQzBaPPEsElhiT8hdb9zDn5hwfuNwV3O5ghx/p3zkdOviP06ZnPpR
3VgMGq25/jJZNWl8DT4s9mHBNN6rv42YjDMM9dniH67Im0onIhDBiiAtwCmeGHeLhUrE6VQrpW8N
Lbdjre4YqRM3YMsfvXIPLeVxH+R/Jt2m/QNPpG8JxUaZ7XUZe3IGlpwN63CDlo4BUacfyQdEQZsU
Z6cb9uFYMsXv16YVovXNI9Sx+RuLlCctA2IDe2DNcDHCl8AdEcb2G+WIXDqD/Yqk+qMchy0UhFsX
sJob+QV7yjktueMmKFZ52GRzBBuz0YhPV0ymhfPmXY/cbRKIP0kB0JtGSLif+ciMr2frtRQMZnmk
TrRbx3bU9gr4OOp0EPEdc+Q0Ofc9MsccFSKXymxEKW8AsD8wk3PSUCK6LrWVQSkZ0wxlabrHvO6u
Qlt/S7oYZXQ0IX2Zyl3eTs9AD869RMk1NPirrHgKfM+jcBA9rjVjfLPK5MHTXDba0zQhkHVE81sl
wRcA81vXm1drjImBbYuSMKfw1rk2UmRmWKIevjKBa5Y9oL0IP5Se59xLs3No2eg5ExSzigedkm/V
9QPRMDYdg1cV67SPKFzOzyVjsTCCPsN5LUkk9GVaIPLEbtRDmAXKMOBgCK5VOX3XA8EeLiqyBl+T
P+rTZ9ESBRob1toCt79w4mkJ3/9FK+ZNh/lwcndXdeLa6RPXNGW71Gki4DhwniU6zCJMhM6WnAtU
QtH0k1bxuartjW3Ib+qLu5mZ9MYqJXCshazOUKqytHN9lQ3SopHmm1VsOVnqZdaLjynx7hx9jQ8s
vKHJWwTq9DOGzRYI1Vse3zoBlJ1hD/I8y8bMJLSNa2+jTn3H+tctWYS/803+5XG6TAbbZ2ZrfhL2
mzocmJaY2naSCE0Hne8evncaXLty+Kq11lmXHdNB2TNbGuUxVXHoIIhFlmc+k9KKrKIyl/xucVY6
O13WKLS94srZi2reAPHd2vhXGiP5pPnqd/PzjD+WGk21L42LrIKVi5+4JopSMXGb60vLScqNyf2V
dEm16gIoPDyde5VqU7OdEAhB+qnHdQEfpXrObkDFw3UBclq3giP5vmtAV7+BQLAUq1RzQal+pA4C
IEOrXvR2luR0Z8eGvS8rzAbNk5mkB379YytBBnnVIyqbFyLZXgcyFYGy0ExZCkM7neQtge2YFhUF
DnlO6LCe7Th2UDCG1pLoviVX7ba2CtaQpTS2qWX9NDXHk0dWDCKyROcv56AsCX5COM6q6TZliMCg
KBd+jO1CjZP9yKW3qGvzHdEmNLYpvA51R1Hr+ArEZF+NS40jxUj9obgHivFppADoJ6vwHSrhdQ00
eiHt/KWKyyUyZoJZStI4Ne2LkNMnpAwMGjp4G/ilMmIOlBE0DHHtTMbYiYo8RMgw1k+X0PXedANP
sG25eEAsfVuG/Y3j1rddPVhZisTpyYrcN0bzKWZUAc87eFPFmPpeZ/0mtbFtMcAsylTz68DelPNy
UYtbuERK9Nal5yYraY1KsFV9hq5zyAWImz4CIobdbdHjlvHNCuiRPcp5MbpoJn2thdraSSKTWqgE
ilK9mIweYBsbZ2zTJU+h8znABkDWoeSSbC8vvatD8CmN97RrLja12EHv+NcHlzVMps1r63GHSOBG
VbCs1PYSqpzyWlECZ0c3WmIfsJU9JrjfMeHKjevyYywDLI48hhjjaVu5D1w1LFcWc8+F9jbOfk+p
wN5nbwGYyWtZl4M2Ik/nuTB4bjNIVgvwIjsHs64x4agr9eDJ4QwylXjXBvzCwvYowqbugGv4J9PZ
O2VR9IS551S/2S5segOSFm2WcgGBAX6H6abusi7j6nvimyWuOcubZep+D6PnLdUy+USL9xGD8Fj0
IvkI5N/HgnXsjEuzrI7suMz6qZq7NqDwLmoc3NDVV2YbxhdLz27MPMfDobZ4qSdVpitiLknnIUES
38ygbVQLpQq0O4xk8XVUzCMTAGWfD5gtELUWh8KNHmmvMlBD7x5WySZrGnoSPDYmk8+n2vlSlLUo
qf1FOnctdNheYu5lIvSdpyjDCiQQS3cMo3GGA2A09d/KrQYqXUQYMVGZuRnvIrv6jZ38mZ+GT0RN
lyXuL0Eb7KXlWRjxzuP0apgIknllbOLRwIZo/2TFXOlCnt82SbNGf/GpVeVz2RTIJaq7I+hmk777
NRokO/gI8MMV8skV+gprFdCKosAZxna8SVDw41TEFujk29GwEbqjpXXRwq+VGBtVmJnDKR0fvdwU
tXKklYahWRR/9EbFy4jHJCdZjyeQZNclq5FPjsy9Ucj3rlZee63XWILaWHZ1KKy4ZBauhqQ5TZAz
hojZAlc5jx5b31aTe6WtmUmjn9HEvZuwK2U9Y44uZeqAODFCusGMw43RuLH994h9jb7Qcu2lXr6P
HMrTgOHRzHLT55piscBb3TPJ9m2HOY0rGlQU1nstRyohJTtpBXzM1kA80ecT+iBL4aYqMbVG6i4P
vGsUMpyo2VDkpCPJ8TQ0BB+j/RqWkaocOe1OYdcpi7ZuLX80yyNm2HfDxDuS9NlLgN5lofXhTkgh
1l0IWdBRxpca0dtVSArTrkwgyk4okNSLYwzdXi/L4MSWXJcHc0RJCE4N32T7TjdJoah0xdqoJKd9
ux1GhssO4bSrduouqtb3+MDogsKjPqmveOOuoqEcMvXu2HqWxDlqneweP0uHdJ2K7hhhDrOz4ato
9rWCPpYpSLtJaVPn2CdjZg8wIZrUoz5+pXNutYHtJLiLFl2EtLx3OJXNSjr43V2j20yjdYGrE+/r
CsREkiKfo9kN0b87m4x/iHLurXdblkQMUX1YKCev/MYLOGAfZGhb9eRXKCHGcpCmJDrKL6vw1qyo
361u6tg8J+/RbIGqMIWVmK3b6WZIWvK8Lt/CStlZsFXI1TxT4LyHGCeB+gnIy0jvIiv9UMheMZJq
C9v/jqb6twuni8KpT1YsUZbK2Yz5AIV2a3Mdd9ccFmZ3s+CQDDIX8xyZnBzLUXqNFafGSpttKpWR
W2kAg9CxXTJ6XKY8/VRg8kBgAWGYOroHzvgVpn/6614WGy9NtjquQptjtSrNF1PBaxixnCK3J/Wj
nqwCvLV4sIrEj/UcJNmoAwMYOcf0/CXtu0NR18pCRyfvE2/wzTBlXfSuxmxB+/BQ/bO+zpe1g9ia
bjQPkGwNjF19W8BFqvAIZQmPq8p7wB71yUOuEUT6EXXRKSUic06wYHwov1IMo/6cTz5y3qTozfB1
sAPgKWTnFvGcMjiRjvzo1UpZZOprEZofWbsiXKLZSTHg1hqGnWbygfV6v1WJOV6YMot8phS/PbBr
iMwMSYhxXNi998cKX6t5l8aGjGYHQhn1KmEyOt8y/9VWiSoBWATvjrQhHc4iqjJEZ+kk8kyh9VOo
u3RgtWc6HIyhnSO0hLiYaOUB82TgF10GDkh5BKofVeJNEfUxCiecaNHHEPQMTrI7MoWHwFxPccqs
GCFeJ95qAih9fjNa7piMeFciJe1DdZPp3rZIcOOhMOHqMhEgec63XdY0u+7cm1pX2/FWVUAlW+X3
wUrMbQ6YM1Hcm+OxextHc49Z3d2oQBVURdPPuN3xha611pNoMa4Oiok9Jxy+qSn8Q+92JnDjQZ1l
+8QihhfBcrYIhG8ltDiqZyZP0rF3jREPmwAFvOIM8H9AjxZDchkCvtHGKsdZ7tYjatGHFS0wNcqk
OeSctjRxIsLKKvhWSqrSZhp+WzRv/lQBO9AajMIIw9dakqtvUla/UaYce76nrTHSREcBavwYAI1P
6nW/6kIEjkPirUpOlSUyoapwamCbAdVFQmwiqYDPzJVnsXaKu1xjvBaw7172oflIjOy9Q7frtpWz
HEr9YRGase4M4D0CEX0EQIn3kSHcUMWncGBMjQa5W6GWWirp0qyxP+e28hK33jubVF+bijMErLcp
U7/oxp8lnTOyaWAUlHPsPvNjPBv440F0ayqwaZNMr/mg3wOTsrQyGtxKiYGsokcVxprebc70W0yv
hHVUJGNmNHrrQdlBo6JhG0rWOhXZuJWpPo1W42syx0vkoJiOrjKtd3kBPUdzo0tU6Y+uhnJLw74w
lcQEM+fAfUjo84S16j3wU2wbyKD3nSZ2oTGSIZ4SIQhWhwlo53xTSY2+jClH60kc1LPs0QWPWagx
nbSuk3Hv+aWPxdh+jdTpjOXJQrdyRno9r0ynGrNRl0Ffn/itbF9DvToXirzFfJu8ccqhqtp41Wtl
5CM2SXJi2DUDS3yHgM4JWLyzmjOAgjEgUL7jNpWLQVNuhCF81sBhKihDean2IIfsjwCmEMcDRJwv
xOiRQylfJtQ5MkhWWkbbCGfhQWTti+QWxZWZcCgap1pNU6xwTxZ2b05I+zN1xPtoqyfFbv6QebbN
akkfgTRQS5S10XXHfErpvp3fhqzBIWi/yq5lAandLNyqneYemqb7xB5ydHj0ZaQTDCPdTW0tx7y9
qK73AHLwcFP9uaIfaPEDwrNU6dXa8sT0+5Gm/Q42z6di9Ligy+kGTGCnZ7BEifTUwa+U5DblaggJ
LfAbvZZra+he3XJ8c9UiWvXoMgFSu0J7l2LGJWhLQHOrjqenle47ohu/q52bEjRHvVNubOhWI3q3
yJtgpzaIFAe9PJGktDGowBDqdAAElQFMH25SNLy/AGPudO6HLgnooFt7Nas5ImkujLZ9jWoOpY7x
IcqgSzPC/mCA1DFVwGEGROGAizERXxXy2EyjEpcvoZPuW0P9selactU7CL151NOwGfTw5A7U/2Vd
HWX7pMmRpByV7lDMyiDoFmTrbktd+bWm8WY04uQJvV40scb5lL6W2KwINQKX2Dq3wLU49ZuKIOpP
L6ZR8vL2u80wFRhtdFZiv47IIiOPj6nSYFzcPIGBjxheGxsGSd7e4/5xKtRGufrKRZPo5YecFcFt
Uh2tObo2FWjpsDNKo1lD5hmYEMfnf2RmqHa9IL2r0nh4rFI99Wg5RjXemnnxg+nkBcr/2mi4mAKt
pWtB4Qg7DIG964up2taVn6HeyLCgEAYVPTWDtvyH1nh0QS61ELANbTEZIWPznomBxlqq0xkcCYNZ
mQJkZbR6nioJlYPBi8repjR5BwGC+T0EWLbSdBa8oeQYoUj1PHbakw4USXv9hzvirTIEGmWl0S80
06kvqBZJyB6G09+/uJ1CEjHOqcBGgYd/LwZ9Gi1KJZil1tCT7fYmgdcuWTP3+0alkabnBTU1RAfP
XqPgoWI0cyLG4Oiw9YWChf/kpZngk3nTv5Eq/1/nm/yX2Zz/Pprzf/x/FKtDKsH/IQSlzn7zCDL7
b95GrfybefG/ElBM+7/bINN1B/a750GhIvtiYHv4r/9iksEJmdTxLE01WY2a/B7/TEAxVM01HE+f
maCWAy7znxkoLkk6umrrnusyfv+/ykD5GwPyv3E3QbZZjq0bqkl8xH/KGvjn05lU+N9ZCLlaXryo
xfRDcHGyHpjF+CU7qBtLiJzX+sAbtWnnZ9CZn8Zpfi5LHlCrgEcF9341aLR5HVgUsgs5N1QKfc2x
FqWVDae/f0nJ0AJ2xXsQ8EL8u4/9+m9/7v+Wd9m1iPK2+dd/0Ykc+o8gUZP/OLZhq7ZFfIz7H0Ci
YhgbG3LznMBtvQGtfLNLsg0DivhV/dbFSNMbpfYwGqVMmItqayTuVuhqiqemXhNHdcnTclgrKEZW
Tdaw/QvHlabZ0POjhwz7H1QVfluh6FDGzvRtvMU1fsHHKEpiDjMFCysjrETvukM/JR/IGn+TQYxM
5AaxVEIFiK9ZwJIJT01BzGaYq8ESS/2H0O2DrrW3rnKzLbXfEg8fsBi3N3zhstMKJOtI2UYnlr4I
EVqAbSOWBLYxJFVMpAuGP1qPwiNUObln7ZCDiMhFTJSoe5tjnTCLq4nUSEFyFIk/7N7OpHa2sx5J
/lUmzRqlErHSwO1RIV6yEDFB9t1OiJqsWr2MU3w1ChwZ2gdDHQgWJyusv3XR3vRoeDPKaEdD6wsE
Uy3CqeY5RkSFSXuLhH+phnQzhnk3EmLEW2vfcSJPKsb/MMPuK5knd7qJijt+mFpEKVTrd7XoLp0U
d0NlwJKys4TwUCL1GpB8SaRfAgkY79u5BNNYkrYHgmrWiWUIxrQa/JgZrytxavIB+mRwaBP1zlrr
5DbiydBxPux0JGgeUjQIKJcRaVqGRE0gVcPEtXORrnlI2GxoTwjaSoRtKgI3LBVbD8FbMYtJS33B
QL5DDofRgNorOkXI5GzkctUsmwsO2OB3GWI6RjKrqqrJYTuhud010iGNOUS2m5Tn+YfREeUx+LCR
6DleitoiJHBTOZZucfsrQkTSNyKUC2aNn15VOxfRX434b0QEqNGQIFBYsdhe58lFRSqIOPNbQTpo
zRJCpIQdksIaaeGQy10LZN3tAamijKRLOJUYlYA+ITpHWVThhJ1O46xYLJEuhkgYYS0pfouoMZjV
jYWarOsSHDtlJvrFhNmapUevhBde3YYNfT+6R8GKJg15/hEhNsgodeSUCbLKCnllgcxSn/WW+twt
TkgwI6SYFde4IbYZAs0sSlFkQLEsx//J3pksx61sWfZfcvyQBnf0ZpU1YHRgkBT7RpzAJJFE3/f4
+lqul1bJG6UImmlcQ+nqAoHGHe7n7L02qQezX4no0mIiyXLtvKsBXqfu+RQON5jb9Hx+RLzwIylg
1o7QZ85UlY9mzE/iyR+6MYI42/1KXT7E8eLiNtfheKg40Tb2bsthvHTK6h4UpoPEIAPU2DaPCSJV
iVjVU40FxKt0Xb+DrfuFruBbVBKv2cs1lnpU9e1T2KB+tZDBTkoPGyGM3XpIZH+/T0hm1T9xlYZ2
avI7D1Ftg7iWeJw7idh2RHSbIL71SrzD1muNJNdFmmsj0W2R6kZIdvurGvmuOQy+Gwz3CEGulD4e
bvPVwgIxZqnCDhRPEjrgAkHwopTBBhJhHakwGqWLEelwgYS4RUoclmiKDcTFFSJjpTWvR/I7R5Rd
nYleoB+m94FZH2HjzxihcgUlydyZSryMiDlMUDP3Stc8IHBufiudkTxbSJ8jJNC50kKDNGZzpPTR
iJDCsH4BLPVMZibcF2TUyKl7ZNWIv5hsJYQM9NYjwmtXKbDd4ueMIFsgzM6m3A/LnKJ28pAV9nMR
dPeRWVDKk2tXs69mRguo66t4wi7FZscy61sxyZtSCcK9+EEiEAfllPqZ0ownDmt0yglTNF9iu75l
weWrWxhU+atcXkkJBiCrbMCRQTfBYlvK3p9dKnEIyKeRrUvVG1IyduTs2pR+Y9d7i4Rkw5LWRvRe
I36PEMGH2nxXIYoHTrRzEMm3YX+tKdE8D8JCRC/535kDnlvtrmrR2GtcHJL7SGnvUXIMSoufKFU+
euXVxGI8Qa7vINuf6/k6IOmCOvMVBrWHLKCDbcEpiUpqbHbyHLXadTZFkFyQs4CRLmMQa4RZtND9
Q1O7yMGRFUNCGYHZB2PBpBwGSmuuJrBOWQ/G8xkjQoEhwVTOBBVv0tSkUWdbHeOCh4HBwsjQYmgo
lLPBVdJdrA41ZB+MD7TRXzSMEIM7/4RCvGq7LqK1BIEnKr4hzZ3PrJgKXl1qt1nt7pP03M7YhXjy
ZsJ04WC+IC33vlw0v2hin9cCZF6wh4yznwSNcRx332ZsHAV2Dsrrt8LC3hE8xZg9LEwfhogfra02
zPf8tKvG7oiEMBzkz48qkEWRUUVgPGkYSWRtbjwmLrQh3xoRvEAOIfXwR4mgu3wJtOA8wZLSuc5l
jkWFV8DCsNJgXJEYWPT+IcPO4ilbC/aWCZvLqPwuAcYXCha3dti9tHb95CbMeq3Djreb513XyXqb
lw1xz5txqqmo4BNdV1Qmx3I5x7+YrOCEEUw7jc/2TClypFEyEheHhKl+CjtjH2tbiX3HwMYTYOfR
sfUM2HtM5fPJLejDPNs5KH2DjtOQ9te4Pu+SNn+1nOq5hp9TFdmHB0bSmko8Yq8jtiLE16+T8hlZ
KM1pIFxSgdcxb3t2cpVjSxqwJw3YlErsSovQ99hw1PeewNU9KrVfgXI3ZdicHOxOBJs8zhoDjcO5
2KFy5YuqlEOqo/cDwfMxUt4pFxOVxEwVKVeVg71qwWa1yB7XgfMOyazBbk9rsED1Spw7EHtTyJss
ju48bFsmqooGG1dk1s/vCXPc8O8fr+CgkLoZzsZgUbzHSqTPW1eUu5yjWHygBZYxnsKCgazHSFZa
4sFW6qEFi9mE1Wyy+zsb65mGBa3BikYisv9gYE4jRs432bwrlTQ9DB0LW4OVrUfipAKgEyxuHVY3
jLUrcqT9HAtcr7xwk3LFadjjyt8+OeWY09GG3ujKRQeBMFVVWuWu65TPDsaQxnRhv5dsUHFjat9C
UL/gL/Hn4frfRxj2NOXcS5o9q7zmPMfSNytv36Rcfhl2v1jZ/n77/5hflR+wU87A2dkEHU5BRwtv
TA3+lo6JkHo5LCflKlT+QiKuPLr5ynOo3IfF8Eb7wfRrbImd8icaGBUT5Vh0lHeRBupjSn3ubMHW
aCl/o6WcjpFV3afj/Mh2h9XeMhlrM0hYQqY/0jDTd7NHq9nVFizK0WuLlVKb8VSGmCspIdZboDHV
hYPx0vrtwFReTIkpc1HuTFZ0cDaVY5PHYVx4ysXZY+csla+zVg7PGqunh2qulvKpARJMwxPbiIiA
FE4R8AckyFraDTugwVHBmAyUl7TBVKqP+TVgfxhv4S8qcZfVkKyDWtOuJjdLN1O/fLA4eVgwqpIR
Sudx4HcllC3NfFaFjfklaq7syWyhIplwOGbnh8FGYuPF0KCoKq09M39yMZFpfWeot3HTZlR5wjiX
mxwUeUy899rWiCiQxX079ViOpFg3VYAMdgo+4kz/lmPQ1ZRTd8SyS5kSCQkmXpavxpZLv1yUv7dU
Tt9OeX5r5f7dxjpOYJNVEa3K9KlSLmGBXXhRvuFswUFMPnjBLgx9T3KPsI6GinIb64gDW+U/thAW
p8qRrI97FhpUq7T4xvQq8Jjhoq+i2o62OcQjSDBaiL/ZYVZPleM5UN5nADN30IFIMaaiL2v80TFG
aVs5ptMI7/SiXNTAOLat8lUT0IKVS3mt3d+ua+W/BtH8s1WObPnbm61c2rPya0fKuT0oD7epzNy/
Xd2oslLl8yalqyTYETF2olzgqfKDB8oZbiuPeKTc4nqNbxwH6kepnOQZlvJOecsLTObDb7e58p1b
yoFOtPWZqTzpIKlYReJSr5RfXcO4jsz8qlNOdmsBZOC69FUZx1H+KiDI4r7G/S71ARF+wCju9zVj
xQ3kLXxa5ZnPMM9rykW/KD99pZz1sfLYk2yu78B9OWe1cuCXi/2ATGQfKW++g0l/sNhEusq2zzQD
ZhInv6c8/ZZy9/dBdCdymk12nN26XSieZ5OCWfWtqGz9ugmhK03LdJUZ+GWnlsqrNVxkIbADQ/yy
tOVu6ty7sO3si45TZ9aIlbYdwM2NA+RO1gqrSiLKBMZVbQyDI+dsgyHlGsiXvFu7XpqdiGMiNuny
PXgsx4Pubh6bGGY8DeNuACxWyQHcBd2QaoQiNIBRyBRPwQGsMABYGAEtZIq4ME6gF0AwyFwzV7XZ
XWiKzuAqTsOkiA3mTaT4DVKRHFyQDg1oBwPNuKlYDwbQBzo8vqzItiCqfANvv0Dp0dFwRcYZK2ZE
qdgRMCR0taltpvdK0SUUOuJsxMlz1oGeCEBQTN1HAZBiNtKdG2KKGaitnQugFRbP3ABiYQGz0BTU
wvqOqU5c2vAO+Baaqy52861F4gXAID7YoDEqEBmxpO85T0Wx1UlCP8PNh/soc0nz0L38LnbPJT2K
NRHvkGycjPCE+oYgNax2is0xKUpHqngdgyJ3xBrbHEvRPJAkviQY8LXRZeUG8yaNuCdh+Tql9d6j
K7nQH5jN4DlVpJDqIuQbstIEktwMlMjMZgKwCNWCF7t+jBRvpFbkEQGChOinVaWYJIi1MAEpGKXb
eGsLcEmiCCaDYpkUimpi8Y96xTmxaLGBPbFn1GBQUKqOFJUGwb+Upk06ivuaNd0NgDfWpzssZcAs
FFOF2fAitiu6CTngzjT2kvWiZxel+EgUksWEzRJ6y503uRdFlKPGEqLcQiJ86GwU5o1Cu9QK8kIz
g1bkZN6HtCcemrR9zjNIkOxw8jS+mhQqJqoAUZRN+X1M5jujdN5Qme1arWAnGGBxsBlKl3YQmmuN
xtkm46OApxorDiAdOADvZl89ayHJMPbybkTjU6yQNoP1muHZdyHdgGZm1aTgNxUUnEzhcHIFxrFY
GMUKlZM3QHM66DmBwuhIgtlbp79pkfq0aYbgqsl9XS2RNQISwkp1xXiwZ6MC9LSK1EPbxy8cFGsK
4kNjYx2M401AW9LsTSI4QGVtopgPHuaZeZPXlLNquEAGfKDQjt8neEFTiKgChBcqdQUTKsaPRMGF
KE3+KhRuKEKxhRE5vpyT5ioOGfiON3fbYDY/RqF/b7z0tknxU3l0Ts+8gPgt9XHV6VC4BNhlIcuy
DmPd2eDkGydma+D0tLHrZMSZyQc6yhDV6OUVAaZ7xgqdKMwNetTsegmCKkpv+iS502pEaEne0A2F
FT/3Iy3Iyu1YQCPL8kzjMUTxAOX1UphwnQUeO1wwxPC5IBkvJxoaZ1Ujr8Cegcl4afE8O+3wPvbM
F5VO+AqEkGlTQwJeWyJWkBNGTki2QlXDNbU1xosVOOPaFfUdmcX7Wliw8ypWikTrwd/A5xS614lH
xNAwed0myU0qiG77IEgDgcCDrItiQ/JMXKpqN8SkMFGhG4yyo+UIfrst2fFjOJMZdhhwZqivJK2x
sF0PrXmeR0QZeXRJ2PrfaenyNMje4uVR03ehwg8H+noThIhiN+GCXFAuZkxvZ0sP3Mue4tUgaDqW
xO7ZSPfZR5hq5R19o6t8hTHngtIpsY6Mxip01r07EArnWBvQyNehjRx51o1rMJy3bracZ0NQr5fo
W+4gIS9teWvqybRminxgQ7or9ewtDWzJlo66dwoMVdvPU1ScVeaI6cEwkl3qDL/Ea0bfAZQXknIa
Kgatz3wCV6GavZ3uV4HKs6JestCFPqsHXhMTVQy5OpoCvPLpNlATacCsH7Kx39atx3JaC4bzZYJ5
5vb9R80P84hYmALMERadYoWYnhx+DNA2vqvvqcgfBTseoLdreO/OVUOc0TxOz8R/eSt3Dm5EOIht
k/Ipjdzw0amMu84KQLNaV8IpElDPJuppj/5/+tjr7F3y+JJtk++42UVbtIA19eU6GxAnV+lPr+Kd
L2ZIrKHFsiHSLpAvPLFX8JNU7tvBwwNt3U0tEFoLSpLusI0J+vi+BHxWiu7eNN77PPBoLLK86H9v
G+sYAi5Dc9TzFJ6iI/dlVd51dN/QwzYbJzcGmFI4IC0noFu8BH63sBgj+Oc8oaG+cidXX6Wtvr8s
+NBuDAFpWpMK51AG3/kiwq61HESMWrmFCMmyWn5bWrPGaFYRntGN+l5nmZjMhrVOIrXeYHUAIMyD
pp17lxO4DVybRC7Sb2u2YcBWvyNAhWVa+WRBj5jQSKLtTPtVdNe126BBepjin9lFc46iIbb2QSrP
XeAeW1kmj2w6KInJArykzC4L2oK71nZuiJNBCC3xx8JtZNfBBcYYDFdY3jbFXFGjKT0SuyWP2bYI
cuoj0F0JQgWe8o7IF55ayVMccduxN4WRVaTsBlk4eV0drQ1b7CetX87GOEJKEuQ/iAy3SPSAuk1b
mXCF/j1cEFl0g/Gc9E96F+yht4Iyqa7oVVN+0AC7NkOMNAV8ATsKVvMaSB/Le2kyXbKipPtfjaC9
R/vbFJaAS/lYkYfhbFa11ufrcMne55z5LZzATvTdXlTLi41wn3wccDQm6w0na3+FzAJrb+pf2kJv
tmk2vC0mgknanwjscBbwG721Z8ifbNB4D6PwRfPGu3zgDyERG1gIoMs0fbumH9NANttLoH9rNtVY
x2ucbyzNIVhDdSolOYV9yupzRPoWtHzv6xJxTjGBGGGyJFaGNmyYvtbKBpxP7qp06g7azHJjdo6+
miqTwMTFxAFu6xf5qCPeTUFgWA2Xn+ydyIbuW/NDFk2Cdc27h9oBTapXOBJRXHRtnn+DRveexSJ7
chz2FVKkcicxuJiIsLn577YGQ1HKchu/2amCqxozXsLRetaypyId7kWyvLP9EW15MdgGTknxEBTL
a1FnVGrkWxUDEzSX8S3Vp33L6wXP9NXJcUqM3vgzlUW1gcVLZIiH8CWayEHS3Ffs4u+oYN+mrjZ3
3SwQvbrTuqveaoHNw1FOXK/PnDNjwLY1Zpg/vB0ehG2ZEc+7aDt6JFSIpp1oggolXJ2CRs4kxHml
OgZ1wIoRCaOiHEQm6hPRJpfjkGXbUcxgC/DVOzO0wX1vBPssJ5G363UseDBOUYh/iNq7DQqTJnBP
dExvbTw37Vb4Hyu/ozEdFwG0UFFeGVUH6sUsgi1rkqup7PYToRA2HXqZ3SzwqXKdjI5F0j6KtF+5
zVde8voi4ZjRtXIHd14i6hU9QfhJHQJLq+ddA+ovBp5T7hoX9kChiX4/iMeVifmwa/W1NsBCJoWe
BZyBTXnEXGmbH4XQQM4MEEBBZlD0eEIiNrHu5M6OeC0jTW4xOWwq0cXPiKrqM6PPc6LjYoSMKI1F
yTED726ewS+VJn63sL2wO/HDMr+TBvHilvrzNDbf7dT4mNPxNW3RWOKcqa0BLM3ARplFeZQQH+Xt
srI6T8IXmwDFHMDjZVjRg5p7pAg9M0dDvGDXfB+5jzqUeJg7GEe6nYPngNBWq+Y7Lqkg9mRl65rc
xKrYCXAgj6NN29hqysOGBPXU/ZnHSU8Nz94uZZZsLJ2JjU6deV6RBKULpNBe5jtVvcnz8UlnNKLG
g9CaAxUoRAnKEiMkFkyCCqMYW57zgTSuXFeTg+GYB6SX9Zlui3RHWiWoaRJejDYg00VQ3WlYV5UJ
1A2CREWc8t1vIfyogqg7veHCcBmSAJ3bdHiTcwR8io8UWjUcEyTZB8uwTWNWMGa1tXM051NZzBsg
ortp8AA6EkBluNFGT7394CKxrSAtW9Ja5yGu0yT9EZosHFg17h31vXe8j8CI+7XEBkINv72oTKqA
zVQRYWe8iJKGl7zFwylWUU/xllDMH/3A3Gff2bfk+Ors1cA3ku6BH1Eb8dCND5HU5p29zFySGfXr
VlTsVkIkR4VmM87GZERtTviBmblkQHgEHKJA3+SNJUgYgA+beGycZh2oT4GLI6UVJcYbo4DPb/Qo
q23Ec92sr81ptnepN9zL0v3e2ZBt8nBLsWCLdJQpDwA0TuCEX9zhO22hntoCqGBLlT/qRhtfexSs
4sq7TsI4WVfpXDJ7MmHtoo6ODlQA4kZ9EhmVh08j2sC6bcXSXwYxO13XqL8LVMvw8k0ayAsVigiN
OJDzeu8WOBG8XmQoZPQPjKyJb7jE9PTlnvdTuHTUSH946S2LpJPZGS6hrMDWJVOz6RjcWAhphDS3
tsS/ASWd3YNNzGtLql7boMAh088e+py0qxkoaFbuXICE6wojMVpFmAk4gNqZXsVSQc4fyc5gKfE0
zwutRvectFkyYog0GZbuGkLSasjvF6oIgF3IymS/bU81y0WXSTZGOBnCgL+mCf5SJJiLmsSjsmTx
URhJ2yz1Bxk5TxNzLLwKJWPBGwnwlZwd77INzAvcvS7axfzcaqrrkcbtqolibwOamFLkNfdBX5Uu
yFVEh+vBzPIt8lcN+9fTFBE3S1SxpoAPGy0e2Vuyvr/ClX1mkX1xubC8pLAkwFoKae4WN79Jc43U
mTm9FdS4tlz/sDeHufKDjjiGlouL0yhct5Z0t+zuY6IdqQeSO2mvWWHdJcM4fa9Hia45mK9cZSku
PWURmTeWysueCc7WVYI2C3g0WSpV22lVvrZK2iYfz9tWKn27VjncGmJd5/dTUhndI9O7fc38Ap6r
I8M7VmHeKtWb61dSvYKkb9bbDS8pHJ7gI4JchlKsMnacNlVB4RmZe4mKDjct7YkPz1tTN49SQxub
l1hWM69eY+2wlaUD7nqWP43e8A0FSeBHYhuosPLOJba8VPnlKsh8UpHmLF5XFRnnuceioydLcW22
30JS0IGl6RfUe1n9q4h0YyEsvcnZbhaQ4jWHIHURvQW2ksRr3b2UjyWV8Ijc9QY18DwRxN6RyO6O
ZrxzSVWInPg2absXqw+T59pCaB/Y4yYdyKwbIo0ijt3fxMQ/MPI0lkwMOr7L82VRwkiJ6/IiLG9a
bQ78mFWSV1mkELNa27I4AgdYWDuK9lQtiJnY22G/M0mhD9gB7+OEYHpk3gV11RKCkBwvB9LrW50Y
e6EC7ZPxvCHfXosJug9V5D0tW8PEom1Cmm4dgnlrbW3SX7+A0kFEJyTDVSGBNJMjixd0AZrvlSVd
tyVfufDWhOEgIe7aqyiXsPrlcCndAsNc80StNrtPodBFiYPiHpP3KtOqV55w6g8GCyvro9J1WpNh
H18aboAdNi3mndB5/JHBvoUERmIGs9torHswXY8QlTA/6JZHAusSoNKPxcUkLlgwpGeO7jYXqHbD
bb5YlFSG6KYu2Wwbk/ZguL21T836p5U3dMkn29kO0JTWViwfJqAKrM9KIgMJ37jCYgqWX15VoFPO
coIH0+gSJ8RWUd5qCigzgkXbw5m6LC5S6gUkXINwN0FwPCjxow8uYm9Q+Zm6+Q6Y3XnSZD7x5OXY
+NUUfHNJ8BNadu268ctIeGzYaysn/QUVel2X+U0RY90Aj/qRG+GT4URbu3Su0kz8sBv6cA2QIkwT
OKdJVg6NSoLEHM+0yhoxWKUPDn1rGtoDxthCLC8yzp8xD37nXaCzQfYNOWawh5GF3EyT9+YGwQcE
7Zv6O5ztxyKkGBfOAd/vXrt0UF7mabqcizy6arXsMRuwq4fGJmsSuiBe8Aho0gd3R/s3Jf2UmLYi
Bh9mRuAOdPINk6l406P0Wi1EJlwKFBMJGW/ra9OTyEJL7WZOBTiIxAK0MKaXAp3U+l/E5RD2Vop4
E+Cvd4z+uzlVK68WlzIKfuUZlaQpz5+E2d+3rv3D0exvGUhzbRipslvf/4XtoKs89I9AVbNnGIi7
UHfBQFjdrdMQQFjpkvIaKsyNzRi0CRCkar6Rkfuc2sEbypQMWz6tEJqdAdL7iRjQsyo3q1WozEQG
tdnQCX5qiSSpqrA/ClZsIUzwZhqjvZhjZ5Pa3i42/aa3kCpndHCd/LZs6+9JEL78a+6byZHtkG+M
cEJ7YFt7AoLRnabEuLN+SG4GxEGz22+Ig4zWieH6dtUC23OaO8eIwQ2DwKrqfailRFuxD9/gds/W
00gmLka06lzStw9bEmX1ALrgoGTmZUpmjesS+ELbBXvFeENs5zZ14Vz/VrX9f83lw1y9/9d//Cr7
omvmu3e+A8VnDaU8Kbq8mn8U+Y/m8H94/6G0lUIX/ymUrNHThWE7wkVA+W/VpSf5D/DSDSrzQrdM
2/u/qkvp/qdlOq7t8t9tw7E9tIP/rbr0/hM9obA9B+mslKxo7P/43/8LLWv4Xv63LLE9+PNnmSKS
z09h55oUpmO6hlSCz+rXDxzGIVpG8a9lKabGqPvKb2xe4KVM85fKKLBrnFZBKonj/2g6/+fwShr5
6fBFUuFqRFfmm2FSXWpsckfiTTKCkIbCI4v09FnUj/3TWQ4Fliwfh6pFYmQhR+MEZFW/RBgY0xXQ
Qdn7fW0t1k0Xa2H6xXUdu23q7z9dFxkPVkkDqvQjzQtMFomYg6KsL5Z/j7N/PKbPj0WII5dk/PME
mCaayMzm0scu59Fj7QViAMtUscWDRiFIhNb4bggZPmCo7V6Mxf7dXY2S6lw3ZfN0+sYeu0z5z1+h
ZaaGtJU8ngGLOwahpKzhZJKF13/x5I69H+ryP93HaOisJuscpRzBvFGMLv0X1DmoWEMNqPvpqzh2
Ev2fJ0HAVdhYfirgvAXNHnBd7nVKoYTqCgki29MnOXKrDMbw5yvput6drAj1btCJ4dql13cD1lde
nD76kUswmDs+H72kKjp0jVYizIvNx5QwQppMheuY7NMX8Ganz3LsGg4mA1RWaH5x8/iZhimBANAc
GUwR3/3d0Q/mggSkB60PUrrpMva3taiIfYmcxm42p48vjt0k9fefXiZRVJM5a1AU7XSexuswtmbY
JZi28LuCKY3O57EqL5omgejDPByT1QHG3t6jiI/1Cytv6fQHmU45qQCNhGlY6zBCRroy2Jz+iepl
+MNEZagb/+kXzjEJmq7DRBUsrtat+lJvo01qhma+DVPNK19ncuyHDVk6EKIoJaXTpjJJN789fXp1
p/90+oNJxTJJ1HXTkK1+2bj7kXbm7eJiJaxmu7rQ8Gb9PH2eY++R/Odl9tkC5HpMavSTIRkOGjkE
SFLLyv272dc4mDVCUpTJofMqEBJZRRaqKPJHJ4/cL2a9Y+/RwXxBwaTHphoRj9KwXE8HC4hZ1CS/
xrnOv5gtjpxCHswW2LWo0Dt4h2GzYA3MNI5Ms3skQS9ynL8bzr+NFp/etow8Wq+I3MpPYknPMbYM
KuppXmrZF8/h2FUczBd8bJeARlLtm6Um2s0y0v2lc9U22I5ArT2ffpuOneVg3mCDYc5IRyo/wiaM
aFf7bcLjVc6+TW0fxF98JdRU+ofBIdXpP92tno6zE3R64ZvOSJ/cEmba3TtimpyrYva0eRXIqWhI
dBVSvx3IaCv/8l04mBRgrNdEJwVMW0NcPACZohsBj4UEX+ThUfLF5am79afLOxj7BruWbjLGEsZf
VYSU+yXJWZtRc/JqnZNXDBJE2N38evqZHZkB5MEMQC0WdMdU1z59ABfNdNWawWbpo+Lx745/MAOQ
Ia4bJjGGfpOysF4nVVu+mZkeul/crWO//2AK0JKp0gp6kX7sASX2XBuQJgWYzelff+QzIA5Gfzm1
Mm/0pPRHwS2hA8x2bdpQR+mcx2wxF9tP4xbXL0+/ci/SuqJhfBZgqvniO3BkRImD1UQhwwGBC09H
qwbvJcgN+TbqC6yDvHO1L85x5A6Kg7nB1sh2qBvKklZTjmjj6Njux8BxPv7uFh5MCkU2pLpj5MAX
4pmMcOwBprcJM61Fw1LGGZFUbawUYYELYbdPZzilgW38On3yI2Pp9wLk01RB4nY61yYLDT0QMifB
tY0iWu24WG9jtDPavRN1ZXl3+mTHbqT6+08nq4hCCRwcYH5s5stPYjfDR72ZoIedPrx6Hn+YF8TB
vGDXUotrOos+3mtwQ5P+jCN1VUYoRoq6xF0f706f6NhLdzAlgA2M+ll9tF1rSLuNMQ09ypeyLiVK
E33p1n93moOZgTTW2jabgdulo3Ptnfqxc12IaFX2lyc4mBqMLEjauubhAzAiZYbuGZATwxvyaLeM
Xfrz9GUceSz6wRQha5hVccm+fLSyvHgkd24gAaSkz7nCqxQ422UMjOpsgo6pfXFh6oX6w5ugH8wK
8PdodAvW5zpBxjAfMwGddVB6h9OXdOQF0A9mBK8COwiqCF83AuwUn4CABe5WEh3x0k6mdXP6NMcu
42BmCMmylF0AY9MYSnfltXZBK62u/vIi1MV9Go3o1/LKU6MRFIpxUTgNXdCl6B7KOYr/bq+nqwv7
dAo6DnGqkwHpoylGoZxoNQQtNPi0n7d/d4sOxnwkTLfWZFdRoiZ5vnFMfdvU4MNOH/3Ycz4Y6Eg2
ZD6EDQ+gNfCWMptkCuhhlPS9Tp/h2CM+GOP052svpxzt0+mqfyAcQC+ca3Hx9HeHPxjhbl227Hon
1s35XF6X4Nw2tSe/XIn9eWgL72Bo2wsAWMkG04/n8QPTIXRtxSSLJzSAHZQmLfrCgizUD/5/R7Tw
Dkb0XGASosnGcy6Sm0XGLzRdttJtbtoUefCQ76tIfvARTVeOwGP7N3dPeAfDPNGngHoLXsIpifce
jNMlSO9OH/rPbxYds3+OjM5sO2KemUEiB9ND6JFYIipNIMeNtS/GtzrUn27Zwfjup4E8RdGXftuP
OyvuCPZEDHgO1Hld2Wb9/fSF/PkFFsqA/3mId6U2ZLHOPXIxLZ4BuRJncZnX69NHP3YNB8Pb8QbQ
0RVL/bKOAUeRQDt39DB42KSleiBwT5/m2NM4GOeFHQ7DRL3FD+eljlZw3Krrmh0GRBGhA2c5fZZj
t+pgrGsDoGYxA/okj5NMvR7gGqv/v3zaByO9NioXzKrkOYTXlVguCkCpQhByLtsvnsWRn+8eDPao
wNNKPkPl526DMR+hJNlJRW43o3/6/hypFP9uK3x+l1yrTqqxbkqMygsUkxjvR0PnCz4yVKYpk9md
QYjetdvig0ffZ983BuEXVt9Oz6d/wbFLPBjwwPIs0RDJ5hMIPjPpl+1dj7z68vTRj8yWv+EKn76G
wpn6oUSt70sjRy+c9EpKXpS4gfrBozMWd6X5nfwiuEanT3jscg5mgDnqCWOJdE6YinpeLVObgCxG
+fp3+33hqhN/uiKrccJFqCnGI0QDOJAFKjHuxKWVuOPu767hYAYA7BxHWUB7gtBmk+jKHEhkV4Rf
DPxjj+Rg4HeQipvEolLiEU98n88ow7ponYm63yFC/pk24OxOX8eRmcw9GPzY7h19BO7sy2hmOh6V
1xCe4WWHrutxYkGxOX0e9UH8w6zvHswDpalHXoYHyDdkIH04kQCg5/KlMKO91YGhrefOT6HdPZ8+
3ZGZ0zmYFPJ2MKIBJ4IfxRV6hHkSgPGLyR0ftRrZ69+9BArY8vk9W7QhHZKQmzdpKGX1KjTPXZqN
X8w7R4aJo16OT29x15oR0nBeMcY+BGQ4Xufw09Lt390h9UJ8OjohxYPhFUzMYZ+Va1IzLKI5rQj5
+/TVIvLYQzgY51Irrd4QTCyzGeOjoj9wU1YeARFZUYr16cs4dpMOhrp0ukQYM9LKtoUqErLN3UxO
0X5xk4R+ZIHnHIxzcotswNFt4cvMK24HhId+m/Spn+uES8q0b3e9ytfxlr5ikYl8zS0AKuuTE/+Y
NHJxqGwVDqmnTkMCFBw7JKNuDhWljeo0QbXpOsmazdT4gB5c7DGVmzvNgsLsLFX/mMWLDWR7mEip
NkdyyVv5qx/hVgzNGJKdZhoSGUXHunw1eIm+cpMgoCNLgNZVLCNLx4qHBBmp5jADAmZBRLSOido4
pduF2Dgj1SBwy2thwjTD9UooXEGUxEoXXf5S56T8RWOwwJuxtY9srIN65UIFup2lZo1K+k+UTehg
ZYFS+QTutZQbK5T2dTou2WM4W69NMuk/SzTce86dvOYzuhDZ5eR6tFboRyV1CYsMeNyFE4tAywtQ
H466H6VNt6PBpF+UNqBb185ciy35XGwNPMOAcU33rRF2BfpaAgGJNZj1+AiB2QU2rdyzJTcSogEw
Kz/Eyqxj2+nS9jjBurBagdu1P4KqQYeaJ73cZIAcPUAagX0zmqW7zawyug2DCOnzHBvuU24jVjrX
SMaw4EPnpBV0JIp/8fIeGSD2wfwxtabpLmaV+x1957UG+mzdV164MYiE+GL9dWzxYh/MIoWXasvY
6pkfxsSy7p0OwRRaKyerd3o4CZpjHbKFc9mbTbBL3KAJQSpo4+RHcznxzhqBuxhf/Bg1+/7hI+Ac
fNaqFuiOzPMCmPfSPQBtjYHRzz+CERNiEusAOqoxR3+EWA5uR1MRiH56ljhyo52Dr9xM6QDddFj6
MD30nUODblvG+oxJOmu/mK2PneLgA2cV45iNaUxWXdvVDkBmOa8NOp3f3TYiB+mvrkPJWD5P2m0D
GDc0MD3HriBTOTO6t9DLCzSWGtTT0+c4MqPaBx+GTKSWNkgz8xe7B13cGU6vA6x3q+9/d/yDr0JX
LvFghjMiPt1Nd7rpAjOIkI6fPvqRV8w++B7MwTCOzixT3wus50BG5aobEbUiJYa+ATYYmbjeb1v1
xwyL3xcv9rF7dvCVCEwt7ka8nj4kzXCbDHODohpM3+lrUkP1D8PGlv986v1IOHMtetQpubPA3R6T
7i0ea3ELc8PcNfaIDRfeC/jm0+c78irbB6NFw8WaGZIkAXNKddweVY1sz4whK9FPz7On02c5ds8O
BoywkGKbVMF9eG3WRZA52Q31lern6aOrt/UP98w6GCkgySYLOkMH6SdEl0i6LPpW1M+EjUKLL1Zl
lTT9F0//WBXIOpjHC8sGUJNk/4eza2uOG2Wiv0hVCIGQXqWZ0fgSJ05iJ9kXVZLN6n5BFwT69d+Z
ffLyWaOqebWr0EDTDXSfPsdJSAlkZuj1KMelOJlrSMnU+cs46ZMu0IYy47a7sOn5+hQ3FpBbkX11
53IEf0aKJ0GNxs3McRJZgNrt+ugbm4BbYaDiY1ikLR3OhKCtEQql6JY/BmkTsrhp0rTb+czm2tnh
AIqGdVj0w5kBvv2wqEbKn0uFZrWHgKBB7H65ZIBPNdrMoBtT5My703LNy08zdCLWnR9xsdM7m4VZ
G77322ZGYa47t2g7/6uAsCnar6BVfJQrstyNN0kAUf3pVCKvq3ecest6l7+/uX87uLcS0M/k50xK
9tUFZxDktPd8a2v3e/8dHDQpHp5zMj9LQLPjqoMcl4GK1xE9uV8KJ/x22xax4hIfixmdzh4kpVf4
W+whjP8AHQN02ru0Yfe3fcSyTQC5FIosAcRHC3AweLL2ILmjQUzSsO5w/RNbprAj0dKYRk4sTDTU
K199z3M+pOgo3jnvNmzBrEikm5QK0EanSSpc/l11AB3h3k8vjPpdJ9XJQ4K135nJhtMyKxCFaO4B
VR8JEtkWEDC9MOM6DoRvs9BTO/t24zCy4ayuByjD1C/ZWYOHp/gjFIrn90AegXTRIW0/gfcwpPMd
JBCmv6+bZ+uLl4V94ykjiG5KGao0KRz0jbUjh+wUYNxADSiP4kwidQXeHy/01R6IbGNDMCsmgdQw
r3NeOslYAdATT4ECVUYDhiJ354Td+sDl72+mBAWOlOgKARuUyAFQ88ChVYdGy2bd+cDWRrACQElX
SDSAEygBdnY6VWEVniEsoR+AU78xgDHL+yVHW7c2DRZJostoVMY9lAHdA3BsrZDlkxzEZ6DVddpz
oOtvSpU44Pyl3cl4bgxuI0lXpYuFMtOeHWLmj9ws4WlsQrGz9lujW05YodrjV1ACPEMgdHhQIQnP
0+S6x+vesIHBRDPQf/dOmNUNJ2lDkznzm+8TtKdAcg4kb1gBjZ1L3AXRWApsoweyRfBb0IdurcN7
KE+W5ykohnOhq+DEQgXaWLMTEzZCnGd5qAcRFC9rg+aM9CG6LXuRLr8mWmTP4BLz/4CSu/J3TuqN
fe1ZngmS1mUMByRheiZpnGdp8EEQl92B4Sy9qTjs2gjSNnNCBzAapHhY2EQo/k+P9ULo1yxbx3+u
23BrFpZ3IikDsAEi55ktSMRMAvI6q6zJ2czhvGOSrU1oeWdKFwIeab9ETzxgICd0GTIobUDQmO7s
8i2bW+dyg5Yc2Wt8APxe8ytH88/ZwXUJfPMV/wh5uz1Qy9ZErEBQFitFkEl1MlUD+oN5Rxe08UK+
Weys1IYxbKBoR1Mz+1DcOavV99EuTdgjWv1dZHIb6JLcZHAbJ4r8FqRA6rQ4p6ZsTzNh0IhyFgNx
n67z/Z+3fcQKDGLIBFJ6KSyCfnLgMvy2BM2aMODv8jLQjh+uf2bDIPSyId6cXUwCYkKJRh/y3EOn
a5nRmE1EcKM1LAevfFZnnR7KMwfD5uOk1u4j3onuc11K//ttE7hM7M0EqAp1BWa88qwH+lPmSJxk
kn24bWzLs+tsmXwqwILdjiMokjV40QjrxttCk435XMA8vIJ1oMBZLgVE3Ts2QMvMOKCHvVA37GXL
tixsuXaZsVX2vVOcfZKDua0KgiyDGLgX7JVsN2IHtXwaCVvIX/EgP4OT62c4gsBkqMpHpvXTotAs
ft0UG5kgGwLagyIGhIN+jll4T6u7/AEJM4TZ0/kgAxfsvCAPzsA97qxfr39vI47YkM++Uni85l5x
npUPyHw+u94DYdn0F0HX486cNixjQz4FJALqwUGVRqOrOl7TVYByJFjvrs9ga3TLszUtqXaXrDjT
DtLsbouXHQrP3s76bNnD8uzMgWIh+IBRYVplWB87DQbf+yKf2S8wztEAXBZ58Sx1Hv5lGpABoU8+
QLL+fH1qW8a5TPmNz08VBH+Uj1eLcqm+o2Cve56UKh7arBQv1z9xud69k0SwYZ6uNyheAVoE6Mx0
HALxp9X5pQN4+hlCJzIyJbLZDESBO0fKlrGsA973W4BakJQ5oxKyHB0XEjahqXax+lvDWzGgqx2P
iBo7wGFl+MAzDxUalXY7uKmNJ92/yaA35tCp5JkEvzB6ot1P0DQA6aKBnhbxvuer+NaObOc7G2a3
MZ69ryc25ciDdCDmBTkSyEUI+EmO6C+WO3bY+oR1229m6DMEhOB53wKhEflhkz7l0kGze9rNo3fj
V6yzfWCMqn4YkWohRJ6FuXBZlOB3GuPZ1OPOBWLD5sTyf1D39MrzjZOA2NAAMSofvcXchhpG89d/
PVCgnA19yhlcSQ7UhFJZfKzBsHcoTbrjf1u//vL3N3tKKsTdErI6CR27/MBcMtyB8VYm1717a3Tr
YB+gD6Lc0gFHRiGLR0+v5E467R5wd2t0y5kbndUrmrfCZJ4a/yS48QH4GJrDbb/d8uWi8TkqRS0E
4Kbun6Cruzjw3b3c6dZPt85yWio0WDlg/mz9Ok9AjA/9RKKKnZf6+94FbY//GtWTgwuuOPC1DqPn
AHElZg2GEqhxg/4wB0XeTecqsWGcKA6uC7pokMvwIQ6g1JKBQ2mZb7oUEhuvCe5f6YUl+FUEiOfB
2B1mCRif25sSpMSGbILjaVqnNEUAGqCRB/m5EkrTIpCKgvUTx8LOEm1ZwvLfbKVU5RPiHFiG/slU
U4Fr0v3Qu85e5e79jURsxCYsO6IuW2TnoaxAgjIt6IMGYe+NP9/y3wLUEtIBXwjKZe7yvWLQChp4
2Edr7k2fbnEzElpOLFZQDBellyZLD+5E9Mt/Gy/MptcH31p+y4e7nqM1bsXg0s1e3KB/YE36yoD9
vW14y4vTuQOQKayzcw8s8d0ITOMD7mDrWSuzh5XemIGN0wRp8bSKlqaJN6/PuWnviZF3dQ+Oz+tT
2Ng/F/KHt/F/CobK94oiTEJwtjx2fWMgkAJhxVvHt45g6YE1d5Q4HSUE317HCRTzkxyX422/3jp7
W8aWUOdgO8mHNXsUjZEgNgek+Pro7z+4iK2P1QRmMVrjbHRa8F8BIISiUC90XPb3LQRAdyLRlgUu
f39zAtOWssUteuxR0BgA+Q4NJfDhG01utLDlw7TKW6BHBpzwbVXcpUX1YYEg9em2JbK8t9BYbZri
CHALDwJLywh8Veo/K0SkGNQa369/ZcsJLDemfVA6JfoTsInI9KPr3Xr8MDY5DR4hvAIGuetf2TKE
5c0ltKDVMhdpUiNaxAufOVKlQu+Y+f3LO7GxlX6oDEPPD1aKT+wOgr3esyycNoYaJ7i+g+pFgo5s
5wL//qMKaaT/bineMBoaAWQS5LKLQw8yI4h0ec6dQBb86LvtcgfGF3Ms69bbccQNV7FRl6ZFKGRT
kyaM+5+5h1rTVGcnMslPRcj2ULcbBhKWt4OFBnyKDWqCNCjksZjd4lDzeS8dvzX6ZfO98UOvwFWs
ZLmTqMl4h3IMIaBaT97OlWxr9Mvf34zeQbHGA+EfRh96AflKNH6p2qufbtq6Nt4SAJehDyRKb16b
cZ0go9wuMdrGRbmT5NgAHBAbhJaBhCIXKbaUl6ofcxd+m8JVHkNnfagXc4b8vDz0C/1qTHlPUv3P
9Wlt+Yzl93KRoMzLUydB31Y3AKKKtp37KatAD142Oci8DRceKIoN13RnohuhRlhBYAodDnrYxUly
qqZPYQhmVMIcCTmJYa8/ZcNXbDga1F9B6QcKhKQwdR+it4o2S9yko/8D6pbe09Kuw876bVS9iA2V
lEGK+Lzi9tARSJR8loYO0CR258Z86qH48CmFmJILlaO2X0GCJPomGqkP0eegQON/kjWogR0NFLHV
Z3DjselQ+3kBxXEv30VNbfiFDcdJQWO/dIKHYN+bBqjrapD9DuteQ+GGNW04jjbTwFFUxEPImx+d
CTLSxXxvVHbbE8VGiQ6jQbIUGmJJA+D/XwOUeauYiKl7vb7938/9ERtTCKrlDOoOOkymjBzZyn4N
AuScfvm1XJs04m76PIHt+wkUijdlyolvhUDW13itMJkmo9d+WXP9BPrVp0VCs/v6hDaMbcMMQcGq
mr6ZwAINIs8z5WudOE447oy+YWzfuuhIgMtHiCECkLJC10AFz34Nxe4C0n/Xf/3W+NZdB4xdfAFX
bJiksobgdnPnqPYEVbUdZ90a3gp20DYDxD0AOyJNZz8KVFeC5GgeIi372xAaxLeCm7+oQk+QbEoC
d/xdUGwkf9i53mz8ehs5OCmPk3lGpHFSEMoK2aVnxVpQYpsw29mdG3HTxgt2Cnx0KWnxGF1y8ZUv
pDh7YLz/JAb9C5TWe8XyjUOHX2b45qT2urQeoe0egLQxc49aKnAdSahHQLh0OtISHZ00m/fO1Q2P
4Na1IMjzVLKhR/IQsnc/qCeaX7JIxc6lY8solkeU6Yg6HdjKE45WapBh6zVGLhEyOGAvP153iq0J
WE4RiqwFhjsNkh6U5V9BLUs/EmSFkuujb9nC8gnqs3ZpHeyqYZUg6+jnNjzrbBiRxc3UoeK0qqEN
IpwdD9+ajOUfjUPnqlFwQch/mAT824iANet2lurfmtb/1zogZP3fnVUoFIGXrEY8J934B8IRNb9j
pNB/1go1g1OZmU+U9EffuMWn0INy2R34Ro0T69BAIQJNbb/FHFbDY9l3/DF0XB9yZj6D5tC6Dvxr
MUJCdOenbmwcGxFX1prPvW6CBGXS4ht0M8IvgLKOSNRDaOt83bZb37jY/I2faUhMgLRVpElTsPkE
LVkeadZCg9PZxRRtfeISSd58ovZkVi6rgisvBQTuw+xpWMQ/NCt3rt0bEclGvFUB61duXLx6wOer
6nyJkEBZo0qp5xmEDIfrC7WxK9nl729mUSkoXwUlkhzCdQTIv3V3JAWXt716mRUjFLTnIEnL0wSp
Dtwlmox8SYmQn6//9g0HtuFuqK+DtLqHnkDFypg70OgqMohdaEjARgUeQqObvV7/0tYqWaFCBJlX
NBphW4Di9CcpMqii9Xn65bbRrcgws25xQIaKeWTBK+e9/jinQf71+uAb28gG1vWKVaRxcSz7OX0w
UEjzPPoAxUzwErE9aOPG8thEjaPvdE5gcPVy0OdxEqC/ggjYzF+uz2BrdMuXwQFDwfOPq1fosSpp
yryP+j4Nj9dH33BjGyinV+Vw1s+AsqZq+uaBb/InXWdoaw8OFHhu+8bl22+czCmgMDguYZDoeqjv
ugbKj5p387GDsXc8bWsal8V784mqSU3btTxArqy+51BsZm79QzRyZ5W2bGA58sJcSCKCdzqpV188
ZPVU36V9RXbexVt71DrnA7SCSL/C5UuUFbvXYET9sICh6a5xDcAuSCSFyW2GsPx4KVFGFU6DlG42
/myW5rtDyCOaXfZAxBuPKs/2ZAgQgb64QjTt+7aLVw74elRILtoEklVhGKPdruB3sA80hVJ0GYyR
bHvkGq5Pb8NKdg3fT1fGXagrJB3F7TJsjPPYQN30002j25V7CSHsqsyZSC4ozIPMHA+SQpW7c2Jv
7AEb8xf6KdIJw4Lj1MmKqBkFnikaYpLc11810os3zcFG/TmzD/VpZw0S5LSGn8tk1jNZldl5p2zN
wYpUjXZ1IQI4IXPqu6zUeewL6LPU6EDKWH4bzJPYaD+jHNowiDcmNGs/Dkv4EjbyqU/p17kG8O+2
dbIjVu6rkA5IV7MmhLSnTP1kCIdh52qzsU+pFaxWqDpClmlEsJKZRgkc+ry5X7ze9tOtUIUGnsVv
6CQStTRjFZumgIxz2oGg8zYvsyF/2aJMo9gcJLnSFxXIUSZ5U01fb/v5VojqnXqAYqsMktmM9JFX
a3v0lXsbOyqi0X+PCWQ3dVYJoBqWvCtOZaHq4zLq5rZdY+P71nQY59CHXfkwVIk/9jS58LvuFB42
vMtG840t2MehiRgk0JH85NUutCiG8AMT0LszfvjjpuW34XwNG3HbqKVIZDqW3yD4DYmXue93gtzG
Ke1epvbmlB485C760vfRS+/oZ0Hz4eAAB/kA6qhh54jb8C2bppGSmSw9yRHhxsAbI6jK569+UwD+
eNsCWb4LSXA8NJnnJ8Gi5+yoh6GAPAfPh539v7VElvt6ae4KliFN2ELQ5Ac099jZVEF21+s1e74+
ha1PWNeNKYOkHHohcNTg7P0ysyI9ou2rPOTQDNqZxZYVLC/uBKTzAg8PhpRCJaxcxhHKNv1e5nlj
dJu0ULWIbOPlBPAyccTD4S8oRpsd+254mU1YyDyj61Lj5bw003wRTqT5XeGqOen0BD2zsOY7wWLD
Cja0TWVztZIek0CS+2y0OJpe/oBu6a/rRt5ao8tn37haleqmnqoVT08Qh742bVCWpymgQ71z1l/K
ne/kW2zCwhE6LotTIjflC2hJO+xxCfRvudY/ULM+14FJZOjeePGyXMItswGwUl8gaehVTeQ5A1SR
TJsTcqMpLIcQDkRWIDaFHkV90b3Om8S4wVGn/m1BlVjewLTXLrMR8AaNfMwBMtdARYHgl92mTEH+
pYp5Y+y5GiBDNAS4eAkFcdueiDgP5z1yrHd3Kg1txFvlASUTQGUnQbEboq1B9d0Q/k2gdXxn/d/1
OXzgssfe/PzRm8teatx9PcE+63ZUpxYM/d0ELU3HkJ2z512HwEesy6msJvBITMhXTauDJqoBTWok
hejEdXf79wj7P3/A8NbRli7Gr5t0QeGxCvMM9HgcnE46E6aHLB8Yex4CF1orAC1DvqFuA7BLQB7U
f+370Bn+QXsD/Z4tPahfUxZAHBJImN+MDaF7DMKlualPhoY2sxb6fpcpgMJDEjjLeh82DIrhi16g
C3d9ETaW2GbUMhXz18ErOdJEFZIrATH8x1y7DTleH39rI1oxTTazp5pVB0nboS/1IGC/OZog0zRH
UJOcbuqWhCkv03uzHTlIATVaupCuaNX4knpU/Wigpvt62yS8/44eDMj9ZhmFr8oc0lZQ48Kb+CEv
ps/Xx98wgo35g16xA0mpNkhIDflILE7zOoJYayfsb41uhbIA4jMX7TY/yT3JQqgZltkS94tYw9v2
UGjd0IvZp3UPsh3oDObhH1wMzdeg9dTL9cXZ2EE24q8uxbKCVzJMehP0994iyVGVDeCFaeDf8sSG
k1nBLAXNDvoTcqTr0iqDSmwJYHYkq4IHOzeUDRMEViAzFDW5ED37SQdGlERoKDu0TbHHfrG1QlYc
y6QIq3QGqLaDom+VeXhkqAuwece8lx/5Tpi0YX8hqeksCKQN3W6989Owj/OaJmKQ93kzZoe8X265
5MIMlhN7easzlTo8Qdv8kjQOih8VY+TjyFd542ayPLlZSmct6gHH+lKrF64ct4LktwwhNLNq5/v1
HRtuLJh1N6nHVXh5voiE9i2/W4zH/tBpGAnkLcURWuDopYZA5exCTLprytP1j25sMRtPBw0HYFEC
fJQICDZ7HvS2PaffK2dvTMlG0EkmmaYXqNnkvqb1Cqqo6RzmSG0rdgS1+UHgaTu4uxjNjR1tw+dq
Q0szdvgcY1B4iKAzD0pRZxAN2FIF24nqWytmuc06D9DY0WjGYF2tTkUwDmfe0+Wv6/ZwL9Z+x23E
ZW5vjqQAZWCmgsBPOjNHMydQgG3isf5p6ilS6RgFM3uYaH+3DmPUZcMjylo3wdRpKCxHalY845ZS
XD5tXFQJvDCCggVIrMYhvXG7WY7kQ+KwHwLmJyDU75Eq9P5Oq/Am1iD8fsuBismTnTe5LJmbWh7B
ijnGg0rrCIfKzvtkaz9bZ2KvO2YmMC4lHk8jmdWn1CN91PHyXELzu2r0U7gGhwLimzfuBuuMxMVx
GvIBOUnkryo/qSvSdsdyLvo+8lYIRMcFrZw0qvoyXEG2P3Q6NumKfjmfNN3LUtESTWcLSc0tUC0a
2qC7Go/9Bp32SDn6APeVJYih8fTc4+zccC0bZ8fRcgGUXO4nchlOOOheKzbupNS2hraOUrQVh2rl
yJXWvjZHkB0pyGcve/htetkA73itjTHzSSsNW3EVQw8bJD8DUzXZD3D+gcAlAPuvjObCcT/5WTE4
USpYmt5BDEgsEckHIiLHd4gTQ6vL5YdiHal7GvIQ/HRVQfl0P6xG/yJeIA4O9T/xdFqzaMUttYsX
UEz6x+tbbSN22qC1oQCgzCkCnnSDPLtp/VponUcd5Xt7ecsCVnQpOkH8sGSXD8y/XZgZ2rXFTQ1C
2JdWXKkuqbpshWZ1KkbwEwa/mzX7ErrB7+uLs/XbrchSi8mDaDae9SrgI/p2oZ/t1GSvsfpycry3
eayogiwgdaHz7ieQhZg+IjkEnXgNStlDB4q1o2my8LboawPXeDGWAnLKuCkpRn9JVB9JXHkZ9uT1
Zfo3/f3OTGz4GvpEgYkFlUWSUUhcHh3eznXsAtH51QVbyhNE6Q17qJupnb45Q1Fmx3ql7VPpI3Id
oBoCahUOkI6BYpIJnHjK5qGNoBepSuyVvAlAlYor8QHaSlDwVZVZ9hqcNixgY+KcnGYFSzlPpql4
vWz+y/YRmZJRXqrb3lM2RFdD5HotWiqSCo1BK/SefDrHjDrTnrbBxia1Ubqdp0IAN5GvHicGIl/c
eO7qnHo7R9/W6Na9JKxUBhEXwqFRD16+BvTN9+DbLW8q6NLQRvAZcPvhqLu8NkmZ/V76ATkt5JLJ
HuvDRnjjVoAQ2EqTWjTHmcVEtMgLfqAWYeSm5KaaEKZgBQmQS6PfyJ/8JM1xD4kgtd7+yPu0uqWU
iOGtKGEElPeqcYIBmkzeeTmfYuFP7Q4qdMu81kWjh6YS0dPI0cDmTfernuozDH4T9oqGNmQPynN1
C1wxS3qX5YfUCfkhWMmND1kbZheM0KSZWuwdD3R9OZiqyyaLaNcW2X3FZ/+f68FtYwfZ3HMAwa/o
uEO9bKZSfWGZIJ8FNcVvEN1l7fH6Ny6Zg3fiJ7vEpzeXfzBBAsxdIUAPg/iJy1wNxlDSgSt4bSqG
m13O/8xhVnyfxeKqnW9uWN5G3wEMhzI7zuZkCfNcxo0LBnBcmQf25/qcNmKrjbtzlGzx1kclEJqH
MoiGeeRezNY1/NsXHftqAFJ4vf6lLQtZPo62WryV8gFJyaqYngrcaP7ygaT9nFZ+e5sT2kC8ivsi
lT1FTdDx5zuOnB5Ka26V3DYBy8XboB9NQygmsLR8iHO1pE8gNwv+CnDX3zmjt7aY5ehoPyl8qIZy
mLsUaGT3s/WfvKOMRXztjbjL1qxOPywDfki0Apq0JwW9sQ1sdF4dlB42lkH4ythHv++eplocVhyK
uA+XWXx9ATf2sg3PgzxgEBbtgpyT74YfvWZmp77me3DerdGtN0TIWIOdjBvsOrv5Y8Ay9zznvNrx
w418mQ3Py8dGq7Z1vcS0Yo5n8Ize+yx0T5DPno/DFKanMEjL21zFprLzmF+aFqTsgI70tYnzvOj0
ATykBQh2AcvYkyra8Eibzg4sYzPI6zMvCeCMF96NL15V13Ghg9v80bNcvmYZX8tMecnAC3PXl0UP
ERy2x862ZXDrRE/rVLuz27KEdFV/qhRA5GIh8nTbZrW8vQfvPrR6a5ZcWiZlRAvlftUQO95r5Nn6
9ZanVz3IXp0M4+feZ7aK5omtQXdbHsDGsAEFMbp5VuKaOSgfyCP2Z7wIHd+0MDZ0DQlvMAANuOks
xVo+uFVRoJe+83d++oafUcuLVae12yrkpcnYNWtcptUaAL3WrXAGxgw/CTKF33JFp1/Xp/N+wwIN
bRhbmvrFvLqBl1Rz0QXAtc9gZkCS1VHRJV/1Ye6CBvIDFBKN46H3ZkhggJUVckGHrpiZihjUCMYj
zfFWisKF+iYufRCW42IwQEo2LQmYntA16t0HzZTvnNobm8e9/P3NTcQphhapDEjPo0loOpqU8EPd
yJsoT7Ail3jxZvS8BNMS9Fq9ZBEo9EW6b6sp8rvS3PicsHF3Y40yVUMWBJ6pHA7SHVnstK0+XLfo
xuJQK+rQkjndyrFh1oWqM5oim2feVDeJ42BxrKhTL4EAbxShCbht5AHiHNN9u6J8UtXlHtnaxiXg
3zTWm/Vfejz6Zcco0njVRzMzgMxo8cEfxq9pCwxhwxQ99bv1+I1TwIbieTNgSL5ovQSEOt7dMjs0
1ilrzgFmlVy3yMbtwsbjqRKVkwGM8QAfh42IWVv130KSdjL22hIEgoz4496htvWty6K+WbwRFDrj
3Hhu0vJ6PgSk4TFpqPngQQbhV6A8s7PLNpbNBuj52ZSWOhU0Gdd1QgkDzCJTFIRj7sX9VI/qtmhr
I/UgGD+p8bLdFpR4z9DeSA85sCU7k9hwFRuk18wEDVijRxKnCYI4Z744wDZ74N0tU1iOWI86G32U
8BPIX7UgFDHPI1HLAWoRKJTukcBvTcH2R6cWI2R9KB7emr2ge7+LRep1L9d37tbo1i3ABHnFmo64
iT+U6qVndfmh0s2eUtzGYWfj5FUbVHrtRjcJwqGI1n5ClnEanXSOnDEjX0kulUKDupPutEpuzMZG
zhce5aZUC763LIAksLmJUWaedgruG+a20YALZ1ChLCc3qaaiPjKfPcianxaem0gIQEBvsoiNCzRT
FgS17t1EOpn8YqBr/JGPy16OdMOrbTDg0AlUrhrMwdSm+KALJ3ggnWuaCF1FN6J/bLq7FV0XGqo2
FNfujH3Ohqn+0PuU/rxtfS62fxP/8jlQPe4tJIFEe31qkOs6uHm1p4ewtT6WS3s4tF3hByTRY7ue
6jCsx0gNJr2H2AiaJG6bgu3SJgA3mTuTZKnd9OBDP+1hZeom7Twa2iBAwYdsBDrARach679lztq+
oF1vN1W6tULWvT5YOt6pLoWP8WWANhkfDwvE4NAEWJKdZ9X7dc7AxgEKXuJh2y4wsdOLlw530lgr
mUW+s6gHp/BaSK6R6n7sVfUye2YPafr+zAIbHSicOuuLBrGwgI4HjQYp+a/QuFMea4jX6eN1478f
RQIbHpiz0clA/4UjyXjmznWX4uige+W0rNlwbNU07yT834+9gY0TXIvSxXPCIYlbQaLxvDYQukXj
eDtXx3QWrTyCl6CkIAS+XFGvT+398BuEl4V945oVmPFU37YkKaCoidQR2LymOR9Ot41uOf4qhApI
diH/12P2sRsd97U2ZtnZc1u/3XL8uWgy8MAVNHHFPBwlz39BlnPdWZgtm1sOz6WkI/p/4TOd6BNN
nPDctNWKvkQRPIFE6ibCeOh/WKe5bNGJQJuMJkPDkD+TprtQoe8luj0eXFbj/zPEgQ2ac4KWNODx
pYn2suwfwhaOnGowmbKeQXZRj9XHQiKdcMd1pXSkB2PwxJVOsX5J27FWB5OnA/nIFxHS2Axto47g
cNWA9+FFnMZgRIFqRDlyOX4L0bdJIt+UTB2IM5eRBrXClOckZgF6CZbyxziYh1SkzcMSeulz4M3m
GVpKY9wOQsWdynU0BLLCwda7kRP0S4SWnHtdjD9cSXTUhlkVV7mSsc/N775yIKE4sOXeX8MOkPzu
A/I6+hCijHVIq/S8sDmPnMqRkd90KeTUBD22IVQcO1PHHdC4amy/dZw4p6rq/1beokF1X6En0cme
i2X908r0IoznvnIz/IHK5Tc+kZeJLn5c0XmNFJmW2CXMj7tpeWxHCho2lzUnBw3QnEL/FjDfNs5K
fq8655Ofe8OhVf4nKK5O0VAOT7N0P1cuf6l7cI1wikto3fs8HoSEGLNPljjrzK810/LeIfp7gBbJ
owgh1jm57UtQV695WH1U+P8RcqvDQVOtkn5qw1jWxmujyswQqnOqLvKKxbxm00iTjOFEKbP5g075
l7TQzl0OLmPk8L2I+uS5DOc6Akn3Swsp1LhbgwxVVSkPgeBONKrBOXWZ+d3NYIcuGOmimfgTECzZ
/RzqIioECOJG71fJ0wX07vRPl7Jnwhr+5HTzPW5IBZjJPIA/Cu8PoY4Ex0pdJ5MKH9Je39dzeA9l
79+8Xv92RnY3VI2XaDYFUeHXUPhOV3rQuJhG6G3qMMVOxUNe/RzKwD3MiplIpmCpg25RedcI8KYj
sc/PEGRp7nM95ge3KPTR86ofosgfx3YMIn9yecQ5ZDgYzf9ZclZFJa2z5znrP4McqgQGkTdRNQkZ
dShCR6KUf4OhyRymvlZHUZOXXigdw2w6mlQ1Rybs9FmPc4oC4RgcvLmuDy6edtFUTq+Uz19kOnzk
jgtI74QcLfwoQC0XgIk5yL9k0HhEeXqsDnwFJzYBOXCSrdMXF7RiUTeAra7LVxn1wp0emRk+wKn+
iJ6cRSaCeLi0+CvINkXEC+nRGVsV0Xb6WrMG7ye3/z1z/hO9W0gLzbyLQYYKvmEKK85Z8EO1zXhs
SeUee6Qo4oLlXcSW6i9JQ+jFOjMyLXKNRreZ4HTtH9bhnQcU8dPA3GdVBxDcVOudyVQbh6J65Cw8
gSymelgHmsXcQ2YyVc6Dyev1PKzjx2rMP68O+7z6cBsU/tukcxDwiGz/drPZA2S4HU7dGOBu2/GY
iyk8OX4+H1ynXOOlBnqp7zMn9uv190RVFTkXwnyIn3yaJHkpRPjcUzMdG+hORjnCUzwTgEaWEejv
MZvYyU+7v8dhKYFZHYCN6QsO3TSm4hosJ9E6t1lMDTp3A2ro2euL/NAZlp8mM5vYhcTAnXT9Acqf
hsROw54aP8+j2he/O+O/TjJF9wmIurFT5jlSIJdJXAZS2DDQxRekk/h9PztjEQ0ErSO9F5JvLtCz
34a0hGqpm/6PoytbrhPXol+kKoEQwyvTmXwcD4njzgsVOwlICAESYtDX3+X71FXdSXs4IO29xgD5
I2Y24jlD62NU8MmG74IraaGWWuL7YVNzFY7J2kJK8mJmnDaOLsNaJBEw7CJB4nOXryRua7z+7VEw
upI3uaKOO2mZafExhOakgj06T0iWvdJ5pGeLqpJ6ZTLCjRPju2i889d+/+qKbwIcoDskFJc4ipZX
fvTGFFkDr1kIiSSQt+kYH+hkgDWKlosoZxs0SjnSabNH6nT/z3cdvy0TNBu5HZPxNKJgsozwZUXu
YtbduAvFeV3CxOUBVvInwqLgv6Fb7Q26/eFf1s3ts0kn/hq0qfTowg6C5zazx6NmmGaLlE/Dc5S2
5E90bOv3Vm8JPt2UfONe9KcNNSwt7jgub/aAhDvXkz7uienteJ9QyIUqHh4PJF9Cxh6yZNnOlold
1S2x7Jz55TiHzvrva5q5Hwvqjx/IAVN8jtJHGedDuzelCb+6LKaD+6EyYTr/TZB07vJO7BOy8w+E
DO6ueSVf/lecEI/dxj/nBRKUYbZDEahM5tMyfR7NvL300w5LCLMuDyk1TxO63K7ICbrDaXnkLNxP
aRz+bBR7TfEA5Qj/M7i88DOhKU2Xk5vfSCjCEhE3wLwtnj+e6nffkU+PB+kWtfbZSQ3lFEKdv/e0
wUMSJ+KKDo4mRxVOWE00oPlwwCyBY/yF98m14eEbnJeuTgekJYtDH1dhkymfNy4LO6NeV83g5GHm
3nHsCvME/XRUcmhcC1x5v60U33oC1Do2yVRAKBzcjsig8jONfcH4+CxHFFoO4wwRvAZZ1c70kcfh
iLscL+uMnsvLmKjHBbWk8HI03/eFDyisDqsIEH+5uInjAl9NEXpx5KHVn7bNYHc9Ylm4Y11xqA8L
7n8sIYrY08BGUYzxTHIUqT4qv7RF0ytSgDInuYcitBxG9kOowxaeYrwY3T5cxm7+DWYYhVQtCM8B
00l+sOW0xRj859T6QnCeFhsK0Erolb9PB7zlUnnkhlH1OxUrKqPHpa0mGbwhBLbPuyBQ0BbrqNz4
pgGWZmsxEPNraYI/iA5oc9sfR5kZco75lKJpvpflIqEERC7h24BspHxU4QsN2HiFsQLy0YUf93hQ
KW5aJg+EBemfbbIM+NFMUnc72+ppnPrXCPrW3C/7aWg1rVfcb9CYNPcVqtS/++ZNjkueniFM6GoS
TnE9G8XPTRcSYPjwtGRxOqgitVNSt3RBJyOadNoSHdtC4pQ/5PQ89gTvxSw2UHQDugT6Ox+ZNucU
vvVa+K/XBXvhV9P50fInttN5gmcAaZIF723ygodsLcPQpheWBV+ru9B/Vj/LS9xpf4YS9aiOrTW/
adxNRTKm7ildI3YNG5GeD+HHy5xx/0pZGH2z4T6+NOjplXm4cPLRCDu+7EHUPCKXM65JNnfvGl7Z
M9oymxe07i7lArzjW5N1+i+yDrpq6GZ/TzO23BC52CJRaAbdrJthKhoqM5WbcMMJMaX+dWQRktxS
PdzWY90srmXUiG+eZjfaNvSEYJ+t2hC+/HwcYitdpnyEk3F2dzzr4btte/u9nTDfTEpiEpdsgzXv
mPAKx92bDIx8XbwKq2E9UrhjmSrwqWDukxqomLEju6XE83rpeYBH9tjvrZ2a0rFY/1gDkV7VyDuR
p7yDhwU3+cPYiknUno192co2LVjShAUMmrJEhlhbIwyKg/IOXRX6nl2GLJwq0S2/p4Y0n9rt+6fa
WvyeWhZWMcppP7J4y75lQATxZLj+x4K+mhcz9KZOs2as+kx3J7H0U/n1Od81KrwwWSQaAtGGnO3e
zWc1O7jYIoOYHRZvVziYFYYdDwkrSPKqQ71pgZFnL800RG+M+vi24t0tU8vGx2ld5lKQZQMPMQRP
C5T6hf0KpHP9lkAnGIelS2LynCU8PqsFLFTudYYjs22a8M2KJZvPCORB6/sSL1uFUl8l0GSaTH2e
dZb+jBekGeUeBtK7lAm5DlQquA4nuuVhs7ZP0m/8GQyy+xPtC33bAs5uag+a33vYBD9DQbPgTfB2
BOB7qBANAPYQ5FfS45dZz8HR6IIQu4S/ZBaooxR71n10wbhOdxFM01SNB1yCSCZGql8hOk7eUfPa
KOwnbf9TsJ7AB9ECtLkGKyeqEq3TTY5hnUUl61u3X/GYq/nKUpSPFqHRHaf5xBr5L4I4B0c56eE4
VF0ijjPqJ2mU24ybrrQHHPeYU8NprrYggwOiH7u2cJGbwzPaC5DT4dDprP+GPbrPb3Y9ZHNWzRqQ
XKxi/ZWg7/RbnywcXvF5lfGtjY7Y12YngcwF5r4uN0c0rc+rj0L33wJsfC+gKMGcNGq7yEuqxyzI
N5IMFlLNEHeWRokaiibFl3FvTpMeXsS2xYqEvvmJlsfe7Hj8enwELwTXEBJqO4N2BdjiM30KbJf8
UQhU3wqYKYPx4YAFqCmbqMuGa+T6VF9HsqRTrgcSLEU2+dk/Rk3Aetg/x+xhDGYMhmI3LnqOFIOT
FS0/WBl8xhfcmski6FARYyXIWEX8azbrAT0JnIHXTlnkXS0IC6J6jff9BZZ9wj6gSgUlHfIZfdio
541kNWB8H+sp2kn/LMkMHkXvsmnK0QSxQNX9LOdiDdfYnMZgYuMHlW6hmDAZC7B6eEHdC0LzmLz2
ZhKgd2YkxFxTFwQY4zYE274evdrTqyFtMJzmw874EOQg5H7RmYqCS6OmJX0EDJCIIFd2C7NiyzZi
c8fwseXQEcUoajzk2GH9HMyfbkoOfT84X/xjGGtUiOeedt3xwTSTXdGQFAcC0SZIr32rXZpn3KH2
Fqy/nJGHg+O9CvcFmwFFDEaf96RT5zlsWgjTMSag5nEbHM4uJA83lQoJVKO4CfFWtmLFPbxuYP5e
fcsoef+qyWa1CwMM07SXDGvvMUVPrnEM+cigL3K+kbS5syMKVdlpnBvn0fptzUGKDz2edrnhoRJt
FleHkZYA7eB6vKSQItOPBjUvd94P1OYMrcAYnFK+dPiZJuQReRVkR03RChVi6Q+0wOPts3nN49ll
G97eCVkbOPnXqbbBsvyzgq8fi0GScrkhsrY5Sw1Z+GM8kjC9hiHS/Qqo+fc1xxjH9gf0f/mgJHbq
9F2sA1+QIJGq4aKXZggqt69Mo0TNTO4tkUfAfoSW4QzDbb4dxWrblKJKUyXtNeYM8cYRwT+qBuHn
4UPb0fHZ9hl4Taybja1xK2PvY8z18i7JQZKrw8AlEWnQowkcr2CyXuCSc98bq+KfRLRrB6QmtLxY
aQMyokCHR2trbNLT8enXjkWPIE+76S+KQgL3F6Hr+PZG9KZVYUoy8Rl6pX8HHPthCSPUwnK+H359
nCn8Y9+GHWq/wsZpSp5Q/2tsmTbCCYxUVIMshzP5wGUQRrgXoP4GwrSPEh6jzeq2PDDL4ChwohNP
yMfozXtLEeJyFbqdPnaZCfEc6XBGiyE3y1CNWqulSI9mPK4+XfoAH5TpFYye4mD5EW7MP/pm2o7T
OuiDXFV89D/nVizt87qZleXObdt0wbPDpvzwIutK9JnwvQr8Nm6ncO6Df2zq6F+7pvhzQ4Ah8YTd
ziYPJrGBwva94Szyg3P8Pq/waVwcX0Z6nZjf/SUyvVlrGjVE3/HEBPwFlIMDdgWveFQ4Hm9RFYez
cGW/UezyDK/6LzTN2uMvpZD7fu8gavI54OM+OqUszpCJmDgkta9KxRRCJ2qRX9x3g7lFi059GQRL
Iqp42yf7wGPnRcHiiKQXFQ4xRSzemIanKVixDGQAb7B5ELv5ukOt35/Yqm0so2k0Ee4g16kHcNwL
u9p9WvAOe9xXpSOq51WT+C6rlmUc3QnAnMNR3/AeTz3iXru8m+weVak02V7B8jFjSUCoA8nBKFCT
OwUY9obJIOoe2h4rRSHNtvqSOhJFFUSI5HGdlRCnrIUdJR+F78BUQoZoc6tpLG+YmqfljLUwsqeV
jd1RKpz42MSSvRU3oSPfl0TsoQdappt/lBGyVbGcQ12KsVf/KS7bN5h1x6DojjH8l3RQqOXD6uRS
zl3C5rJzG3uGh2H++/UvMfeiX7KteNeRvoyjsX1PkCwb5D6O+X9LRHtz2cMunkpzzCvO3k6RYCq4
suwfXP0br1ZwcAZrfANULWQdpiPggq2+7YgpGOpkcVKerOWTuCJjKcaHgrpRFxauGRdRj0nWxT6X
eI26arUI6nn56unoLqZFehKO3Lg1zy5DeVMBUiiI734f4SpqD7sTiB52ymCgWAa1hlcswjwpTYKf
t7aIs8UIng4G+5NA8hIeQNSjIEp69m/TKjuUtWPjj3Miop3/Mj2cjk8MUYR7HSGmpn+FRjVIWkBl
yD4ojFjcSyJHyJA4R3bRdyW5NGfVwgpVrZlS8mJmJFj+CXibBtcMIcMwPgVDL99Rda2GGudzDMjR
6BBR9Hghx4q0kkal3NzYfsMFhtpoSUg66hxxqsiVxwACwv+hgWx1Kw7UWuDFyGQ2f+qRxePZ74nY
YWwZ/XhDiOLOvk7CoxuKGNeXyXGpTyLPMG3i4paj3J6xbob4D40EOVMPABO/YaIb29oAYlpyt+zj
Uc4x9PGXDtNicI2ITubrCGQ1ug6hCM7on7YPClG0+jIqjbPHhcxj/Zzh5KyYDlAsNE+cgXQYeaPP
i7F9Aj30yF+3w0+Y09XYxwBY+AK4o1+bJpcy7JcyDiIOqHVTxvxZuKOkxG9TNM9orgNUqMeIv46w
5I+4QoByVtBZtEEN4nTBqQjvmCyRPybsdUun5l3gOu3uPRptIyynYk5yJCT77JFnYob4+wgml09Z
upasDbcb+jS2IV/GbTzPNgv+ABGnTwC3k/dwOMYYl+c2V3s/r0izV7N//hpyx/zoNIRKIgYqnegl
e+7mYxvzZkoAHouoRzEp714yHjMEvNDjM9Fp+45rZb1JdOJ9b0hAMeIKPZ8m72fMk9L6Bgs0Ygzl
ELR1SLqkipGDdafb2Cw5TiW8vRHOfDSWLeRmgk3SL/yx7yqjGvkh5w0YSX8syUM3IvGlEI5wwIfN
Tquhoc7ijs1oBQO0exuCUDssRYa/KQvsolkh+qykkaRKFmuuPT5XkA+poXh4mgyMvZXooEWQbFLP
fN+wW6OkB54n674dLJx/NP3gaw6MQl/7pkVQe+AckKWIhO9Z67yu7TwoMA+dTUMsBTtw4TAN3YGJ
Jz3Osccq9jxFw3zlQYO9eKTyOxkbNI8QIZ8avZDLTkI8hlmq722/cZSFxCksjXZLVpx5OnyMBBiE
dg3ob7RCudO2wnL9dWT/kHLnpQf5feN+lA8hvi7Omql7TeadPaNrpPlFzfhPT2lXrFu0uzxDLvx5
PlbKclyAG/DfLcMhQRIkKDNcUuDQfvQ+Akfc0dgh5mteH7wMkw8TGxw4/cTrrI3sh1q0/eVm3V6X
qFv+qCQFEr+n4QInKzagfE/1fk+wpPxGkG6IM3PfjKoPO8CHjEjRlhVhskxH2XrYtDC0zi7Kj5WH
Pp+PoOsuTqQqrbRp9u0youd+q7HOf0ovfkgRmQo+O/YYxF6lRQAvVjVBWI9JEPtanUzjQisPC2SS
430LgQ8f22vq2/59Z0yV2YIIqjZdu1dkRut/EziYz9Qv4R+tPIbXXdEeVxI3JZ2two6kVnPpNvqy
pAQkr2CfIS7qO8Rj4JxFdPxkvTAFNZlFLkLkSsXYhNalISuCjTQ/WCK+2m/7w1fmcEgN7BBHBdZo
zT0BspSoeDorxTIAC6jexbcb1TsWtSrTza+JHg3IwC2td+oFwCOhaty/yzvMSJhfoOl/bH1zTnZO
K7qjloAT3+fr4GDOV8n6i/YteVjxa+sXut0UPbazc9q4Co4BAqYIbXh/vySCHyFCxSsLS2FlLTrN
lnTkdUwInXOu0+QTbuE4Q/eoGWucMVFlSOQeHMpzLnMyZvUiZihHdBIV4CHxtxvVX3sRk2vsUnsB
+xacjwFRXDsmLaTs7HEZqrT5EU+Zu0B0EeO15FjKY559okNbJznuXv/eE+bRDIdqDvxl/4dpHFaB
xvKSgODIM0RY56AgPSaGhZQe08SJdlhOFzbZp5hG8mKdtyiA2fE2kj76plEspcCzpdMJBWJ7PiBZ
c4AQYvQvGOF5qfEdV25buw5bOyFPep7XW5q17N11zt06LFnFPhCZb/2CBTqUev/0qd/OGr01DyQk
H0Mgk7d1bfbv2rbPaUQdTP2gvkaxC+xA6IIS+J5eqeLt5eDTXKRmmOtpnqd3oPvp08G78R2kj43K
dOW4V1CgWcZmiYdq5qul30c54Fmiq1GnNGFphfiNroSEWyO1k6emwjAVVSuZ2cuieFbCuqmvnXQe
M2cmcqmTAAkzX3hGY2dQOdFeTj5kj8vUunJQW/8IUFKfukAHZZDtv1tMBXc013dPvl9ZCZ+BO3cm
3KtBY7XRAcmKZO4+moM9dnbGDhP0rOjHvS8UiqO+QrnbUxQ2Q2kW2Tu0lidAinUDYBGY+gFmg0Jz
Y3Oy4WMso6jjn9tMunum+vC6NPEWAnb+Av23sKlDSItLAUIO35po4mJ1Rv4xcefzmC3922ZCnEtg
mC4sWZq/nQzsDWEO03Xuvhg4OD6it+TYGXiiFat8kUwtMpmbLfD3/avBl+8KuhGsnS9Us+id82Ry
2CVh2S8ShuaJXYTfAzm+DhxDc5ECLQLILeYVxVESvEuy43jJJ4242bxlCPPKg2l2iMRQiH8+XGv+
oKrB38JV9uW8j7ED02dRQw/g5WJS1qC52od1t6pLSt3ySmKavQVHaz+EBNc2YzwtU0QmnTY/EBj7
hLmPDi8jXIr6NkQkuQxOdnhIFhAcPSCZ1yhjCt8hQc+lwv8aGg8zV42KQe+lo63asH1FLlNWb2SP
DhCBaXLVXZYBjCCSVSniX3+NUYDcM5RzFRxIJSIqEvKIF93kCaD8Tx8R+jprFp8jgoPQbFt2XdED
US9Y5G+ekeQO2M/ex8OCZAr7Mwpb2wKxbf430Lmuom6VT5SpH8MQqOsu5x5cud1+mVk9wycPlmsy
KMuC1uY0arJeMJEdMm8DH9fSRz9GnAu5ZHNzNg4HlsvW8L9ODcGPo98IAtun/j2OpDppFQSYjMFq
QIB2/G4oZf9QC/R3QXQzmIt5TsqvbAWwOhm49UwOtdPU3lXAt5qjo6rI+MAeHU543E5jS89SWlVC
MAO7k8ri6ZR+NeloKsebR57bBRKR9lcGkOt5FTFymmfX/9rZsp70yo/XdIunqw8WUkktpm/ZZEl5
jBRG5T4reyt8lYwCMqNMvqNrqMkh9BBlSvCyhmIHMNxhrg6ZTL5BYrjXTbe1d9VkH0nM9HMyfoFM
WThvN9Im8a13PYg/4DbPkZi2epUrMH5B2VCMGLmrrp3wycaKI6s1wjkIjA6IGkxXtkK0gf0DT1T4
SLKM1C4WqpTZDskyJuIr/KwxigkS/xaAncM2J9OHDpHtb1OXjmjjJRVD+1k5hNnwEAZIO8AXYe2n
TlMPqzj7vcpJP46beh7oEX2TIbppDLCmB9AFvDLD1p0j3vA3dCxlv7i3zePRg5wcxDxe4KL0d1RW
d1coL4OKUl1BYpI8ScyCFSHjego0bsc8NLACUw1aZXTNf0OSATxc9/HPaAC07JEE5qJ7Ayhx7Sof
6aDaDOg/3S2uxl7cPGDjTM4WCGON9wJ3P4Coy9xtx999dghPNJ7ftgE0ttS4z2kbQRQwu/jC1aHB
mIh6nQ9Vm8GwOoJo613YBcCTTN+iuM/OsB3tj1DSZ6XvjcxnB90NVApgbZCKmdYrFIeYG4/1DiBy
fOyZtGeStv0NOEWXW6cmrNGTwvuANLURaubCZisYh9i35YDKs/9mA2rEiFGVYYMBCIEEQbEdwBQ6
3C4PcZD9UMj2hgDHmgcCIuG1XVHamQMKdA9hl8mHffK/E9MRBLo0/5IjqEbD1EvAAo/ILXAdJKQ8
H3ww1FB/AKX3mMO6zta7aPazidff85TNgPNsWICz2k7eT/EjXBYEOFi/qrMfI1IZH3/ipZHIIt6n
h8xSd8b+tWGU6NUJ6HL0SkBHXeCEB32gkveeo+azgXcdqwOqFNcQnuODHuYSqC9i4wBtsu+bBqbB
Xd5g1f8+DKHNY4ymlwxrbOGAHXwAOwJdjC6E96RP+7fjy5veUcSxNL0lN6wc6YVjJn7e1ja4GBxM
Nbo5oaYhWDTv65LJZwW763uyO/GkBDowzZfiqmlnfQEdru7CzN+CbIXfafY/ZwwCFRDOthgMJ+el
yR5tfGQ1pDKfTiRbSVvVvRFMHd96xJvVvQGXuSdqve6gCM6ii97bAK9+Y90aIgamH0qQ3lOZpgz3
ULeovxBemVPHwVGRdFnOB9lwTcDQ2DYYcCEY8H/cqGKG6AOZXEWa6XzzUv71EziwYOx0tUUIIovD
RdUB6ExMIlLidMdmAL9fe6EMCigFIEZiie30ty1mgKbbeC2g3rLA6VhSiEBPD7rh5sFI1VyOfd1P
dE2RHa87eOzgEH6A0W7K0wgt9kEc7sXakuCETYQ++RQFQhuP4ylPACK8bxJ0dKI0KfdO//RH2H8m
dEcoTrZG7Y3OWwpsxD5D1ZLksWpEmTT8L9sRpRSHiT/ZVuylXHDMqVRhKNWLrT3dTR012X9TCkWS
kdlWEOxagLIm9819/aS70D9TMdI6RQDUSzo02d362BTxsoBwE55fs4P+x7EqARu1ABia4ULhfy4s
EY/Ij8SEGUxLyYYNwCgSXDGd6fchxTjrvPlugDmW+wYUC+J9XzZaDL+RITh+S6e2yX267m+yR/h9
wJi49gcZLyrt/4bx2mLwjn9IZBNUCdsZNCjpXLIJSI4NR1qFE5R4GrE3D3vjzgTp288aLXQlMpkl
riy8ahttD0g4cJisKwJm4i5j+HGwZoBd7Yt4Wrtz1ocBbpewf2BkB8wS4B6nNEBsGZd/bUDWgsu0
fQnQp/2AwCpo65o9cbWHj6y0owFHipq30kOadBmgYygAtca5VsN4tV+JU3baoecD55IDadYXvSl3
0hLtEdZMMNpo5Lt0tHtBHhuBbkSb284j+rDsa/srDDP81XUG3GYQJq6jtqm3Pm7e3AC3TNN0SMLk
y/LscI1fWzL8mjNwu8vi4bsQCm+Wp6qcZh6DgEnVTZHwI975TxaD7dlbHuRBCGUqBAdVljWQrEH+
jLuCTMhl0sF6pRGLv8E9n9xX3od3FMJ3hVjos5XxeomgMixFlo3lYSJ9WyiAisjtMoep1KHufgXO
0UKLHvVDiHtSxXkGGg0CCaovwHahFAoQMcgCrKhtYteKRlAVaDSFxpv+1UjoEKB1o3kL6UneQiGR
r7BHFAT+dwySQ3u3wmUPEpfgNxn3/NztzfZOR8QUge0Ixm9fLbC5M8Ma43AaAGRO3PkfCRXY0No1
rICCUPMA4V32BPEYRBhBaBAY2Gxnj9f7CgLveEKSRgflJK2hZTB33Tb/Vhm03yHF4WXicBmuYSBv
HWqXQDQiZ65ddvMiEPtY2AnJ2ktH9hrYZvMA0jLIIw5eTQTko7UA/NZtxFa/t3pEJJHeB8ilkK4K
IcaHww/7AhptvnSuFQXvlmdh8IFJOvzotyU6SQGVPI4C9ZWr9xv8hSzimNzSAdsU6H9Y7SO4qvZf
4ku64eJ1OXVzpwr81hRoXx5B9Ck/vhjXAlXzDFd9/Cvd5o8IXOtjGssBA+h0i5Pg0RmkM/Fpz1U/
/TiYf/bIIivDDRIXlpo6IctPm9AfM12RybVjzDg8eZoOD+OS0iCyM+0e8UgxMAOMFXyM/2ozi5NJ
SVBEDEA4ehGXXEMWeZK2uw+7+JlsWI38Os15EsXjX4oiwwfMvujBhA7jkaXzgOUXot73FCbX73pX
C4XSNcN61sPYv+JO+xnYxZ7SeZ3PXImsAqPCz7vJ0qInEGFAsAlJeeF7L/6MYkJmsu82UkTgG09k
AUTqTeuCR7qALTXYeP6BVp/u84CpQFMW93lDtqnM/i8XY1BXdctqUCzYG1BOUVxCNhYC/+AtMNUp
WX5lNAUfvDisB4deXyhUhL+Rb6d+m9Z8XfVrfDMtUDcIABtyPcaBYbg5oM1cAxv9zdA88m9sR3R/
jVAF4wKL17dggAEDhwxBGT2xLqQlzvqxbrImAq2/ImaBEb3/XlFpdU7RGYbcuOS4RN0KnU7s7f68
TPEMon6b6y3q+1PjW1pgrlQPgDrDu9w3cT42M2DE7i1Uzagi0XXAmvgfFA7isvQgumQ8mR9rJtxZ
kgQyFI2j1fQZex4xyl93C4fnZsetjPywfo83egCixNcqU45XlUDV/2b40f0Bu4goEDlkFEAmQuJ/
grLRP1AyOb3RjmcVc5Es3Ui2G3KjpyUft97nUzvZP2vmJ5PHCz2Cmh0CkjEUwnpfWahUETzWi3nI
W90kZ3g77CdaN4Da4uPssURjGcMk0d2xmpEbQQ/kAzBJBcGaXELIun0W/j4yRA1Drio3hDj14lsT
g1LErTNBZoGB87FLl/A0IMf3pZ0tTUqOaGQgShI4B7bdME87rd6gRpo1uPlkwTJ+IO7u4fAjzQpA
PGMGuUavtzOItPH33lL1NmbU3QWUBljuPKSxSJUEmlqAhoQeO56HZKsGfmSgQngy36JhwdYC8i5o
czovHVidjmaq6qRql2Ie5uh4oxtm3jzbgzYpDoA2VX8MGAo7vGpLEU09A6jLZVQH4bY6LCf9+All
azJ/xTaHWAOmxHUF3TaHQqJ2icey14uoPOZAQD9qwaaAodid58iNT43lSQWmkT2OAzisS+OTLCkm
CBPiu6MApjGaIuSvHmNNs9zYrL9musUDvDOwAlWsV4BhDJWEEgPzBt4aLyz5TwIAHF76pgNqajQ+
lMIC91nLWU18LGFbXNN6+x91Z9Yct7Vk679ywu9wY2NGR5/zgJpJVoGkSEriC4KiJMzzjF9/P9i+
3TSOinWbbzfCYZsTCtjYQ+bKtVbSPLTdzpHebS1yzd6UlVrdQnS3D03tm/k6G6opXcF8kex1JCRK
xEoXJirhZBO+aDRG0Z2CADzbjIk19JBbphEJQWTU9sEMQ8PECxrhKgOSFF7psb1VtvoKtbSJ70Lg
sdGBxqNo16OVG8oKipnWbejK5qWrzozAt5q8iVqqfFUK/Q3odzqFbZxXeyj2yeAAqDFOHvv4sDaM
XPUem1ypvU9DZo351yBKOzWFpNAn0dbIqBp+ocY6tDszJBhq6Dw/ltEum2LFWntdFj5FflLe5tj6
PIRZYCaOBGp/qqSQu2RfJVTSrcBM16nIgbXVcqieqBOp4RrUs5oOHd1EilU6NsGXOhKKtyrp8dJd
lX1QjWs5HUxK23ZfR6+UeTXtzhSmXLiqJ3vJrocHhgV9LSXUDwwDyiZNJedCSa9YHKbeMNO5R6J2
umUW06M2jPK3Po/DXSCV2loopYL7bHMfpwFP4svR3rOzdI3NTvNgQg9dN6K8I+Eerg0sXjaVNtQE
HPVdFOcexHTLHxAG6Nl2aCPZyeC6ruluDArLja7Aj/PTNAgCijgd6fZH41F30AsxOkRsYM7UjTdU
tIev+tjdcSDG+1Dp1Ida04crrfMtt6aZAuK9EkbT5JU7v9DZclu1eZyA2ChID8+tDAHMjyEmZ0Ef
rC3Kr9AyB8kJLCXaxRg3zTEinm9xnn+iDkW4qXXx3SCkYg0fodtaZjCthySXjr1WwNTQEWP3HXJK
aYB2QjSRb+Uo8mj6amrErmaljKeG/ML17abvN3Zpiq+UKmV22JwyluIV5ZcmGrtDARsEY0ipLG/g
SUrVKoNZrawI0PN11NbWRrLICFDCsNk5Sen5z1A8q5swJuuDUST6k62NJcT7oa1+hDKQuYBZKVat
bYUCsUuCoCAJqwESjxg4Juy636q1rrg21QxwSiYU9dnuk6/XzabL6VmDbkaD+59ED0pb+ofKGNND
NRb69zhXCAqVrHCzMShuPLhYnwxdNq6VoOPU6JWk5lAjYXFEpxXBNg+1Akc9pdvS7ZuEDRodzaox
cSf8pw73PJhKTFpl5dN1NXTTs1YBaTn6ONqDgzGnt44o4x04DOsNucqTrhheua6MlhZ19Nz7VsVQ
coqiEZ80Ik/yo9Zci0HHr9aESa37svVkgsrvlJAGdGMT3nu29Iz9SUxJLg62eOme0pz4Yxon86Bh
artlZzyY0N7W2Dl6Gxnkkiwv5+XlrllFN2qXyZtIhkAYZT0ENjlsrskkkEUIUydjVV/yMITWnyvJ
Lu/qwom0+tbW8nY9FVG0NroWw5vWOk4ZEXNp+8lVZJnGqmyMcS01tYmIpzhZrXKEOLQpEjXbT028
r4J+HZkQ//KqVk/4lNxmGWRqGnk9JUGqYdSbi8+0W3sZqfU7WldYK6kLYEiZ+gN1zn4jYai5off6
C8Sio1FPO73NzIMuFTeNbjxaEFtxXRoqSj3Bkfk+gkFnaIkqX3FGT1R7FYzJa1t/banRRu+Th1aK
v1WBTHRGQYRuZeClwUHRgxuvhnCFFu1I/dl0/FLIB6sY6TXGVtc41AjNNb4kGoUrbeOpYUOoJ93O
PFR47ywxdMlqWR7aIggeQiM/qVPTrmiEG6+E6kfEJ/mdNyD2yv2Aeihv3hnAWimP1EHqRKUWbrQS
Wl/JCUdZy1e3dT3vPnosh0cinJdUC8HNOFU2VO86WGi1CRJNnqbGhcRpBfyued1VVmnHIu9fLBEW
a98ev9qwBAMKp9SmffUQ2hMoX2/q2yyoEHCUBbiFFparkarwgSK8upmsIN20DWIstS/M73ZGYcsc
0P5g26te43ZV3NFooHkw/Ai0qxvCNf4v7TrotRGWqn2M8nFisWu+/dTa+lOhJjSVIGlqt7BnbjpZ
FI+SmRytMfVXcKxsejUb8tfR6ItvgeX3RGWZOFK+TqIbtBPshZSkb8xcBxmWCBVHb4y2ige5v0EG
MNbJ59ouh1t0PxSP4S6sBsPXrwa1E3vVVsfnnt3/gSKav45KcHs7VNwWVRVlsF52Gs0sKUuHCgTL
AgVRGbwQYCME8+sgvK8kWaBIg/JfZ2YwrPoMWvM1kALVwqr91sBZvNKQ8zWdZm29SIFgVbV3EdQL
jjnrkdgVuogEET0JWesmlX7fGNu91pf196xSpn2h+Ad0bkeNvGUvlCA5RRBK4IN9jfL4UfaKr3Hu
X2dQhHY2rOIj7sztGjy6W1ttPn5l8MRuIqBeS2kz63WKRroq4zZvHXnUlWOOWcoqiFmlZjpC4IPz
ENygF2dJNiXSxkaDlG2qynpMbH0fS71+U1pmfkNlmyg/aJtXs5D9g1Qb+c9JZ34YimWcTHakFZIp
sYV6HaziTtLAI9viJunb6Udo1lGFDTZwHkVKA4qD7QVXlhaFz12G50TW0rYpzdT8SxqxIRpmTNVM
/4l2wb8ezUH5Sel/uMoDL9lnZIvQJvHsVjFD3DdDEK902sScasqTfKSlH0IJ2SLCDD9xapp13pid
R7Ijh6n23CkTMUdA29ed19RWdExRsSQrepHLP9PJBG3T0r5s74e4EhBHItt+GtJafzRp3hs6ZV6M
x1xKu71NpTHcxSV4EOVzObxVNDv7xsTxk2szV8173/QHA6ahjpDOw6etNXokG7N/yrU3lMYNJmTi
Toa5n6+ydBgwJgrlfq3bWYmAwJC+5QbtdQcEFCP5lq/HeDep6W2YpMFzQ06977pu+lFPfXkT23HU
rsnYrc9dOBXyLgrGEZAhghPbyeatwqStnT5qwcc6pAnEw0J7gAFm66s8mwS0NMp/xGpBqYMXVOVJ
gWX3EEsAL2pdJDfoFOoDWA3sMbRTx9JTpOMU032mCsLSQ+xWZcNWeIGxLmSJrnm1ZCr3BJ3GQEcT
O/yqw5y+TjS5PoSZPu4UnK5h5jSWeoTEm96prZWtrbJH3NDk6lGqTHFDiAovIcQkAfYK5JgerSTy
fLt+yAhw14GYUT1ZtorbAr5ivOqLzljXbZOsJkWhuNCEFOz18aumkP/VQ9k8hYElbfUxmnVTvXUX
kfmS4qgUS3rk8tssGX5GRhneJTbiXUqKXvEjEgXRRA2bnmgebwxfLo9C0cIrPUiGK72sdGyFNFR1
Xj4cVWWStsyReKMbFjTlaVLXDYYzT1Ey0s2R89+lEP1JF3W4h8k7QcsJa7GPZa1DvQoMDyv7VdYy
QJaAdGzSk35ldWB6JUIMRyTGJxnxvlN0JXq/HvSlVBX/AWKPfoj9SfmEYUu3qUsY8KLvmlWXCIpH
gYY+gXAIdXIxbuDKqSRrjEMFvDAzFYDzSp6MrJz8ge36oVPldB3kNCFtfJjsxOY5IY/hHwQlVjYN
AFVVUZQDrYABEoyxWXmQVW8roQ+jA9FEfOcYGrZ1QvcIva0AMSWSdLprD+QVyS2Yr7UlMcNznxoQ
3MEe0oVt3IQ1oFsZBPYrfedmVMwbbuwq6BxT8ajM0kl5i88KUbpB6TuY2lM6jSFkXoPgAWufNR1/
IvJymwJrKDwXvka/4s0HuzaQb/yocik4R8ChMLCiuibkNyz1kzYX9JI0/NmR3jjZEGNo3gWC5ViH
u7FLVUdGtLJqZKhNMKXFxkeAyL8841TkSgpl0jZPfSwebbszVzksq9ue4XuG+/FTnSUqmU9qJ0L5
ttOzYGuaUP3AhYA+yVgcUeIaXXedv4kgbZIwWBJIiTm6Bo6YeTTBoUWYWc5ijVr0k0OnZN2pZKa9
loDNJVF3JJ5IncrvseDt98YAFc3XoeeJ0t5XQ8yfqSSimj43qR+0I92cwlXRIfTUSqxDPa3g+CjM
n2wENHZKh/RHqlvdTpuM78TDlVuqIcM5AbSgtmiuOx91cxXLt7RqsfZNbpWHMPRixyryknRXqTnq
oXtZKtQb5E4ERFRxMinxmF56LU4JHMBdBJ93FQ8jFby5P3nY42M0TMWXuE3nHkuEkGmmPTSkgEwQ
I9r1dmhTwIGHO5EiX9FN7gsOhfaKw+0aCLrlyf1sDTkh3ZiCDjLI/1ICfpUiPt2jThGkx5eglcyQ
KKXRr1WzL++xaJRcjuZxH1ZtRYZbNrAYfZ3NoIe+lUEMbsjVd2j37iz4QteSbiUg9YlG8BuS/oG8
HtK+y+4H6FWtL+tkSewRdgMi206aujLQQjjERyH+XDr0BHR0O9MKJFavLaufDXlMV9Q6WOlZPlCt
RzZQFHIGBDeZz509xvueTkSnCcLy/ZB07VqiJdTJGMxsi8MsvUlJ1IASkpr/HYwOrVUKt9sLxhUN
O+LTIA8+gVuUrRVrmPBMadQ9Dkaf2qkWa3mwZ3+CXD9qCOZWMJrBjRV0bKT1wVUZpke4U64eF8k2
rH1/l3jCjdPyKMFmW6kCZZw15ByMgDOHWobeNYZW81lBGkehIa2hg6XRftBC0+lMb3QjL49QfWaE
hX3rhDA42dnkbsOufeyzGfyHWVtXEGeyNDavm8lUHpqAtCHpaOrbhAWloXEWTMc50HaVAShHUrsD
pWp2Fays28zA4STSms6JROvCLv4s9ZK8qRNPcqCi1UeVcV+bWnqVq8FnWO/1Sh5gXxc64Ug1NidA
t+lTbZnFTY3HY6HUz4Nhl9sYcS+wGy1chhr009foFe8pRB8em4Y+wRNDF3I/sIWu5Gh4pLXlNz3k
FDeCodhCe+k2WZx2OzUJjp6mqZvW0j/pftuRedh7I9aSzRTb8lb2c5/XUT5qJj8v6GFsp9nnKoaV
2evKuKnACnQTwVxJW4GNCitlb45xCMc2Tg9eHdSPZqd+maophs9A7SHTGsiXnf1d0B+ZUE5kK81k
4o1TjL4dfS/q8IQtwvaLfaHZ4GFh+Ekdhuol0rIrQwnHF4Ra8bUXK/6VUCJrjZoQH9u8eilErJC4
6RXV1lF16SvRfauGPN5OpJhfo0TtrjM0D9scYeKnpEIxp1eQsn1JhiWj6gpqDM3FJ4ASt03ljyK8
o5KncVKhFtRasVIM1SW3SPFdACXsaHiNNmlveNottqfEO8OukJU7X2q27IxX0MKfqjq4ERFnHNy5
cFUX0I5NRh1qXbNB3/7qD1nMIZrOJ1XnWCKu15yrJ6S5sE7l6KRgdkEix8ZaeDIi2UE6elO3Lvxm
YwcdSpNWOtG5XN+0XQ0o2yiIJ/2dMUUw8ZL2p8EJjBGHOWxGYs31wLp3aA+vrG0r+o5yisQ+wY4W
2SH+IEks8o1oxvg2DJubJLWYARqzypcYCLSqz+WkPLIXPutUUrdea6PhCyRtXRstTCzSWyinabjl
HJ+od8b+xvdtJ6oL9WSrAYVA4T8itmCRJO10bcXGJ7UY+50/jncCph2GDjmsnoma4xTHCSk78vOi
FNk1sVs5y2uSHMjR657ClsYBtQKJQCgTrO2h/GqF9U/sRNDJQsG0pBaGQ+L5N5OHABR20rRC/Ij2
p6TrrUkv3L2WGcOq9VOZUiABTJogTBFTDr0JopCj5nJIbat+DPwpAsmbTqRhc+jURSsPLvpGRznt
yLV6kzR+5QQxNUxjlIpVhhDCAbV+yHNVOI2n3NKIHepJAuYY6xoqHCC6lZ8GX32q7yGIdjzAVS+l
VUjetbFiy9pCUM9Wepr+8PLpabKNZEszkbngk7haqJQQQguodjE81lBHRGp7JWVcZdoKbRpcOx6N
VUDY9FSpU7sqpM5jdY3+Wi0p95pVbG3xQCmuqawpDjp8Y1tUCOgp8iIhtJXr0a/Ma5gFPYWyINzK
8ALZlfpvZd97CM2GZKdqzVMXJ7clcKLTAYrNavxwryjlS27Jj0HQIknsg2mFKWfCrKaUPcqzb0b9
aDVmtTG1DqnPTNQvFPLqNCVISqcnq8cAggyPLhCeRIVel6vdBNOKlpoRELPWpcRoVTFpuySt4QCj
D7TVtTQSLThDPLFIJJGEbmDKvMRANZJXVJf1M0hWVlFy132MU0fzGs0QOyD6SPEasqd360rVqnQn
taUk1iP4VL5TShnaj99JOM5Yld1Qu9KzyDv0ftBiJRuHZgBHZyh5j5Ja2Ttdb3P7pPW+PlwLUXVP
vcf0fYiNDrqJkniN4eSG6rVb6uRhTcXBnlhq4OcGeLMM6Qv2R3jJ8/uMtdKyF57X6kJVTJJrQyqh
idu2PH6z0FH9fN8X6oxt17IP3ihNwzDIOlppMaXwo4buBtyOrkRBPq7e/wgxGzX9wvfIWrj2+onS
oduF5RbKmiz2BNWRYNYBcq1GCHzY9uRhRQ++zAhfCPaL16opRwNMz1PS4yTatNhh1zLcvX87Z+yk
rPn7b3y2aO3AkgZ72nl5Tvxllxxsev+aGt3XSR0v+Oyd8Q9bNtCTCCliizL8rsy0lPDR854UwJrQ
SXwNbW4RxaxxUcI9f/+hzs2S+ftvHsoPSjOGijrtkLkBXkjJtG61Svn0sasv7L2ErPaUZ6tpl7Wl
sSbl0faynIcX/L3OTcGFvxfRgOwrkcFYdRTI4JzK6IkAO03Tu+TPfm54FtZeSWXnsgWxZJcLO6V3
GToUhZgwCi74Up+bUwtbPykTGYI4tIpBeRco7T7WivVIONZLlzp6nplQy15/FFES/LnSCf829bX0
qAmKk/SkKtsyrPKPTaJlxz/oyy08CJpCV7EBBjHq0kahKrB/fxKde4LFLjDgzaEXcjQRnM2lbr3O
dyNGFTsYE+Nar4SHtUhZXPAJPPdhi0Uew5cM9YYXUnc6HQxltC4tzghXo++HW6tIM6Crzv/T/e4/
Xof/9H/kt39uZfW//ouvX8HcqtAPmsWX/zqGr1Ve5z+b/5r/7L9/7e9/9K+HPOWf5a/87S+48F8f
vH5pXv72xYbqczPetT+q8f4HCHDzx9W5xfk3/19/+I8ff1zlYSx+/PM3vMKyZr4ae1/2218/Onz/
52+z6/9/vL38Xz87vaT8GUXb5uXffv/HS9388zdb+R1Yii4Hsob/jMA35rd/9D/mn1jW76ZuyYoh
FBVTNkzLfvtHlldN8M/fFOt3kBxLlRVYZzYZJX9U5+0fPzJ+N2xsJW3LsISB57Py2/+9r7+9mf95
U//I2vQ2DyH9cWFzXpL/fhhh37bYKT0U8xjZKPvYL0e4NzI+mKtQKtN9YIXVVQfsA7uwnenBlq6i
YSeBMUYnVFPR4E4Dh9QKZJN6b53rPxvkqk/eiKQPIobaYp/X9jpgfNolFMjNDqRp4rJgh3Jifx1E
EVADqIx74F8ZPn9cAbendnSLB4UPC1oTtkyJphUYCLWS/zMGmKdYIgDvbyQNXxNCHlMUjpyQZDkm
wnF95WehRjOOJCpmYx/FG0n20A87QGzwJbGn6wmGKQp7N5UEtLcx0Wc/CszwME6gDLCRpjHKkHyP
jb4mC4dLiVQaqlHglUO9VrFw3Ye45e3UyciOgRiS587wxyswSGzJeqyj0pHiGiH7hJxPgA596+PE
dqlQkggESd84Ah8u22ksEqHSTFETCDgGvlOKNP+R4oRxg9VDRbZc4BeVhFK+h31kP9eZVP9AbOAf
DaRoJz9X7XtTJMmj1ymwx8oesogGMT52CsvM3EkHy3V6LH92qgH/IbW68nOTyPpVmUQVuFRiRPdJ
PpXPEKDbe8gLw4Ps21AVsBUwwe2N8hveNsZ3TUvwWyqEVUGNz6lH0LDsnoC3FY4PjnWLFBeGmq1o
JerWRFubkiVTOQ450DNoQQfSKxTPpNiDASOt0l9ptAVbacQ2nyo94Fhuqjj99Lm/DyJ73NSTEAfT
gFKDClvKorWwBPA62cEVKCN+UXoq8ZCSTuACcGp5dBbIjJiyUEi96wbXhWRYyxz4xsoeiJTxudZ/
xmOFgUdY9rKyD2LFg+6nGc1n9kE93lM+8UZsWBKhraagVF0IoPhEdtjcwNJmj35pEsW0EARHECaA
aPrrLEjF0c7kJORUhixgTtXsa+AVcGUsP0zMLRQw6SuEIu0htA1p2oE5ARol+VBfCUn4P6VqAg9Z
YwCiNFsJSXGzqtFZ4CVVKkiWTd4hmCkQfhcXhYQoLkig5KjzTG77UoYdoCR3iR6a9xTFLGAWiv21
E+pCu9KoUh9wsMDLxm9KbZ8FcngoiWxXba4EP1KVp8PJ2u9eK3ovfVYtO+2gWoX6pqf83mxUu+m+
eGo7YPyUC1X+kvLLxg6cjFTIkPPmBQ4QOWwgRsvEXUSCWjd6eAiWugUpCTffGccLCiXeSWY7vAL9
JQfDmpCe1Y2U3FrJ1B4UnNN7J8h9qtxy4flfFQy4XFJj6U7TO3UvYSTmk/b5SOlxaMXzOTV0p416
CpbYyLV7O+vVQ8dptqY6Cq0iVH3x3FhR3qz6dApn+zBdLSE9yMDtmTLedDHmDA6y3+ZoydjqrJJA
gJWmjbA39KcNdMgFhb+m/TISBppU3zZJNB49o1QS3FrmbLcNvPgeUzZ0XubQa9Au04aai5rqN5GE
ydQKE31rW07ZeBtEQAArSy7yZ3uAE+goJY0VULsaGAoZ3EyfJVtbRvcKybgCQ8is8LoeVPMkW2Po
YhDSdQjQAop0oTfe57XyqPjHxqq9L6iu68fCYn12qYH/YzPEYgfRvv/xx9H1vzq9f30u/+0g3/3I
58Ov/v/g8NY4WM8f3qsgzMhm/gwD5rN+/vU/z26har+bgHU6h7SFFcjcKvbPs9tUf9dNodm6rBtC
V9S5I9hfZ7fOjwz+EqMQRebk5mp/Hd1C/52Ty7JsTcf7Ag+w/9XR/asYHlmMuji4YXqnhAa2f1tW
aKiaSsMFda5SvRmDvwKFt4EBd/lvYQFXXzbFgXfiVQMtd25Rh6NWzlp1bVZzyR3y2vb9jzjzAMvW
OHFHwRirJsslk4pXZhsNTktB5EJ4/asUZH6ARXjtk3AC3dignZ7gtJXCY65G+wAuq4/J0PtPcO4z
FlF1kLYwq0CyXT1vfnpG/ehJxqbplKcpGT+//xHnBml+P28SWcxHDOTG2MjZkr/Pw/GGWtf6/Uuf
u/v5I99cGrpUH3Okaa4kyw9k5JDUuuKTH2SfcUS74Bt+7vYXmTIkJnTWsBDcQS1SqnqNNXhUleAG
XXiIc/OUAPntQ1Sxb4hSNzVXjvGkzECYvUjfg/++vj9I5x5gkSkjhilwWGD8c2zMaFYvWQ7qgfjC
Kjt39cUalmGR4qDSq25fl8Yqqq2nLMHn+f1b/1VjHFbAso+MKSmjNYhEcfXReA1QcqW1dIDBc2VG
yboZ7EPRXGrNceY5/ugW9WYqNaKisErLGjcPECiEQfml6BVl+/5znHnFy94xeTv5I4U1Li41imN6
gYbV05RfTQO2uB/7iMVCxuUBHAqbORf+8z7ww4dYwdCqsi68iXPDs1jEONJWCf4T6S3OyQQ9uqpc
GVj3Xdjpzl19/v6bwddVDJQalcBKSnRBbx25WutlqpcfvPnFEiaI6jqzq4JbH1/wVe7lxiahBvTB
qyt/v3mp9TIdi2D/NlODyNz0+MuKDX6u8H7ef7VndjmxWMAmJ3QySE3peiLasYivLLxEt6DbtIdF
T/ixD1ms45bma6WhB6Vbt/lL0g7bMFa29POTndyOL52Xv8JwWM/LfjQI1vE3aQrLDTPEX7NytlLH
re+rV50xbodAfKB97vw5837yZj4BjDRQrKzCDUERHrU4hAIce4/vj9SZxSwvjmV8vIQuYavmyggH
ewRa1deuj1UnpiHUpRn7R+fHJaYxP8FiOZdqT8SWpoXbyFvIPGswhZNs54gs4dlW7RFb9ucsRdIY
r6jhoiGG5DX8MLBNhMDnxEOwldP2lMMqNx5UaUdORR3P4YsWwykNHwhc29Ls0Wy20P2v+U9vBC9Y
DDrR8GCY971yIb74Y5L+6kEWGwdYvFG0FFrdvgzuKdp8wSl3U+InH8KugViqX2mtvfaRla39PLOd
AvDjwsI896IWu4raQ5ymQZfp+jlNyMyRcvEUBlhKIA+6sGrmS/3q6RY7i+qVXeCNg+VaBuaPPsRY
z3p4f5qdu/RiW1F7WkMUpWa4LSq8nV7b9q6V8+jCezk3Nos9JZ8tkVRKkm5pKkfDS25ETiMDxdt8
7OYXu0lm0NBiQhruGmZQwcXv6eFYwevffeTySP//vr4tLJHLqhSm2+PdGIXtrSK8Dw0MS+/vl/Yw
aSoB40wX5A1vFj8YnoIIZ4K4nOLvH7v7xQZiICLw1KpG/9DgXnnowmgYv8s0NrUutP369cs17cXm
IZudX5WSl7mNAu0zjRVcwcou25Ytpn/vP8O5j5i//2aH7fMQmaOCJ0kVmFssBQ+4Pt/EnXL3/uV/
feSZ9rwo3ly+g/YW+FJpu5nSfBmr8cW2pKu4L64My7jwBL9eX6a9WLpJlmEkAE7ptrKSOvmsDdcQ
jF24+rnxWaxeui9oQTRwdfgnezuP9qGGZb1mfuiAo1b89/HxWiYnXDPThb2NJ54WyD3gXSiqTx8b
/8X6VeFwpn5cmC7NZzw8eMIMoh/uyTri69u+wJLp/c85M0zLUriliU4vcQB3tbr4HKnmWg7ja6yh
LhTxzrzjZSmc5r34cVIqdCtVSM9Z2IifWarGH8oMwTP//hJSxSPeVjlfrLi8gsH9XCjBhfd7blwW
K1gF7NUSP7Xcqhr9GwshJRFA1H0Woms37w/9ubGZP/rNEouDAr70pFpuZMmjvbFby5OB8lqv2X7s
AxZrGI6ulPpAmCTOgexECbqboDM+lDGYfzRkenP3VaKPmNZGluv1Lka5UGEyyMYfu/HF2sU6CjMn
szZgmQEXB1nVceP2l49dfLFytRjtatjIwq0tbK9wFcL4Ma+iD77UxbqdRA8XWu6EmySFdZSCCRdh
P7ywKZ+ZlMuCNZqXQqI9gOIafdU7idl0q0Kl6l7buLN9aHSW9eosGBSzE56BSzo+TO2US6vEqLPb
969+7gEWC5buTFoMccOALdbdG6mCZeok9qKqLmw3Z04tc7FqZTwSELsCV5RFc6vm1inPUcSM9CJC
5/uxyTlXWt8uW8oFmp37JWFhVlcG7j2N9erlMKguvIFzY7RYtVZMVwLKAYlLL5z2Wq/hMntGlt2G
6Ag/Fp6Yi5MXTxPbTvMkdRNTvY5U7CMS1NF21/58/zWf2dnMxfoVZQySpBmJ6yPy2AYZAlZsubsL
A6TMK/XfY37TXKxgrAoC3G/NxC1pca/qGWZ00NX1jdCwzYhQ3ZM8GdA1+Y+sn/L2gDTyNPDFMGJK
1TnjIK17Od2bMIP9MDxAlbuw487z+Fd3tlj9Ar88wwcscGNVXnl1vIllt6WuWGAL3CXT5v3hPTND
5krC2xkoGQUC1IZPQTUQ5+aVoLgu9Atn6rmLL8JvYSlpirdL4lKjuk5wR5zCCWbwdGGFnpkaxmIH
SKc0hdA7TvOZ9DgT2R1tMKL1+wNz7uKL5R9bVSRXo5K4g5ap+Npp484chPjYwjfmEXtz4tXwFDAl
tTzXG2hJosgSlqHpYF84T89MHWN+pjdXN1tDjPjJTG5qWvXKMopsVeHdZgdTtWqLKtzk1qBfeJL5
Xf5imhrL9R8YmEt4MsFNZ+BcZVs6nWgwxKUPT79HvhKBCBWQN3BAuPB0597MYkfo0URrg2larjGW
/Y2HM+6jXdNx7WPvfbEh2BbC6YSO8yQr9uhIXvMAweDCnZ9bD4slPctCzKwGYJD7xrjOcVC7NvGR
Ofl9XF/Y0H5J5sTZQl8s6NlbJZ4gxLoF9pNpXz82Sfld8votm1ZrfK5gLeHdvY1KLHxBNtuPDZs+
T483U26qkXEiiPdcnR0FR7TUSw2MlNIi2Lz/Xub7/8U80xeLHXFc36reGLtK2yungrZw13S2aNZw
U7O1ZAKZRWNtbLAY3OImXV3YwebV/qtPXewC9lgiEtWUyG1aCa6FVm6zuP8CLzlYAadeWEJnJrQ+
T5c3YycJK+41Gky4o4/bEE00aFLR6MOFSXfu6ovNQKYnb6TmkulOtZV+nfScwhQm/0F/4cWcu/5i
A6hoFxR7mohcdMWO1WIralcfaFs7z+XFSo/LUqabaRO7PmIrdIs/cJb7/P50OnfXi2Weomv1e1FP
rpaUktOGdAVo00tYpZgX9K+mzWKhBzhfayKtaW5uPBE5SBO8JHaRwcMEoDiOo3ydtK8XYdkzz6It
ljwCWYxzVM87TXKYOFYN/yovkTJ9aKS0xcoezIG+KVo2uEKesCsM9XJuyeNfmJ1nlrW2WNbhNGUD
QGjkcsrq8OxwVZokSwN/77bCrD5ltOPYdhWK4mbU+wub5JnzUVusastXauijBryWgiKzIuEfjc+P
csCNyplG9cLCOIOWmzN/4+26LqYkLn1LC93WmsIbOpv2d3pS5t/aTsz20bozFv0JhfRuPmEqNT+K
UNp96KUta5RCbmPkSXQfHfzyOLQDJTLj5/uXnu/+3+e2toRhJFsRKh0p0pOEQvm2sf6w8DC6+xZj
mwtT7txHLCZFMYhxTDXMryO1Hui2hj8dfRPqQx3J2fr9p/j1mtGWKgNlynqlFlmMl+0ffU2VAkYd
agevvfAMv55jmrV4+ZgXB2WZqNGp6/UJ9qSB1FrP9LsBW+a1rsytnBNtvHBMnfuw+SnfnCAqKuKp
M9v4lBbe0ZDJXPx0VWbJbKJ9r3fRy8cGbbHVF3qGT8/QhadSFA8Q+H5W/4ezM1mSU1fC8BMRAQgJ
tK25u2iqBx9PG8L28QExinl4+vvjVVu3VUSwcrsWEkjKlFBmfn9rrbyBbj4UVw/StRzSvE6DuAMh
BTxJG4BM6BHff3DdglK8/YAqMYP1WLOt5L+h7wosO3+EVN6273jHU/w97od5BqRZHthOeSWzgeIF
YCQ2eStHvakxw76xJb4xAyqojRir9RCL6AqW9HmGz+ggaX1/kDRToF7X4EsefM/RyQPk1v4GcaO7
AWIiNn2rOa5i0pWVVm7l0jToAb7N5uFrAj7oiqlpZle9qZliJ5ts6aQBAHtH5CY9hiT61qfi27Zx
USzZ7Vy7BUA5DUA/8nYDztQHyCxuHfVlNt6ZLqXGhCrKNg04BZAGoErzyHOIeN5/dt3QKBYb5o0b
272dBoZRffbq4g0Ci1+bzH2+37xuyShWO5UARyTznAIxhEK7NKzEoYXu3cq86lpXrNYq84JBgi4N
BhvF+8APQgka0qIbV6Ris+BmgofcwicUmeyhEet1L9FQriYsah5evVixMgfqJ52bBihCDDzSPlUd
5PnuD7tmVplyJINyny2kh4FBDPAriLRg3NNPJvC125pXbHUAXSjN3SgJIPYD3lRTH6EB8oMBJXa/
fd3QKMevevQaJCXWSSBrI5uuINXH3hX+HxDGbR0oFusBnmw3yULHdBgY7PWEMowEPOD7retGf3mt
dxY7lrOE8NbiypyQHaCeB5ICD/81m3rbCUu9UskrnuUTHdOg9eZTE0KCDXrAzw2y7Le9gGK1kJuA
esRswmrH2jo6IF0fU7t0Dn2BS677XeimWDFdSKdRShkgVQwCATNQ9oL+hlJp0m6cYcV4DdRSMqDU
0qCeLAenHQAeIS+5MsGa05R6hYI4o1NDdBd0jTR6sWb5VpXdsczHi6zEW86zl/tjpPlKhNrY3wup
h2CzEJArC0Bp2s9gwPS1+xNKMicDWss7y6iveTz+dCO+wBaNlQ8uzepV71H60gNLXXR50ISmdXBi
lLbXlkBaPxnoyuQsdvzBFwJV7Buig9IWy1kO5Fwc3Jtr0kAG1kZmOLSq74+drgvFwt0OgIghIph/
O6Kv3pIT7kBEAGrcMX2dkB5/ut+PbrQUWy+dSdROUmWBlZXA80DpFqVYHS93qHkC6nNbJ8omTUFG
bnJH5oG068+xWf8XTXkwUP7lfvMaW1RvUVycj0Ql8KkDImZ3qBrohXaes/XhFUtPMq/DzobJHk1j
vkD3zXxsO0mOQPusRUJ0k60YO2lBv5+A3MBnh7h4nH3zUgNJh+y5pNBX2TRI6h1KZLtxhJFJgygB
ixUCwLP7DZzG+O1+84tJf2AS6iVKDDJtBR52HlRR9xkZggb0Muzk2jTQWM2KuYcUezWcoXK4FgLQ
LFz1XoVCfqNbas+CqXai5xlyOS8ScmsH0NLWrpo106LeotRsxuVM7iVBDckeBmo6dbtDkyygy37F
zHVvoZh5P0P9mIHZF+AICxIhdfIHiiqkA5OQnro/MxrrWApm3u/mBDqiRjbgOz1sXUDLUbOKWkBv
WyI3mD5/t84hU1rlI/xHDzHsPbDZP0CXgbQ56b5ue3xlLwcSHeHWcMYkeEClGKw1QAdHWev91nVT
rBi3WbVtCs3OJIgjFyqCA9Q5HKAS4lB4l8giK+cRzX7rKPZdM+AYCwTbg5qHx8qVB4vUfpFCNw8F
r0cXMkP330Yz1US5J50myxuQQpwEJKlgewu0dzLjcWWr+FNc8IGNk8X2350LkwxFBzV1s6BMAZqN
zSNKiaHG8lqw1xiENkP+TPoR/Cl+HclwMbtPc+Ls2/iLBAs+BxQOzNHz5Hzf9q7LWL97GNRGzTVS
ttOgaTP3kQtEuBtos6+8q2ZdkOX3d61PPbDIjclSaM94p5RySIKPV5q2FwgkbbPLP7nU77roUKpj
JiQBujgsa7qvWGXS/ezU4NVsGiFbeYeohuwVkRKGDxiEy4oTSsif7zetWdBLkf774REA2pkGaiGD
OMEdFoR3M9MWyRkMSJCpdxCrR4mtDUlrQDZJG4UbR0zxNfHMSlS6Y5uMLPaQxBa0PvKVJA/N9kUU
LzNQJFAZVp0FXWim+9oTUHQmCTQDM6s6AtgT7Yc6jvayI/x8fwh1tqp4HmTigVYoMP3DxAGAKczx
Os7eWl6wrnXF4xiuk7htItNADsBtLprRR6cvxcr0a1pXaxXzKkRxOz5AA0irPuScAwUga3fjslW8
TA9ZVKCrcdXbpBO5eJGLvLM2L4+bhl2tUowh+Fzi8xA37+Xw4FjjpUOV+Lamlb2cQp0jIRDfC2qS
AiZJ9rm1egjV+CN7mYl3zsKyM1xd5iUem0WXuasfSybObEyekiTb3398zVHEVqzL7FNUJ9I0DVgi
YlAd4h5iCTOkzPrI+XS/C926UazMbHNKZIHLuhSZP5/nugVKzW7qdj5sa1+xKWaFpHdEKILcMIBX
7qcagpcmDc14ZYw0fs9WzAqYz4EhSTcJPCgNlTQGaTv3JSDxSQeRKsgebHoPtZAQOprYWdswCfAR
BoXzcJGM68FGvd+6ZqLV2sGiM1MTnxvLgbDEzQXIvtxN/xPFuBLU1rWv7MyxHDsaua4I4rA92KT8
F+KgxQ7xrtP957eWFfnBOcRSNjZE9gfs+bBhVO7vIR0xQCQc56qmD2YefqeI33ZG9gUybgegRX1p
2XuAFv/L7eyf+w+gMUZrefF3xugSCPJldZUGBJDUHxZkPUFKFZTckrnzvoWs7NbqXjQGYy2/v+tp
cHIvQptJMNt1BzHQlvtMtu7t/nvoWlcsvk/yweAxFUFkA3O/76BZ8R2F1O3aJ+fH40S4shCozes5
GTMRhAin7yva/Js41s0r458Aka9s3B+/A1GLR8AB7ceo4yJAjWdyAQTI8g2S/3t/gD5eyZCP+nv4
PQJePkslpOgKzzkMQAo92jOLL01ptSum/qf4/v8Xs6kGv2g+MqhJj9xvi2RPXPBZ53FvD0+peY4c
pCO4KaicT6N7TlHkyN8I+Wm0E/jTyGbOb9D129Uz3zP8C8jgIxiaVhUeohwSvOTFGFBJ4IHW8q0B
0Of+kPwJsH/0vMr2jPr7LoZkAgc059NUnfoyWB4TqXFAIIJFAkAjUEy7Jv4yTc2rW7Pz2ALmJ6Mg
iRzg/SBb8rryJPaHbsBUI25RYolpCg3uA5L0gEdxASVz5pdsACza+ZJazYmwJyuaDzR3dy6YOPf7
tXX9Ku6ni8ca8k6YsRR7rzsFGdRz5+qQ4v2y8eTGoHTOGaqXILYojtDyPlh1ukeA/tSUTwJCrMDB
QxIBRKDyCaJwx9R6NdOv95/tj2P4aHYU1yTB3raM2eL+kL1NuDNEtviuk2JfzvMhA9uEYqtKT0Vh
nUMCtWFyqsA9nPjL/e4/NkaI6P1tL/AfRecMGBmINENlj3DUULiQCbrfunbpKf7KS625qJIZPrD5
UU4/YtAxrPRH2JwZObVU+pV8LSCF2Be/W+8JBRwHyBZ0YEth1aE4ZWV3I8th4qMhXpbFO59sQKiJ
hIiHQ8vAA9jNAojrzPnC14ewSfyltMQjgmJ5DpBW3R7zGfdf46mmXzkAxhj+KfR5/x1zb6VfR5dC
TOnfsTqJqj3MvXdOsXiXRVTMC6hxWSLrC1c3O8rpSEzINTHayPUNt7xwiYzMxIu3JVGZf2hn70YF
yQBxloqI+SFFOtAEzdxorfRH44XVQOMYg+mFWm/mjy0IRqCaBVa3yN/0x/vrSjMuarBRWrE1znPC
/LT53DrFLS37120tKxtgDtEawPQF8zPR9UB2sQdIHax8g338xWoyxQvlHOgmb5LMXxR8PajTxu6+
miBT8b0iPaQBjNP9d9D1o3iUMbTywrQw+rTl301chR8A1AuyLHsyTTvcsYE9GnYnV2xcNxeKB8ny
NEb9ZM58JhIDBuS2R0gFrxVD6FpXHAgEREZJIur5CTQoITGWzmBni7Tu1qiPug4U3xDaTT7UNnH9
pE2BTAsdFIp4zlrU9+PzlMkUAx5kwSkYYMy35PBrDMlTPcovBBscwK4rs617AeXEA9XYCtRETkH7
S6pTB52PQxMzcri/ljSWrMYd0zgpoUQbQVmnd94yr3gzG0DiDLqpDNFUw40jh8B0ymzqC6gxGEZ7
sULnkY/zyuaqGRs1sGh08+RSw8HTl9B5iivH3IOuvcZ/0rWu2DPnETI0GoGH79nvHpgpwAXr8/1x
17Wt2DDSNK1qQi2WjxthAxjuKrlAqtpY8Z+aZUmXXt+5/swmdZn1WDPCiKrmIQKlDvpStTXFO+Sg
jMEgTXdbMA5Aub/7IiitBHY9o/4IGmK9m+udtwU+63JTjSKyqIOmF9IefPjaAWSmFkHpKTvcnwHd
yldMN2yq3jR4aPuZLP1Z9Dcry88RrVa+gnTNK2YrhF2Crto5ftOxw8S7txzdWGG0Er/QrB81duiJ
qWPA6RAf4n10ZxTFE2kTtm1o1MghRluYXUFsX4ruAL2xYzg7J6deI8Xonl3Zg1sJ+RoqJ9vvZ3ac
a+chHtfSADSjrsYHG0fwouUx8alkQJGQ3Nvns8yhcQFoyP11o3v6pet3tlXZoshax7D9vJIPs9U8
rjsF3dMvXb5rukwGqFy3jo110l5lkb2CgbFzhnjF5yzj+8ExWQ0MWtjE+dhPlt9M0+eUxtfCcY64
Tb8MXgT1AmflOK4bIGXHNaHEIKVlTb4jJ2c/Clz1pTbEAe4Pv+4lFLM1iLQNh8WmP4XlCwjkPvT2
nmIjPEDJ6qFA0sz9bnRToZhvU1Ukc7p5hvn28xVqPtVRdnV0kMxYu5zW5OoDYPv3dNNsnONO2rOP
1HMAwyCLGrsPuKqDFFWb7plRPEtbvtZhe2ZgP+Aye+WcqpkgNWhY13UhIq+a/dhKxCcvYZO9C/PM
2RZGM4li3zPkC8EemkZ/SvjbOBnnirUra0sz+2oQEPD/CJV+dPDLpjoWpfOQhsVnbgKib0QlQund
1m1NjQWa4A7VVomeOKASgI7i6AUScJXZ1n7TClMDdksRaQpeLUapy6FZ1HII50w33AOsfOloVjBR
9uU5A0p6xvelLyREFSCalfpdKpsLiaGMcv8VdAtJsXQDehfcQ8m9b1Wtg8/muoeKL/TNtrWuWjoA
xraczMFnpZv+Y4FhXOygReht20FVdmgYp2D1ms3gQ9CoeTAZd66sgrDdpodX43F87pzYoRJDQ6Ft
nRhn000P95vWTKzKDHXqpswQ6Bh9YpRiVwCaWE7WT+J2287sajyuykqksUbZ6LOI3yYLuTUNdF7a
ce3AqFk1ahA8gfBxDRLw6Pe9HZ6QUAkJY4aP122js4zauz00N7nlydTrfQYxx1rUtyIND0O47frf
VKN+fUV4KCG25ceg4eJutTB2uFbZlt5kqgE/hlqX1pFm7UNp+QQ085PVjT4Ea29xXK0kaehWj2Kz
NtD1qOQfGz/p2mg/SvMSucLeRaG1cvDVTa9itn3ltKM9GbXvGJAUcyLvBfqda+gAXePKtlyBF+4l
Ztn4adf9NCwnglbUah2zpnE1xmfw3kSBLRqviv5HabeLRlm/UmukGXY1wpeB2lLBNTbIMcJNcAKB
GaOd4fqBlri/7pdDwweHO7X6DnVdAHSFUQOrcs09cg2gOOW8WiF/FmbpOwhaJpC32GUGebnfoW60
lK/jaSzyJZ+l8fnsioUAblygat1uypsy1YDemJZ1x/qi9huzeWaO9cvy+pUH11yfqRG8uXKKabQh
2xuC+c5HeemoczCr5gzcu0/M7InWa6Uwmu/wP+HSd84IV3PY5b289k0onBcRPXWWhNhi981Ohi/b
pkGxZ9y+Q6q9RRfIJn0ykv5WpeM2V/rn3Pr+6WkYS24LPH0MTEQ7Vt6uNpwUGojOWq6zbhEp9pxN
Dq2kkUk/sWj2ZkuRXZaAybYThEoLHaHvnNEIWuzdZL1GxXhpjeHbpmFXAaEO0IR5VkbSJxy36oBC
2jsIPImVB9d4C5UQOs+yQiQL8ZOmjr+PizysZY6fUN65YgKadanCQd2Q8wLCtaXPoSKSpqca1bps
DKEHvHYDpZlYU9mG4WtShGTHwncQ40DAP22uppXTlS8Y3fgsvb5bmXKY086Rg/Rjj4fIdEJWW2V8
J/20cXaVs3Map7RCWWLhZ+aYHrsYgnSR26cbR18x2XBA5lA02pU/yBY1ENAdor47ietcrXwj6wbf
+nt4IFtoJwjPFLh1jdP6OEHkkF2oxaK1S3VdxM1U7NZNObicVoseYnuXedGOhqcJ6hzt9LUHJdVJ
H6nx2Wx+VYUNvGx9tpDfXoqzFBTS7DnUuItj1iy6DQ91POyxAgkxobATQRr57ACu2o4/8JcRJY9e
/opxcdbCsR+uHI+r4E+b5nNCmJv5bm3g6dwcUseRLxuWrpjuh1+o6GDZdd4tzXCaM2uGAq1fWfWp
rMITavJONq0eIDy5h+7zlptvdKN8Y7PInCuBSkJEDjty6Rp6yMKZr6yfD90DGl9+f/cOdBIcaMI2
h+PHCatDsV8yuN8nFn7zoIy4caAUDwHXDMXmLsEbdPlvYiXPKO5Odhx2kDGSgg6HrM/7vvpjPg3e
R3EX/SjjnLlN4RtjYEL+x5X2bhz+LLacfnb4CNWXF8JKREj7Ha6aNw6j4kVGWXs8GdPCn6Ic4V0r
gRBnOrdJ+7sCt0D+mqH0vfKKmlWn0gx70mDV8cm+ys56AoT7Zy2MPWqrj01nQiR0/Hl/JDXW4yme
KylYWJCS2Vchw+lQy+HqOk11SMjat+eHZzPoeimey/PchWHQ2FevRd56KcSTwcmZGNUPu7EvSZk9
JdEaFf1DL4m+FB9mG/OQg+1pXw1j+JlG2WND5s/3x0nTtJpBFA01hNMzw76W9VADDTuQ05yYm2Km
HleL5nk/OQS68fa1IrEDmeMKvG473xQXQeuKZynEzOYO0iHXNhweOyhuA7O0b4Wz4rg0S0gtnM87
4lII9tpXSMFfINn6JKb8KZrX4moa16XSDQFPcgFTZQywG/5paMMTRufo8ATaYt5a0PdPVuP/fWvB
nyhmAN0vii847K8zE7tld0IKjxvv0irdk8rb0/xpIJ9tkpx7x4LA6SKrDFA9tsKsnHbmtLLINCOp
Inxj200mqwxTvzGMY5jwrzSpD8hJ/bVpDXPFPBCI8CCKSOnVwE0oWPvS2mVing73W9fMk8rtTXiI
BIYodSFq339yi/CFl25QW/WT7fBNmQswcGUrds3ZkdCdYte2hYZe3UC6IYnoJgIEWlfspM2FWVes
m67QkMHl8FA6x6ZklyGUW+7h0MEydO924ZoaSdZAu+GKUohvki26E5NPi3blDK3xUSosJjE7GRc0
JXB/7OiM5o31Itrdn11d28vv7x7dmiOPscKzr3VdVcfRm9MTiqe3hYVdtXzOnfsM5JPIvolRljtp
CUi5edWadX+4Mrn7f1GyOkkhCG6Ot1lOX6NoCHeQUDpXnB/J2H66Pz4fmi76UByIjI1ZhEaEPhqv
OdpkInsLyLf93AEpe7+LD3dSdKHspLEEugoygtZN0rh7kH0UItQquuOEMtMTRA2SfW2H4wEhdnPL
ekWPisPgBp2cqjHn21zEV5vJr5Zd3fi0EcymRstsp7B6CHO2t9qe2s8QaD9AXbdZmRDNaKkhMZ4x
lCe7VXsrO6s5EmmwA7I/utPQQ5Y6H/oKt2eFvcNXf/nP/fn50ES4qwbJ6rG0AVxwm1uM2peLiBCo
sYwh3nQJ66pxshiBJcPFnRaUv6IuPuDqhn3rpFzNI9c8vZrvHwGOMpW8NQIqUbfqzYZfZ8nKvqZp
W428MeDewrYu65sDQmG2c9yi6A5L3jdZMQ2N9amRN86JhM5r4wV2RU8UOStsxnWsiA7bZlY59pOE
MVRijtACtSZzn7q9eahovyYW9OFJH+tGcR1JOngAbVlewI1/xPxAaXYsrTejfx3EeL7/AhoP+Oej
/533ZqVjDVHleMGMGpr9HD5z2R5GFne7olu53tXZm+IrBNTPcFIpMAVm7ruZ/ULxRk0M6aa25A+9
K8luDJ1NRRWuGotzUAxCJSFGYNB4X6IWvSzW9OM0a1WNxRWEjwYEVY0g7snj6E6vKMg93p8FXdPK
+UJ0YTSWQOAHCwq6BAWYR8nKBGsMQI3AGVAKHLp6NoK8EUeTiVPZ57+lVZ62PfnS7bv1Yyasj8vY
xKAYlOzj2DV2qBbcRkpx1QgcctsEq1NqBI2Yn+ykvMyzeUgEYBxD9E3gCv/+S2iMQA3F0Y5DEL7p
jMCS9rCb6vYEHsrZhuQHKlDZyme7bo4VY+57LqJycoygNIZ/DFPsozRa2Y11TSv7vx0lISqmMceV
VwKKSx+SvFi5HdUtH8V4WddYONzhqZsp30fdJ6v93JhrNY8a/6YG4Xqr47T3Fookz07ESHe5ixve
9gQMumzWyqA0g6NG43qP1tMcwrbs1nnpa3bw3Hbt4KUZHTVyRXk15T1SOYMS9B0IF43PBVyOY7or
rlM3QMs7vbOuDAk12dBgYl3XfZ27+TELvYeqiBCmh7o2mA8ru6RujJRtjFESpQwVe6idHfbYdA7L
+r9vW7ohUpY9C+s6tRPOA2Sj2TuPJuYR91ffKlqJbS5IDV2lOamqTgxYReWIWmvjwLq1vB3duCir
v0lrIgzHDIPWLY51YewLbm/KbnLVeJUNiGNDOZ56cflT8W+GUzo2d5k/zihTuT/2msdXA1dDOkRd
HfZGMCUl3S27oePZa1qeGryUqwaunDSibT+4HDvL+BKO1sEIdzFpj13eXygdXyK3Cybapbt6WAms
a8xBDWVVEVSFyjypbqRoPpVF/9XqyD+O68X7enIOPF6rUtfsB2pAK4Z1tbi5qm/gJuEegcTTYeyS
BoV9UfHUtiuuVXMuMhXjRuF1w+WY17fYZVduZ78bi+yd1nzMx+bsteIVdbbH+wtB15Vi3xT7vWU5
TIK4aQSitw9M1PtMEj9q2gtncZA49cpepBs7xd6pGKy5F668panzHBXZC0ftVxHVGSgVw0ofunWg
7HdlGoZjak/yxmlUHhB0/8di07CPsqE8RTjedCZbQ23rTEjxAABrkGHOYyw5a+xe2jSqEgjilsY2
GQim3sBWPSSUq4rXN6Oufs0TdDcs0Es32QtTA2CydEfQ5St5c6Kh+FpPQZ2VZI+cSufR6PjsM8bg
E7YsMegw/L1VhUg0mswec0JKkV+ytDMPmKXuCXnZ42FKWHuiLUKg+VxvK9Nnalgsl6kBbXkqb6j6
GZujMGoQQzLi8rWMjo/nnqmhMeFNPWoqDezuNPoiaBbtQThbOzroGl/2y3dbu3CTavDCqrhZtKSP
iUstX6J88vn+bPw53v/ftTVHQuPfzbsJNVAnH8La+ZexeOGpfZkQ+HfH8ZCznxBqqKw3qHpGBoX8
TPUdZ/aDnYtj57zRNNw5/Y/lvDc2YpeizNOmD1lsfGIoKXFNwwQ5mT2ufh7qBkLxTVICexG2UXQT
S+FsBHmu19lK1jRcPnYVTL2+t1kUgnY497c2wuIww1ttpOemKz5PxEXyT/LP/fH+2Osx9X4+ghxx
jgr45tbY4grmyysCTm89T68NEyvJfLpxUjzRULSgk+d1c6NmZe9a1KJhsRc/7z+/pnH1ir6t7cGp
kry5mVH3KzTtZyvLtj23ejPfdbiAgYxrc0M6n3gBSnE6Yrrdw/0H18yvejNfNqh8ig2vx+VXU++I
Cc7hTgxzdrTD3IM2etnuq6F3vtzvTTdMy/S/M9pSWhl4d9AqkJ4hd7kjpp0XrlJmPj4qM/WW3rIM
u7WnarpBPfRT7aQvXZXsO9b9e//hNWvUW17q3cMbMa8psscgNFYkZ7fNr4vBg5X7ZMVAxt/vQ1MB
j8jk350glSZmVi/iWxbeOM/28BvHOPwl8oekIIc5tfaGYLvR+Cpasg+L4dBCDJmtfmTr3lE5fbS5
zft+gMxf4nTPrtEepWDPdux9ZU266ZsMSK2/33BEnh9gvwYPKns6DfX4mgz52RHJY5tBLdjbeN3E
1JB1K+ZOdBJKzrHAWpta6DoLnm27F4XCrvIWZEqati7a28w83yLyxemBHbe2XeAzNWxdRL09FshZ
v8X1mO0jIfmuz8O1zzKNoahxZeJQHDKBh4Q0X/WM2rjPfCYP+FJ+ub+INYtIjSuXGPnUSrA1mwP7
LQsrAsIA+2bTyOZcuqu3uxpnouIaKB8pCyejuOUhMS/Azcb73IiilTstXeuKIRYWGyBsHiY3VvQ4
41ti3+d5cb4/QrrGFTNLsr6BLp9MbqnLyFkYHt3lMV2TsdK1rlhY3pA4Gfo4uZlO6Z1q3mdnW/Yr
O7Vu7SjbaF6WXlyUrcBOV92MVl7mvn/yzHnFO2ieXaUlSEo9yNKZAnKg2cMonG+zgZSN+6P+51rp
g0OdikqAwntWA1Mhbu3E9jmnO8EutuMcDE8caJwcZjke5owcefm5zdmOQUk4rx5G6yvufY/3n+GP
BX/0DMtG/G4XsVMLUoRuD22bpthl1UMynkj4DLWTP//pg6JaYDBEPLfl0xQNEDUYLgXUXHsDjI6Q
7+f8F0rt9jayfQDSsdJu17lvUftWtPHJrtwdEb+ztN8hTbCr23ObfJudr8PwrQ5fxvybKN481Nag
afQ8WV9nfJ6jN4M1+9iaj2PL9gO+cDgkXqf002THR0jSneo6fCVptcflxOMMWBS4K0lW7cD9aMd0
FzXyhpeYeLvz7MfQ+G/sb6hXbUm3r+z40DvQgIvrB/B/uulhMuQTMhmejHo8QxbpH7BNloeuo9VC
Qc2BRgVL8FzkhgnW9M2J63OIF8ndBjShCWydLy34qFP5w0AeJp4Ykz9n7Y5McmdbvwbIIpRQlyHR
2qWgxlJUDUG3EalBRCluJdK2d0gua8FJbKDwV2Rrd0i6l12s6N1iaois85iYMYTBx2sUQpIpGedd
7BE/TFzAg9akknSvojjDjrUuQ919dEunCmEnktU76iIf1ZX5im3qelA8otlYjts3c3TrHayFtBdv
3hjFMEH++b7h6RyL4hShoWknBcUrCPDpLpGokkPGpXO437ru8RWvWJVxZ8zIfwh6juU0g0N46Gkc
HVKgAvf3u9Dsqip9ws2NcjLyBueZcjyDFw0CueFn6fDkMvu4rQvlDsKImhkFbSUPWGheCmiIWW7/
GOf5UfbN6/0uNAOlUij6nk29bIQXTCSsjyS+wudYFyO0+20LSYXbO47IU2tCghRz4AKb4cVOp7di
WGMU655/+f2dxcmuiavQjtwgzaFpUI09VKkWP1u6K9P88VUjU3EUyHXhTjkaYWD0U7uP8vlXCip/
bwHh7XWPReP8jFoRrnSmMQqVRyGdQiINJWWB447e9040ICN7WGd8ZTI0d9xMpVKU0gTsJU6coK04
VKPKH2nlXc3U/i+fy4cCoSUIn4ZPzgQJk5T/d3+J6QxFtfQYjPOhHUmA+P8/QhgPLqDbCJNdGums
HA6XU/4HmzhVzB2SGQjcDswO7AyoFsJ+tMm8k/P0UEXFqTFmewf90y/eUNfbLFNFWHSNmcBG0iEY
Gv7L5NPZYyW4xV79IiqyZv6ata2iLKATFJqlt5w5Bu9ajxC/ZezNRNTm/rzomldOPhVPCqePrCGg
k8lv7pQU2UEswmJghbWutTJSuiWnYi2myvNwwe20QU/SfZnOJzmFZ7BCH+Kyu+bhcE1H+dbGxT50
h7f7b6YxI1VIsMsjM5sr0oKoiUMdIfNvPpnbVrOawFelYQstYrsNMgFyY4LUgITQF1R2AvPcn7Y9
P/nbqVUJMJQmsdpgyFvgeY3XLuxW/L3mhKJm71GjiuRYjG0wATmwMLjg3M6JZ58y23lGbt+n+2+g
W1uKzccEghk1z9ogKooTy/nXrsxfmFijNGicspquJ5q+HUOXNwEow699kv1rs+zE0+kSy+xi2/iQ
4PnKgGneRE3d4xbpwDpwm6Alzj9dWT+YKBVy+3zlNlHjudTkvRQuSeZl2AR5YY0oFUqXTWzi+yEL
2XGIu9/YEsLryFy6LyxgEDZNj5pDUGVRz01zboNizh4BHyGHiA3VvhHZt20dKL5lMo12AG5CBoj4
Pxicd1C5t1EzNWcb32DZbN7t+8aQTDW+S2UgQ7v4Zs/dEIisBiuRimLF0jVeRM1yTETHILXqNcGi
D75zKRE7K53cla1YN/HKC8wQ0x16QZugdvGRa9WHqJr3NaPzzi0Ln09ptu+75lgZdMUR615nWeDv
Rgw1yGmSu2kZWHHId6OEvpfXpmsUaN3rLL2+a92hzQy3m5RBNV1CXCNPXXZYEJVjdSHWk0fKXT1t
Ku1lKhwElMm2ppBgCkRpH2T3w8XsTO7GKJyao9jxPKdti9bTIop2oZGWmJUxWvHsGselpidyajtV
m4wFJKwI/ddpsu5f2xump7yP5l+WW0D4nRjya1PN49pnr27elbNRx7sYGCC7WE4RNjTGo7KVx6jo
yZpmi6YDNWlIktlLhTPUATCjibsry8LunthgMO/rfWei6UDNgZy9xpxIRYqgbeIrjCIoPHNTeiVT
cyARDm16ymgR1Pjc/a9zUN++M4XZftn25IobtMeIZAaFYn0vU5RQknos/rNMl6zsTbqBUXyINXch
8cKhDGjWl58NGTJcS+X2SlaCZq3aisMgedXw2IqgoxrZJ4Gy+WmsniLu7b3aPsch3Xleu+LNdV0t
L/jOe8xVhjpomXTwHt8Han1O+DO81S6cX7zY2xeJve3IqyZGzg0NjSxFP3BLY9OcBCqfimmNKKyb
DvvvtxgLs4N+keiCHtU1uwJAxySq1/YLzTnEVk5UCUp9B7sIce40UvdXwrLxeaqtAB+nn+6vVV0H
ip/wojaitglT+B9nV7Ikt6pEv0gRQrO2qrG7S3Lb7aHtjcL29UUDAjSh4evfqbfqi5tSRG1rQQnI
TJLk5Dll5DSJY7X7kVhpsPoPd42vgyODIaIlHhd51ndlnFhTr5IhsMkDL+xwAx9ytft3roE6OwY4
MVzoP6xdNhe5m8TVGCX2ALH0BFAh69BFnbwPhBno5BiLi+6HiU4y8zvxr+/33+fmTuUM8KP+14zE
WCxRWK195jvVcen7L7SV5zKvNnzNYKU6vDCC7PJYrQ2GV9XnWHUn378PKxX8/wr4xo19JlY8jNcI
0JUV7tSsXqkV7ed8asBzUJ/vsiMdaFhUg0JnftlCqc2+lEH9aUJY6qDBvJGYmS6sOsoQDaRrYbm0
xXFD+6QmtkQhevo69WLHKfkZQcZk583tHz+kOw4ylI3/NeyLDj8EPm9wImjVZKVH6ZLUwMDQHVtw
+7hr4Xwd09GEsYVW+KFFqczOuBAvQIm/SGva8O/3v9/Xey5dVzVrsbAu8/wYArj1ExP8n3u23NfR
HKHl57nfixaViiK69D0AZSSPitR18y2HNpxAOhRz7ec2L9umzZqwpXvbgrZ0HftiX7uyfIXg7viH
VvH0WE02CPlvz8pwFddRmV2lItsDyiNzmpnE3+zCneqdGobW5qCbdybyVYjOsdhh8d1QbBFwG8K8
jtIcnVAscnZklkOGrBrY0W/IuZv7r7cn9b4VBLZWugCJvXILS7YZyPVn+TCocuEDWig6CDBvHOLv
/4WvowCdgHC/qmHHUHJuXmynmB6cVd1HfhfYWvStIj7lXbS2WVVREh/aaLai0yiQzm5cXwyHlK0d
5FB8I7Kv3TZz0D7J5uZEejtHg0yEINncp8Ee6BwnreU0I1Sv28wuLevbOAsPeul0q9xq2oGrE72J
80EIQBLUGPrMBZFpYtP+AGZRsbG97xuor8MgpyjyymEkbaYq8WjPzieHtycWWhsFF9O3aznzqqAf
7wxLmzEwfO5DGwm/CzqX4z3m78fXSb1ZGTvwx6LlcwvVK78Hu57/EFpi4zJhWpjrjN6MPeZDo3KV
t7j3Fs4+D53iKaqqab/kjn267/M173UY82xntdusaNEKcpppxOPHsImGrbq5aQ6adwWAadUgXYXW
kisyGTRPLGILmLmgs3HXDHR0XrASgXIa3Hex17RUMRha+u/3Da1d5uo5ELkY4zazcHl+DL2cJBZo
DF7uG12zy24aZ0CzKaoa7lwmzTAUu0qEG6ZjMHodiZePhS2qGkWNmIsaajFxsSutzZBp2FQdiFf4
89AB6NNleOZZvjPe41Ruwd/6e5hW/vn28rxfX/J1HB6PpUt6eQ1ojF6AyOY7e4h+WG3/BcozT2ML
olJwKjP7vnPM19lielrPbo9WwKzOuyPYp36IQv26PRXTZmgHABVFpPoAAW6t+30UiyPwiveleDrG
jlKv7gQoALO2LdF7gQ7cne+sS9bM650OpgPtQFFCQghFSABhrMeezaeuWzduJu/nYL4OsnOLhsvY
xprPK6qHBDRDh6kJ2ckPebR3HGfcVTnmEbZjt7Fe75/Fvt6t4PmiKGoGv6AQ8kjwHvpxWCY/oaLa
Q8r3cHu/TdPSPJt1dTlPFrLXeGZHUCWA97MqXyYbSj5MkYQQ/hBZ0+vtPzP4oo71Q63PK4u8QZW3
C/9Bm0SVrMKCZlVgbyyZwXp1lN8kaL7YaBvJCugmH4tQ/Ckq1Kpvf71pcP38qWKrdepRZD0BTJ8r
pz2KflO62rQ22uGz2g0bpx4VcDefD7gMnSWvfvVM3VVL9EPNr3PkLXE9Q0K8UWV/QeYe7MLJGzaq
caaP18ozVObzhE5VgbzF3/ceu0hffIR2wkZQMniCjvNbC6hVeNF1+F4cx4D9qEr7A4sishur+r4F
0uF+7TS0OWi8Reb05Z7HwwVK3xuVH4PhBNrZ7Ao7tKYSgU8MfQ0MofUc5WKLC800uObAfTflcePa
PBOEd4cQuvC7WKGV5C6b12Fp0J2T0q9Rd5sj/i+SgDNvw/t8NbhO6E3G2PiVYvO8yCyMV3K0cxc4
xUhuVdsMFhlozlpaUxCDLhkPC6OVxIxeS57yUrrdl9sLc927v6t5fqC569LWkJlHo1cmgg4FniKL
HX5c0NDLBPk0y2CjcdU0Dc1tAcmN+ijAqQM1kt/dIE4cGPjI9Tb2wDS85rd90XkElQOZVe6SqPlH
7X/t6FZR2OC1OgatKKFCYvmI9mMfflVqfkJD/hc5kbO891DWVZDqEkZEuLqWpYaTLdnn2Bseg2aq
wf6pHppgPPl8izbCsOM6GC2XE+WyLFnWjgABO+G5gyp0EpfVb1BgXNzxPnZ+X8ekRYNTO5QHPJMK
xBRJVaoKb7tjvnX7Ns3jagtv/C6eQ9sPOyjbQxya47QH3XdUfQDY9E/cutkw3UfM7evYNLy8xRMY
I1nGWX+yvPxhGosLFGSOdzmgjkbripUvjn19MbblYaDimVfDEU0o391YPsbU2d/+G5MRa37eDTQe
qFzwirX01YPKixFQoK548Oz6JZf3Jq6+5ueVsMe5nXKBW0q5XspJduiBBJ/l7UkYqsa+DkETqEY3
KA2LrKtp6juqhdKZe5xZ9dC1zYty19M8B+dWuMd4UBuhy2BnOgqNLBbBXYLKjPHoTD3yFVjrc2jP
nyRZDjIuNuZmCGE6Dm1EiyG16rLIpnD51vvVCVe8lwGI19tLZxr+Ors33jLywFfoCpNZ3FWHaXW/
B17zsSfWxq3CNLx2epeDgkxwhwC8sPzVKtovEHb9KKGnft/XX//2zdf3tROG/sJkFrHx67Q6P6nb
7Fzb20j7DLmHDjdzVeQOohMyA+Pdp8panxS0v+7LPHS2OFdCor2RjczAvR//cmbX+jL5Vf/nvoXR
3NpXa1P2YYQyD7+CgCJB8vnoV3OA/ri66pvn239jWCCdEGut2ORNuc2uDEw/qNX84s196oW+DjRZ
PKeN83Fm2RSATs31yvoUeUDk3vfh2vqU4UBy1Yc0q4UjHhoS+0d38rau6YbQoANNgtBSE2Oiybqx
IycwjtentpmrUx161t5efSBiA7c53J7K/98O30nVdD0aS/C6UCgKQ4w4rJ/x2ppfSrbwg0uh+DiO
gJqg2B3ufD51R8Cbmr0TNOOlEEuwkWUZrEBnDIz8kXqWza94M2EnPFb+bp7upG3ydbhhLEvaQTUW
OZxltYmcGZpX3CP30QcKgfBlU/rQMAsda6higP1tWstsAkA+qeRsJcu1deH2LhnOWR1qyCpOnTys
eQb5vS/5Eh6v0vai4fscTPob0dD0H1osF0KFUF2AyziR81WAP3hCsjNDYxc4gq0Lk8m0tYAeVmQa
BfWbjJL2teAkVfaaxXm5m4P5U9HKjXPDtBlaYFd27pNlWJpsDiG+WuO2k4zbm3Ed5R2P0TFNYxE2
0pacZ+vAHlUB9lLph48MvEK3N9vw9TqwaVnCYMgb3CrzlamTtBf75EXleF/s0mWWllxyp1ucKvPs
zkXdrPkFbtqNd2TTymjbu67MQcN+UWfgVA+TyB0TWgw/wUH18b6V0fY1gOThwKB/kYXgo0l6V7Bd
k4dbaDuDA+gMb+B1s9y5QBlftmD8Qj3oZ2fJB9BcNQl31H1vWDqMqQd8w3EKyjPoOgzeHvX3ck2Q
Nzev9y3RX0dTPS4eIw0gg+ULzQcon9dsw3RMC6Sl4fW4BvXkDE0GltfDwEGdH6/PMRgaQS69hdk2
/Yd25ybS4ksTOk0WL/GxiOO9X0WnqgvSkqwbB47BSv9CM4XV9YLnNRkLmueyEM50grLxunwWoFnJ
v921DzpM21MTGW2gvrJyHIifFE1ExMcpDNhWUdEQJXQsDePg2fNEAH15EGbvu6F5VEu5JZIQvR/i
dBwN+MCAzplVk0lIEB4sCweAYHxO6cCjRCEz2DFqiV3MPGvDtkzT0U6fsnRxlImqAYNX4H+fCm95
pNaqNgKTYT66SlXs0LJRrdVkA149Rid/VZI9qMXaj7LKqqF6kmV7H00T5E3+e6sY7DXwKg9nHINo
8YHJIInXODjeZ1ZaBAQPcWANogdWO1LFCTpxbK+Y722kAIZN0EF4becE7sgl6plxPe1JXFV7tfRb
FLImv9OKjp6L+5BfoVrXx/ZzQdmHgLZB0rItTXHDO6MOvuOIoksQ2sibHYB/cpgnUZ/7pT+2cko6
xk9zTS82+CVub4VpOlo0xOqg9NGg9tFBzKMZKRqwvCoBs+NGEmMaX4uEtpKdFQiOV+VQQAzIId1j
I7m760Zb/L49BYNb6MgpwOS7xh4ClhUVe+wc/g0AptS21Xfioh5ZTF+aojrc91fXWb65a0/Al82c
T01mLeKVrs1Dj0pq5TWXgMwvXs93eGY73f4rgxXrMKli9lQX5Y0FeV7oDqOdgXfghECb/P72+KZV
0+yYNSgb8A7BcVnFAZDJ09Taz7nqDgWznlzfP+DCtAE4Mk1FO80X2cW+nWODapq/xjS+QGZ668HO
YF86mKmBGAYqNhHL1qb7XVX1A827TxWmcHuVTJ+uma9SeJ31eYvheVlZyUr7OAHwb9nK1t4f39Oh
ZAFWBa9SMcvs0Lk2XU2enWDhu3YjFr6/PJ5OImfZlV1NAZYHUgK/2wjNiNH1nlJv0XSZxtcOvJmP
5eLWKABfNRLjJYCOLbhgeef9vL3+7ydSns4YB1GeVogV4weOepHcuzhy/toOzkMpui2GCNMeaE7d
knUui7KsMz7GeFizWb2PpjtbKT2dNw61RYG+7RLpZqHQGjzKMcE74RZY0LT+mhdHYAjsmi6q/l98
QvA52oECg0V53x3U09neRlIVtaC0zqpIgE2ekzzBY9hWumT6eu3waVXkWGRADHKnYl9A7SAJKlxa
5mCTD8O0t5r/+pB+nYIZexvbkZcEXLz21N+44Rq+XgcFKyUmydqlzmRNCvSn1M3OmtYZyYZTbhwC
7/8FCbXIaeN1i1ACjtQJYiNJn1fAwrWPK+FbfCGmP9B2wB+KYOaWkCkqjP1Hq+/7hza3/UvQV1s0
Fe9vAQm1LaiiaqV5VIrUjbty38ej+1DO9npXgCY6bEBStU7RUPG0WRVYb8jXAU5wO/YYPlxHCxQC
/akTBPfSGbxuKfTA8kM1u/PGVcFQsiQ6YgAA4hmQil6mZcW+4V54AZPE73wVHzxe/6w9bxeM3qFq
xSGuISPkT19vz8qw4zodTlS6obVYokl7wPEeF1Dm/gJLmfehn+wt6hbTwl3/+m2WJGIKbaq8SUEs
H32LAwXbZaSWW01U18Pl79IV0VEFNpRyaddHIp1EVIP+rnihTfdYOvXBG8iFqbbYOD3fP32IDjCw
WMwWp8EfqdniSci642I7e7djXwGT2HJB02ppLhiFdgQ8eSzSDqo2iRt0ZaJ6fr6926YZaM5Xd+BW
caZSpvWSdwnu8Asu8WB0hCqI3Pej8jfSfMMkdBzA4IRuX1otS1dc6donsNV68gjySJAD3Z6I6Q+u
aewbm+ooSCcXyVnKmA2uRSQDKv9ye2jDGumP/lMPCm8XYuRpSyuOLmE/Y/6KNK8uPgzRViQ3ff/1
z998v5iU3UvhQh/Z4VO/swjpYbpTNXy+PQnT+JrPNSOrc0ICls7o6t6N9QICr2LYqtybRr/+/ubr
YTaK2IvD0lrJ9iSqQZzDHsX7+75dS2K80vLjZuh5WuRtOe9Bad8clUD5b8ONr2vwTrzQOWfQuGNP
KwS+0zga4iQYeu/gAs17Jqz8c98MNB+G8DlhQzE3KRHsV+AS6NqjZ/VO09d8ePDABdfnGJwvwnrw
8SCz98hQbWDiDIujP+HDGON5wENAOpdcHmzRghsQd80LzfmWvqbBwfTn+wZCPA0ofJvUl8MDAXH+
7OW/+jnee3OzYf6mWWj3kCGelhJcWCxVAf3TjMsenOnn3mo3sgzDiaNTyPSVxJVMhU2aWyOUO+uL
AEGe7Y/7spt+50Pw8bYZmWZx/f2tmw00oHSWTdqtcwoS8/P16J8ttrHVBi/Wn/LH1gKf2jI16bjY
0t+NzbLUwM0JZ+MQMKyS/uRb9JQFfr2CiLBfxlMtQnCvj+66D2e7+CxGq36Mfb6VPxkmo1d98Npb
WjzmNG1RXUhcq3nMy/i+KyHRgQkKfS4dA0Irpa70n0YmilOce3emFToFjor4Gsx4dktnYB1Kpz/H
HfkRVS1Anc1GqdiwOvpzdKsqB3VEiYAdT5DIvmbznPv0cNtOTaNrEWnmrFRljQmw0In2cSDDQ93X
0YYZGbxAf4Qey7hlTjziqJyrzFXzoXaKn3E3/Lzr4/VXaErbYqB8YqlonppF0l1TTFsE9yYP0MJQ
yVc7FLmsU1F6O6tw90UVHgsF3jxWfQjx4HDfFLRkYlzGCmkjqVLeFj1oQsWckH443h7cEK11BTnL
ib2xDqcqFRJAIr9vL4zNe3+xvlCybqClTVt8Naw3gS6EsM8wrqRMRyahwuadCHoch2CLoMVgnzpu
xhryUvbhVKZNGY4g8wxKxfZV5PEt9WPTGmn38jiMA54vY5lS1uzBIe8mXECAalUe369LSO87+XVU
i59XCy3xtpqSHLRyjJTBvqvs5nR7ow2rpCMAhpxF3dTQMuX+8tCM0Lq3Ac65c3AtX1/6aZZ9EwCJ
mINK3h/Peb9uiZiZPlzzMhLMQ+4xl6YVR0mNt6u3k0t7H3Mn+b8AxBvbhOQgCJ7Dhaa5y06zRc7o
VYZaZvFy36prZ3w4sjF0JCCarPa/XJuvG5e/3h7a4FX603/uUTx0lgxDT9EZAj4PoaseHWb9vj28
AWFK9Ff/LliBF6MtTRVZftS8T9aAJn7/Uy5frNZNfO7txkLuFvx6+x9NE9LcTLpzK3NhWRA57PdT
0z+4vtzRhW9kdSY70rJ2B+KDoOvE8GKWVdKjQJtUwHBtfLxpdO2QbCuJnvCqhAcU3H7hy9Sd867c
yqkNo+vP/5alRlE6sXXxbf5cenOaj9Hh9qpf3eid65L+6E95TwWdHeti+WBql1EfH5u6+uxbxZw4
8QTVpjHfSHhNs9A82Rkn2gyyoGkDTbAPQ9iIR6C3+Ea+a4jS+hv2YoUTiF99mpZh2SaEz6+eDP+p
WrUn433NG0TnnipKuFzjYgZQ9atEMjuR9zKEdg3S5XVt73pAg7DUf4/Lul9URMbJutAJPHP7AidB
vo+8IdxYKNM2uP8dn1iKx1gjGBMNwZEXNQzNCPTzbXMyOLH+oE1mRegMLchLXdHj1Yn7gj6H45YY
qslaNScucuE36F+iaS8EqLNc8LDFFnsd1/xgh3mVhBHfAsyaZqJ5tOf2wYBqOc6dcOw+sBjYBSD5
rSPQ41vvXYad0PEwQT7ibXTorQufSY/GjX5Oarnu79oJHQ9TeLEqgT+3LmtdPLnr8Mjq7iTsrRY4
w/Lo/DF5PLhVo6r4cgWKzEH+oZkqqOAu90Vrna3EnpY5UBwHp2cvj24Y/NvE3RblgyFS6I/tjgNh
pqAtrMuy8L1F6seSFEXitcPTEPGNWGdaHs3JwMzlTj4YwS913TzUNDj5xXoEVfSdy6OdlX0RuoOC
bNJFrCM4m2lJz5Yr1OG26ZjsUvMyH5zfaKif40vb0Q6ESnGXtH6xNfr/j5Z3jhydLcRjsEon72iK
i82xz/k+UPWBxed8tJMOKGqVfyRRnSxyTWL1A5DMR3ATgYHigxN9XOqfQX4s1X2FBVt/kkdrUYuq
Do8vUb58G4r82XWDDdjk+yZg66/xHmgd89n28wvwQ8Nj1MTDnpTFcB44SOZub9T7lmzr5CWs9b2A
1vBx4oMpqE+kKyEFbQWckZeVe75/hLTtfWQatv46L72iJy04kC5s5g/WZD2sVZ9Gc326PRfTcl1/
f5OJ09bNATSN88sasmNfsF3kN99tq/v39vDvI61s/WVehlDRGK9fz4NB/qmacjyPOGoTNODHxxD9
BAcUFKtdA7LHHV7qtkoz/0/H/zZ2vO78d1rK9/qI+31+mT3wbLSfuuU1V+UeNBJHS1l7OVm7wseD
8iyhG06ThqFvgZ0gl9FA9QMkpnbxww1S8HVC4GE8rsOnPkpH6NRPnto4KN73djvWQlU/y85vvSC/
kNaGZAZ7mZCJb6TFJgPV4lQZMKcuAW26XLGqbkw7aFf1aetN36prOfL21posR1ti1kRQpQdVw8VX
HuiZo4wP9qWe1g0nu15i39lBnWksV6iRsLiPLkPdfWqEeqrm/gN1/FSBihuSre5hHqNft6di2Asd
ZRCJUNgE4pIQ8Mjzh6Ja19dJ0fuEuu2/2Goa1Y9NW8DFRrGHDjIucvWlbNzXfJ43DibDhuuCctMa
K1KDi/UiovFhioqntmz8I7pfHyeQYR5ur5Jhw6Prn78JFb6NgmFdrNGlEsWBynbZM1Cw7wn4HjdM
yrQPejAS5WAVq4wvym7rpOriMhlm/9PtzzdcrYFF0b5/hfZNbQ/5JaL2Kylsfims/N+6Jd3OlnEO
duy6PQPdC2I2z+se0bG6BYc32LLOa8NQo5lDaecX5agvxHn2p5dJlju75M9WTw5tdx85qa0T2lSO
7XUFANJoV4r73QwJoN3ionJ8ewXfNwBPv2XQGc19qx9X2dwPL4LTx6X2QcjtbtyQ3jdiT+es5IEU
8+A4JbhDQ+h7WE9AJTw3lbsbvOJ43wy024UjKSDQEa2yaamPs4qBg6q831G+RTVjWCH9auGPJW55
I1pmLAhdgVaQfBJzC0COCjfKTwZEi6ffL6o1QFkXRGyZjIl3cHybZD0d13/CPFAHOVp4RAkpBD7y
NpK7wJ2c3eC06B1e2H3K5WjJ+a8bOaMqm1GWVVaswTdklJ86h931ouLp703cXaIhCNwqY7MlEqHc
8RhFzrxhvu/nIp5+uWFtCw6bFpvDe9CiC6f9h/LyFyuvTR3+t2kNLp20fyyMfb3L2PQLTwEwxZJb
aBvwOj9397N0VfU17xsvOLSqn4KNv3k/aHo6GePkSKezxgWLlovXtQZwUFp0K9U1De78d7Mb6uJa
omgJtqb4i+yXJfF9p98I9yZv0TKIcIm9qWqGKotbuzpOwLHvYh78ntpgC7ppCCn6nScieEduPTSx
X0MKGbuPdhcndRR/Qq1/S27n/Vm4+l2G5C4SEd8qMzFH4Enk3TGI6IfBtj/eY0aufqEZJw/YWZFj
/NJ/xFXqD4SKzn5Yb+RZps+//v7mVAfZ4Oz0EHDLxnUKT1cB5r0z5uRAVV9vRN33d8HVLwG2T6YQ
aUiZoTfxOEt1cCv3Ow/AO52TjWvM+3bq6tl0uEKTUi4rzfzRO7rCO1nrRsQ1fbzmAW4OtYbChdr8
ClKaCXS3Scn80zRPCRhx7vwPzRHQa9wMDOWQDMSJ674fhhDAxJkmpUXbXV77WxL07+chrp5TR/3U
WiHLrXTxQLc511eGJtdvj34AJZUw8geItaJta129rXKeYV/0zHrlk9/DA62U+cEL2E+fRdxu5HOm
oa+TfGO4dc0dHnizlSpVFfu25eNelGKjimDYdT2hjroxDhwKE0UofW36QgIwLZ6hN/eVy2jDsU0T
uP73mwkA9eBUrdtZKWRO8iTvHJI0PdkiHjaNrvl1gfr43C3cSsPWI0fGh/6A3KTfyNUMUeOvXLob
3dxXc5G53Dk2rVJJH6nPazsdbge99yvO6Pf679rUq4tkvOiKzC+6x86FjGUtTo1nvcwx+To68/H2
35gWSXNur2ldqpypyJzJht5bb49AxkXzxiKZRtfcWjTt2tgEkxiEZLvR7uSeoj65EbhNo2u5rLd2
TDoMGxytS/mtBsR/D+mP/C70gKszQFZdS+xKVRaEQ0t/D0N6lrVc9kA1bbivwcN0HkgaRuEABbI8
ral8tvgI+HV5QF2tSpS9RVRgsCKd+bFY0aQdF4WVjqT+BmXLSzTJs5AcGObokyW7jacj099ojjyP
qxPMShSZFThn6bJvXr88Ud7MCS/yfl9E5de7zFXnfYwkwLOilFChnKb1gLpaf+YxsTcMyjSNq6G9
iUex20S+h3tpRttfg//PUv5ySEqGaD/k/973/ZpXW2Qsi44gm0QWfPGkey79rSYsw8XI1ds4JJCD
JCBWgX7XPDzgGhkfiF2qY0N58Vhb3ZDQ2G6fOzwp7fCAVR2CEP44qrY73TU5nUPNp7wNIK8BqpeW
sIe8ivwzKTp/f3t0Q8DVAdQQ7qgjm8VWOjdlAO2+JkrA6zPtpVOK8+2/MAQUndpycKlbFAstskUW
PVamUkd33gQgm/xdC1dLAOmzpQ9oFrDoUfFh3Bezk5JKPNFoCzJkmIHeqGIRmG/rRUUW2SUwEqrp
drkEo+zt9TFsgd6rEnDKJmp52GBW4HL6SXrjzlu3CE9M3371yrfeN07hPBFCs6LkTUIH55tbtBto
P0Pep/ej2C0Yra0aY89+dZ786btEDJRjCfqZcPo6+NZTGA18Y5kMG61TXY5TUNReNNKMxh1LRoTZ
/cKqdm9Vqnua4m69z9/0DpVqaqy59jqahQsZdz5IenZeZH+5vdem3dAiVV0HjAKiTTNIMwSJJft1
Nw7OVlZssiQt7SCWAwnpGUs0DPyzvYzfHJxHyvNfb3+8aXgt76AiblqPMSvFK1918ohsnmJaxJdS
Re1Gpcb0F5o3o5sGsDZb0YzHUEd3y0yVwwWdhhvJgcFg9VYXgczSkXaE3L5Z/0Xv3LNbkX8YHtaa
dfpQkO6ju077uxZLp4kER0w81cSx0gEijYmqKaRLxdNczBtntmkq1xV849cQ9o2DgTGauf68r2zv
IV8V+Jrd8iVs+blu+YlOxUbSZrBanSrSGclS5cD1pkWAJ7ZKnSMSb3i1aWjdIVwqK7HauBB18+vK
8/A4gPd44/nCNLjmD00ZqakuljgNOeE7WeH4UQ27D+Hm+po7hEPptXIZrfSqxRHV4Te8th0re70P
yO7qpJANtK47Gy+KqT1b4ZcSt+dnK+itJbltoIZ4qjePLOUURiux8hQtf+sOgp72IY7wkmQv7bKb
xBbtgmEP9AaSCJpvjSWRjy9B0z24lShxX7S2CBRNo2un27iGtGQjvKzpIGe3w21rPoqYQVD39iIZ
4pHOVVU0xO5W1sdpgx72EO337YjujnVLRdngxDpeVQWu03liiJF9RWdZqmQW5Vla854ytSv76Kxi
ZyOyXlfk73dPVxfkCyqnd3uCv+qd5bEC4kIVdjrIftdY+Wm0rH9uL5hpRteNehOWWruvun5xozSw
Ac/vwuixXeIPAXeWpCfjsSzs02pv7b7JhK+/v/mzaV6oFRdrnhawgLosX/KyaBLiiMd83ir1GtZN
l4MOIB0AInMrSkGps4NPBsngOSd34cciL56DmW1Jh5kmo60cuCh5OY9LnoZje+S02ot2fY3KKOUq
uLMoq/fGCN4OcWW7cZrL8EKq/uhM+anl65fbm2/wFr05ZuBWYTVBFUPAsyZdUrHV7XdtXJRFMirX
2zCx64K8Y8l6f0wcT1VXOCROwU8+7ETY/YnEtHUfMg2uJSAuivlkDFWU5k4RBHtSuHOeSC7F17uW
SG+QQbd2X4gJR1Jd4zkNsKn8vDatf7RJzzZOPYPF6k0yDu4/ZTcEcSpZnMW0PLCW86T18udrZlD2
7n11Rl3iePHLdVFszNO+JZCrzLlHlwPvO0E3JmIwJ1dz7yqWoB/K5zhdh6CFKExtH2c8fSUzVcHp
9nYYtltvmAmdfGQeWHpSOs6fOst+XTx/I2ky+LPOLTutql4qgA5SPGqe89D7JaL8YbV7MGje6W9/
9cpUosmp6uK0hFC6S9o+AZVqMiFebOQIpuXREqh1BSe1KwV2oOiaXSfRnyB9svUwb9pfLYFy2cRr
VVUI3/aVJRO0T6JKWNmsdeKGbT9tnOGmI0lLMYuy7YWCGkUaERnsVi98iN0Fp5DzCN2h4xr352Dc
OpHeXbAo1gVOVCPDGg1q4RMCxzOaLl785S7FBAytTSMgC4Esi+egoNl+ryuwlfrDFytyjrc94d3N
wPDaVou5juaozIOntQ8/yAFsn0Bn7z1Oz7fHf9cdML622VaQl8RF589T7IYflRufujV/dfzgnDft
PQEJf6HFbsjJWNKDiuhTLYiTxI7zb8G2eqLeR/lEsV4DshmnQZlHGJzUP4eoRQLVqs/laJ1bGoI9
FiqrXfSgXPdMYuf37TUz7IleGapANO5yMTtPbcdfIODyw/b97yELv98e3mCsOosJZRDftvrReRpn
9fQ/zq5sSU5d2f7QIQIkIcErQ020e3R32/1CeAQBQgwCAV9/V50nn7puV0Q/7QhvWwVImcpcmbmW
Z+xh3a6BKO/s9iUy1G8+X8N1Jtm46mVXWAi2lUaJhIxLGbsLtv3fr/DeFzr/+R8RICRERox56SXr
1sVHSZOPkJcg3i4Q1LnyE++9yvnr/fET/RbSsebtkmEwsY2oXzlJAMLLFGUXnbQoT33E1+KAXdi3
N0pU6VS/Zqb0WNTKwkate5U59b0PdWHeYNmpiC7lkiluq6zkZDggF5vOlBPXuBvf+4kLCzdMmMaW
mmauW95OoG6GUmgS5vzxY1t9Yd3h4Gqycsdm/uyGp7Bc5wPx2yrzxvza+Ow7b3AJD0F6qUN9PLcZ
Wpf9UzOMZTJSCRFDdNok/36LvzYLBeElmu+FrANTWkUz3uzVPMQ8d1OBdLV2f9ShE4txX19rj3jH
vC+h/dEKyeSo1qxu5ylis5CYKgivyTW/t/rZXP4wCyVd3o8rXkQW3fbJFb0T106gdv/+TO8YnX9h
17RHO2DBsBPuNOtkFEOPbvtpyEIdLol2zRz/+3fe2/EL4xazLWkD+mn4j8LsGl6xF+mr7ZGuV2Xi
3vtQF3btmqFxhPa97MyLXEU9qF3ezoW9K0xm/51W+3/pEE7UhWWHPdnAQyi8DFS/yqsPVuuYNK+r
1mkzmLhQJFXuy9z26QBBtz4gGE3qogIy6rX4UIEEz3Bh+g1638e+ZV62tuvyBDanMGZcXr1739ul
C9OfCSsHKrF8Th/c5UerQBrBHlXhxbM2KbScB7HT7hoXQRPhXcXq70aNSPVDvFtBeAmVDdLvwGFg
l6xUtHl0t8GAdVPORysodDz/fRLfOSaXOJlYJ1eMytoMaNn61E4GXChlqV4+tvo5V/zDWldD9VoP
DM7Tnx+dyvkmQnklz3lncy75VXpeWr8DdJG1NojpzPZbO2fwCR9qcsbHv3AFkL9iPRQT5gxql/e+
q9rITDxF+H6HaOzbRCcJZEleKbm/9zIX/sAXjQvNs37OmIKhKJ/rJHdCJ+Hdx2g98T4X/gAajt2E
gd85M8N5TJCX3+3Q7seAPv97q/+a7mD9C39AG5FT4yqbhWWzR9fapkWG/wzcRGAAp1FxrQLx3om9
MHqf5NCY6L05CydwrCz1kKP06l8b63tv9Qubr1wRBq1bTJnP8zrreP4VbObLxzKFSxRmWOzSNwh/
skqO+hhAUvOV4eK/VnP9e9NAEF5CMMvYYLS4a2w2ElB+e4uYb7y2GWIEeFXchYQ/d30DTs7OVrEL
lboi2jyjMofz8IpVvvP5LsEZxzhr7kNpLXOm4LBsuoiQ9F6DBd6xkktgZlxdW7ctnzNoVfoRRl7B
byn10QP/1L/P8DvX/yUs02kfmt3SzpkkU0qVe+c68iQa/7RMH2qiwhZdWPoMC1S17acsFEuTKu02
8dItH2rYx+oXRq4m3aCMOdmsdcW8W8Fjvgf63hxFuVwrTby3wxd2ztzGckF7C79IwJCvpjHpgja/
Ehi940Uu+aB0PlfGmGnOFNSROmEeCldnikpwdNLbSoZHaKaYK7/13m5fmPo0TqFuSLVkTePZGO3b
1adpZuKTWXiQLIsJrvTNvXNsL0lTpm1D73xRjJnFO7SU/O7q9QDtpNd/H9p3NuRSNaX1ior3NaxC
C1HuukFPsR2cD5EoYksvbnCDgdPc5LnJHAbGd9K186E2/ofEPrH6eWv+iA/CsIToYLMhDm41uEGW
0iabWT5UA8Tq5w35Y/Vy0TkVA3z5Sn20AINqaftkAFde87fnb/CXEPiSPOUcffDcVHPGmf6u1KKi
gXt7lVcHdIL/LGj942M7fGHV0O8iHONqNkN64sXj4NvEz/3fH1v8wp5d7VHlWWxBWDGS1kPLY+bT
DwHd2IKLy9qrZ+L0Ie6DOR/bY+goNxt76+7+/ezvWdaFBduJemKca4sAfUcE33ZyG4cYnOXfPrT+
JWNKWEMLx0HXXQZykxuM9oOLAv0524dkqYPwkjUFhjW1dYVPr4lq05HMLK5Z7ly5zN7xC5fSH6yV
IFNwqUEzlG3iee4iVawf6tbFo18YrvIniEthNixjS+dlmvtr4kC8+Ar29d6jXxiuzxjEpYw0WUUD
dzcC3d5jSuGa2b5zx1xSo7RF6y79FpishzBDKvMZJYZN3rESdfYWnTrRMAoA9g699oN/9xPIU//X
D4VuqMDctE4AOymNAA4H+3atvVSowT2IwFGPiyuucRG8hxh7F95imylSfwhqZnIWG90j4ATVmNTV
A3pVnT2X0AipnNbcTJDbG5Jy80BPaemH+NlxMC7ciZh023FwjWakMocBarv9oO9WUV6JoM/n6y8u
97+R7x8ufVoVa84k25n2wKAGNaPDqoLHQZI7x+8+ePouvIoEUaHrkxJRILAm6H6T5esyzd3zh3zK
5UwlqvikQwETqV4zuzG4m5cEf9ZHTkCv6Si+4xYvhyqJ9VcPs7NDpizdOZA+XvwALWftx/D7y4lJ
ydCo7xpg95JDURDKds2OebZL//193rH9y6FJN3AxPCQ6yLCE7fx7Gon6MbThNfqJ91a/MMUgNJMm
BqhB2FfTDzt225GovrrS7PLO6bwckQxdUIMFQwccwpNx1Q3fKzE+ybV6AwPKNWfy3htcmHeZh6GD
SgaiybZHrwNZ7kpn/djJdy+MV1cMwKTBfdf3YN+POG3naDLC+/7vrf27HwwvhVdqLkuvC4XNTMtE
BL1fP/IbX0djQ16FYOvBn/VHavhBeDkp2Vad9Kd8HDN/3eXOAiL2Zvw2NLn7oZAsuJySFGVYzmoC
qq0c/dqi6aGXvh/9+zP9fYeDywlJCsZdRQJ0bUIoZYwgPnHsa3IFtv373Ydi5Z9XEfkPVSsZOs51
NkOBIqKY2iduK6P/lEZXtup9tK/nnokhmnDemw9JLwYoMv35q95/8pa7fg3ml6ytxZa42qkwGpav
VwKdv7s7QE//uzpdw1l7ILrO1tHL7xrpDAeIUYHcpK+vMZC8tyUXRre4bJqd0JsAng1THflUTt9R
TemvGMZ7y1/YHfPHwCrljtlsbBBpzwEBab5+qIMdX/8iBudcOXOttyEj4Vlux9HVkNX55OxpUKK+
wRm/cjH83b5hdf+7EY7G3NMWFDbzZN0BcGLW7st5pjEk33XihHp77c8V7A+ZyeUsJrhZO2zK6J1a
bUlSTmjv6/Q1tcp3XuWS5GSYZ9Iv2+ydiLhdQzdpBL0D21dEZ/6G4ZXdv1/hnZN7OZZp0QPEiY9f
mc0SQeb2DfQz2g9+/3v1d+DA4JLhhA+Ug7Mey3fsTLwJdgjl76WdUI2ZI9qYm96/6edDWcxHwJH/
/tG/H2Xxvw7G+4/jOqR1MGR8gsD1l97RT974MZ8Ovtz/PV6eIxhFPgA0rggKmPiw33Ca4oKH1yzl
7/shLgP1NggXIfrFP6Gi2KSrCFeJDsKifbGSBFc88Hu/ceGtDPHlgoZL/wQK3fo08bbMuDMEhzWv
8yuX39+dvLi0Q9fbalNZsOXQwM7iCbW3YHrmjnvSJq/Dn4PgoE1raTd89nNAO58/tPOX9tiaGhzf
fb6drLcECQk3cury/Jpoz3/hrP8f+YtLi6TDPMiR13ipypki0gWnAHQXeT2cZsrbiOWBidv1W9Fs
ReTW+TOugT52dfUNNGa3qy1yyPKOKVMmWrBIwUewVFXPwpgX9Cy+lkX+LbfQkCoU1SdRDuaw9FMV
GYkJ+cnPr7X1vmMelxZfrmPVt2HHT+OSK3ts1nVSRzYIoZOP7cKFkXCQ7dqtFt7JLzpAaq0/Tbsq
IMXbx5Y/n+o/869pxbzj5DFsrVIIHs7jmxED1+6Vm/Ad67gcxB7ceQWPX8+gv91WsYaqTVZBcCiF
vnl55Sfe24KLu9wr+7XcjGKgOc69WK2WH5yF9FfM+73VL67yVXPqrj6lp3YDugAmwi2MCxuQ539/
fy8M6Pk6/ZslXNznWzd2jSTSPblDOe63svZ3dcN+YEPAxs2CHQ7WbzQ1HnUowAszQk+H18VLo+mX
zVMPYV1/GYX/vfTyrxh+qRJeQh6s5UeZhw3U7sVdOBv3FrqAN4NbmTiEnFjcUeuluivvmSu/LrjN
48B6vyrBC+TfMKlC6y6SALG8avk1eOAKGrtEt+0XvaxP3AMHY++yF9HpIkZn7Sfb8BjT7/AUwctU
5g/t0BWIeLrndkSDXqPTthmfvVI/uEUg0/M6gop9l7uJ3Oqk9KaHbu2+Ob7oYuWLbwo1+NrtToGQ
GQMHB9KLQz8On0vDTpPw+yh0p90ggUfoPEUjRFL73V7wMm5RfQHYmTHmhpHikkbn5y79bdtRiwgY
TdkiKqB0gjbm7cZKNJLJPJpJfTdN/CSRN9Z5dVMT/y7vVxY5YbuXNb2ZGj8CDeFp5kGa+1sa2OJY
8uFUDutJE/eIesBLsbCoGaZbNnEwSLPnZebfVD7eTgzj0Ky7x1xxHm/Fdu/WxUG2toxDqX6ETbk7
f96q9ZqU9cGzcKBpuJG6Sn3gY6Na7kJYT1xI8pVVmFQctx2mCrNgZl87t479wD5ipORLX6PMEfgi
soULujDMcCVadd/OX3qu7L2kI8g6G/l5ZPrJbYYUvZ8HBrZ38ESCGsHWh8kP8p3W/Z1y3dtqWH+G
aHTFoOSUzgP5eRYZpr6NGhG+zH2P3kW5QzCegjUlrr3tZyCLnS4wjQM6m1TloMbaugiE9XlUTHMZ
bWuNbhs5PFHwKO62zbt1Ku8Z1zyPAID/7EtLIh2Qr7Mo1Z0rzA2UkeYbDLU8u2HlpJ4QIxZanahC
L/1ulvShb+W9t0qVEFDuHWZFnBQ1mTmpOk8mtSLdfYdW6YhqF6Df0IlijxtAxqKz5jOtmqMa2uGx
HFHOBHZzx+xy3/ddc2pMW++D0R1TA+ZA7HH7NZCCg62FA0qERDR31iZyVfXmNybYNUGTtIvZLRNJ
uKeeimpZo6qHyBl0E36GqkrD1b2veP4I7qNfzJlUHBA7Rqs37mrcEO027J26Mnuww9BoKtqDu1kd
rbU7x4N2MzrPB1qqOOSOjFnotG/o0XkuB1ZHXpjvQW79guLaK4HS1l5Uam/thPqsqJ9dZ3oZm35v
A9BLkrV6rM6UrdsQmhjn9mYi5G09dw6I+obKKvbCMa0bDG5JIBEYtHAP+ZovUVfLfa/aPmnYeKZ0
r2+U8RUKzY4fEc+DIETQlXdj6T12Kv9ewHqjiZtT2y11XFQFJmgMP+HZvjS8VH0EDgs8pprXWLpF
VFXtvWvMLdkqkoB97mfnyidg53kkKwqV41HegZlTR9LYGstuPBIryU99tUDGYXTRhNDVexe5tDH9
97Xf1pj4wRqvTVhHy7iSo4KnjMhmf58P3hwsT8hcHvPCnvRUwJ9V/DMQbyfZpvzg9OI3RJfNWVkh
akefRX5ATkCNv/h9ni0qfBEVT6tcPzsQMEZJOYHraKIa8gZneWZ0CLU3HJYIZCWIhnb+ib/+S/o2
jN2+6NC22g+vqBaIaMlXFbXCwFVsQRgt6/TQuGXWmSVIfY2BfABY6LCTfcIq9cZB9pmYutvrIugh
b8N3g0N3dhwTKnJ4C+T7Vh3AwXOEsFsTFSNaZLd1mM4EWypeS7eEH6/qw7D5n8CCTiKHV9UJ1JQg
XROgzzVn4YRg7zIPLfmg8q9Ylzhb+9Bu+k2o9QnjHweXDkFEMPndIuEISNwXGszChqOfwuSHNlBf
prw8CGEeq65romGjMWUg9Kzl5h9C0v9yR7NFSIOXtDi7fGFPs1puCjWdqSYXkBTP5pPvdzdB2fZ3
mwwzOhQJ9+cUyj4iJqH3KV9omPSETZhKcL8Rur3NwRarxkrIDYQKFuyBPFUtewSS9QFlO/RsByVL
eDDfGd658Azhg1jkpzHsT2xyD0uFAflcTWnR9I+yqR90U4V7NYog5uXWxJj33DdAogenQSufTbk3
R+Eq7mgOLnHejHMcBPU3qN1piKw1JGro5CdOt/30ahx6sy6nQG9Hv+Kw/1aaCEqFUzy0DkkmXpoj
xjGLR5VrufcV7gTZ2bTo89Sb12Mg3eGejzQZ+coeGRjkBw9dBQVGcl+nvIbleK0X5dg4V1AMsItn
lLpvQYxRgDHZq1JamC2umt476tz/YSH9G5VjLXaz8ecI/Ekvct3yyO2hu9VRoaDjqmTUzNMXt59I
VJbwY2vdDTFdwBsAYrJfxKnHBCR+64ExVhwbuvAY815pXwT1gbqOSo1jvWQcCE1WFIz2K8heYuqI
u8AMJEOAANPbYkLop3UsEn8aebx6LKvCvgd3c/i9VuIIyzs5do3qWfAf7rSw1Kotv1cG5OpeN+sD
sV5z2860f5353N+AyUKngGVxWivXiWpMtz7nLu+SgAsZBSHGZaIa4u9D5MxsMwmvO8gqu2CFpyRH
D5aupttVIa2YawafpXwwyIxYvk5JZ0eF0lpV3A0YvNl1xixHr6JQ9W5qNb9Y2FOSD4HXwE0okFK3
kIFPbVj1z2UgEIE6jCdUEhOj2KXTyanUyWf99mpBMbAjSKagyDc6h4JVDo9qquDWdFdrFdmFsV9V
XkA9WbR+0mmxHisojz7k1Tg9KBRiWxCqFO0T25i7a7vQ3HdQucQrer35yUaveuUdr1dMvDTrcZUT
IBS3dFmehJCesLg+pXxY9LI3VJgDawFGgfbMLnHFMIqILVnSZi2Hl6Kt2sxvKnsAM0X+y6Gz/iVz
dLUCcYXg/dYvk45KyURSjMVGk0H2cx7VusdEt9cLs7c+7W/CwKnSEbry0ejMJi0l93dl13o7g4j1
BEXnKgUlGrh1Ks+HPpjH9hhEab+xmTl3NmTjbdg11a1b+jQFOL6lpfAe840FUVeU9CtrAnKPRM6P
3TlHmApre4BIpw0j27vNZ4v4NPbyqTz3qJOXZkDwMWjjIViiW8rzLUBthtibta/k9yksx7iZ5Tdv
7h6GQn9j0sO+lxIEzJtBxLas32072V3TcIpR+PopQDEzGuuleQX1Y7NzN+h5dMFQJyC+L4uI28G7
s+ig2TPHxTDSaAA8sJXHxZgXT5hHsjHksss6a0hLi3hdhBtts7sm0gnvqkLLhDYrYuJl4jtvLdnR
8TCLOpcreZGN4Tct5mpiMvS/6EaOE8Hs6MB8AucvniD29Z13S5gFPXg1EcyviNIX/hstoWDsQDgG
PUtbRj0KilFlcxy6FuVL7JX7iUJWMALpeb8z+di8UG8BrRUKNlkXUoLkvL9zCDORZut0VAol1T63
oU1okfswX0h2oPbV/C5z6Pus5Vru+qWxUd3LI54rB2H1rF5ovob3zdwGMRwjizGYoPZoPKKf0Owy
vzae8YpUCvCARBPRJpkJZvgFzn28BZJHBQPzkj+2uGKgXp6MmHhEX0AII2rGKaZ9CDdLJvM2DgAq
w61e0MBbqqQQWr3VofgRjGLBNPo6419RnP2NsSNfl7t1Xf3PDOcL3XtjhbqXbvbU8oeuNp/d0pjI
3UjxgqYEXEpF/R0nEo1SxG9OpHZuRQuFCTOLIWEFpG0jAl1VNDAadqjRpXWg4FmKGwi+nMbWxwiD
9mnc4yGh4jS6MXeXNmv8uULGVZsE9J8iWU0zJH6PEmLjMRHXcvDQEceqmFDE6csS8ANR83eGct3e
y4f7dexLRG6apJ07fUbgNb+uVeVHTSDOBAjN7eQjtu/kUCW+atoUo0bFMeDkuS5phri0g9/p8rgV
tv+mWv+7W0GRtHYA6RZd8BWv6NzOw7Du+3F5RP47RqXrNtE4kwfNSH3L2mHYm7q0vwyQ27Sf2Nu8
4bovZtd+DiDck/AOrfwASZqElot99DYQjRKBuRR1Pvw1LUW0dYaiesDneGzJEi/BAPQH976+CboV
/ku5MrzNUZ/cg8v+LW+bPmpGVsdGdQypndf1kV+h0wKBoY4dnPyTP5AymfKe/RL50O03iZh6qRCa
9YMyu9ax8gC+gmqnMBKVjGDC3bGlgoZdSSC2PBkZ5Sv5jpFR9JBpa24aCc3qpeQ+vkz9a1pwj/Sk
v6k3WK4g01MlEU4MnSkOtq6bo1WzTVjnf/EhCgZr89ywi3qkhG2C/zNiXDpvDqRongvIGkFNx5sF
eC3nzf9ukNbfdOusHyYOdkUvrPmOlBR6n7JF461TlimiuF+uWoYIMvVbMmlWHlfr/aiczkuVw02i
qtk/6WX80jLro2bv3c44C5ka2BJppesdStMVTpIYIutv37o18JJcwik1uZQ7jgQ64dbMGfGc+qHx
BzA9jrmf4r6BSF4OYaTBzs4eNRN+4xsChdzN2e5bXIlJTar5d1XX/V2FI3s7OpgaiLq8927qzoOr
9v1XBX0WzI5Q5ODtQvfe0n2ZzGiyugH3WeMN05uidgBkp8NHx2BNw4fv3Oo+nrQIwF06YZYpsMvX
gOf5Fw6dvbjXlUwtLR91SVSCjP9FdwvYEDWQAV2va3M/jU0BOu2A0R3EKYFmI9vIIXkWGd/M3rey
pRLCVS2CZ2dIiZnhMPpwUfy3E26D+lz0JD+PPaMtpqxi1qvQvdnWFZ7en/0w7WaQwZqCTl+UABEC
Olr7T+Emm+dWtTodQcyzk9OmbmbueKgGjcV+G3F5Tqu/LHHoNuSXrbndeXJdvjfhYllkqxKamW6O
/h6q9NRF20AN+AWtjda2mJM8QLE42kDm4cZh5fMxmu0iXpji7DPSrCUBWkti3J9rZPQ03vQhsNGY
FRZ/vcmrPuI+gTn6VL90m5nioNfydVsDFk3b1LxUSAo/tdWQ15EFC0ICYt3yaPJCxhAV9iMp0VrJ
0KeV5Jh0+SRGq/fYanTK1aI4NaMrIr6o/BPoKBf0cxCQ1q8FIrECWEJSF4hoC3dFOC+cicRLGaI5
rfVZYtD3VSY8HOvThhrQ/exRdOxAnSEBi6YXYxR22iO6GPEQVO+tAcRVdRBMsLapEPeFPcZskJA0
N2hWQYbu1HqOTVF7b+FQNsfKJedgIMfd4yBse9RzGD4GvtfuG2L1DsOwYQov0+2Z5l7kBu36g9Wi
zpjw5FtdD2GMMiHySps38+ParEEE3F1mSCpxyW2mS71QqFOzdsvPHkHGY1jn8yfIyDi3IfLYTzi3
FCDG2mVQDNRxJ7v5MME8o0lW+qF0xubUg0xoN61l3SZ2KGp6h+ZuVNULdUvHcv3pEqdNTRGQveq9
5SF0WXAINPnSjWUbS1vNe77I8VTTGclvAchkKDt5wvy+vbE6b064mMeHEfMnCSdOEQ3lrJ8Jhpkf
oa/RHsetDZPGKrMfQofeIUC1iSsG/aY63MndOKGnYpju/RV4jQSlVTyNyvuhwIoZextuG6+SbaQn
E9xyhRb0fGBO2m7rBACxDKNz9++u3za7m/0BHkwp4EggeY0ll07iefMWSwR+ACG2AWmxkGntCZtW
cnqFXnN9R7dh3JNidJKW05/jHMKRORbFgdJp/J2RJbmBdDoG+4EOno+GITclkb9BQ+5GKqi32Fmc
8tiRJQAQhZv2tsq5ho5GYdPWz7+6yqvu2ex4EedrdQeKNp1ttf2BBEpDib0UqTuVK7AQ9wWDmvWb
x5RGbafQT0sZjA9SluX9bEh3ysXmvDbcsF+BJ7z7AjMNEcPX2pFxtF8a2cBZ4MrdoTSgkG7k4FTY
Gp3US4+8KHR07G4o3INGwD75IOdLqTWYtiuW4c3dyvK1sKtz06z+mpEAcFm5tn7UhwNwQkDSkZrY
Lz2ArMmdEIOzsZc7FiiCjn3m7sEzA4cQavsdWQgwz97k1IuEp8tDbwYgZ5Llh2Kmzn50NRwM4p6d
xNEHkOa9cAnihHWiD6orQUnko5B6N5FujZy8aJFBNU2MG9WNXOJvsQkXlrhVvsQOHNgRCWEft8T7
MhrlRojzXuutQk43qPIr4h0Tq27qsx4zGtmgiU5xNi36U9iYFU7J0tHxSxgK23BVWfe+C7m322oy
gdWkhDqBr3tcR8CHb8i8TSluHf95daoQV89CjsWKb92CtBt/BenfRtRnypZ+X3h9lUBufIzRRuLe
uLqtZYy25eV2BJvgFyzAkoUZfj6FPhA63I8dOmojaO2FkVv0kGBZgIRy0083ochtSvJK3juYjWyj
anPKr/M85fHIpzLdaBEC+mg7IMkNZzuMs9mYax9ZvRZj4hWKK0BbpHzrurr8gYi4Qpo1h0WM5MWm
M8j0I0JLGwGVtDHpPYkwRpY/ByhQ31MJmH5cl2lH5Vre0RnjuLi9+SPqAsEvt8Dx7rBj4EHwQWOD
AvG3Vm9834pmOUlBcSWEU7t8J67qnlYz2Jfe0gL18E65R1G1AOEtgFgwNSyfu8GyxB9asQt7VT+S
aat38OKIwTTixQPeqExzgCOfuqLVv1wUfKIVV+xry6b+uQq84N5CGA+PskCCNZ+ha9OVVXOY8s39
KqTFa4HiwgO4HaJbKeWhbE+i69QdneA6Iq/Y7LOTN/XvGVqfEZOheaoLyBrl0JJIDGCnyLiCfJ5H
Iz9Rz29eh7IY0zFYZozDdGOV7zawZH8OfdPcSFQ1D22BtvioGByeBluND7HVt0vv+G3SGVvUie+w
8GQNrgIjlHidq3rdF5T3e7fP6X2nKD/aKqiraHUhZRLWEsl0OXl5++SgebxNJPW9z7Bmu18C6rRJ
z6tp3TERLAdnhQzqeUGg5ArHJDfDo1eX8BS28PZAveW98kt9GialksmoiFVefZQhNZnl4KRiq/F/
VWPv3naeRrS6Lva3YtQ7Se3MNlIGIPhReg5gnSnn7CbUwxyDrsUeWTM0CLvHZuAxhaLMoxY/VlBe
gpbfD+KghpPtxwlDl3VbJUIRNJKMLFN9eEfVOKJWM1awhgaI6rJfDMvGmmaN0zzJqTRRDbwVuOQt
Zflnldc7o8VJTEwDTxs+9+EKIkf3fCkxIJW4oqZ6KWK/KN4I4kNkcFvsBf7XWri7UrDP6KyN29l5
hbA3wmcqj5Y7J0bdCJDzKZxQWhnFjgbeaesgDYZEJVYhUkD4j8JFpGbmPGnkdDOMOQjcNSDOyiR9
U7C0ATods5xE/uTBDoek6LuXpq9jzNggu0NcXFXzj4HSL0PDT7zHYNX/cXQey20jWxh+IlQhNcIW
gZkSFW1pg5JsGUADjZyffj7O5lb5jj0jk0D3OX/U9XAthl+DbI91211dowjnSe543iK7XI6jp73k
tcFrYxT7zdQZnIx4laxP+XTyKygdxzvekculaL+1ppoDq+g+ND859FURd+1ycit1W7ZsV03tMZnl
Y29rTmhWxGmt2u/appLFdU6Jap6lLx/NuWhBs/Jzsei/wGf+Jbl69GztX9qtDFYZo1DXgwojDQgr
knGPoztfXenJs1ObVty645cC5abuB/uH2B69OjlSxHK0OfrHWT37G72AfkrnlXpvLe80+u6LGh2f
Z6n8ohY1yj3rPdGK0BHlw5Q4aeRb2bYHTw3WUlRhsQmXAmTcsxknbGCQT04TdhYYytnrXK6dsN/m
JD32c/rPtqug6qZYF/AylgavILpln/tk13fupSyabF/P+cXzvC8zH75d3sRD5jVdgKP6wUK5s251
qNrh2FIiBfDpML96c8DwK5lvrDkaU5zKGKT/MsFXkIEsQBTOSFD77a3Z0ubASJdEtKLbQd9ol8Gp
nrIm2/md941pVv10m/py+Z+9ttTfrkfkn7A+u7q73B+Cvht23poFw4YZb6of6L6tAz+v/1WWfeDU
+qMtC3skHsna12P+k/HAS5RkTFAKsB9c3tvVEOKZvxwqOZMPJZ/X0Y9nk/BnQe6voUcGf8HKMUKz
MKJiUwhzmZlgTvBqlfB8ts17mkJ+UnV9tub+M6OYpHdT64YfrYIxZPbTOTlL0HMaJYH3EAjOufen
74xDyYeQF+xVW3YcxyZqcwvLs7Tq2PB0f0cuxboj/LgJ3EG91056c2gmAi8yPTYlsr7qof5YKFfh
o1teuda6gNdjAJUWY6j31UvT9NpemHMT6d46cIYb/XEcSh12tnw268KJebmPBqlPO8fu89i3uLlS
0byAi+Zh4TqkPozCBFLgOeIDq068YWPgtrUVJvlK0Pek3/h43TDTva91Wp7cftkttXlJc51x3dFg
k9twSa1IRwMb1NN8lJmtx71IMAdYL7Vn/yCju2oaegfoajxvMwru5OAmbnbkC9NhmUCzUjpRg9RM
6oD0dajZuhb7QaS3Wnon07Jf+nS4ecI8i3T5pW/Gxc69iJD8CYQpo4Nx0QH+yK3+Ik2rjTZug2/+
RpfcXK7LvMam2+z7bXhYkx6IIjW1UOvyH9tlu3GqH6Nvv3I+PjBjQ+2R9/RhDSwUNFm996Gucqf5
nqrkWU88B07GJOGtfzRWJzuouf3XrL4ZSYIAA1PpHKbds+51R/q4L7y0Q9gAw6Ts4X5zdYqR6PGl
fpLF2FEjVw1HY0L9uvXJHnCwJdZvdP9/iBs1v5PFdp6UcTZ0TMCWB8g4wOCtjPFdO/xUdIbVq/FV
WmasK4/L0EircOrhjxrP56DP9XPGZqyK/kIpbPE6LxO9zpxTs1Co8tqXe79Okpbfg6fbtOCY16Jy
mIXmZ4QRO4JQn2y7PPtV+zE25dWr0iM2fmdvdh5IcFI0EbEt5F/YzSkbq0tS1upxc7NwsLww3com
mjRTDyapH5eEzAmuHKIEwccTqLFAdE1oCdXTHsZQBQ5ZrZHDf21RaoVXTakGHfbFWP3OzeTbqUGo
OjJ8RIsGD5ySTqs0GCvbinK1vmcg6sAisViMEQKDpXTuOId0To9zMjZvxbYxydd65FWlDGZvvjWV
yWa1XJWeHGerp4ULcsvePI5VPrCyFklQL/MUwz0+eql6GZry1tblSzZvWSDMwaF5mHZAKmt+6mFa
I+bHs9v3duzkygiWVr1shdKI5Xa3PQOoeytdG26pr+JFci7ZJZSERDMV5A29XJxs52TIY5ggcwkc
c/ro6iU/wE3iacpiNaECYOsO5kGUYZ5vL0a+gbCnT6S4fcz6qoVtnu08ZVxTfz4itTzICpwUgUt2
/1FL3/hkomGUyF/WnHEAX3kaLpp9kb65E8XUnuY1hWvPYaIKwc0pN/HkNW3UJc2Hsl1Eu3xbLZKY
MBWyCLsyvSnXHo6d3z26W3dlH9nCunSuckt0dJ6cnPxd7h91f7bc9alNy18EsoyBho0aD4rGy5rA
CWqtF7bYUoBMpDqaU+GRB+Q5VzerhgM9iVuw+GaK60dWoZeKw7ZiZBX+z6QlO6MbREzH63s+Tq9a
U++qZDOoSSFRV5bTXy1zf7s+6F1X5yCUSrRcoGKMR3v1GfzbP/oCSs238V46iwc8At84L87fxE3D
tBh2VgltYPsxW9Y1bbsnjYyzoFT1a+Jz2xhu8cclcjDwfbsOtlFj3c0v/sYUxWhchoWq/hj++tym
HBDV+t349tNoaJ/FBK1uec/e6tTMm+tDpvIOjHqAxUWxztheH9C17cmOXyLPq6mHKrd/fjbcAasj
Mr69M40P2bS6oW+OR5d3QpQI3RtdbmGZzX+1EolqVViftlJV6BIaSt5l+09TWooSvvYPMy0jwcQI
KCv1BMLTBYCUJzfZ3pypebB58BN/bmNJbDoKjOHXssJg2IP1Nha8IqQ3ctVOhn7wueQjQ3efNl2D
CNZf4Gj3fiPfC0mddZHRo+HqrM2O+BIMZkVnPpMt9O0XxlvJuWVN3htFCS+l3p04Srn8vAEiwm52
ybD+HXL9mhGrTrFIkK6oWrrZfTRbsFyiGNiEaobcgrZgrdGqt7XUza92EISjrKYZ+1375vjGfWk2
3JdBUVos9NYMvVWlN31M12jroVFLHXB/1VmHCz1Ft1Sl8MZgli8bEqV48T39qDJPnsQidh4+gkCr
rC40qHWI5qwgxWQok7hvXepqNYRZWgPt09q/FBq2q5UPWeB0fcB2UADbMkF5zOJjNC38i1ThEObC
T208ZJbdwDFbSRZk0+w+07Pn5NwFphELkPvXAj8cJKXTPbFBIdEUwo+IibY+tgyRhJ/PzceCTvUV
mUVhgddpC2xe1RdB1mzNX3RO6hfAVhK7ZZ3GqVO/Fon3sfHThZtuz49AFEW09G1zKkxO6j5XiITa
sQrWOoW1XnWUDTMXcW4szxTnmrdK4y9RJ/JNqOlhaj3t5nRMbjWPLwh9H6L3TXbEhRGCmxpZTAxE
GaF1cU8FN469m2yCgUpEpiFKC+1ZT4EbCSbweWd86rKmudmBqzRhCTgRwrR0ByZY5yWlC/k0TqWx
dzp3PXWVmp/lypHA4LOGGLfnV6JxtotLKvU7I+5jkwIYWGrkSPfhh+2t0PY1W96rQ2T/ra2Km1/q
73XbppeWvApoj6F47IAst8AdXbgg4hj3Km1Ytjr7ex6W51rZcj+5THVGS9S/NsuCpK8kQ6pr/LPy
rgIcn0BM9AZ3RsYc4AoducFUfgNSX7Z8m9nBJvCtUmuONRP7VSR4qyV7+aFyXJCbthwQhBSIpIZU
2xsYKjmTtOekhYcB27i0if1kZsbfblmXpy732102DfqTvo3sH/DeMe1NFVHWUCdKMBM1ZZ/ScJG3
xzyrkk9vltWroVcInESd7suqbw/1QNSeTnQZLIA3xnnfMDH7mr33NtJrM2mMqIqgKypZt/sSy10g
XLi/vJcIS4xheq4qe4OL6Ic+0G0hb2nlmEWg5m3cJULXASX9li9X6svvhP5zPhnI6J5ZOMYkOH1y
jdhcY+W7UNj3ypXNkrXqJSE5KpCLbEMwG3mBIXloK1M/twmUTdX3fEk0FS/QATkR5CpJTmViz9HC
Fx6YbmbsDJJCdn21WofCz97qcvibDq0R5Q28dLuZE6KOpNsB1hZBORQDu0ybs0UxfA7kvweTy7qU
9OYfzy2swBTWq63TiJBR0XTovVZEs08qaNKnPfAyqKLvg/EvldFEqKmK52LSuqCqtjY01rEgfBrS
DN50vRZkBd0aCw5FrhD1Zebfc0X4WHprysNVQVfVS/lcJymio6VZD0ZiypNtjjYXETBesCBrycI+
J2391HUdtYgOTVFWNPB/HM2+8p/8VDzOSbI+yvuzvLXqgQ0d7dtiwLTa87s2d2++kadBu9nO0cn8
cyGbo6y2Sh15VJZvz5T89A1WlM86bcWnng+NH7nuYq9hK2BmA6hl0cd1C4UUVDMgGlaeJqB9S0dy
bLrCjZBkQFprq34vcyZAnx+/cpCDI/hzZKSEWrwTKi1UmbOfDOUe1EyIkHdLikfN1VCvgbzeBYWU
tzzZFfc/HP7wp3AQyfCBERwQcUf0AwLqre+D0jbGhSTbMU0jo8kdOsvKMsvCpnP4DNauyz9bMbY9
/GExWEeYDfNkMekssW/rIybehm6mUDMlTLC0F9dCJeRoijXRxweVI/D5bW1T+TmWVj9C7WeDCzXY
28shJ9jsfVn6+6VfNUoeQD9N7UJzDvIz/kip8fev2deMMnW/YdpEOHXCJ0DI5mOJ/c1e0yfTWJj5
iryA/x7GJmO60qzRPriFC5bBKQFTxlfGeihsp7COQE3p02ro2q3x6o7hvuucJu7LqTw5VkHS/ASx
8ObyYS4XfL6lF3gez28wsnyrQMuqUY9GyzKyK2IY70FU+ICDcdTT5y7zjfMsCtB/sa51HiZSlL/T
sqzedQQfTmA0Q83vXZqmuZm9sX0LbeTWNDIk2kc0DqvNWoKAKSyqUZrn2vQ0n0vRg5m3Wq0/aSO4
cailWecDIqwkzxCjnHlI4Gen4coq1ja0mhkFGHQHW6btTHBSRps+6vZAIYM9O+qtdI3+tgHaw97l
svslF7DuU6ZpyLt6PSGTtq8o6QOL5UOKRD+Ln7VItybyO3P9W9WQUFQxGe1Lv3Yu6jK7ItRnqtjI
WL+5qI2hkvSPZxaQb75MXhalylA2gwz68tABDeFw101XXhi+QaJsZ+4/UrfkmIcb2hA+rLzGO9LN
uWWpp85Ypz0zeVeb0YFVSblqJ4188oolM9Oy0DGKWYX1aDsKPMQpk91CSXQZ2T4CLcsG7r92Tmbx
srQ6EDZ6W4NCHhsnYoBumvnWHlavP5QYMtJdx/DeBrMz2nhPS/fuYehMqCPP11gG6PASRuSrGY69
nt1AF/Nu9g1/BHOCJ4tHj+T/IBEsD6EgaG6OOzftZSjkPH20k7I+B5TZ/unukWnDe6vI95rkTsZM
KnX/2RbKfK/GUv4F+UTrla8+XEWO3JahzrvLJGt9ZjuyqrkCKimlfaiS0lYROyxCEjsf1OvqtI4F
9zdR4wKfU+owQgt8iFNvw55RFDb2ni1FHkm2bX9I3pRW7I6O+xuIVwxxa2U8PTSJOnsXOic/mAgz
5wg4Yd52PKX5m/I8C12+J6cXv8ayhEARgBvy1NP2BfTdY00+pQzXPHfptObm+9oMaWdhRm+OHXul
Vvgce414aDqC348stXx8VXnXLCfLKE89f/ftNMpuLHedayAoQMGxvfYmAP2eCtg7t6u3iwolGcai
QslzMNzWhL41Ng4mrKvVhySRJosMKNj2kA0b37pjzyOt9FZjvCiTlHNkhdOiBZzWlheNSw8xndk9
InbQBUinwp4Aiv1xrf6YZWYjpbZqi8Fktopv4NrsqwD3RbAE+m9GSiHvQ1podekp6Uc66UC3Ozss
S3vEpJJ0w3hBuNIaOIRG8Tr2VW0H/n1123UITbpHOMgGxaPL/BH4U+OJwC81vYLosX3F0oFfwK41
zm4j68F5BRQ7sNOiqy7OB8ssUDTqlhFS9/2/mtTSgbX4NzzTX+6ZwZaPHO+MMMljMrUcLqajmtfE
sfqj4dUwYjOf7ZffVetDW2jN1+YLSdP1ai9mWI6FwL6cToBL3goFAyyRoPjUatvYgrqw2iqierFc
oga9dBZMVlOlt4SiPudBGJ2JkqJ0tPQpqQb0FbU07T1YIAKLVLca/zyRFDAEbSPuIXeTSgJpDcgS
x5EPoDrPdnethHsaVoVy8A5g+mhp7mNVBrzYnbNt/nK38m8xclsMdxF5okqYWcu5IbOGTpHln1pb
XzTJTDXlHGlea8JKTdsnm/GNaz6ktfoykiMewZztSpJW40qhOum3K4voBebpuBnmGWp+T7+yA1Ym
/7qVfp0H46jS+YBDZZ9A/yKEM9hBi29PG+5fnn1YepPXZfhC1y0DV2EwWGDeXXOdoUAHVEnYbYXM
r9RfvLazvM5W9cF4e/P82dz5M69EUdjurkcNgwAR7W3xAKn8qvdWrAGGGGJ4qEfrwWHigMJr2XjQ
fC08SykWEd1qTxaIQQgp1u+m2TnrHJshJONDlyfIR7IB1axKQLny+qVOtoduMF7nbNzLbB4iCDV2
WtqjDzhs1sDstxNdZh+DdD/0qnzwyNOniOeh0lYn4Lv/ACU6JEbJRpEAryXjGzeKjNAELKE3FlHX
jBFLHeLehUDTvFQ3MycUGdHnyejX6WiitC5kfxg8tLNec5wL/xV8H/TS93f2IA9ZVz8bRB2Hrk7e
J+cRzpn0eZvcmha6ogszk027oNo8aUcttqxNMbjRvkA5NMnFw5OVTKc+da24G5sfZRlHnvCfVEy/
JqdFkJsjFEE2AxmdXhgI3k0+23Ew/pkCkkOhk2qKY4Uw0V719/vjSIPwEPNZvswuP2RrLUNoQblE
addd/BQRc1cYL3fDRFf4vy32yt0g6++cxwP5RbFbR37vNrbHEl1w2sHWzVu5m7N+Cugl/pvZ697e
1BXXH4Ii7S3L1z+lYZ3oWYfCK31OWmaxIHOdM4aAh4mVlCBKdZCu/m/tEezLydgvrHTh2mpdNGt3
mZL+KhBZpZYO3z2MDxvKyab0rGCz+09JS41DctvOLRDksjWd7GVmJOYBdQATmtH6ng0HrLBRbwhb
fqGCrfetpr0MPTL+u40n7CXrAsw5yrFhuiQ5Yjmz1sbQyedfo5S3vPTAdY0VpVw3HdoZG3ANYOG5
d01oGlvICO+QzmKYAj5fOOqgY0vxkJMZILGymIof5mvEESiQ+w8CqJhATFQwyyrIHxfP21KeEs+9
Va5490nW6bhvoPibx1LLWobR7aX01JNnibM9oeFJcD0jb55PfGvv2QDpbqzy3CvE0gjS13z4SEex
Bq57tz2J5vn+QDAjvg4G+1E69nun0Eb4zgQ0rhl7dNvFa12l9S6x+/Mw8gKWE4E6gLIxY2oWKMPa
J8Py4sA3HDkpXhdhP5aFd0IxWwWFNv27fywon8F0ud5jFmhiRacdTPUDKNaLrWfP5jz9ppX+VEP8
1Gv90Y3t1fbKE2aO0EdqEGnT9g/O4lhY9tPcDGOclcVpHmd9n1cTLjsQqRUKrDeKz2owfwZN8oPj
4svK9GCM1q2w/e9RaBGUKwql/MPajPfRni8dGHnUNNO1qrvflkBAK+RuKPs/dOKi3FRPSZ4el9LT
whUSAfHt8DFZ9B/DrgVowwOI9+PQeKyuvfpXCugKc07f9DsIamTTgyiyneMsZ4cyAi+pdm4+/TGn
hKGMmoK4VYDQkwdYhTPhKAfnOC7rnWt5WO8AB/PH61jlj7nsI51FO7aaZqZwOb2OS5XHpr09pACp
fY+lL+0+6BB9JKn3Vz5tT4WQipvgjgogaS3Mg5bLZ+IjJXcEUvglO2TKPTMqA6X3OsnBs/93lNqZ
DLErkrEuBmI6olWH28V4/I1WjSV1Xfofci2bgyHT8uhni4r0ybdi2+ICY/B9Q2Ua2o08197y5t2Z
g1oSi1CfM7P/cjP5r83M2G7N+P4D+SC1pdAOqEe3wDZrJlzxUJZuqHjbl9a/avBlYrVtlqPqQ0e6
08zZi5qca9M6cSfSl9pQr8nSnHAxHm1j3lGpefGL+9gq/dtSo/WTAstxWRwWzDcTPXHhgt4+MJ32
QxYSuY28mPwTt2F15tx492oTJNDuAuwyp7U2fuyEF0k0u77QL6KqI2pbUQwNR6A5pjlKWGTbf+W0
OpWTSAO1Nns6bGKxAp6bzOwkwh75IQmFMOrDaE2X1fefmrZtY98ntWbo/kGCPTdcAxh938oOurUf
HBvgVkRuzWPJTsS2Vl2yzFVxCTAQtNVih30KBOb4yS/cRtGCwY/QS/aZgTqunvdh6E5YYvKdt1UF
O217avQMRLcUJpIZH++IQZZHfUvYnTIt/40d4IJUCOJt8W7OuhoRgO2uqyCqVYpE352O0l9irZhv
abHc8kagMRpO0ncu6BLBStL0X6OgAPjG38zV/5MKc7e1zAkI8utGXPOm5PjG1NfYKH+AEivk7atX
PxGh8I728qey/RfpMdYrvv77+zcra2/z5pDkfVIt0SMm+wYVhZnW7MlMPCdzjwNtaIExnbKM+feo
QE3EMJiZeKQaXQtEPasIK0p3GAr52yKHMhAZXFna23PcL/XeICdgZwkbm87UvrDMHgyt47RyK6BT
ZNzJ/FQmam9M44F8V8SB4wO9xg8YPD7K0Tsudfvir9zEowW+7I+/e8f/pxliifFQPpd2cvREdTU8
TonEBxLV1uyJoSxkzIrLZnphSY9sW6sj8lDlS9fCktRY/+6C8/uJ0aT73iz3blvE918njfOQGir5
zDKnPtxrxBzHO2MX2nMEXRajgRmp3+TM9Mkn5VHD2mXdY13rx9HyXmwTw7dr7dfcjixvvZVifBQN
Zw4o2iyHJ1af3/6gvvtcv+V2f207jJSuKsJl6HbUGj1LHjONp8X37nsV3yYj19+lyA69hjHGLpS3
8xy5nBAn/kzIKPBG7ZvZvJ81rfw0zOWtAa6MWtT7cQ23F9Ru+qgtyWvDsNKUjh/WRZXvDF9FwMfl
R4UyyxLrj6srP3Tz7KfOvAvP+2UEA3lIK9s7r7YpPxdSVgx3eh666ZZkpFhRT/bels37IrUkrjIs
t1N2NZmelb+ewV/ByppL4TSY8rziglYjlgNuiQFYM5M4vtEuaB6TleeuvL1K2+tK7RX+UDVKQOwq
0uaGxWzywYQWZgC1z6rt2vJNlaPaLXZ6IYmHN0TDrpg/1cxFeJKyvT/ZWHkX99TYtPBpA3UAyxzb
OWIpVrqHUXf2jaOuMp3+6UxgLJ9zFmhaieqrwAmwfNiqUbHVujhhMdhjA3H/IMm7qtL7LhN3n/nb
wegKctPbnQlPFrD3cBYvgd4N0VBzhG7sNCrTPzfRrbuMnsdBWTeLHSTxjI9t0E9Tr+2UNjxv0ork
KJlKKJ+sEuNJOhxIKJX/5rTLpUp78tXGjlJnj1Cwh2kYT2ZDfQnfbdhbIrTddKflTnz/3U0Ky1vL
e0ftCRkiXd0yieZBobFYY0cV8TypNNBSN86w1c2qi8BwUCYyIZbTch0RjY+2Om1qemvtTgIAJrcV
WKsafntp+Zmsw40hXt5VD3sB3YGSCoiRkJdMzj9eLw4zh7tY54uOnAj561Cd5OL5aPfEXtf055bL
FL3547q1O8dT4Gculu2qeu6N9JeO3AoHaydQQvMsumGX5fv7m7d12k6rebhxs0YyLfa+Abw59M0e
68FT4rehWPIw5wu2aMOeZ4/6UboBcu3FZUOb2HX5SWJ7TfBgAzTUU7FD0RdbHR55/X3LzDCHxAS+
0Pc1rSQEFR3m+9zrc+5aQ4nsxn/GGRC6C8pGMVl2LPLiupbUkfYtikKgabPgF/X2WyZtVHjtfiWu
YGsx22wCx07D64md4a/Pc1gyAavRKNE4gjxXeoxs9afIul8QiFrIxo6ws2HDQiI3ZXfllK/d/KU9
T3UVzoIFpXa3d6VhQ6rsB4/J3Mn7PXbul0VPd4nZ8j1v/k+iaa/SRDSBBMmugPmc5WUo6r1FySmo
dKSVZjwb+r5zvbjVZdTXW7iMqFqZwKN0yg9ESlx6Uw/bNLlosn7omn6fJiCzeX1iwn5oLYVYxz/d
H1qUOIDw05PNNNl0w97Ke+w8S9wPtBUi595P/fx2rzvta9mi/BrDZS3PWFTvWgKstzMiUStesvzQ
iebVx2K8bs6J2zvyHZYfDDGhrLPjYtp4J70KSpg3XizPrWGGKd+RGGpOgSx2EZI3wI+zS5b9zNGQ
c6u3DfCjqHsnnEsssFIjXq7Zi8XTg8VqovuNs4xWVPb9S6dvey8xX8UmX0GB5M4yLPBnEjzAovLT
KvQIgbmPnat68MsJq3tv/rp7MZPFfU0ZbzK+jm6D18w5I7nAjBilF/57i1Xh7vcZZiMEtZGBPy8n
ifHemJJz3s2vyZBeAQ/mUM+KD6eUHz08uOs0t1o473XRL/jNJiPk0Z6wkY9H003PLkSi4C6Cz7sU
6fjIvfTr3lQnOyees2rnG+5vIOrLvaALGPVbVwXd0t12V9PuNwbZpLN+PJmAYo79Y55NuwT1aT9S
wooMoQ07hb8ZbJgATOSI6NPvh2fb80jOEy4mYNAKX21i3qeRkjqw7WExZcOryCgLJPfGRHHXHQ3h
XKlL4k8I4X3whBEEz44kU2bYLPJoDiXoo43mVncf8q2Jq1agjeR9Nnk9TRYewylRU792nLABA9UY
+svtDhi4Pu5kKkZSori87On+UWD0nBEmaI/mlO70vB4RjOA3EMNnnfRvK+YCoXPOm279txf1kUKz
89w6O9dyGIU3Yv2n18SD9rAaiAwD9689HHowHTIAULylsSm3dw47Vxqv64DlxhyOXqtTpuLgj7Kc
SDeTA3h4CSGJ1a3PqAqYSq7DNdl52oY+yrms7OxDfYUHL4j4mS9wDAdiFEZkWvOHYyVvrV/v8T2Q
MiD3Zj593StGF0YMrUj3qqgDI3e+a4LKbfXnPk0IKfCeeNnJ46jjwbwJdQOehygeOkQqwwHaGEyT
w4t/jgz4pO5/iF8z2muBhslOIDC5f/DJut0a26O3Hj1ncwco6QmI3EL9a9wuXvoNAWDpRKb2nqOc
p6xa/ZkUASCL78ZajwNz+LWCpCp7kqdUWAUjq3NgfUpDa3uy+VC8Ouvo+5jR/9QzvksgQWkjsq/9
0Og1Pehk8dau+Ku19xoZEbiPi8AQ8Adx4TNq5l3RLF+4jNjikZcEqfABLaR7zSweyao+DVZ7xoEW
tHb6dO9954E/VR0SrsnvQIrKuOApRh/4M/BxCZArG7HK1Nm/OzLsYY6bWKTVeeNo4rN+1MsMcLf8
Yjh+LyiaRBtrfukMRF0Za3hXmlTDpKqfuX73Ga9y46O5bBRRg9YMTI4Oiy/Lro1Tktto6cdb1sld
v4nY0+z4/rZZ+kCcSXepnOrRT6tPvcPOdf+DctCwOtl/+WC+E+FeNl54ze8fCZuA9TPjlEiDVHTM
h02M3yI0J++soVNJZ5PY8fKUb188CPcd6+N+91WZc+gq/Vkv6xfXtIMcHv6exaBT4Dy2JmlTU5S3
dAV2HeYoscj3pZmO7V2wniH5RSpwwlE8EP+5cuKDjd0t4KWHVs35/wq9n6Dl0rShC7CmFNemqZ8W
dtawm3MV5HrztZTtuaTyhY0Cus7ie6u96ruo3H/KwycrIYAQNzvBlGSQyah10ftselLvrGYRZwu9
876qV8TDDqq8BW8E96r1otfrtSspTkg9ZVHOqVfvmjM/M8T0EX6k3SzAtyxIa1jSrd/3iGFwYa4H
c9OGqB4a1mmNG2Uy2Os1HaXmhoQEFhKQyrGPRup/3QXbQi7NoWyWag9K9N7J/gMF2x5lMAOQHnhj
Guo5S44iCnD6j6PzWI4cV6LoFzECJGi35b1K3mwYklpD7wnQfP07fJvpieiZbklFApk37z1JqkQW
GM4K5h7rMpgWlgXOsg5bVZI01w446LqR0DPYuLu2cvVgU9AMg37ukw5Rh81rcg5eprJ5zSw07646
BL35K8NhV7BbnRk2PCGT/lTFP0U879qcEjMXF63Kah0KcO06Ga4ODlifTe8Foaf1WNovIwf/RDPf
5BXdG0MegkQlz3d18AVKc2E6q3SiUw2Mpv3lz4euwsFBwU6EAl74MSAlNNI/rFIKG/IlT2E1fY8E
rChs5I0BurFKNJycKf6nJbqzmfzovHyfvB62gNUdErN9LGIy6J33YsrYwbsbHXAtUxaW6DCWlV+q
qcNk3c4PDo7DeXafLdt5HMmYrETtY6PoqQuJf+Hf5QEk98hb1ufn1K/fs8pwjqWhPpqCoHU/0OoQ
dLiYnBMEmtJLSw3jz2o/GtXO6P2XMVdPTVrcLGV9lF70GhIvY4DnQofJSHc2Ov1L3fHL4mkMnPjP
0O526VO4vlED4g29+kPVzRR9BH8t7448nBCD6LEpUZEhGGdl560626efVdZPQW4ht+rzIBMc7tyh
Eu9RGasLzsJ94bufnZs78EMxtSo73jUWLU1a8ytf9FAfGoj8a+a2QHKs5eSfn1FK9QbR8F0EU7fz
Ombn7bjTjWVeq5kAq2wJ57lRyGxzwipTdeVF6VQdwyoPVsvJVJf4kmX34rrIMqzY9FYOEeINbseQ
vzJ8oPfAXZpRahmUXSOgK6GF2KCgpNvZM64hN+8UmRt3jutt6sx4zvix9G5nY6EZ07Nt4FYTGfYw
O5jTc6MwqE3uUK+EsD/pEBCejOSfyPMzUehzlCZfYvR3jNovJvxcrsbmkPg21sro3Va4bgPDJ3ib
WQ+kcvfExALGXN4HzOCjzGfcMslIgz89lB0aN4GToHdf7LEA22X8Cl4wxrQHqfWrw4kyctRHoySg
Z84sKkm2qhUNdvT66FnFqR6IYcfgblAk95Yv7l5fPePYfqttNHnSKdcw6v/8JDtNI7Iq/8WrzOXF
Aj1SUsfQB0XgRAKmOOF4ttEDJm9GvgUno0m8p3GOZBp4bIOQ9nqI+s2iMjqTfw9bQU3fV+0Wa9g/
t9WUrCUmVHzPd28uX1gf8u3MjsaoQ5JAtwg8lfqj59wDONj2qXlYypDeC394Wrax45xHw1hb4wA1
cHmuAif4Tn3upyJ6LtAzrCA/5m52DKrwNFhk7YB/4TQ+mco9Zrm8Tc3AOTI7gDiYUkwyesnSfJ2q
+qWdB4hQ3gWGVrR2M19RSQ7d2vCKexE3eHzT/oVELyLoUO6jOjUwy/Z4i/A60t6nv0vz59beU4/k
Eufjizvw53M+4RD481Iski6mTIb7dMpAY3jBT6BscOIE7ktUM5Gc5dVh81Y52Q9j7T2aVv7Q+epl
iIKPsBs1zVh7SRpKp+XHay1eFk29HfsFO0rq4/LVg0+IVokFb2nhFKEbStVsOqZoFkVvjKvL5BOt
xvm5j+ubqQCdQQ4K6UfY6Lpj1lRs5yE4Uuk9Vkn1KQL/Gpl4DI1W/L+4hEiwTvrmofSbw9IfTVTp
NrNvJ6xfRI251KmLWyinAyCq0+BVbGBA6KQa7wLrwjtf3iyJYNfWc7wXLd7xzuRtDoGLbW1b1Ux1
mmxjtm354OONPrSJhiHj9P0Wa6b1MEYq2lcijS9jmHpPFoAfvLnm/Ja2VMgExsRRj64Z7HzTiH4J
xBOsg82abZpx8N9jkic8LJEqb+XIYTNO9dFRFXAfPQnIQcHS7VQ3dlWvdW1+uJzwK1c7NyUtQF+L
o9Ia/+IKS0/NpbDIAIZocSBSm8wgO3jrmX5bnGAiGv8Cf0JG7v65fXgKA8O7EitnIoZhZpOGhJXU
qJ4hii6Fnvy2w/B5KGBZVU3MQZVP9ilP+uS/JmALhEvJsF7Gaa4QIVZ2ZiPzQPcA69kdDiOuD6Y2
8Q8GXH2WIDxXJc3/bBfnJgCJkxBHNyYAT4ome/mdqOs/+IYZiOf+Kc/CX8SODxanHSqUVuhrtbGq
Bgoj1kVfA0EEv8o/0yEhKOfX4coC+6NV/R149jnpeIbJhWBKjae3ZuzZXmRMX/2YLzuszwwlHjy8
7LHt/2m//syr4QGA3N8idTuBfgPFQKVYe0Q7u1f8HdGB6o6is2ceGo/xeyzFG8ZBQGt2gVc5g781
dL8hF53sGLlETvdLIJLJIHJdaT4nJICH1r0RE8KZ1u5i0V1wCKn/X+lgcl7iJLwOFbjQNhnGC8s1
D94AOg33zGMUjBeBJpvV6kuo8Zujyt+5XXLHdHAJcULFcgkHTJuqma4MBss1PqQfS6dPTu9h4Jis
DjSMt8VW8BgaQu0RUj+HWZ7BYhBiJAHEctAh2YDX2fYzFz2Jxi+nSK89toq1lgmDPhXccdI/RqnD
xJ6dWSD79MmNJ1wJyoA8Y+jPMSTUlvrBv5LFo8z2m8UCTtEWeO1z3gcl70JuYgmksa69DrZd35Ch
5dheuXjQt3aVFJhDahQPt1FPFGbm3vD7R9uhEghNsIngbfhEJYwJbTv3SQsGAlS8GE1PdZ6/j0YE
2G6OgmPq5e2lqgjuyMla4un9hPhl/hfW3Vc3W/7jkBZXUq7+yZ2Whg7v77pblvgUTsUIk5HyKphZ
kpj6Q0f76R3b1obxUBfPRdb+aGxrOFpvOBWvSPs5KVcsdfbM/DDGKr2J5qI+GkOmfi0xi707R/5e
lcL8p6K2CFbg9vmhWSNSht8yasixxFZNUNwTtxD7oKw+qgrYGoIvVW8GRqYCL7oqZFasuI3AxYTR
RmeOufcy682k+30TE4+hQQQlds0XZfZ/BaIuZ14Z3aqOAEhVGq9SS/GfF03Fr8RJgNMklwb4rqla
t1SmB5Z7UAD57lM8clwOygYuEZvTUcPEWfF7JLmMDhRNFj7KIoUzM2YvFrMwSsaS1UGMuthiy8xm
ksjDBp8VxAl1SdBoXpTrjzu/dP2LyAk+R3JqKH+d08zSBwKRPZRLn+ntNWv8x0abYB1SXNxWlRNa
dpIQUmJphpipmmuSUSjPygbcNlfhjZclY/jMismJWj1qx3/IPMxOhip4Jh/ObKoNiD1kQ+X+9fn8
1uv2TuDxXmN+ADeU44fQgI3EyKgj6JPXsInaHXYrxNXeLrZAK4hbzygI4GmHfZ+UHh1l8MwKD7CY
no6ula6+8k7+J30faqiqsdoLq1sVXt08y1R9jpg0XDs6KHMuOD0o6OnKz5merdVQJQ9DReReD4TL
ycwWu96OwDu5HbOMzG3XwzhaNfAq/o/K7HCTRc4RVfg+RI6Nhbp8kbk1r4OC1p74UY2dP86ujOHl
uRss+RF4uI9iq/7EnmJvo3H852bgxBLqj2xiOjdOZfY5qenVstTd86AauW1Wf7RFWl0aiV+7CiJG
bCVzzKw5W1jljyhpd6v3031Yy7OOqy7kLCen0Sh8OWbpZLhYMW041pSDZJ2bkyh7DN5Gc1Fe6jBl
cr5HuqqbI9Kb4WO3NqJ8X2NnWxHh/K9XzZ+puz10jxrSVn638oT2zwRrOv6bORroRQZaT6BX3Esr
h6lcpNLnKO8eYL/dx5xLxFGoGkQcq3Xgll8yps21+/4xbnqoYuVfH4k/zJv+FgUHTJlj/Cva+dHI
02udQw1Z/qVISmpByjnANo/UPXiCPUlcgoPadRaGgdXxZrjl4gMC9kW98RUUPeJiyIfh5f28Mdiv
eZZx4mx8clZNOh36CDcXwD+yKGFP8Xeoomovxhb6XdMHT0nQJkc0pnjRZPM1yyLN78CfjccOB9vJ
m/zY2wBMnPt1M3JS0U9juctMwsMCJzjbIgjyTHGQrH2cFeeyzJkOjLbbEzHVGpIg+aLONeRFsgJC
7+chqh+HJs2/8laYTNwwcDINFp7I+PMmIleBaZCHZ+JVfgjDzU9s2x7/oD+R1u1R9D2aX9BdT7ZR
Ny+ywCs6N5ih28DM7kNX62XtTADV1OoFybZQMU1zE/fUSk+8aT1pTPEk6fmYR3XC7F3u+ykU50z6
yQMb7eCh9M781Cf/Qr6bHM9Pbn072uh/nbFlnuNbUYkvQImmI59gYQJ2XGHRnpr8w89YaduMCdZi
DZFmjTis3vMlCEpeCdLdDSWEnskctHNEFci2kdXw+BYWIW5MvEl5I8P+6uiOuHamc/xnpRHtdBxW
8xYf/PBeIb2VOPLXOg84X0Ahuf+NtfBv8dgTaMTz5f8nIB5Va3CK+SrlGAFKmwzdtct7BSkkFNFD
YyGKGAWGWbcN6m/doM+ZEV21Bzvo3uMwwCHmiPdqMsYIXc9mv1mo81eRtoxqYmcKmZkOuN5IX4bg
FBK3e6+nRBxZTidX1aznmnS4CA5pnlpH6An64MAqR9K1TMxJZhhsCDf6J7jEI9CWVlwiPZF162Pv
Tw2dtdihJ9vj3jOs/9yu4XhOsopk20BT18NEzqxkfGLuSrigJvw7TQS+DBxQjLUIMDzFOXLEZATI
BI7jPeJxpDb1zdiGH0mcjVXkM6W8WWFM96rAwhgl/oD6kcFg4uegWdXcTJIswNlGAUxp1gl3Dp3X
P2QM3atK17uywBxSD/N00pA5V/xUg6d5DjG2ci4fCLd7X0M9hg8qGKpjgfa1Dlncwquj6vFkDXN0
EqTqfuwhQimQ5XiYReGtvVkTh0788GlK3eRK4nU+WeTBzrKcEthn/RSvMytGpcZW+UFsFwq0af3r
a3yam7ZsrEMehIqAggfeNzUMDGNTFi6kru6DnCJ6oKSLXPeene6CesiuMU/RlcBgSIvlV/bOK/Bc
amLpKOZBMV0d6QIn8ijcT9ImTP445xPs+LhWDZBYaf/ouTOO1dQET3mu9Y4fRuivst51jr6aMMmE
lZmcHId55DokUgahuhhyfKdZnn5ro5yIJsGoW49DHW8nltEzhDKQAAJrVvgSsKTtYrxvN8cruB8S
BMnXhF4SWKOAAMkOwf7H1w3tfCE8apxx8tBJdWkUb3UYG/6KUgts/5Ra+sFXOgmPqsCNhLMMf1ML
04hIPFbZY18m+XhTTRI6QBPdMSY3agcMmUqsponhLw4kZ7H6t1OIponqkBLDmg3zVNG+xzT0qY8q
1htr7dYp0/9REjvOSZAyDdcXZ7YRyjJYfGtjDtxt2ATzeJvRNp5CbLtrS0wCS0WUVDuVeGO9FxyZ
mzrqEJxDjqZa1/rJcbT7VvhG+VT6RvYSSGQZjBTlvhy1/SWaXK7qlNWorc+f7UAe3kYaTap0mO3K
aKRu4aF0PwbIby/FDFpNzyGsGN143xX252hVqq52QHLMst/3XIzAFEw/3bAQpt06Ph1qWKdN+OA5
HSQvEcMZ6QIbWmzjTWs8DwuRP0jJrJCs77GOcaCN7E1ZV75Tv1vSLV5yGh/C9iXRM22SAyEacBmN
QOBShBvTNlO5tRRpCxJ8LogU3Z8UNvZNVgr1C7HG/6uEXT7CVoXmwW7sqwxI8+UNq2sYd8lt7fli
rZMKuFdjNnsZh+KNUMq054e58D8o8NsCg8w6BDa+IleKnJB6HYdS8NeGAVxN9NSVMtrsyq65sXqo
6F7vlevqaZsGoME0QO+djBz3btXu8EENkj8GJhBvEsz6ucLhxzzYI+saV9g4dmRW8mTrYaPcw8wy
vyLOnmtUkk50napFSYVe9GXjIdpIxvinwQbi3Qk0/Bh9liK69u+Gp9Or1fkGUXizOJtO4j62mYaa
RDRyLwdMGuhNEC8oCtpjlhj2czzK8iw6wfoy5ktvdZ4luN4TVeyrBGXHNoz2YhCpy1ZBSWpuIBv/
53pG8J9SFWQT0lMB21oqgPAEoDfaM+a15AvfmpLYmgn/Bh1wjFl/M0GL7LJ809u5/OcpYTyRZYAu
nrpqkwikUhelwzv4UU1S2nGKhueRSJw909o4imJjh+Pa2tS6xMDcNPIQj5g3GwEnxW6IaFoICjuL
dO+yzQ9egaj1fvCi/DfhUto5LYd9Audq7XoVuDKP4INBkBTuZdkawaazmGwRX5GbxsdFFsYZMxTL
RthYRjDuyLrqglK1JcsXdx+Srdt30XmxOvhuPd2neKoPmcaZcfBTJXYw0hkjmhpuwjyExDjdoer2
YNSGbZVEyUOYtNYfCA6CpGliP/lijh5BAzREMut87wyegXKsxv6gp1ag5tA94+rotQHK3537Hyn7
rNg1NMU27kblnfAhlpfZ61B9axdIdwrSzmum/tQ7Ca2bZBiXOPbPlA39ESoX5bjDsJENKM7Btnvm
wzV8T7Zw5ntjAMLpMsS85xO5tzUX+5JXHIPnpgq+Ujy5i+dEPKdoKqAwypkZgx6dTdIZ7q1JCfLz
IQN6UbO1kWno4ZPVf7YK8pM2THHBjys+0smDTEgLSt1XpnQFq4Qw987NjWZjOUWwSaJl3j9E7usU
uurFHuZXFlFn19YYeqZcXr7tnNRHKYKFuYlbv3sJUp95j1+peAPMfHgoR4PojnleahVk0eGjDxjS
WgMWBpNuJG0B1YG1n4wFgEM8axRPZfImhb9tAbEHZQ2cOgTxZ/82VUvH5ePcK0KfSnqZcKfxm22k
CJISk3vKs8bFFVVi586K+L6naGfLDfoj0Z7IbjY8Vzuskoz+AslfhWZsd+rDYrjPowqxsMu+02j8
UiwfmJzBXDmzWBlUCWyKw7FFZFMLZz1L8FvKFRsdt/c4Si4Okyfs0dwxz+RHwKaZa963teV5hyBr
Tp7RPfZtyI8LBslk0A22u6xrfuogukumTJPsyJL567yvfhNJ2qqOv0LbZweAnjcx+QyOKpqnEKq+
CwyFjOamozctKrDG+Wg9Tx2j8XA0iahFz0zaDnMWlNyMrEZoxmPFGgNlxhje561gj0LEQ5k7Z3K+
Ox0lZzFO5znnCoD7TQ7x3vrXMYHkr39KcMusQL6bZoMLp70I9a6Kd1qUc54EmzRhBlp4p1liKkwL
pHggfVh2EYIbNS1W4uHFGCcajaqxdlPakWQBIrqaW6c9to5vP9AU5HB5I+Wvp0rWl3FmT0XGtE1T
ROKJVVHsP8xlgzATsWZzF1mGuetMMW/QooC1dZ75z3Hs6p6aVLWiWspSgqMrHUFW6Ms+PeddzpoB
cKLEgOFZgL8iJ90mzXQHXZcefMfviPek4VPtioauLMHalNVgLKSasIryZq9qGJgfhcMCgZ5ql+WM
/XTNh6r/dm3k4lxm8+PsGhUQZMeGSS+QViZDNLfIKeqLZtfP4wi6Cldbj1LTlxi0pVtlr1jfAWm5
8/wa25XCdzU2D5F20z3BunBnGEZz6IFgrPISImG7ECBqR1rYYcv0LynyfofuOq39LpHrtAcxHsqB
K0ySPJ1xPtiAS5W3Yqb2JTyW0QFs6LOdwSI/Fu+GnThl7J7YAnqTO7YkLSh7WR39WvUEIltzD63U
QLQjjRTbsPRiKORn1wcu5HqFc2qjMhJEyaFnp44XHOI8L3alRPRWQ1A/OYM78nakkfMF2YD1FVaR
21/o7OYGHFnEQBbE3Wzbf/Xg6AOgEn+N/k3Yo3Dx2wTlwL3dV5sBBiXUE89FVBmJBOJVxYbJQvEu
jRhMVkzi9k7XEpIySkgldtmvDE99agvdySDxtmVhJMlvcCaU+DxZcDoNc83sN96pIgUkWZDrTEs0
0NxQA8wJMm1V2GZHX7YwMnI3orBJknHGtD4SZuijed5K4XVHgtLela1J7keqivy75PnfFT1T0ARD
99vgI27xHc8fIQBqMtDVAGM5meqtno2fqs0zTo7u14Q2sEnJaYMit3BD5d29KH1zW7cYYoPKbLa1
wUxZKvMHlbBb4xLutrP0iqOfuxhU2trd+Jhdb+Xiy7ZHwZYLkQjizkX5TuRKPvb1gDbKKXvscwm1
2GB6VQRxeBZci98qFc06n7As4EyG2e2nDjv+OL83EZ6bVed04hzalHpGkmOfmur6sdK59db2XBfs
AsSMkoh/oq7LJwfuGptKco8NEzpeV64tkNqFfmGK0B0Fg2Jo9jSf2smqnSVsg74BsJIX1RggA0ft
1DTojSBmd5HkGDeRImSouUnOZP2x4/VEK00TVEsT28OVpzlnOpOxYYEI0nDqZMxC1jgq7oOWzdoa
I5fCxQn3WazGpznJAKEMUbwZqxIrpcQ/Vfh1uR5tKjMZt+U2rDxCs6IVz9VYp8TzVcMm2cnAaFYS
DYeZp/eqY3dNr2y51REzW0uZE7/BfH2e3PluZZnxL+jybj8kTX/pWFOyY0YpbmGa49+mOzgDOMCh
4zA9CFSgbvRz9ouFAXgbxy2OxpwPozV19GUUZfk29pG+AXI0n6qaW8GTkjitRXzi1k/a3pC3NZ7K
sPE3toxx7QUg8siYkPpwWsqb2piOEi13YzbzeJrypALlij1HR/1HFvSNs+LJAHnjYzjkkwztrZll
mkidoatVNsnsZvV9cc3Zj76cktW+rZPFhWK26yBkj0vhD9R5xJqqJ8nHeh2mWP21wuFZxwZevLkC
+bfXPYAYbBdrkiQWiM25beFWCeuVCbfcRUp+S4q4U++11pmYP8kgAziBUUI+BIGWb0ujJozkkMRJ
Ep/SoThUTUibgt+XspKUxDbU7Q5FiUDxS9SPOzeyzpk/fU8u35b0KWRL+zf11ZvNDyqs1NoGVANJ
cDsz22bP1L4JC7g/zn7598BPeBndQ+J+Va23yZ36E+EFiRe7ydSIV/wemyIM1l11HSu9rQEPYOP3
sgQsTkOqTKP4TVdjLqAXBBvCNogw8jyiD4EJWE1cfa6PTp+PvBj6YflVTniCE3zSqSXVHlApzlRZ
nESUvOomv+YRhivLEp8RW2tUaF8SbpgKMtDM3l7HwdlriG3ejZsMzu0qku2l5shWgX6G5LGTQYnT
OTrMcf488T9kmTqZNtVr1QXDqiNw3iQJ7gAHgcBo7/jZ5hE21eBgCgrPMErWCCxryulbYlifwuLM
x+vrpi1RFLKxVLocnOzFan6zRiLTsU5nFNvUzHchiMuNIapnxiqMrKE5KBsa0bWRam0l16Zn07jG
JjsHz6FU2Juzo5WAbO/w0UCx7tie6VSk+ZZHKCHYahbJjwGhchPgFo/C+TfRIOQDez1CO0YxwLyh
MmJi88Z0oGzNoBP77m2Y7y6MJuab70bB5VDcUnPYmnb4ZmkmMXN2MGxxaER0MpLg0IzkKHpgPgjS
z+yM0Ud+dTz1kfMZF3y1ocZqnyWA8JbnLqL2Sx0B6yggFeSd7WnaUQZgWP3tw5/aeq/mcQMeFz/V
4o9O/3PDO5alC55C9kwI4JF4UjzLWvEU5Q5Q33ZozrNAV1vAq4AOiTXBAoOKsQpsvokoJTqhtzMB
zeUxTIT3PKbjLpNPOdzOhCfcN7ujP6XffiH+BMNMZ+BAfJ+qbyNqV6P5kaFQCj5clp5cXLj34Aox
z0aIPZw9jhGde8a9ky6gwHJy406TyV3zbIylvPA3efxub8yroMHNPGjyuxZkf3yhA6ZsL9iCkt66
4B7cOL365MlRSyAhO6FAOVRLLLHeBQqTRFp1r77Kn7nitpXS24aEzhxVt0A3eCwaHo4lee9nNxJV
FOvZmsl/n36GhrmZmkmA8KSVGOCN9fdhSN7iQbEoQP4jqHiE6vHu16nFOSN4+r2NwENUYQHnhR18
efBy9bj432K2gjPN5k2sdqkx7s1I4hFgGcooF2SSsR5i/zMbmq+qMV6kOfXbQblvyxOJ8EjCk/90
kuaDBIZrsDogcNOTUD77kDFDtfn0rLznLn4XUCRWMblls+nfzWUh5AjXLcI59qCbBcHSFa9sIYVZ
n7AFMlqYg4QQg83sYrMbPJNTuOasJSozCqypJDi83chrTCx+OicDGVYWfVCgBeEjVFPjbHcWC2Nk
8NBBEfLtlEcqTTdjY792WXSbNO4dboFdmRaYbotbvTyfjRFe6MPMTWlzxo5yJDRGCKlNnWOgRnYZ
NNhXHfqV5UGwZvchn8cPNtId7MXQk0tADEbfLFahfAF64Pwhtrk8DWk67Fmb/QJIH0yRujaOh5dm
ZDJa43jfVFWM/7ItGBsVqvpSbWA9Uj5Ph9hyS+KFSXcRkS6o3mjNzICuInKhhgfhc0+dVM/I8wu8
FM4GCRjM5nKouWFt8y1mEwrrMZUxbXMrApoH3Jw9ddj3K1e9guG5QPM+WXMES7TdqwkYiZYn7FuU
aH6P4paPLJ4jRY0gjOxIl8MDrx+KJH+HntYiY3flrkg5B4vYoH5uHoOJzH0BBGIjCcusXebG+zpy
rm231O0x3gR+4i+RIi/Axijqln6dVNVvbI6sM0AA5NnTQ7DjZ0MwWau91+MNtAr3kXW19HUQstlo
gsk+jtIT0Z/nmZE4++eeq4jVSB3LfpL5zzTwzydNduVeIbBoXVoX6DagEIsBhYu7kk65Ws9oz36P
BW92mRjQoConNdYuyXI2vYyfTOR/XI8tfiEIDBaxVT1QfW7HCtfiio0pf4q3XzrIdIGxxKVMHNjB
1hgbDgq9G6MBO5F20U/iNwgExnosUh7o9jNE8wcBdKomzJkKiF7LeaAy79yjB2V2fIlE+ICy80Sj
iXTmW9VGZdE1Gt2d33Tvc8pPTE89Vpih2jacGJUo0y2R5l8YIhfmFZuZj7Bl8wb6zikfO7RP62xS
SkMf+pAZZUchzkPATjiWWaGFESWaF4pZVCZXd9DvwSxY7tNLHiH216UFrnUDaTFVTA8W1Iszwh/g
VBtNl++z66J15wfPFjDkNmWtYxB00bbi1IDjEXCj1yNLhUyE6Sl6Xr4JkPyLo2n4naQ405rzKOYQ
DShtxyPdIjiAyt9bWj2GerwUfPlly/4e3NKbyB+ek954Ai2TbOxwgtswUMcakbUqbMB4BrnOoMKf
XzroK5x5EVBnmmQS9yUKWhCyh6HFkMHCHHDzKTHadTfbJOL1i/JQUdlQvdYaiFbgPjgZcyagg7zZ
lQYyF9F11O1LzT72zRwZL36DoczBKaGjge0gmf5NXCb9wgy2rHVjk4cLsTYsmivKKGjRCUNtEyZ7
2zAf2Vj3Gi/cK667fVxjDi7MZg3FsmcSpa4SG7sraIiadtiNoL6kYXzYasJ63nv7nCs0prdpNTqG
JfFUNxEhji67C7SYghMuzb0TyyD3KKjswaxeGR0dbFX++r46e/Th2gyWUo8jgP5drp3Oy/A92mee
2oLVc+W9wM2xHuahufrtYG11Q8q9s8wWZVBOW3/xGvpB9KGN6TaVPmOp+a+2aAjHeS5uDa5Bm/ow
IxXJEr57RrjVz1vCXVwftZt+s1mh+1K4vc9RNX227Pq8o7B7pCbNm+X297Ro3ZMtm+CzSIbwxSpt
ME1BhHUzwrcDKJzvKKRAsq0YGkCIO1f5PV7H+B5OYLsVkznfJvhiYA1iuGyqBINq4D9NERuiZoI8
W89X5qphFxb0ZDryGAp4e3UKt9kxcakAuPN/sCP0lNspKCebXYiy4cWcz7m5rAzBqbYKYlJNhc04
tCRs4/sL8Y7yDfG4sfAFgkhcbg+meRhiAO9oq1+H8wAa2S+AawjrphmTbUM+EVZIrjHUbGkI4xWL
ORltuKXc2VnwH5ZLbx3ZsmQkMF3QJ16jWbBeZy75jhwyIZAjPirSA20v31oQCEnUKRzmxb8wGX44
kOK7E1tPbhO8sZn0CR364LqW3M0BcGwdy+c4NEEDmJsmkI85ZBZGGge7CcCV4t6dMBX2UWiscnbs
7EHAG9fSUiM5LDzXJqEAnk7dJHfUDbVpxxKfBMMGCyQ+W52QiAN2ovBjlwEe+hS31tpx/C/88y++
0z0Wk/u+iL8RCwMLKPFEs2F4pkV2LRDPm2Q+JXxtjhxedKLFChJIyzw9WfgT5n2yF/RX0L+XWRAh
tmGl6gcuvBRdVGbpHuwQKnwJJ0GTpfExwpdVcpKhpBaPX9EUXHKxk9j2wvdgKJVP1uQAozDgU/RC
MeAAvMQHWzzDHS9hWo2Mpive1jY+hKN9rLuEtsGftqK3yy2a92NiNo/4kf1joAdgLw3YEiAofEbJ
bzKHX2XgfDU+bvGmuQ51ebdHfYlcHH62zg/RbD57vqW+ZWK/QNLbLj5Sx6/7I0ohXYF/08X0NLQs
VzXZtiYn46cNO/0YSD/aDEZ2q7P20cs9kPsGXRPbV1LjMc3FsEqYwQZZTv/JcsX9DPbfNoZb5oj6
0FmMuZL/sXQey20jWxh+IlQBjbxlzkGURMkblCzZiI2cn/5+7bkrz0gUCQLdp0/4w78XTRhI2mFS
7wndlATxzuljoMkdAC1zboqVrLxkN3ZKjDtjTlqG4xorB5pHXcOAdIT+hHVt1727UdwgkOgiu56/
G4P/BIi1norgraiADBLX3x1T3oABHJoo3HfJeAa3fpxm/8Kk4Mss2Bxdb21mOT0BtvzWaW9smM5f
aOqtoHbbzKoS1HAA5XmpsU6RuJ0t+xBR1TZga+OcJIaOOGPdpeWbqK5RlcZ4u9iqtWGYxmvdkG9V
eHX68ypPbV/ZL2+h4eeryUmw40oDErsQ/JjOLCac3VdIjH9dk1zeDJasuIObAcJHhe6mJQ6lsIZa
4Mg4iy58hOSAzmzVaVIm8dYHpkMHfWS6PXvpxo+opf3uTI/u7KfR3hMz5T0A4LCbUB+zMCcK+x+6
MigtxA/LSo8AS35FUJdWRZ1/4HJ/YTR9lrJAC0VUTPNM5Go5IpDB+KsX2DEt/MyZlqMOdr+0kZV3
pKvvwqnFIGFu7V1rKYN1x0D1BmsjwFdZTkOhp3ef+cyaikLbCPgXG8aRAItIYS+FlusInAQo0zmB
6kuZ+gT6gVlwPOgVMrG5oFSuuO05sKG9869MTVyPARzjqw+RIoAbIjkHIsMfujswMHlhyh5Cmapl
vXGdsNn1qZvAhUKDbzkEsf67tguoY12kOTdO9/wjz1MX8AWouA6PbMA0SqCpKHDlTSy7WY6pb20g
RyKkio3LyHPhWChnC835IOiWYLJBTZop/S0bXW7HcLtsGYFyWae+Hl2iZjTo/LXipYprbRt1MZri
zuju7R4BeTmRH0a95x6GoAUxVOjZSUf/Z0e4MdeB44N16udiC7ZDrgGy2qc519AosUySpUFNIjSE
+jEfdTdzHiHAbtV1s+LtS9xkPRiMtoiPWOUMKzw8aE80ow3pIyo+yrYi9iG5TS7daQc7mfD+bXHT
UM7BW7sOkXt2PYSGnE46zCznfqs5jHsRMAdxyGR6E+XRfCtadl6nhSBCfVu7tyYxidZNzXoy2rWP
ltpaVkzGeoMeOlOIaC3MHp9Ik0BtDkiLGEnmQC+zKqRe6uQ6VP2PQLaA1ZU4OyfUAmvVoHD5cJSC
QoXqwUKjc7fupqw/lpbwTlIbAF5kXn4d51yFcYumRjR7JSLnSK0uKFOSj9FpvC2xpt1OiT+vOyCb
aOcz6TMSzlK3DrJtqPt/bM4jxdjN2ZYu2hzgwSf0Q6Ivi9nEoqzNkx6YCKAxy2I3FQwhxmCdqnFX
61MA23tJx0wj3KEgeZZe891SEYEJ8P+aYYn+qlPvHN/5bIfk0A7pITYx2qYpujHpo/myRpUzam6g
Jtb2AEoX/QrcBw0oNYGIP2TdWos8aNYeEo2pJm5WV/3MoobjDKNhMShyYhkokgyKeyxjOCMI++m6
fUyRzQG+G2Md3n2aYIUVoWtVx7N10HuXnK7r3qauG0Eg41ajRafCVR43JaMu7gWQ1VU2wepXhIwC
3V7Q9wf0xVe1bT3HKlkOxvyIRYHiQLQVGFpUHdNau35F3flPZ4ONiipK0FZlJTI8OZN/SrGuNErt
PCSqjShPphHsm7L4HTVDBXZSHqY4uY0JXdHaeUGr6Tp0xmczjy9d70DvpyhNMVZqY2dY2I32pYgp
7hQ/BN2gyCyu6Wxd3dIGK5N+tjDzWs3bWk11EfTsKmRn8IqKThOKS5yN0AVjJMCj6m475qXsDbjr
Iv1oUgZHCEChYXiiF/iqowvsDsJdiCzazvZwGFI0BPS5YLio1fuwNl9ELjbunJ7V/9sx9aRA+j7F
5R3myDn0ME4BXf0765pN6A5XX9fPTlmzDMrPSmmctHJ892R/KvzGV/ZHOiLrub9lGkJPrIUj2c0H
cG4HQCUMm/tfMEU2eSb3QGwulaNvTeDGG9+UjJ/lFVj3VdDecgAVgRVDP6cIk7sVO7emmm/GP+LL
cMFLsj42SedT6Gon0lG4xRV9uH9aHnEFjKgGxm9lzuts4/vBxmP2hC0eMyfwdEHVPsIpdX/RfGEW
FaXZeQCn5XXIugWV82kUxl7kE/JQBtnKAoaU9+pAy+HiUNiepXNpGM/hOBKi85Zw7hl58e/WdgAG
LZEhNoJm1IAvYhST48hhYjLmzogUtOi2maTdpNYtc1da5kbGKDa0/Lugg4ZvKLbXboKFNRqwtpZD
IYVU68gRuItGihLi2gPgsjuCO6AB1A6/UDJ5IJWJybQTEI4VkKXUzY1B/oFKPE7dWIP5mfzoC3cp
vH6boSii1LM8uLd2+XsAL4fmM4q5YbtUnea08cSpFzqq/li3qsZCHerp0ramcduOSFNAgo3pbPbW
tM5RpazJayBvYqlBKxcRclRfD4wYPv1RQ6cKJnKZrjlgNomJ+HUAnCYwDwYW4szVD62G+chk4f1O
kydj9HWsQmNd99ETd+PlhMwBZwJHQkfVZyiT67eunD1I28xmDTv9M7KaAwJxayBDlklaM4X5Kg3k
aeWU7xQdQo4O0P1I+Z5UMToNA85Asid9IIuiENBUtqnnn0ImN5tRMQRMplc2wMI6ZUwWuPJcRHCD
5vbQo29DVj0jmpuhqGFakIyC8lRDm5nH+Nsu5FH1SOZJnCGL3P8NkpHLXZuNe9V97KFDaCl+X8db
QNebOeDsrOhq1mJe6QFY7zam8qc1ZJdIHCAYswwMyAmWCB5+Nq3tcr7WskeHMxtRQ1Qg5flSmOEK
VOGvGeyLmcFVlxAGehKFTL7nfXZQ1xUFEfI/7zSvzxwhKy9L3wLA+uGIcpflkcUh5c/PE5vcQLdu
qVT+s3T6PX/ryfaS9vklFB41L8IRWrLXC1WtTmtOtHVlQWelYfVPl8bAql13ydSxcgXgE+in1GhR
39HCFMOOepVAhahMH9tWZr9JFK/EHACM9HZh6u5sSqUQKDh2owqP7ty9Xj9UqXcvbWMDoQi0qzCh
RVjtvRQ4qSfGscHPcm6jfRYIZm54GSK8PFzBtKAVkXlLS1IlRv70TJKRNq/tHV0QYIuptN5zeD+L
SUKbNKelAX1brVD4BsuO6x+QLNQLmDas7GCY11n4XnDQ9cJeC7YthS6AYPmeWdBJU9AwRp2hGO9t
HcOzdl4bIQNo1YASIL5EpF96ae4RhbpFCMEOjffZgwaivn3FIEo5sBOS8TQfnScSxldHlj+o4EEs
ZrmrrSKFA3Mdw+YAng0uTL0s5qseqzjmzRtZa/IHVpvGa+GBJTE42JLGvDPiLIluZ0r2YFqrqqXt
h38JrRnp/9R6w5Q9/pPjKEkXz1nCx99LHalfZvvBwiiRsC1terOeee+s5sWozWMN55C2Cdj2OmWC
P5/8urQ2MYuibotXWmYbyydTmgvIHRZwIQTRlkMbPz0LNpbb2wcQU8hwg6Sg0CipIoa3wKJWJV+0
CD2IsbT1nkncRh/yJyAIBLwSPHmHIPka3Zjl1OJzxkCS4A5Sv8riBxoJO4npKOJi3lsQVScDM5HU
lQ4q8e2X2/WQmVF1X5tGyLcc8z+NP9n47wzRKjcxdPchpm8Gf7hXOR0W0iN1xLKLqy/U905CTm+p
7tw8m7Yt/eAMzXPuuW0Ub34bnIZZfna2Pi4UB3gMI1xCrKtPg6r1jJemcbA495192eZKlWnERhw4
mdbfELJ5Kermp6AxqnF6LvBOfhTKeFLzLjJxt8XMSVpm4m5X7dUvo4+RHuzOATZ/o0Nhg/FFXdM3
oZC7tD1HIp6sGDjI6aINM1iNwDXpJoMEy4uv0E22WcWgEfVbwODwJ+kIF7mx9yvE1L3cf2sBbS8c
V3kjNXp5F14cXEINjiRV/3juSwqoVtorAYBoAPbCistJK91gRRKxZGC9K6wQJAqQjp4WBmIY8Wjt
XJUGDnUegrZ0mbHhxnSiNy622RBFL8x+ZtJ9z06vSFXZdJMRXspdc/qgsMWxI2rD4SEGQRu2l6id
lGWCegc6vMxctQEnQbs56/X8WTkgVscxNVEZ4AzDkmrPokDEqPwgyRdMP4S2GQd6sBoTNs9Pt5E7
fXZVCQx2GF6Zb7xpbhQi/YIaak+5Vw4u5WKogQNyLhmOqQutzX8LbGp73aQJ0Vx7P2aSCsfCpKym
jXOJy+pcNjglON3Fp7myIA3cia6/g8Atlh0UBrce8lUNpIKU5Cdt4KyS4YGEemmlPGhI/UMvipxH
a2ncaikm82UGU3AEujUptSnrrQxRCK/pv+w6vusfq7AZa3WJz6gdNCV4fxvQFXVmgnq0tLew1fNf
HpYIT0eSsdCah731LGQPkaaJaGRmWJ1CvHF+qjB8ydEaQHLyt4MSmHSY9MbjDYCRUpQaz/iDvkPv
fcF09KVGISAMcBs0Cu/qNIaBJ0BHWY+Y65XepHHrJpyI4kKh28DgVkPvsbMmYBu8Gdj8fTdrOyw6
aeFh+1wlzcaoUfs3QdWA1WDK5Rf0J5qdNw/nigRco8qiDOypWRnuYpPNEZT3qFWY7d4iVWlE/Q0t
A1Obchdq6Wmg3KfAP3lKQaQAEyVb8puwQ1VmAIR1Gqq0YdpCrgRHaNzZgRG8BJCZqC3w9nGKYyFm
dzuVycbrAeRlvpmsBN6DUWkfWtlE39aMvbmYqodI4ntcq3YI/eSW4mVVMGMFUO8V38SQdyYegIsM
cz5ONVCfKc/6DaLBgUGmVB7iZkJ0KUcgsc72he37EBnyEsxsraXvSniCORiIyZ51oScxOimQ19Al
BjVtIcpNohf3eM+Q/6OnuDan6dOyixPhbedjR40m196dk1ufxZuk664wp1ZuJPoDstkV6q7oB8WZ
vU6wP1+hiqItaElEHPfMS6jqBSUHWcTOGBn32uN0a0J6TkkGQJvxCjOYxgphdffgMM7xeB6sIn2N
8oTZldN/z4B8dvSjVMe4uOpBuxdt/RM28cOryEqAxWwyQP4pn+xb9b535Z2B7n6SoAmGPm1+efjo
kTuiSjcw2u3FCkbDtcHyHVIRXTnvVFjJR6cVZ3uIuZ/OJsjMD1s2j0np/wSEeiQPVukwXq1Q2yHn
cESWbus2/bEZ0x3N3tc2BKmHmlOGtppSyB4aBRqNSZgL4rRq0xXJG9U5XC9vOUvkOVrc7wySclkq
3wFmaX2HWFB7motiXTs06NL6DVeVlZG4fw3TBvo9n7QGrlWcMk1L0hwsBkYWsBmxGcEtQ0YYYzSc
9qbOIrBWPbDzwlT6O7kF3xUqJwhZ+09ltINyn8VwCZjTAuLeQMHqKYZj6WJSVd1irlA44HtdsLrj
SFM1r4eFixDxLJCljRFW9X004oNu+K6q8gpOylnNEJDrZthi9UBKpFpbZRKuHY8cdhi4K9qwRV75
qXAy49RcSquVy8pp16MFJiiCIb4wR7GrsdvA/32nz7QyKwVhmHe9gMFoKw2TsII3kSM4VzLObWKN
GYdpnSoWpdLMXnk6amA+PAkm+8sJzW/JOM8cwiOTtK2h5OAz2FJbGBx4N5QIXCCijAGLihBODViV
zBMUTHNFHRtPNHf01glGhDAsF2bX41MUe3+B9pCjTxHM2mo+9SYt2NqsmGtnxm2kZkrmZoAmi6RI
amv7yK3VjTc/qhYVFoOvF3XrwULJCNH4xEa1QMwkS8HHJIaLacMxUtfk8FXnEl5+pKGfJG6s4m4B
SAsxI+lD3JQNcgh0z7Wgfp0x5dyKMEALJ2yYU0luWzj+reA01rW9rTsc6qDooUS9A1e8jnT/Nxyi
J4EbHF3PaVkCiCo9BD7C/s10jatbj28lkyt7HD+KlKMr958exDO04h9ZTQ05WOSwooIy1STV/BKN
SNlMQwusZ666bx0R7E8pTf+Q9SLcGJP/5ebNdwHyj4KIkNZ36X62iiMePtyMZAObFh6sezX4ZqmY
bxPSeYmm05Ptv9W3SZiG5ti7R3p+zqpoX7gpR9Ec3mK9HtGo747qUU6gtfL5nzk4q1ecSzlvfTaj
r7vQhJoXhAOZcWmbVFfDMjPAtS7cz4GyRtJ0C8nV9oli/QeCYifaQPhSyHEXdvaxxo5JyHhtW9p7
aCZbtSEGH0AOUQ80wtnJ5w9UftlFndj6ow/exbhMam2x6jJQcB55hmyK56iqi6rwODNw/tTieccg
DmStt6pbdFQfFRKwsQS0efYg/g8Fhg65+QtBtaPorVve7Tu2jtyD5wSIgkVsHS8h6C8r4zEOXGq8
V4vYMgBn69OlYIRh/U3KR5PEx5QOaEIdmiLJ4gUlKwpEF58dmMhn2ILkA7AtLEY+nGvIIcH1lzjY
KWC7R0YGv5KRuXsBt7/MQZGltF1iNo3TEuGYwdoAFkilCXPpncusc4a00PDajaHJvdVM67L6TAGO
DwAMXON9cJ6N9c3nGWW5mQZaw1wr25ZuNYoPIGHovTgnXAjWVoJ5MFgI/sJGUttNUJOhO+2a8bK3
dTAQ/TLWJfp2Dy7YCS4NQhNwWUo6kTYOgtijOOGSr8OFwsjrqNza/icsnikyfPxToOPDH86jAQgS
XpyDoq77MuU/XHoGUIvZNSo2nsLgLG1jXMx82YnC2KMjWuWbzm3+IBsv4D/mewMClFrgHVaAZhie
I1X1ufs8T7YmwslxhX+mfYt8WvfxtwVzDAYZwbro9jlxTL2jpkHSqp2vMNj50F9HsY9Dl4opAgRF
YWs8uAsjjPMIJ6w+Pbskifx1yKqVRGh+wR1FRRN2+8eQj6u6K3Em/TMzLvGku5iQWnOGT58Z7zgR
kP57YCwaXVpb9VA6jiyWJJDbl5mspHK+sOn0uBFyr4IQf1CR+2uogalHHyZvuZj/8FNRiYvJNKCz
0t0MZk0o3hb26d5paH6U6pSDkI3Nee9Qo01oDXsmRpKqFTsd1J1Ri8kvnwYAMgQ81eewG1i9Eglt
8AeL3hWLMUVnYWK2xhSDu4Bn2NYrJpgOj2H8jnIUcXNnxRrU+pda0jpRCxA/HX2TFBBE2k0FBQOv
kRVfNxAWqEdJC/nNtN9scGlO/eWhtGaQfvTaRxIyJBS7an4b0KYERbePUBJpC8RlxMlFvtjKSK8w
xfv/hfbjJol+s+onAjT6F5rvK5UWGgJUTA7yEWjWmc47Y2D1F1ZnMqMA3YkRCgqVB655dpNXywt2
MK4Qr9jbWnyc8VQnIVDnURWZWwP4Lx+qYKtQfBY+UxdcdB58WN16tJ4QXWMUy9+2DVhS8m8RwSww
ipVVfyXMiljTXJ966rS1YOvKvUGgYPZ+qmGf4Dy209zxkFeYLDaUFAqX0yGAI6bfvoOocAgJ3v9h
T7X59KuhEZ4mT25tOje7ykhWRjepKwxHfZ8aLxFrw/XKNUORtdqqbe8frOyZNBdWJ1eButmZC1Db
TS3e4QWXpyM/YNy+LNleI+HA0yPaeK8FErH8RYxqUj88yXapRr111DkLFhY3TpDv5kgBFJhwzDfM
WuBBl9Nidl7B4PQzRsQuwmygsmdrwy7PCJfEhsr6Vh/eK/CR0tTgc8f8p0GhB5QAArv6MUPVshbN
NeOGMC5+8jTA0KxNiGcs8virBY1SuEh8GVdfPrj2CEoOBqbr2Qn2bpw3F3RktsypqwX3hVKd5l7r
XIsk/cJXj7FSSIWJj8c7OLX9BIZORWMYfQfqT87j+XMynR23MjX1U67qS0ljOkCT3AyDDwYmddxd
SjC8kTavbGnveRbcrSk2DiFwx4B4HXfZihYwdPiOwvmdLz9xawfvA1+axUhxyhhrA7R6NQX3Gg/W
vo92ISeJTlNxQNd2GskB2XJ5+Y3k3gL/4LUvOEF4btCHLYQ1W+5Vl54781M9hb6VB09g80ziFjfR
LSrwmcs1ZjV8Ob08quDe1gAowEO3lY7KrrnVbLG3xvwaTqYKjFrXvjP6B0IX07CGLBWm684uViwS
ZCvWwt5j+4gTh/ziyf+TNuv2Q9y6IIzROGQX9QT86FXo9qvDT7hUt1SOevKDLxFzPbzGr5EzBcXq
Og0qR85xpD6KgO8O1EQFhptuu0nRKY7HdB37zzDGfLrDiGimuwGSYEsnmmZZgNYlQqsh8ooqlVX7
oUBMiIVaieLWe4iGAqZSxwpM3KXVbjhxUh+UogMEUDC9bTclk6uS42PsH4wDTnGTLbTmiSWRihNy
73j22iWNMKNLj4JGDUI1N31lXXTkt2rB4C+/QN+IHbqynPeMBL5V8GJInVlSfGvMeWoa0K7RbVkb
wHc8+ZggihDIosjYotq3CgKX1LdaYcm1MjX/ew4t/Kto2ORkB3Emd0ZV3tULiq5aEHEdPd2mwLiD
awqTzYPkSvm4Z5K862qEOo3ibFEZcHKO0JfVOcGVGhQPHnodvQJc4yM1dEwWUmf+iy7TMc5yZAgd
bUOslrHxJoL2aRf6Ebny10Kkz8mcXrhVRmAsxzr4VFujm0im2WojU64wr66d4byivbRsy2tXsaWY
1qo8hjsrdbAj/DUyLEyxyF31hCy/faCPfuFon10oKBpjSERRK7Gn4YjqrFxms/Kg/oOVFRZ5zFq1
E3YIu5gDenSg/116b173yamfDlWPdFxtbKpur5fGXS2SDnUr0JRI6HFqNwtsXHbcAnVGD1RaWnlX
O2euPmg8IR+AfnIPBiFJ7Z2Bc1FBTzFLxV4L5pWAfWF1+E97xJdpmg7dXP+1wEIvo7r+xtRrV2fe
i9HaF9FMx9DXVuinY7aKCoo7NF+MoS7pWP4uAwSRC5xNK6HfkNTrqSZgKpGVjvipWwnM7GAaeAmK
X308gbKyT0JgROp75kGb0g/dD/d6YB+KXryljrhGgWsvzBSJFUvuB2c6ove9n9ti78v4iWfiFg+f
HYz/W4xMR+6n33RseVaG+SHz5ohA+LYOgr1JBKBnto0Q+1jAelqOXno1LMmXohVs+0i/5Aptx+Jo
LOT97Gn8PejsHMvahP2Mp0a0da2ZtRyIDSp5q9roDm4VjughoXDBcZiNlUH1hHnl4Gvjwo3KH+nK
o63Vr6PEGsizqt8DtyKJ9bXZ4q0dN9eqkrQb+rM+Jv1SE+2WRuZexzXdqYxtqNiSsH1e0hxcYj55
u1kajwyVZpVcDmDgGPTsoDBvTdav7GDUUiA7+XCx6y8Nl+hY3NjbujgH+ltN3GTLqnAcEbQglbcB
U/N3o/rQ2TWFTp94Y7bV2QVEhAsTGE2i6tkowJOdSZVVTtP0P3o6rzkEe5aWR5xn4EH0eQNGs9Ux
K7C+6eEscgCPOU2Oqj17wU/UPjn5OP/UjpkYJOnIwLfpHWtSxnDKgQ5yiP/LZGKvvP7cMXohcEpS
UyIwnTlmAxdpfpWoxmR1BGPr2qR3dcaw4NXRoRXdrzl6Tflg3pVIrJZaRPcUhNJm7j/CdFZVjuoO
NhyV4/AJdYahF0PJpFuGhrMdsAMwxg8uVN0dQqHroqCPap7KrLlwrX1t6PBUoHSKDwtKdgIaPEOi
F/j1cm6Y44s9OQYuBWT2up4d7ZpUUr6PCMqYFrljNJ8dMouRrgLRuRDQ3KqGCYy+U9EWo7GV0b7n
IGQm+4egXblcJptU3ZkYJ2YapSeNoQPPjY4UHSXOWRI63rnnRFVTjxnkvzaD4NVhpQALIHGwxEF9
/gBxsR+JrP4zp0wSJigJ3oPLCBj+iObupy3yDu9s1pUfzlvuX47VRvsXaylAYKq86r0Pm+Q+kGi8
YPaj0sysQdKbwCqd3+pYo2Bg8fBSoMaLXIbQgLgpVbAKxY1nwhEKZhqqByf/1aXeiJMIJZ/v/95b
5W3q72Yg08UIHp7SSDjv3E1e7WffXQQ4idSr4ykhortMum8WhpkwkRR7mWJU6zBjvLAEILKrvaWi
vxA72vtHHkxrPNUwqaKArGJOLb6Jh0Rep32kdrrx5M2Qf30yc94zih4zM3kgAQu6ZPi6GjvBqpQo
27IKvH4mmJx6zq2AJBzy+bZLzmwJquZKR19I0EiMXtkmSYOsP6rAYGl3zK9WHqqnA2ZgQwpPOYdC
gXZGD1EluWl0sblGlRbS7tzFWXtQWanMk8s4JGs3+Cl0RNBwjgDqFA7lucNOljWww73yUrVKwh8v
VnAGHBXF/JImLDbnKfQQVt00rlSYMOGqqHHZKorsHV/ScJiBsgG6uDkoH3iAzUdq3iC9qPoFCcQl
WlPr1L66jv+pisNRol+gRcoZHBLB6+A+mT0hriCf2EhmW1mYy9b7d/6pfaWjwat72iJyQfzmE+hq
ri2ZkncVMUD/LxP3t9V5F4pcxtdwV8prQhCQaqkTEMbsK0TFvg7lIVWHYi2fiP2Ax2MWx0pMzpQe
fivOviM2Cd9WqwI4M6RMQ7BkxfutD6wPaQpjgHOSLsZgF0e/B/WsvXdl6YxIPmsndJeqJIy8fJ3H
3cJPHThb8mHQZUOX5sZ4HTAXwSldV9W/e+Bz+wNEEg2PLGRfMwlYqIJfUMzAxZilde86566OCaMd
z24W7QARHCK+CQ0Glc/arovQCANrckdl2G2PRwtJThB5lzEBMR+LDS2wlctVJdWeJ8o+JGipoprI
osJ70AdL9b8DOU1KQeF3hxHZVa6CV6NrtlKflo7OktqD7wjx+t86RBpv1frlOiZ9iek9qMCvom6X
Nvt/YsL6prC+jbxZzhxjEV4CRBmp/38lq6XHgmKR+7W+JizzpNWGHoNVRZlr8S/7NELeVwCEaJiC
9KZ98VvVMvK5C+pFJZ3rmSDBj9gbMwkbZzlKCEBjyV4bOoFO2u6C/kXVAB47EQmOG7kSn8PzLmJw
hPKhgm/OGqmNZ8ruitk+arGn+pXYw41SC5VXO6YAJqEoIZ9t98emq6I2ry4wOMKqo4iV9MGmpMWl
Sk6VqdMcVbeQcOgEP6zFqX+a/Zs62WrEwiOSaAJbAB+eC4ob5s4k6v/aItnnNJBkKAV446E6hZjT
oubxXoQDdBE09LL6bWaW1dJiB4GsWgEGtbE6Az10M7hktXwTNeYG9MSlE8y4ap4c1gk8pXFd1yC8
4/isnlKduTv1b5anq9SGufFhQARUzRX1fDnxqdBoc9RfyDYv/RLVQRoeDhDJbq+aHBmRTsctQAVB
096bhbkBJb+O+l+z4yK4Bt+LIoJjIe5eUUMGCeLuxgF3bgRnExp46swrOdRBsFIpZEgU3B2v3WY8
CXVD+CKV9dkJ6BLEaD+9ROmH+i9VoaBPTop7UbckcF5GDml1YPBl1dE9keKyJv4N7nJ7ycpz8gc1
vumcR5dfdX+YEm2NorkYZEJaGqllyRmrVoO63JrcfBQxc9BkzXMikmoDzTQ2a09inLS8EZpdyN2q
wEG3LQTob54tdhObigali/pnMN0bhOr5HqyHIvqa0dIZLH1lcFKSCjBDAQa+oVBP0426fFZgHmUX
y36Trr/gOea06aoE4LA6++p0rTo06vmpNapOAtVkoxHIK1UTTy1iVjYkkzXNxn8nkoLr8qwcyucu
0o6qV8ilmJSkfZGt6EcxkSAnNZdCM9HGZ79wFsQCm4enH73z1v9PwDo/V52oBo8hmwdGgg7WaxeD
mHQBY5PdqHyCKt7ibQIUZprkqQ4Dpg1gc251gcwTkUpkOWSqbw9Xs5RjmjPVQw1TJRlYW+24bzbF
HbVLy7ZR3aaSllm3t3ridrhVogrI/N984TD0g8NGas3SwnFUNajUwUqcPXHc0CRNG7xX5Lp0wF/x
7upchaeyYLAOtQNpZO6/Op/MwJheVWzkAcIhNlY4TOPdk5mfXkam4wQVfucyO5tinEH25/lrg+YE
8i4+wNN+rZti6YfdzRzE1Wtg8yucte1xavhN4SHcQj4OCaTA9mGRdDEsUlBXXgk+qnWRkvBgp9gZ
ik5BHL32lBRult8GP+0BU3rJY3Kc6d0TfY45oltccBNtdk5dXUkOaQLF7b2TIaE3Jl2opg0K1Osk
leeppq2iyBLI6zGVsh8yi/cDiJ1FnzOZUQmcWlCj3RxmJB6JJM6sfTpUwY1o39LS5UYo0zixLekO
9bUk8wEEFw8TDQzELQMxrFwLrzVcpoqQxmA0v2R6DmcB/R87bG+qMT8wPzBGbUtwu3XIkDl9c1a7
TRWO4O//GhQhasj43+ung5GkV10bXiEwIWDU1e++73/2Howmhy5/VH+rQkszgqOTxAeA+TQSzO3Y
pqewct9ydDGWun3RG+OEUv5+pKs5OhgwjNXepukA9vASusVnaQ1Pv4kOYdKvVOqvipaMRMtzm1s9
oYfQjtoBoYmt+uFUGrgFOcYjimkG1U5zi5i9qGhEOnx0CM8OdtsvDJ/vmk6PhbAAFA9h1aiogK6M
ycLQka9I01oupwyReOgwUAGjGHFiKhs+wUE0bQZdi1vPdvQYA+bDiFZ8aL8OVXVtfcxr5+yO7NpB
PdZimMGWWkplsD+XhrwwtrngyY2NUL83+zHeBqEOC6IimbUtxYa0E+vMETSuWqcW91TKa180CFJI
iuYp7b17qhnld4gGNix7jS4nPTmkD1MK2Yhue4aUGwrfqEplhrYeIkSstKyAPGi9N3HyGMg9dABU
UGXgb8YjJps0KSAzXGRD4qaajmOdA3qg2TJRwLWe2JUZ7pwpT1KdlYUrwCkF5cu/Ms0Y1VpZBg3S
TuRYL+rQ63qfJllPhQM2Azr1MCHcauWhwTKbmnWRQmupKCaFo89rHIzuptY/8UkFP52hGGeQiKGn
BKW9licurt8NrUXHIwTP0VW4CmcZIjQhvHUNxJ6R+WukqhGTojpNpt8WwH1GZRhxIZVxb60wfkyQ
YqZSOzUSVKFB4/Zm+sHa14rt1EXOrWRcudRlZYNCd3yMhTyGjJg09gOe68XgzAxh9Ivu9S/90L2p
cX6f2/eugVA9oglMUssMD7sZJHMftegU+aSbsS4SKGMGHsuDZGUw2x8/FhIqAvh284lCG0EUD2t0
LlXM7DyEkBu58sGuBdCC1KGk2o1Dfh+osuNpwIFWEeW714KsGy1e6DLAMXtwFCapsOg+6FRz7nOj
+68YICzzbKiozDByGNjmkxcYot5S08U2XmyIm7NqNJq4oETX5G/EesNAd1QZspkIdhVrdUaT35CM
rCNSwx62DAmRlaiBDyxX0EBzg3UEAbnOR3DnYiXs8o2iPq9Qgxp17V3vxlXhf6sL08P3kqyPk3SI
XlU3ACERzCiaPz11XJ7bkM4i7PjAMk1Nwgox9wUHKN7PIE0aXBohYIIcbfG+IwXOvFsH7AfBWgq4
YqFHDqtow6gZ/BMSnShBprN8yZWUfM4Zot7aY1m2mOLwNdUICArQoWIeFTRPF8URiwJZNRpVT4xX
qDzJYlagPgCT8dPIwygRTlC//h9H57EcOQ4E0S9iBD3Ia3snqVteujBGjp4E6Mmv34c9ze7OrKab
BihUZb6kDqHG7vqXmmsoYDUVQ4L5JiEao12raqaTwG2IyGejH1fzlRO6b21GRVr9jNHNBhOgmOqu
G07z7IG5Np6hDNKzYp9qtcmNRwoB3zQg3t1mrLxNJokxbEhEC1ce7R8KlMF/0z+Z2mFAPEqYFrsr
sS41QjCOUvpX3Z2XZCrq4S4lbEJcwpQ805A0KLP0b8b9s95Q9KNnduTAPVM96H0703sybr/BxP9W
5YcyQocvrAMNg5MHPUb43Rlt7Cub+6TiO35oxyxOPxt5MO9gFDKjJ8k9m18BDW/4C/WX8kuwKlSi
+viU9CUVvu5HPGnP9hRdR2/6F3uIYYFHpTxorTfvmTrmrnl1TfZJoXYu2mx4SfueDbqgR8HPmOhg
OB3uhZLmW6jJ3NMvCcYfhbTu+iZ/McLhlZPQVJCVQzAezzI/M8Qb2sPMoJNOv7Pf8i243egV15AO
X20ebX1M0B/ZzIY9+hOUg2y5g+iIIOcM1r0JqPoxO6qEXIG55C1ioEHxrl9Z3Xiuiun/B4DmSIiY
gEtL09wd6hdd7pTifTKjO4wul6KWR5ggG339PaPdljlwei4knZStvlKhrI4xHk19LmsxSZZYtrwB
Hr2BX/sJw+0qrP98aICrziseFopzn4mpRwsTBIUFkD5fEAQnz7iI0KUEwycFm/67UkB965owA5e/
RAAi0CcDXtmYh1QpccBHedATiJhtrsGtG/WoHTF66hKgBiWC62ptsvISUehvNDu+Cg1cA9WlKU9D
WF+QWN9PSf7/eRLRxLblEW1odsbiglaA0naiL9age525ffo108+bHrGl7M96EqoXIAWvue9bIudp
/HnK3Qc2/tei/87F9KSviF6y9EpnIq+xqJNpk+WW2FPO6/99kO2pjboLjSX9Tvoy54V2d3rYLeUb
Y4pQVC/NALkpS55EtSASIUO8GVr9c/SD0qZfzWTcsWIucuZNueWipbtMR7bYiprrxqSXOxvTJ5D0
K2IeUH7XsLMHZtShXyJTAsssCGmmCcLXXqofmAnsX68Dz29Es0wP53ILmAAZx3hbqp3Jb+q6ughG
uCp01DIH6wGsE8YVIasOi2YTAQBOsJm3pXiY2ZxTBS6gUqcCIqBvFbS08B1THemXgRePYxOLLmlM
VHy0gxLRPqFM1jBw2BDzCvUbneWfhexyvz6BlkDfjw+I5ak2oyMvhr7AMIuIJ4ZoLGV6yADelazU
tSMOo+V9VQW4XMXqhNOa5TNr0G4t/o9ShAIMyZ4m1i7gDZ/rGphf85TZ/hbOO8KeUHlbMsIZ3zuf
KvHIojAOMmg+Db95skZQXWic5Oy9GvbypzE8iTW8ijHZWqxdmbRviuB3CBQkayRzDkTX6Y9eRJ60
2uh2auX3u7kwke5KnGsFLhur3pm5ebPchYOGd2HQQgq6PBYs0DalVuuk7xyXRGRuDdM6ZKoDc6YX
mjne6z0Xr8xegcFjQT+Iwf1OTE4aPIU1qwPjuf+3Ny3QmlrD3QVc461MwmPAmxxm6YTODbgXe3Cq
8y4Dfze66mT40JH1MUYvlHoqrbdm/Sooyqq2HglicQ5qRqs/8oMr/1No9NcUZj/6yakHaDJjrQQR
luMqGL0nZAapkTm3Nv6kY7ttYaDQVjg4AP8uaTR+9EF1iWKU5QpqTdv0d2UbrPVNaqvswIKiqxHd
lCHcbcdzQ9ClXhQ4FMaYrPzCPZOTsdf7a01YKeJ1458lK3qylaQ9HKJ4s+joGXSC2zB/8Su8wWw6
+sTKc4SmBkA4OiMn2JgxylH+uXHVruUVo6uJUS5d6z0TntqHnqnrElMPLPS7O9COgDyxq/hnGX5n
rg0QiZzF4abbeNx0T0TE8zFB5WFNPedBf4kuuxMQTqVy7g157+b8eJQG9BayxO42k+/dUqMCH1rf
LKYWvjVMm1E3ytEe0jKMkIPpb2rZw7mc8b7ZztEUVIouKMwsYCDvsCGOWA25EkiIeR/d+DMdSIqc
HWfHwp/OFbKKd/2x5hwXCweEvDORvkgtaao4p3UwxIAUrxr62nr1oJ2oa2i9nEXcichX5HSwLnrL
hbHLTPNZ1ypez1SYhowOlwjSf8MAYbGKcsgrZvjs2ygN4irYyb7/I3gVsG5Dkq/lozcmnqDErgvT
SdKJZZi/HUyxlTyLeZ1ynMYc+DnVmfvYo27p6Clh90VKvRD3BDWQm1dkTO9JlEzi+eRmfF7wK67Z
3802G5AkD2VfafVq3VvacRyTPBe177kkANoT1j7J23uBkGdCsSHa+VKQ6rhQkbODn0avwELjM/30
UxeLGlpGVkMyBHZsdf7JSYufKgj7LQT9DnQEbssWIUjYu3u/T8unxBSQb9GCF8yDz/ZsWChA0B8a
/RNoo7U5YD3pegDnTdr9KLYd9odH0y1+VT6hCyYJoXWw1DryqXHcN6Ms7iPT40IhNSfz2ep3+E9z
bk+V3ty2PfQt0Uhh8+akhIM0jUOA22JufPiPoIYJwoncGAWGFT44YNH1ltpw4Nirqu+uLuvdHHn5
egEPvVIT0Yy4+ep4IL80fLA4u5hs4q7WZth1eGfzXPus4547nNIQw1BgP3uVvNC1YgeJaFWa2Wix
LC/+qpDhsKkdZMPG0h4rq30HfH7UO7ljDg8UKefYn/b0kNatW97+F/eCt11i/8zIG8jYQond9xvW
PfK3ejTaMykfrrMfnJIVFvYKD2M/PBpW/1HhbPRGus1luguomwmYOvO07izB7BK4UxRWB6/vP9AT
4jZZzkOQ/rkJ7UI8Tbw99Jz5FLWrsyLmjDKssz+ROCNHQMnvjcgO9PNSmwG9EPVBCgMGwwr1XvZb
1+OTQ1mDj2Wj70AC7dmZ4n+qRIDrqVuWuCisxrdhDgVqOFymNh8p8HgIEgvDIPO0QcYLNh4CY3EO
Y06/LK34Nwv73OfFNbe5evQ6VtQRP32IAauQT2CJP/QRoMksTlALJEXe/VTnzwhx0i9nSD6mG1Wv
VEzAnjj3Z4QuDMQIyHz6/9G3CveJx25bG9FT7CRXh3wi1UA915OtjqxucmiOJX93TMUQD853PiFR
LhuWSKDGzO6aTe+RuKZ0wVzYh9CtgcI0y9pU426h2o2KcTuZco/yH9wYg4wFbQq+7Td9ZEkyjqJe
eogxWvk8SAGvVWNw1KuWl0CJDTzNaJUGxXeGniaS0U8FJqwGZWtR0U5D86xUfDVAdtNMp95h7en+
L2YWSgovefVSpD/mdBUypcrfte1I67jb4kO/lbT8bcLuGxLao3ZDkw8fOR2WZmv7OKeLX9jkhP+Y
mzwEIpNXdA3aYRUhaYRCxh0FhGOgt9YCCPw1wPaytW29V4O6uIxyRGeiRw7nu3GqsFNZxy4VQCGS
Gshj7dzbavzl4ePOA00TM+Y++hrxNsmTq2BI2SvFlAVxAacZ+O/RyjcGhj2cfeCcb01usTs4f0iw
eYNdHC8z47/ad/a1T+Zlyp2JR224CkC5hAA05jT6sHIDa4T9IdR4ALe8hrJwVfg4/AEiRhhRWfaI
V1vK2ibo6bsmHgeA+X0hzGkQfbhXeupFkwBe/y9H3BQwsXqjWbyJCBriskfDvGkn2kmU/z5bpo1s
wxcHTbxmJAZjzUdk0p4jgBWNH6wUp63I24/MUkp0xPrv5fuSHL2xTH819Z86wWztms1b7BONGKI+
0n9WRPcpr5Fjdg/UAJiGzxP/VbGNwUnd9E0CmUbBag5KXPxIhIvgMLnRNhYv1jTRHOx/So7okTIf
i8x/HGLalaSOJsrZqsaGVhf/C6HBENkQrWRP24Q2Oi3fbABRA2d/PRNdKAQsmNhduZg7UjazFJdl
7ngkl3A8rn04wjPBKnm+TWZY5zWddZ5JDmcNXYBozAkrpjXNKajhBNs0l7zv9r3hvRNDiVDjxJU0
JvcPHzOa4+GSxf2+NZrTKOj/6xkQmw4iCn7RhxF+GWjXUwMFTgARIljDXgEZGMONWraLFgl72QYU
HGijfBMCj9N1CuujolEAbpSqip2MC8lWAwaHiCiKqkRWPV05kAocTmzmQPo1HQiz18VB3aZwyIpe
3OVyoFEewELyqgtGCy6k9Sw7KIscJVybOjf6sQAHG5n3LinATURJlTt2LObzzp6nM+3tne9npHK2
sByovafxGsr2GjQMrpso2Fjsvx3gfNAn1oOlMST91NKJLrYOEztJK6Qou0sH9rMzONI2szqqsD2M
ASy60aL1hyiVyTyfOfhJkXdZZnrjUumJQinnj2UwDi0cUbbdeR2SCptlzTXAtr7iwhF58LEwWVAf
XJ04g1Xt4P1C9EmFx6R257LXcekoYp9rDrrTBKmiMlWxVoKgA1W+2HN60UsUPt3HlDUuyvxVvsQX
vRkEk3txi+SUuc4J/di+aJx8PxCx0BsBbkVetG4KDzPtM5CdB6cv0GCxpWZaJ2cGE3skB5JG3DpE
AeC8rhYqMs+YHjMm63lvfXvtsg3b8V6wOXcBpWGqjhFdhbjJmKtzkAr6y8yF8eMG6gVm4yztLpGP
LgL9rAWUJqP6mfp6a0xjyQuPRlQd4exjYAEQ0x/FNAIso3Kt+rPnRZuhIBSvj4mUsU7KtV/ZTd9D
dtwg8C9tL45KPCU2mKGCNgVKpVOQsYvKhHIzMt8dG1dWWFy4yXvfJjkAb9hGzc2dybm2szzmZiNZ
Wcj+aTJxOVk7M7QhvNRpFX5ONHV4TEfLuphc9K4EFEZFAPFuTVvgXynVSpfbuogwe+voYNoCQ8UO
Y3xNPTIVzDtEe6A6S6YV2oMTOQv7WSNz49d2mvfDgrlC8qKaQ/nWwtzFP7EpeK4GFGOdhSeAqWbf
tbuS6DOh2g9Zw1iyEecgJOeuldYWTr9uzH2XwGLbYfi3FJ8Oflm9CnjR8JEvzi0OnPe4y555cSyO
DJVH4Ossixe8o9nGl2+uz0nPdu1nPHdr10p3IxUH94FWAEAWWpt03kScn4cZrBSUMiwMIpreuGk8
7rA3tibfQp8LQo4PeHPP/AEadx5Lc0RHtIr8rdk48AncuyqebxZ9k2vNF5vnAB2WeM/r+Vz3sv9O
FJIDUtf2Lt1K3WIxHC+lLAYSz1a4WfykvoQc7dfliPPDf4XfQlmFKte03qVpNHhYwM4wJdAHHsOr
nwyqa2b3sfwaurna+Y4H6kRUxGEa8xMOHna26cvqrZqcxfxTIQFNEAf0HA6b4Ue/ViD7dznrHdL+
2Q19Tcz6ULk6KNaP3tX9BbucHgnVI+pZdpp5yxPmLv2vMVqbwBF7V4lzwxJS8oKvSiQOhHqw5tld
3f1f2JKMh9t/8h9yZfwSk/PliOpfNhbfE8c+u3HXOfqZxaFDEhYQFLmFoof7EBsgRGj6cZiaIkHP
rnCp0ZL5WFLJPUqnnR+bwd6K0XJ3c5w9GJCoIC9POI7tbTg4Fx2Qnosvsg//2YAwNwWn7w2x4OaB
lL3uMASYRGzU/p9DaqWftttnx2XJDBiRPqMGQeQ3z9toLA+5y47b/S/WRcIQ4JIKRrSE8UJQYgyJ
DCnZCLGiHzXrKyN52WPt1s++mcdHkJX0hQlptcVd7OO+i66RAd4SjEodNh9ygqyu/GrYTtENYh9S
bYYdMDLfgGJ/m606V0KelRpvU0BBY3FK32LV/nYhfjcTszHLGfkq4AAMA9Fp4HrjjnymrxQ5NWTi
SzKEyQNV1x5f1bfXeNm+7yswA3SuI9FXaxjWZ4xFR0Bz9Bh4FFpEqrvYqLYsOxM9suZIBg1JUl3A
Mws+YdUhdrTRNMVTwR5nXca5OBJIdrNHtidvbAT1i6uhqbzCuuIRbgBFzqjus6EnlaIoPpUA6m0u
j30HSaESdBj6KpOE4U33kwxOcrEHBlWmsy686jkP4SH62EkfVcmObLb+84QRpbC7p8rzvtJBDrso
ipglpHCru0d9zXF+6MzLpicGyngnbY/iJwIGT4IM8TNmhSDcpm7Gvh7HjbUx2lZs/KJir4aaC+kD
3TULWON0n5MvkSSw5vojsuOAKUOB6ber1K7Ei4ZEBOiFKb8aX4G35k2dVIG+X8I+p1n2WbnTNQdP
m4yM/9qBFz3q9MaRGvuFdtW9BwMfFThWX94/e5oQyc8jXbXwJQrCaR0lAYibxgiPMej0rRrGFEgO
7aM57K+2F5yWIr+z3J4GJFzNlFExpqpwOwYApYFZyPkie5ZPMOgvRsLLapK3O3WYJDqPvIwgeJfF
ckuLdDP1+Yeos0d7REVcqd846DayrC+VC/NunvwD9yCjpQ/+FDL8GXbmJp90/WXD2MTjxZQvWVli
SF7DOeMjxsw6uHu14pRY73zo8SiOUKxEQKw4hcevpuj37ANIv7OLp/xdhhHPo5HeT/MpyEO6G8vJ
b8q96eSfxQh23/SKA+bWLYyIXZ15b9DamagvxXNeVSSrVTfY+vslDf5FZndY6vk7NqxT6eVbOVl4
oBDrucFLOmPfoVxS0qzXYxC3u2iunhZBK81T8W+RCtiNhoVwom5fIxuDYu2fmfXYB9frMfPXPht+
R229pDaV8Ng2dwzmngpvwn7l9deZTAKEwTycFtF+KhhZ5GW+q5vlJ5y0hoxRDNxMN9tw9j1nRstc
GGam3TqsXjPEwJZ2ce5ND73dvyWRxLFUPBeqrk40LDnA0rIZTax8aK6HjRNNWHfULvKIa6PhiLWQ
jvE67txjr/8Qw+aNdDkeTJIOVm7lcK7q+qOfsgosr3nQcVknE0Xup+CShKLF9Ub+B6lhvHwAe912
eDIIRRDwtVYCbq1vzi946x9sy7uSzc3xjQuyi52egXI8/ooZ/KLTcHEwEe6diANQ6/ifxeLeLRnP
aJMzIgX1dI5JzLsfUCGhdmaFFtNySWdWtdQyzs3oPM0i/xaVheg7Rlw2NcBoB0xrIJmxQw75cMgi
39qFGDW+47ZDf+9aLfHqC/3XYBJ/TNiebZJujxyvJQdPFuYhCsH41DSzCKLZkHtorrpKjJtkAG/t
Te9zV1n7pnYZUvPG4sFHxB04suPRDI4tZLU0lVfkjtnOq2Ydp+4SsIx91Fpm7FgkthGlVguslgbT
Qphqd91AzGZDjE7eid8ii/5Ebx8Dt/0xC0aY7HoiSulf5PFwG4A6GmTKrEycnmk8JFsyIB+7ytx7
aO83XYnaMkfziWeeXRFnT0+bcKzD7ETuRnqRJsVyTDjhJhHhXw7Ay1NUoDNeetgqeEkJxL1aUt37
pvfktikXrsbEWPg+zfHaTQ7tzAsjHRKAORSygkaheeiSmpFFRA52N8F9k7zLZLOi5I+j6CyC8lXE
YM4aD4DuGDxKZf/YgR9elzB17tui1zOP7l5J5+pNS72jd3WtYTCv4pDuO6tP5NCW7EXsE/sVoOyG
S4bTX5IhJH6mZHzWAgSsKtV6iF2q9Rly9zKJ/52SvrSgiC/ma1QteEkozjl7M8mh1o1bWWno77rt
5nC1GJCSC9O+ylpXK2k5rlzhXicn+cimfh+F7bxuq+5REipz9oqBjTuQ46oLZ4iQbYCnQz0aoftr
iObm+M5D7XHsqgH7rJxualfUCRdn9A9LhhBvkvF+kjVicWeG1x+EcFaEt+/YLCSQyf9VUUBIjc7Y
q26+QJi7+B2gpKrDVeyOayJOjgtCSDeA1tawNGM5XbdtCrCmhixEmB4D+mb8moNhl0Qx48/0VGHI
dj2YbVbmbog6fAgTczcMxYeeMhrUvIXntrS/pk1Q+1dhcnSyROt9i8R4zkuT7QEAl8mgxQ1Dnh/I
v1VElrj3a2bTb27QeUsJi0rEExyXR1oqcmuILLtHDAYXVXHadLEVtjmRIeUevc3R8Vicoo6Q7Xo9
h2lxmmqPNwVj/DEYKPadmiWNRyN5J4ak5oTEbDt0ButA4Rhxts8/UpeWnxDZkdH4SjjDU1jKc7Tg
aM8dkj3L7n2MfBqXNiHzRRf/K8gm7UuHRLb6kS2CjzWU55Epwqpq8wf4iJz2CuscGmTlhuF3lYK/
TukAGbq0aUHTlaVBwz1cPkwHdCReCK2VZKbaaBwFohTffiuDmtTkYYMgjJ1Pnq2yOnd1dW1sD8Nj
YHRAsUPrVMjqzmJ07ZKBuw0Iu6EMbS+Nw8DHZ47sNNl1sYnK5hHFQqz+ynG6I1nx2QJRWWQGU9yY
4i8ojOzZSm0aFCVvaX2mcRJ0NBkcwihaFB7omyhLu3OUa1NofWMSCUht4kw8Xhrp/Yl4EOws6il1
qoWkHxbdHt763HhnChe2N2S+NRGfKxFgjMyJuZIi3xYWZwTLJFdBNTkwK5ezBdAQE6UmPOmuA4xn
FvEnvYczG9Vf7XQckstTYqib/ukFiRb+6N/HbntKE8ovhy6TO5kIP8pjDrA6Wmb8IIyiK6O5uXJ+
Uvr76P+1c3Kj0/RoQh5sVLEGW4ayvecphejBxOXGyvOKqQxdz4jjdDoUtbfx4vBk56xPHcIjmTE7
ats/nQK5tUnXaeJvicgnZw9aTUJdceqh5RqLfRqTNaZXERJiV3WZvIxt+VAJ+1+dN6SZN9sJOz5J
PQUur+EbQgG6inA5Dvl80dYS/e1bPziJ0njzCMP8/7Zm7Kt1LPo11lk2DIsy3as2hj3TTWrvOsO7
OHVwt4wAvCp/3DjSkz/MO+0XP+0AbhSTtweeJk+0rlApZh2+AJUNu2xwgkufDRC65pIZZtROZkGb
mfi5TRp19j73QVmDSwDHZwmOWBbkt5aOOsGuAVHEWf5X4d8np025l74iA9xyG5hJk/FpLvSxcit0
N6HVQJnIBsaC9oLwOnEJDXAA4PZJ9xIPYQTjkS5kY46/5Rjkpyl1cU5UnbG1q3xYW4vVbEAhDV9x
XgXwk4rROAUImYJVgbFiXw4jyZ22W9N+QOVlkmp8CzORPaYihVICCng4ibESL7KlQTpGDfbsREYz
2v1exgdQlfXO8ZkyFG6SnjiUYYweB+tqzAylwSty/m78+cUuPfvQpqyjCAG6Z5uRTN1QqZplR8uO
OPdEPnjRL4AkjFTNibiJ3uVdBZrvWCsDqOXU3o32cZqSrZFlBNNojR8ODW9VG8Zz7X50U/1elR/6
N6CXHvXvFEkCmMjwX+oQZB2CIqaUGqdQVKV2QYKn/ieZ8KcAgnP+tR5flfvuSVLfhugr0LP/ChGn
u5nQsVSnMGt+YwLGLe4eVnK9iiTOKWzO2kOj/02ixnDQ3PmowcIIyaS/K6uXDlpHa4Q75FAGXrtK
3uGZGamEl+SYQ2mpImuHa2oeXyYwSn73R1AsZ5P3HtyNQDc+0jBwrUfLRkDsP029sS+SP98iidj5
9FAN2FaLw+wYKLX124huCNqmxsazouhZ0O8fxbP+gHw5q2i+kqo5IzrpyADJEPkmBfixIFrV7jua
dosPX9IMCwgXR52SdtBaWirgmnQJ/hYSzdbkST6NBYm7LRZ2s/gw0dZxd3L2kjJJnsueTnSAXiC6
zXxFWGg88rzjeAwdMEXlZwg5FvMQuLIcHayWYGEq/3AskgSrk81F5MKJwH3kZ9oNwNgZpGwAY8xR
e/7AMFr7fA61Bk5/KH7pXejM/YlFCbfm0c59/QNMqX1lHuOQ5iTa+mpTWTY5QkNww9tW8R+Gr4kY
HX35KhIOVPmLctye6V8yAiN3ir0RQoak663FCONboJVWie4hc0O5Rfw7BjRKQwrn5QtP5IHDxVr7
YbTXirr8PqkeM7965LR2hBHKTiNPg+qOczccMBx8TWlymCp3x11tjYsdPtcTMIHqVLcVviDGrv5z
l4Dyul9GjOlixyfky+odh1CvneUw7QFiZdOvAKeD9LoTa1i+a8lFxgA3O+Vavyie/ROM7hNXpGLT
pVG0Tsz+YXR+gspAJ6O2owlpuTqZ47Vk8MGfY7cmTkFyQuwxIdJwd3MbdWhY7wcRmkzHjw4ttJq/
pk47Tuy30AAORfVOolv25Brw3euUgctDy05l05bkMeKlSxtk+BEAKc6/5keF2cmwfsvg6uXlOqJz
M1gWcJVKHYauK3Eb4X2tfDWug5jGZyhTvHqfNt9Rv9xm724soo9JV10BYVo35a/+dhZRcgoheQHS
89S15a4LP/tSbmwc+S6hDHWZ7yWZWz35ADws3J+gMe5j80X/TP0LxAS39fdkLIMdRn3LmCDpuYmW
frvaCp6C9asoqfTn0IsLSL8P1odOf2Il7ZclgXeqxM2cmLgvTxhZLZe+LwqBQM7Hlv8zb+q9/mu4
z3px4Q/R1U7nZk/jlEzXRj/W3A3CIGGPmYfMgSHTsQfqb9zWAHDl2yCjvXCSCz9iqSI8g0SpNK+9
jGj67PQDG1gLwsATNiN677/6fUitZAJ8FT3qeLzDArO/zTECwM2sjW2au5zRZPyuhWdJbu5NmHrm
VOPU4dlyBrmfFvlrZctrmvZfc4IU2CFfBoqy92mQ0gnO9ND2y9aoiod0FuEe57BLTqUd4ifBS5P4
4LxJjzRVeK6k8k8MxbYaQeMRn2HWyyulB291z49Fk0JYL/r8iOZmr17S0kQHRHpG4DBDqOz3NsLT
ldP0i0zUpM6IRrw7p+z0aCvgDzg/84TOUAbHJOO1n+2vzOmvOdDrMs9wQDB9tPoHAjNWjt3T5obz
NVtwMeXf4KF3McYGuBrG4kn4nDDL6NxY3Yag992IhsQX/T9kLsm59zM2ntzHqsDlJ/iUI8R+cjJm
ZV79QoXMtF0t9D3I8+pUyYG3v3gt55F0ybZWIiCiqc7bL0PAgLnYOJhbS2VaJ6OGUmFMXy6YeLam
14ToxqirkDXBVgrJeCLOIFlbE5ZmqJUnEr1PJqGTC71S04GSNEMrM4AjS14muVz6znhmP4b1Qpk5
Dkc5x4exibe9xBOppotlMKg32oMcyFcOxbR3FynOI3VMm7rmrWJ0MmcG+xNKvEjdWiP56TtKH72R
1jScEaGdioTlKO+ZkTC6yPzlvNTpfpmKk+iWJ2cBKuVFVx26XoH3VUYKSYRGXoDG3FjA77K6u1yY
kd7SwWotaFoA/vCsVh8eH3qBaxJ64Tqd+/Oy5NvZhIMYdM2T43q0T/r5H56SbzsJGP90a4jAx8lr
Hhovvxex9SKHZmsyKWaUYGNhYqcIqucgHJ7dcjhnSNhNg1EFpqZVG5m32BqPA7cSJOG6Sgn/NcE8
mW3261jVWcSKAEtUj3VUjTtlfHQQRdE5eW9KsQqYhdnj7+n5x0VSk9HUdsneBUROXxg8bb4bOf76
BEiHM2mUPXOGIWILBN33nAH/nULvxgHrbxSZdumFDcev7KySNz+KkLU2xWPUN8cu7+9bKz00jb0x
e+fIbceOg1tpis7G0Fw6gbAO6+chyukYjBgjuGu7WGo5efYqrOS8GHGAbTitLmEvCxBxJGQ1+lk2
ylIdQtv76tzgLo6J0UhbZJIZE0JnpjLsOmw+hsfZpeQ22t54qzsUeV594Ha9wK0HeTs1m1bIPZaB
1UDVqmKUV2pszlXOGh5XdIdxkpuoV6wthcfWdTKOG50HWqR7tsaJWJ/xTzrmswEly12sPTqWbp2Q
utNARl0X1owdei7PyzQ+4IWGTmcUyXs410Acun00a/GGgnKHAWRE3uYQ0eu9Cqe9OcTCniSMWTH4
6pATV4T9HyKKDYuesV4AW88p32lY77pUfrtjBNaUlz5iMACysiF3pPQQ/JSofMkO9lIbIW5yFzD0
yjNbYj/GYaeQ7BH2Q1cA60YWkVHizMGjl7bNHqkZz65P+jzysBxv5ZI8WAGV4+xBbxq2KpwefSmv
BU+K1b/1bf2eT/Mh9oBFUqfBpgmO2Tg+C6SyeCYehszjiEJna/E3vZzglgM+hi008d87xzuF9nhq
8vQy9FquH5BtjzTVH4OD5w2b3qI166TGKbJc0jmN+lSG9n72ne/Z60FUZtkXZ2PUnP3wMMfeT+gT
wTSMAO4C2+ExsaOrX7pvfcfgHrjglhHGoa29x9ye9mkSPLnJeJ4ixmOm+Zw00Y5k7Tuwg3QO6CVK
VH+DzVBfP0NxqX5Hi8hoVWzMDtaxHaFChUXXoE6NZxwu9bFr1MXx51voi7vF7W9dEr6GtIiLOjwN
rNpjmr0YiEtMqh3CfqmbLFSxCfa7BbChr/pXlGcnRXfb7+M1gRzM3pzzwhK5dnMn2HF/jJVFRge+
FQKkvB6N+5T/laWkY2EkX4wZPoW0+4PkmDo4QCX4UQEBmSycyKeNTRZbFyJ+GZTk9H56+Y3bprsX
CXMdgrleQq36B79YP6cA7FemCbLGyV0AQpIDYiTHY2O057pBcTinikmFJ1rc5zoBqou+vTmiDGS2
jkMHD7LSySWLKIa7ecrkJmrKP0uNP1MqL1hHSViZBti6fjBThP2fobB1bWf8cT3X23CzY0ypi/dU
CQOVq9swf3a6lrTNhjafmpcdzU4fsOOgtoNCe6xGwRAnI6PVNES37QlY38IlWB7iwmCi2MuECr8f
3opCGudYsoe0bXjsZHRuW7UPZEvimberIhZXpJDvVQdmpqNL5vCiky1xIBjmhBfsLAsfwcGY7TOX
NcF2ldqHMPtA4xiEd5Qees7Ufy6YMHSi+ogb7JSVa90WmeNWtCEWuy5cGhq0lgNuzq5gDc8Bx/wk
Dx+bvEZVVNdwR9v6IbUrF/HdgrOq+FzmnjcriOy91dZqG+f+I0FpgDvMZmXU2T8bGgIIpx7K0dy0
tEYaZtkA0R27gyys2+9Tdy5L98FuzZ8SZkAclHdxBu2YIcG4lh0ZQQ3jCrOh+Cjns4qaM4ZH5G/o
1pr9SI77tul6zK+Rf+HNRktH6FHdvYcifKyRVHR5+YB+4G6pcqbjrUoQVgXGz9JO74KXELvu1i9q
Ykh7TC6KyFNRah55+/4fR+exHDmuBdEvYgRI0G7LO1WVvNQbhqRu0RsQ9F8/h7N6E29MS1UECOTN
PGnXvsNwXN+5hy/8hweUgkejodCbLZGMx701CMbP8yfi91ULiEUVbUbrebCIQsZ6Z/ETtxOIVxoa
TkZHuFRCEvMij85esg94QH4Kj3eFj52Kh/2rju2vuGeim9fdY0MHXtIP/7RpXKtWdTy+doQQD1rR
Z1jJiKDMSUFSjeQC+Mva5hooFB4JIaUTG/Lf2wXX7s7FOiJ3GrbeH5rCT8pi4BWHPo8iJHbQrHuq
488TlLfl+mP79Vuaa/gkFAr1Pdpynu0QivR+HGoD5wOURteQR0MrSiE4fHCY4PBBWq22/W3BACjJ
CsZeiJlm9io5ZtI+duXAO7/T/Pw56PDTc4vi0M0Vw9WRiXaOHOZ6Pi+W4C0cy58UY2VQ9igc6cto
aO7Q3iFvoYVXBnVDqBu1dGgcpqOGiY/31Cz0qi63L+HQ5XvJXg2fw/gDUrrbyQTdYbKQeAEav6hM
7jwXWdgpMsp5m303ULkqg2Mmpo0/dS+NNzI+KJ9ikxqHQtPdPjfpa26wXQ5QNcD+s6g9OkJ1hS3e
BZhiY1rsfdoupeXae0ZHT4Zod07aR/uQMx++rWnTGuJJq2bRA/pDJOeHJK7uNBm80C9xT3J988Ls
yaLItqsImsyIoMbU8ecLyEI+3x09knAFh5N0SCsulQOA27cAuzkHFzMpyw6vLh5BlLI+HS/gO/8E
fAbazj+rWd8skf8IKNAgjeHrmTFvZmikBuOygQEjUw6DvJfjNUdB3fC3R6SXhTjgmDebq8UPKWJ6
ZRcPiRc/RSx3zVKR7Di1ow8ZZ9RQmEQ3EjKAdlYdlgrSJDCfPHs8JVGwM5iwHgX3dPKjry2bk0u5
Tp/RczY6lCiaAdZn+9A586+N+ZhHF13adrH9LYgJmZ/LJP7rOOQZKiebsIdJBD1yV63Frtn3qNmO
T4aGOgsMoZiH+HnEFD0UbnYUMZI/qCSTx9w8oEyj149Mh+jzWGkdEhEayKV4IfjQnApOwg9vo0Ho
pxr2U8WSYIFNSUMEzXrODY5AcwfwyZy9dVGkiHyypx+qGph/YgBQ1pp3w6Ywge/6UXvwjM7e2i5W
bjxhFO5odwlHeu9cFhjqDO5pIM1YDjkjn5w8JUfeg9GPn75oGb16AoP58NDG7Zbx/860aRDvNWNY
zE6ZeOsKbDbJ0j83O59t1pZ45bBMGfQDT+k9gv0dLefIIDXGje0nL3Hh34hnPBZ2xW/k21A+R27G
U4myDrawXQecvOxZJespErwbDSU2ngIAX4HbPsTFAvKV2EZ4G7oOtbGGcsODMMf8m+sS+TFaONl1
bQNwR0RiUphHreWuYL2CNKR2GiRbR1Q7TqaLIZtbUYpnNSGUzOFxjL1D7OUHnALPeDy5cUiagWlm
3WluVVjo9dYBdOxX/q5VuDL1QCNv3D9k0fwS84vKLj7XzeJDIYwW20gcE97S2XzlaVwnTbHppKYj
cRzei5lFQgtEquUhkN3W5ETRzdENcLh67nEzEBWCgbxwuaKINIoGRpCq6lwv6SwZ5tupYULmZPKe
G+YxcUJsRt5xTMOVDKZdLYTBpNAmDEpGhWM/o6w0SfbTRLg/reRIoie9Lg9nlbm0/iBFTTg20xyT
4vIXE2ZxwZeIOewsB0YvReTvZKP9je7ng+qmKy7cltYvu8c20pyZSfz1veQzL7DelKNxSDnFkbCV
KPFIelGSaUpufcgfjZFsowg/aZRqBvbQTbfmkKdc8utnwY5o05aQZmpE31/wy3Ur7W0QecwrSpQT
UcwTn+f4nCbTc5BEjKCH16b0X+Tcn0e4k7yk5NniHKwM+59LGz1wJs56qalWuuU+pmP2pcD5yk2M
K50lrrltbj1kfMjrqwDvli7Iv7a8zur+iYk57Nfg4gc+PiBzl/TmfgzpRXMrBYPTNQYs51F+9gaD
IVbD5KSYXS6NhX7TpQAg62MJH8PqT0od3jCmjz0XmqWb5yZteoPpDwH2r2LvH0Leb7wIPT5/alZG
f42O0KKWt4C1mPrzq/Ar61qmKPwMNsrFekGjc44DMGPUWMfebzKhqVZLdNWp3hg6AH/0WhQgAGzw
qnezKHZe3twr12ECBUmC6xG+G7d/go/9Dtmf6hrxZmvWrwJxXIyc9OboSdbjya5Sa5OFmfNZu5zL
omZ+sGx8jJUVn8c2f2tpbFtHPVuA8knFm6oMjqFX1+c5C5DXmIKstEfdmDkuZRbGClkBULnlEVut
il+Owk+S0x1ZAX65oGRQSzZtaSMjk19GTnGuqeZheY6AKkxiVdSy9vSJp9oB7ybYGGbGYl3HpKGz
qEGNIY8bnFhAILMzcDm45UbvnriC/XHlYAK+MFGZR8Wm2da4bGEiubN8VdxT3Gjcu629j3AMk5Zi
35yDitu+PKY1ykTrZOeM7zFX0QdjSdTDeka5HTTsIN4Gki1zq9Pmwx6p1mUfyqGRFsnebaaGLtyW
iLXpAbmdCdPkwWFw00Odem8tnPAwR523wPJv+gU1bUXjq2XNdLCYUTM85eyW3PT7bYhF2Ol7yhlN
6N5V8o+v4okYkDwLWxwx1mB5ABD9VFc5J5MmOkZmGIJ9o3G1Vpk4DJn/rwtMj9HZjBZOZTBuW/cY
leat8fWprXGYhjUlq0HfnIMeB2+a5TP9MxhVreFoIoCFKkHdDYffwh+CfcY6n4MMyp/7FFqMSrAn
MF3R+Gc8Y4n7ckEG6H+mo+joCI9SEfw4OJCgTlFqGXbts8+lkkbSDqerOPF633URbjcjntZZDCO6
t5MfD0feSpMsHhdiRZMFaJ4GKB4wOTkdVavc1Xc3F3sUF5J5jvht6Oe0UofEn/uKx+vIjNzn6eKC
nyWSAdCcn4yAZqBwTm4mqA3+Wbxo1MQ6bK1IFOWx60lsWQUrp/Xfw7i4T2G+w/9ztqJ4l2TVZfbw
aBazDWe4wYLZyf7FibGxh43pbphc50Cs2C48PpPfwphqXlPcmJMlLt0U7bFzKGjvJf3PlXmN8oQq
esHbB/tszili7zITPTaiJkDdjA/CjmBgLdfGNHZeKNXdV1ZwU1F+7egDgDmCANC7oMVKBmN7g4Wy
UUXv00ml6Qx06YbWiXPME3UfO/u3wHweq6ukkhFbDKKGzd2f12GAnbnvwg1FHuulqSup6+e6Cnhr
LslNP6G12Aw+ne6jLZjLOgNzUKLh0avBmaRpgAuM3p6yoHMyy3WRjkjK0Suuyc3gN+9jWpyL0U/3
Q0N5Y/ev6HlxLNu49W/iJOdGDDZqi+VSVpcOvdRjYDEX6SpJ4FCooPlyQnFoRLYNguJAPzswELOj
x6mQUAuoCC89FF4Da5aB7Q10FWdkSnzAjpgPhIPUKq/4v6tyaVxwp19V4bbXRXqdUamCzPjjOxBO
F9w3T8fWKpZBW3iLoujOSf25NNAbkI3J45r5q8lAk9alx2Z5jiRhaDoJs6xa02j6rYiavyGVvpox
C95zYbJY5g9Rq3NHHGx2FumeA0vkAxLB4me0mI9xt7hYEqgkcWF1NRPyv8SNDUsfcGAHZthm1ODP
egNC5VHZel97xcWN5t+caBlTTYNBhM95mpozP3Pe2ME9lW0HJsLBFF+XzzKug8sYR9upfVURnVt4
K4GMPeYzPS1dfC/nCdyKCX1vOZ/khQkkYGBqgJeU8GR/D6Z63Om4+s3CglVI7W7HVJRiqC79sReD
Jrtk2ACBST+xpp6ryN56HPSXS70ZGxtpMqaicoVm8b1YvP8kNKMcQRvPnmrP3WS84xLZeg2hY4Wt
SNJwacyoNr0+UXG6I2j4BlfkYIoQZwLZRlKaVQvoE88rNHX7ujyQU0lQnDNZYYj9MAT/slozB0ZR
iOVTEeB6SEDx89HEcbDXrYWfmERRRlxwmLzzmI47Vtjfso94/XOzKSgPdj1BeR6GuxWoB3xLPCh9
YRIJWxLaqJXa0MwRJvs5NuInw1fgeVTQc2M3GbJWHtCjUCCZBEwb4knhUQUehcts0xFBY3HvJ1n+
KQV7l1sbN9wtbx3chU0xNckFYndCQF/tZy/AoePP8yYqzKepLq8DeNeBbhMH+KVF5nCNMAqtwILn
gwHLzBOAup7BhogDb23Tm76hstU59DZt742JgxDn5B9zCh9aESN9V6V4jAGrYK2iM6QE/s/J/Qa6
li4JUYYb22teS7BYAqZw+9ojQnv8tESySC8NDzoL1mE1JJ9YGLCs4lSIcUesHMvl7s+G7SxbQwuq
rrafxxLb8+hBBS7fXcoaqFvmfgNcAzsQQ/MNCjzjMMkwpYpumXgZQ3opxmFL59s9RXdimRDXyG5x
hJWrQjy08u9a0/eek60XeXpI0+orn8ynCAcElnnm4IsI3niLbDE8RwWDOzbHV7vpoHt6l9qd0Now
MrAXpVOw4wPbZ9a/hqN8K8sP0gnozDQN858/qMC6zOMPZMBVKV4CowWM9DsnejPZ4auiyIWL9tVM
Qg4nDQJl9MYmsifLQHzfeZA+BFlUKMYf8aqaGlrovW3BSDbjiWwkV/nwIgnyL1cvvwYyiF/E9ocl
zPA2jM65KqE2Rv2wC/UztCgovVF8LWN1xxHJ3L/ClUwQZOzlS9AETO/tw/KJ4Jw75awyB+qnM887
zauP8QOXSr7OIcF3M4LVibFxrS382Ou0dhdKOKoBasYu94w3Upq3Dh8U93Nyzc4lTI2FncDOZHj8
qEgKCFIeH7fUOCTKPzrRf02fiGdtgEQE83wKoHycfb9ifhm5exXS127RiIsZvfCNHdr4g4rFKdTU
JfSUKlfNK5FaBAT/ABgJKrHz6I3uxSlBOxZzUuzl3PzJhKteZ0XbtyvInHGCzoGzoDVbCTgXpa0N
m96htJjfN43Xr3mb/wAx/tMwsSYRK2+ZY1GbQoOeTqMzJvSbXeZvqnX1ykon1Pa2U9vaMR5SYosK
OBRqLuL16IVro5XofyHbZKTTPe/TTZXXu9Z1xd4K2WRJycmuqXdOWHNo5QtzK1mDLW8+/cj8ApO6
HaOAoqPgMQ0Hn0j6tNJ5v3fKYY9DfA3nhoEdiTqrf5VkWhIgejqt77LDGGJwTQ4vPt20XmyeynI8
aniHPApMqgYus9n8wFR9rWi51fw3cpym2uo/UIn3dU0zjuVFL3E+PjjcAnxNL86Sdg8vZRgeuuVF
ZeD8U8Y59oajIsDII5nCfbOD7Mua34XC4tZb3KyqHU6iVUS5RawQG6M/kZ39Lcf0l8DDirJnCmar
bNkI63c/X1YfHZ0ko9JbgxnWTTQsGXHKCgYMvf3lJgssMlZk0nJihpBRi21Vh4SwNSEFXrnbOc9v
WkyM6ykh16j5XQaFAjqOeaS4caTrp/cw2AGxEemXtkBJGpz5pzI+kz04ayf6iRxj1ylc5BkBrHag
krpsOVZPl7Yeb3Uojg45WAWBYJ0zh2fzvXDHomugdbYZ59+xyO8mG1DcZW8Dq2Ple+k16q0vyrHC
Vct2WDTwytIJDz3tQhkfTfPdAdpa8hVcdLj05rYolmqUF/Z7vuRAxbBCwBV2vLaxth16QDQOf1zT
O/fl0UeSfSRUQw84ngwKzdZlbb5KynXmKUKnBT/ALNxMxLCVXkJtSaO3nbRezUIe5rljz6JCRJS0
b5Rq+qqtmTa//tHBq7fowEh/07rnQVi5y7ASMfQpbdPfmi9tQ3zYXPl+/hJp8niAPdAA+Fk8R1Ob
xvxn1TFZVo38HQoeoKrELIqo+5I6WNr7hd7XK66uOBVdKkFi74y/nFw7QjjnHV91uBLIdjCwydcG
09CpN78yQrALnzTK1W/rU9LKAMtpJQBrilO8jgSvvxvn4JQwdR6ZLIduwjQlqF9N8pFQIG1PfLSG
u+0i61fa8a9DveERKuXFG0muVwpFdtngAcwTLx82yu8eUmpQjGY8EOal+WfQ+zJvTpTYW1sQdZ1Y
+ryc78IjpVHie/ZiG02e9WR2HJEHBeoF4/LyZUzmI/M+5h6g71NwT8HMwYXRb0pDgD87f5McUuFy
neCmtgdwdaTvjtVq/XjG8BnU/r5Zau+LBigdBzuVfvZpu80Yz7RRuLVC+zrm05vpBBus26dFNQ1I
FYmu5UoR8gG3gp4p7v6lHfC+zDgBaJaIsQ/SANZLySYc2fjYlRM8qCJ6nC33FVTbPm5R9ka7fCeW
wpfmzDm30PJ9Iv+H/HthKn4OOTr68I7JMINQoSVcFNhRh46DTdJ+eIOd76yuxLnGW2oYclw2qTA2
Vux8TWoCBhUOMJmzmz+Vt5B579DS8ilYK34h9Evl5xxcLPeQdsOeuaXDUBSflqT/Rk3iRVG7m/OF
7jyb+B3e1i0NggEQPv65Dr4JzFi0tLB5TfjDW4jLhdcO+1hX895G0iAhovkyh4GjEAy/SV1S28Jc
4sw/y7ERuevq8+IKxhqws37EynGnJvHHMYK1nxQ/lqFuXBalzn8o6ni3HX9bxcWrUl24U+Ogj0bc
3VMV36eJCYsa6F8sIaAbwcnXtCTrEag4t/SP3iHVlIKMGprFzTneSFQcPGJuK6czvikH4rLloInM
Cjdgz6QfMkdb2hur1c+QfmhbscaDyqPPwQWXmdTUtBj/rEAdZFcfzaZwwD/OIRzCZBcu9Ald90v9
OZ2usK9g5lDU2Zb1V6KyfNVOE2/N7tsM/UfNPGQVlvTQZvBLcTzRHqUwP3t59EJHQLseiUwaLQK0
2beYUUPjyWVosxwfEVPtT6LF29BUbGY+bOISh3o5RJ/OQoDK/JE0egz+0zibQl8jOT4vyz62008V
OvfQt7eDm/AWIU3nBIBSMhUgK30bGdDDhERvE5afwp2+hoQ7gkweTbJVOJQYJpvUSx88E8DihF5h
BfIPbPafpQ12WV5NTG/YwOXBzPbLRWq5wFRciXc6dD4NOmYqSTIz9lmi3Kf2Q8CybEI6NDAMXMPB
A6HHuwMy9vQaabYdymR9LDPQYpv6LDFmk+hK7oRszgHvXVm0yIU8YBjYfFD1VHGa2P3x1a3sHhMm
/5sJBDenz7iU1Ee/9X/DCTWn4+FwaKnrHPMhTMqXUTSfRuHu7a7gsXZ4Y/rjXoQj1XHtWy7zI8Pq
Zu3KUl5G7H9QhMmRTxAOuNqj7zcFaMG6wx3pZ8Ymc/WTWXav3I+eGkh8ogBkkiwGfJaJyyQj+180
TrZ9WYC8sY0R7h8DtoZHmPppH6OUopa9MU6G45+prOsOQjX33I3ym4vwH0uskpRUrq2I4AQkQAKx
VrPKYGstdcNxD85Dx/JC/tgDRtQRNqavdb1skwXBNI9u6iTrr8jQL1VO8WVQshZMP9hjfd0DcT3X
pvklRu8qRIVa16KjNJIM8KieXT7ViLT1YtyxKbxq37n0s0l3Jvy1FE8p+t7dorQHFwuI2rj6Cr3y
7LYx9/eqemqRCP05gkHf8urEOxVb/zrP+rccPRs7vFoGbsCwgexmRidR9X9NDcq/Qqwf7IgiM3Ww
iso7GlnD05P/9VrqqeOcyGVhsWSaDUyoH6nkZ5AID0bHcAct89eyiy8zBNfPasRggzpvSAaC3CqH
wcWCEaxajxfNsqnjsfqFTEgiGOIotAzrdTlajYX74CwWItBeJGWcbaXcjRdyla9IWHQyfSiCYBdN
9RExf1hRhkNTYwayN51MpuqWdUInBI681ItR5I09b+VKrJej4iTftkwIrax96R3Mi3b/KkJ9o5f3
sDzAXWAhjXKUdAY2KUpIpeWoTRqwTHQ/gY8Q/sbX+mPomp9I5n+HjiCCcKFUie4SLD4gY0ySSy7b
CwBGkmX0xiCQYoDj3hv3nNcry/lrCs7HqUq+AVHxozX+e+Ey1BaTwq3igwPng+vRURjwRwANUUYq
ttK1pGN2ZU8zU5Xg2XSLZ6/zsTVH7mMnsOP2eoSdhMkzwAK/ttmIy4E25Gq6e8APYyfHzBef5JSf
2Y9hf8vwyYZ/t3bstmIHC547FLGCApJNaKR7V884TtJrUA33OeYqHVrRe2cPVKowUwJh0rzhqH0h
wnQr6vGc9nhpXHtCusaL3NhscOF0NBoV4cHFIpbHnFfs2HjTUINWidv+wZcPBn+wMZAOe2tpWGn9
S80pI4SKsJwbDYa7VUoONm8/eVZw4VAQyCxgzuDBlKIjkibv6OfvWUAMcHIa6qLD7Db2HvXu2A1z
4znDCGuXAiCESZlpt54K+dhjgYpic9yW2oPqIfjXqp50E63ojPhq3HkDE4IlHim3GTf6TeJZr9hA
QuhrnGjDPujOFE92B9+azmbgfE/wMgcXibcjdNWwOMcO52LavjoZA82hzQChRuMj4vh71VOlYea4
xMZcM+C37H0ZVh8KsFPsIm34cP6h+azBma+nIWZMwZwOReNBDt5XMFc3LF2Aizz5svxWGofpKnMU
/ueQNgvJUC19aP0A9TBffB0nj89hNWD/XNnDdJhi84jFpV4lCpzGXN+wvfs0qAWbZM7u2oyvizXO
8uKr1ijRHBSI2ZwjYVJc5Uz5oQEygYOAU3u5+IL5kc6qaV4EgCG2TuoTqHMo+f5MYf2wro75aNyX
EYWGk6EwEgQTo0sDYmiTcjBuU/9uLe+B/k9Qjk+im2/uNAWQ/KAgpOWbIGQMzeJm1sHDOMVUULA5
lFa2UGNJb3N+YAwVPPOOPxANp6E9/+Nh/RLJsEN4vRNBxfyTXMTow4OhoIvByUivwSLLLRdbxJBz
p4t7idhYskcve3XYEN6zhu+hj042njPiVdtpcTZO+Y/0020fzJs4K++GR36vgMKPlPgniHMMB5H3
mqVI4Gr5SkjwPauZyI+XIVCEEGgCZRyiuT5KR+88jhSFJ45DWwDNKwhPslVavLlqy2H3q+9l7bw4
rf/R1ep32SM7JMFFZWXEe2kxMcmmpZmCkZsnQbTE3IiDyLr6Qfw4Kucw1JjyoxFvlOU9CSf8Dofq
udHRt7Ak03eeJ1kFh8Ie7LUXFBnwCNAOfdPTj9X7jA/gB6WqAJtkXXl8EZxIx8uejq2WoAVpjLuL
zM9MFqzickoYaqWZTLfdriqKYy04PKUdMAClw4fl2mknYbWNlLiIjhH40kFlmT4uJfKy5Jp5y2SU
OCVwBiAIPApPPeY5F8XIPLPW2FCSaJNIGJ1aWjtijMRY0Ani0v1nj1BCl7/jp9kuNPx/c8I12omG
Y6D8W8w3XI28K7DLPLutfyrC+K0mXF92EtcXtJBRPCBpnCY7O1o5UzkSBIIJF1rGYfl7NhOrfsI2
4kb7YCB6rOdjiX/Yk92rbwdvIxsGZ+yXvuIgnHMkDBX31cB46xdNoq++o/nLKIn8eBFDGHWru/SW
Mt2YM/eHXmz+vQerCkJab4iFR+JpcqddgkQGrIPfBvN9IEbKzshb4gQhNB3zagdqVzJ3i4b+MnNQ
ymJGDphhNI/HjBxpliTekLBE4HKqbs46qR5V410ddwbcK49LP+yyHBFC9lknr3kngGUuL0WHXyu7
4g0CY1qYF6i5l4waL7Dk6bZmQeEdJ3jXpfLaD/lzRfJwBXiUus9WPZdW+LDchPyx3ymXggLhbBjp
/CnBhY3sDLyi3srQW4maieaQqbtP026chO+wQ2jzCJ9ar3/0+Q+AJH8emyXpBstzpZYHKY4jkqS0
BIRBco1Bsiy3kbIZf+Zy/G4593rLY950rwjStCgAiKnbioN1eqk5OSFC/NipSeLKK/aum38kNXOZ
WJ71MNAN5tz7Fquc6u4NlBicu1uD8oSebGOVd1s/VWfD43eMg2qnKKrBa+VumQYRiBT+KZyaACNu
85RJ3oWCa4NrQgpwqJ+GLd9jop8bSsERpr50K98Q0ZDZ2eynoX02ia2C4kieKqQq9lQeihLgRV0/
4dsDFWuAzkauEd55OUCXjThN7XhpNC0JlgJWQjx2NUHXz/X4kuTDl06xjbuOWZ6cxP//WPFvIqno
SbpFMlaLYw2XjgQk5wQ+i8p8EDU38aFT06nOTW62/FwBr97IBhpnWpfJGM6i7d4CNez9BJopbwC6
Uviuncw5lvzQy4Ms2+gpn1PelfPfXua7wIqw86jufflhE5af04kCFZdRAQldUgPy4Nfhl1JEq0Ls
hX5ZcNeAlrgi97X7P3cZtTlxaDv6kEl0HSP105lym9v63TLpsTYaXT0kURZzOSmHYxG435NWyAID
hcVOdx6wqCmjf+C8edINBxhnrt4wVOz1glMr2xt7HKmIgbQ6Gi+U5b5+CJzk6hgKy40GPmsQWtqC
phg5qLUD553kB9sXr6/2Gjjex5wYYHKaaj170b8u85iutUCevOnQWlynlttvUhrrUvony7YOVsxU
VFU7S43POgnYpEfulNPimjCN4KKVv5Ud+bO5trjwUr3N3K25lwWhwRK/jRNVz/MYn3RXfVSq+ygb
bazGuAPyZ0qLYXRbXts5zkBs24wXu+gxMatnBnBoCMOH64h75uMChEz/EI/FLWm9lw4AC5d0C+cF
a6l31LMuo6XpTP/mgb1PffJxIe7NwPa8fQkYN6U3cyPIxu7CVjwKCmmtGccxhhtkfKO6a4fzDcA5
7ORVAd2+PdCsk2xm2+ZGXDj+xnIRRes8HUmPgpAzw4Qc8kinAey2YZb7TpcHzqYUDnKYaepbj1eK
Chf9MGV06Y1iQ5AJkJ/8Y035JZYgWuwan8HYohx5qBuzP7zgdXQeZS0tRj815992PiU4kom+RWfL
ZUCqDOsW4grN4W92AePiCEf8bCb5Gizwt4d1s+vCD+Kh+EaYyFR2+dAL5+Lw6hkZ1PpBxnc53xzN
2LCuKJ7sOYvhmYO3Hz81bAh69l4oMz16Deb9iZ2W+SEljPapF9ae6fOfEN8Y9Rl7MfAazQaOqRTr
Yb+S7YaeyUuXtdt+xs0csId0QLOgEYATArJW4lcRINcF+ADbJko7iLbYyZp9qZybWztzk/HH5Fcp
46X2s4uSokTdwgjA7CEUI42SOcBBC+YUybChtGEacUQfWTPY7hpzlXox/BbD2gs0i6FgBhFRmkDf
YYxLMWtpko6JCLBpshcXM+m96au08c4Z6WLm4EdamSZEJjhfhrbuA6uZmoVX34yjh8RovJVnddcI
vhMRJqfbedCCnNSCekwPOIOA3LafHN5KkROSc8jfPNf7WwZcjznS9llaw/bg26lHD7D9cK/S7uY4
JSaBZjpLS+26bqJcGa+fE2/TNqKrrYLZIXtNalMy7zTmOL6Q8L7m0wLG6hhdJgrPW/D/KWSQbFi1
bT1XTfbsDQNav4PCZisSIV0x01oJHfX/DVQW4jJI8a4GHHr2yL7Va6c8o9U9GFn0Y7VcipMI8c4S
ANsTNLY8MHfaoqqnGYiTZgC31m5MUCua1Lh4BOI7m8GwcaXmihW/i6S8uXZ8agr5jZcBI0VHQNgW
UXQaVNPuiZJuROChmUNPvaYUlNMf3QJVgpRI+rho3X1UUpuJ4l5tS1Bh91FI/2oTHkAAw4W1r3K9
ADHiYteXXC8I4TxLtj3tWK92K74YnBAkycx6KyWbBnPU5yS3fFKcJkP6EV4qRqZDW8Gbn8EwBGhv
FQn3JtjGFtW10P63Kq5fk8a95VVzJwvpsP7wiU5pe7IL90nzG/SiZg+dDi5LJaMcovPwHtFE5E8w
NiJrK0drMwQ5oqE4LpPD1rb2OA4eApLX0TDeoNc9AhNeHK0V8QRiIgWl5RHR49QEQkoJUYUzF0+F
jAghYSckHwEPCWMcleflW8crd1MhLLiGtxOBszES9cxp5QdR8BthkZVfLjG5HMF7GoN3QYh27QKQ
BtoPDrLp/F1hJN+RKJfiiIrhdPSF6f8cA2IhbOk+DKm9rcnkFi3aRtzKs8TOXoTpxc5yQn7jm6+q
o8ONmAgr9SCCWUJDu45kQfTC+5nNumBsEXwHqnoPpfXgDvNHwR9Q2Ga2pWeV6jkfnC+ntXgMHmx0
w5Gxk87sOxSxfR3aYK4N3EnTBacas3nMn1ULY9uzVEP8nPMotJGKpVfnPsd+23KY+IxnhmTrJO9e
+H3OxZw/9bl+o8f15DUTxTfsxYFZ/EDx5k3snmQTneu+uUMTAWTrF8eUicujZ+OWaabA4YgO987i
9xa6DlD+GRcSzCpYB9kei/mhccvz1M1cYXWNSI3kiUBo73hnf0iMlVlhvM0z8NFxXBqjymQ8B3P2
YbVhu5V9/Bz7yVG742Po2o+dnM5hRwLLCFBCK0UF4mhQdREIDCf+cC2d7Fh3PWWiA7XXY0XWTVhW
BF87wC20uAQnMEsErQ0KHHEjLV96ucltFR/T1L1Iu9vVSfmoffLoVi/+hvN4CGrnjwyYRtct93gM
D8/JmL5bVOY2FgO0emhfnCFABi3sr0GIo0E1uhy9f2bVXY3W+xlEsc+c5jJVLdUvTPMZENwVuKi1
Debtwa99wXGsuTmM+3lwaQQqspgIcSSOo/Z2VtlYu6qfmJIXY34Z8EP3yn2O0u4yK26hU1U8LPzM
yKmPc1Uc3CyBMivTzYIuNVLr2TUoszB7l3Jx9u8odBB/MUnj/nuxivaHPFG9jk33pwowMlRARQD3
7NzQudU0awUe6lMsXdg94Y+dD/8qi1uHDobXgiNXUAhvD2Mm3eYB9+AkTf7W3sAW3z+5NbUsGQ7G
DhIRjmv/0Pb2pYw5LZf2giGMvob/SDqvJUl1LIp+ERF4wWulz6wsb/tFUaYvVoDw8PWz1PN0Jyba
VSZIx+y9dp3iPGa5VI+PjPZ+G09am0I3X9WM3NIhRygJk+K1nRo6NDaExGLySQUJM7XG3U1KFLBT
GKoHo5l7RvV75oenIGD5FPnJEUm5NBvKp4kPUbvj0feGcxtLa0vUEtIRD9Bk037gDXsdcaWA+msg
2tnr0YW0YFyTW23jKdzEAC6qnmsz7vP3qvSvZZd5IBIaqEJWdQn4uDFCXsI2xJO2RN/x2h+8BqJT
stCopoA2W6d9DChW0eQUSMk7DrMkfq+zKHnO3OZ3kMFVTP2fvvHvXcXESQFo2tfD8u+DCRKUJf2S
fay9/unxNVliPE3x+Ieww5PTLXdcBFuOk0PBJ9irEkADOve7GmqSD/D5w6vEg5pK/IhqAAzm/siM
rLloutQZKyal730FJbUJ7tbA/3UsGLsy6y+hiYlV9S/yf1xOTX0cFCU0iV4XxxFsz+r2LfHIxCbo
ae9iHJkr8RO6KwAlHfyJbYbWMJH2U01wBzDSB8/8khil5VL87TDv4IcFXqindNqV7fS2xkb5385n
9KQbZx5fc9GfVkTpqarRk8ybNifiBEkHFZDiKB3FOu3cJX8GaejdtExamZkyKk1Rl4tYmBDwaLO0
IJhsXu6RcXlTP87T8GR+AbCtF7RcxBCguGQdua04XGWkd0MeHtNxeF7j5CzidMdORm7THnJpnjrU
UBkZfsiuWNpo690rFlCvEKaRDPipWXjiq0A3d0hQbvlVB40pQACOwZKZ2Zi8cFeASfQTgV4rQ2mN
rNBz9n5Y1f5OR5ZdEIi3NHJnBQuM/twhNi0oneyQ4ISy3klMyINPJEhKIdQtVAGOBm625e84PLP6
xelFL++xCtK3jjIVFeFxZZ40jILsOL8fhG3mBujQs/QC0tG0vUTYJr8F0hmPz1PmgQVDbgqb567O
fHUrkLCgkkyyVdu8YOS94cxvG7LHWKkL7Nx+0cUpF5sv2HCMRT9v8e4wxuLg1wUamtUttjapcSXe
8KRurnJy43rbdjSyW8tS6E+0wKe7leOcD2edhXb2pd2mFAbLEbA4KJKlj59kyYf4OyQhFGXcHca2
LGVlERlfNIkRD8UVQ5ttWU55f5csEfpVP6NfY/Xu5+JWRrN+hbXr+z9+6hTBV2CnzXJxZSDx7jdj
JUgBSmD8EbPmGSmj7op54yDVRM47zW4B2qSYcNFM7C9fiPYKuDucEQFTMsVCnAHgC4tgvNCOjrmb
jA4T/FYlywKcduCnyzN7RjwAP3w+Vk7NE007HnWPUmpPfkZVC+2LadCAoLZhSd2SpYv0DT0Pm0ie
EKJiSsYPbcPJVBUV3tTKGjX3Keid4gZGBansRWXBpdqJkMHg3zqt4nkbhp7v7MekocKOsTz6zz2G
5Yrhdhdj9mtLMKeHxcki8ozrpGJIicSh+BkTS6FpiN0BASJQCaHju6Kw+IjCMrUtpsiwxWCQdUHE
6LPs+1dhd8F01zbWHN+yIc14tEddOOsmiPgpDRq3t+Rnl3Q8GV9LxPJUb7Qmuf4nowC5mXgT0zYR
Ot/1Wd/Bpon4LsYGl0VncYQUZWmydlVh4X1eAhALD02Ji+yngULPOjlZHKOFigN7dTDPhUnFjTCj
h+kLAxNU9l9XSmQcm6QwD9tBRIDK4CKxpsSNMHdzArrCCvgrM/DrLZkCm8VixMjaTU2h9eN6oxPc
tohAmukZ3qVYGrNZ9jDJ+i7B7q/rUAUupohF2OPHOHC+v/edH2KM6gqLkNUu4QPC6jbbk+VuS8cn
hmejO2o7DCxuvdr8qDm+eIunpm7cl3Bx+u5pjca4nZEUhnN3hxfWSl7tGsjNkXd4BoacQKSRKCbZ
OM7BVnl81OC4lEMBTwmVilXceFO7otLEo1VxQEc1UJSJLBjdxH8yjMgrJut0kvc4xKv2rVe1g+ag
d9pFP4kkdqMvvx/ankqSMDhkPqvt5Ibultp19ydvGTt8z+vQEbXgcnNO+8CtBndhtYz87CfB0ha9
OWmj8g8Kemd6QLqupTxTqOMpTVLRsRybere0+C0zAtbuZghkEkOL6332m3NWtFW8F1lsj89L4Lm0
zpxWi9/uZCTVjE6DeXlK5APqjILBb0bS+GmYIJcOtCwa6zwTZH77ADzR7gq4am0ia/b8cxWPr4Oc
/f6xqJideVRb5CCS5NfPrh/jrKl9khYza8S7dpOnq2Le3o+MxQpSH+3CJXPNc4GKbFFupMaJyVmT
QBgO0P+N2xLBMpgzXaQKO2DHhvcNqaM3PU7uEhiuMmK6iIm5Y3nMhqFrVdZHNDuDPEhS7M03PlXe
XJxzi5+F9JOmHiFVcYQYJg2Irc4KHnoRJw16ONS1kOrcruveUxucG85dsJjiRyWhPWFUSAKP/KzE
zrtsT0/HyU86bjUBdbH1IhlfxAqcB6KQ0WknYmhyL3OsU1c62ER20aBhlEPSY2p0ZF6Rdp3ZZvea
YWMeCeTWwYIhtk99v/vpi0lWD709ChRlru3PSGhVgGs63nDo9NVLkwdL9UTcVbHoU901muHzYihT
i293jGGSuKruKyY4gAVnPYjw0mOixeQbRU6E6UnGPsvVG6cL17AlbCHye7ietQ01Ev1eziDE8gf4
p/vWL1LTlzqZyaWmR2zwOXitG0qFlRqkJWEyLOIXZ+c7DNsF50EOKh7I4dgfWOGxew+9UUr2wRaT
YjOJzmfxiN/Khqoyl2lCmqDui2U8dLSnXI+rXft9cAMv3KPG1VwrZvOYC9zkN07rWgHIyybtIrXt
E8e2UXrpBb7LsSEaN1j2xSJF0NxNIilprkcVBEmzmQd7afRWo2yYloOVTfHwd8bSIJjXYy/Ll2d7
nlHiXLwxBEb9YKV1W+qL9ERSt/uuZAB0LVobe86hI5kq+A+2mB04FzRkUwZoOrICX121E0QBwTAz
wKJ976oscnarE1YV4/kU4oxJxnWTMtEPWssFDvg+xl5WjejWQnj+KCSngZkcxcHa82+mBGzopYbI
gykE4TS3vy2AxuIOY/ocPc1Wg9IVfA4lBJsTaxqkd3ACP6WjdpHXjtnjSFoO79xq7KOjg31UjYn0
UNflorOK4eByticMAeM8oniHcIW09oaVd5pjIEC4vNTb0e3a9L/Un5KUAUiXNYyzVILpijFapZUr
NhhYE2tgAjNmHRu4tvZYCrXdDJhvx/azSB66oaxQetau3UzlNtRWXQXoHUse8cIifQWy/TiRvoqK
QsG2jSkI/IOqCfXJiBDVdnMHdCrLdnDLO5oEsmaBhuex481fc5+2w3cBR9SkpYTUX/AAsrUHkS+W
NO8+lKiT9S9uKGlyl7p0tqIDwgDW6kCjMEk2rKLxR/5nu1FXncS0YFXeeiHUj5oTrGqs97muSJBh
WlLWMOjjBttVbIGtdvZlhw/7PCZr0GK+sOA6rzpJgh8nJiRnB8YhAtjlkxcyh1ECxYHnu6myh8wO
lP2OW2HBBMnGfnWfUrfyFnHqZA4xA6OaM7REC88Yr+eDhV+xObRDXxMvT8HXcxQHYy3qe2SVqfzD
QQLChyDFsou/PfaDmIbEkv1te2vsMXjyigfrJWT70Ua/2BAkKzGIrGTNoDQuJYyrUsRN+pY1wwBM
qQrDaCJLMUzsCT2G5eddil136TCu6aFss0ct02z97kPtR+sB05HjC0xeDm7yLYzllDWFKxvPv0en
npXjjgquRpIK0twldjZNp4EJQQeokXjwRmJlGIIOYXTLkKs/2gnbL+skZ1Uj50hH3cv/MgQDwr0Z
OQyBvzEh81Jm4pGc9o0eei87JW0TiPFIPeBZ9saHXN5fq4wtyrbXMJDKE+bYTjy40HjHT21rQZ5t
kSXTm2XDpCNJ2J3GVO28TggU87Eeo1dZATH9k2d+wo2Eey4h/rdRArQQY/G65uIG2zNEP/HkJAVC
w5iRKrUXNFR2xriDOMlIR9U+42Ul/1mBwjoX6j7AZlm/563TOz7zCzP33WSLIwhdE5QXKXistRgs
Sg9cIUm84T8sn5EULhEHBIoxi5iweGJNSG8z2Pb8PMML5fRvZCXzZ4KeZtGwtF6GDhGuE2hR72oR
qPGXcivJPpSTV+v3gFUIQV8tYp4zJm2J192C8E6lR2xnbgkbdluELuq0lJKAzjwiU5PFMYMukodd
wsGWTwtfoRsCk2RZzvh/zYNEgSuF+4McOajU8ODQzQkEdHbqu1+UrK76T7ZArmCS86LPSKoTW2Jf
GzAysphkMdsj2Jr4TgrvQMHpj3/zEU3QyFCbT+pz9XS39xCNgj4n5tH5DNhZtPRkOo7Zosw41v03
yxF0fBtHBgUC6hRkCsyfAYthxOkVFw1W1RIuAyTYoW6UvOO71mW5IeFbsqwK50VVf3OmjcAnKCWY
EY2u7SH9XbPZbRiqLLFDbzkjy+StWPgs0UziCI4ycn5bd1XnRa1Rf448oFwPPpwTfEiJQgR0l1oL
WJnJW20s6Tld+tLT3dVNoE8Oynr4j75LcYbv1XJH9zyEujEe9dlnMA4ORlWQdtK+UsZLFC7YJNyy
57HZ8klM4Rf3S0KosL0of7iWa+hjN5JVYb7l3JdLNgJwyqGjoVqgG+nAy5Vg8DKZNH/DzpLYawfH
pO75qqoTNmR45PAjZdFiLIhZFtf6psm6qnQoyChjwssMWkfnF7fgiUS87rEJxX9doZ76TiLYP2Qh
+Wmov/l4pxEvAzPU4pwmyQrSxsdXCReBzXkvB55Sl85gz0/Da8ArTwhuuOOfZhd3pS4aLzrWIw7T
1wjbOQZO3UeO92cpQpuarBO5A8Fzzt2UuUs1cbg7DbbZTd7J5T6BqZN2oNNaBN2EM6JUIvk+JRIu
imIGH0fVgj7XNxFKCJNn7oJMfp1oNFf6dkh2cQ1zakmsgFQHQs0Yv3QIhpfbqiabC0ZEJxFFov6u
qv4RUEhEToTDnJ8nnDlpEl/8MM/Tw9L50fK3iYShPfCm5fGxyJo8Qn2czHlRn0Nph/Y17FogTxtm
i1MOZIzNrpI3qlOj9Yvl2uYArNPcJzyHbqUGvSKJiMCxnedolG/GOp08ZNYefz0mB+iLd6DPKQHD
lB71IU9GWT2mDKrmL5zxprWRU2gTlSiyel0o7Ukcjb4JlBj7R/YfjSZuVS2q3CZthjbxhi+iyGd2
VWUV/46uGrBKsVRxFdzikTHPQ8NV4gkzXRmSv82kM/9jHkFPLFjTx2n5RHcqo9ciWHuBIqGxQxXy
sSc6vCfxdxafS5V1CxAXqvzW/+TElHAG6Mm8cGD4pJIuBuAYsxQJvBE07Y0gsHH+KcKC9vRKIM/a
IOddRDz95ewhJA2KYJ78lJPMKKiiQBaieSbsIfV/R+nrkgQNa6Qhj5LItu/jTkSjBRkySshrr2y/
aW2m+kjw4R8VwWg0KaBfjH0b7D9jnhVVkKCIGkAU9La3dhQbVsfliVKMJOwbEZR2zkAvCGeVbnpn
UdzZqbA1QrXSTib9nNOzFnyce/Zj5IBEMVHoEnFx4jHwfm3dIZuApwdA8j8snwX/hBm87HVyqC2n
rO99mefNY9uWiz6kdtpBY6lHeFRUaH4NCnth939VTdthJZmRP+PmK/Am6h/NZZvfYcdubKrAWjvL
g++GOcsDpnpdS9omaRsoZEpUK4S9uo2fPLI5CYP/rKQfMkGOU0Rfhb6rmia9qx0/nJtt0uMAYbDV
WYqscNbVrLu3dsNNgQNyKhFzq6G000ufpG6KgTfFrUnm3/QSFnS0GzSURXWArEj+yrqKId7MWU2d
ycSpyW69WHjeKahS/KkEClnDJicdg+KAMQqE/5lRDT6AMvstW6iUDeEMHnHKVXl1XOWdF9bCV4zw
8LDDgnrcK8LylmowfNAZ3n1Htqn5WoOaaWffhlfh92CpV0G87I03t9XDoGCwNgktAl4ZXHk6KnGQ
4HIDeNH75bzPnJksQR0s975feWYgyHCw86G22KHsTp2517cpg4573aQkVAh35mvoz73ER0DHtG6L
uiYCt/F7jxRlDpVTUrrlf2mQpXsvhhXbyr6/CyfJ20YboH86ZvaHkcb+q+xYasOSFayIXCzo5c7W
UXxX/rNwVSp8HENnPiutwu9uou+tE7YKtCfpFqgN+vIhs29bgKHXyKnbLxdjAZOfchwlL4OLm49d
MDPjialFnNaAUNus+5yYbr2sTPN2YIPKE02phug+5P0WaWH56CNeg6mJf+eg8vK1bhe5D4K5P3lg
rmEtKVSsLNrv047Gk0ig9IgciK2vjb2NnGz71udwYaBVensK63mX5Wt/bfIOw+0SsddKdfcG1Mp7
8DXqHTk6+QYBFc6k0WpIoPVbmFWwXsxM+K+1KnVY1nFGJKqISRBzYj3x23zmBSYEobimBaID2//I
FKoVMcELQmV36mIwmLjDI8Ik3DG/1X2Nrztm0cTBQaTrahI5E6ROIPZZHWP/9P45Lgeq0DpwtyBU
d34t6C1rbGefqIkv6ZpipxLznzSInsaWViP16WNBBYvsknnqKMEhsljFaVe/1IAPjNx6tNsrpuHP
uiTIq4yqk9mHDrokSDiARwjpbaYEl8R3ZrI4SsaGQw56BA8G0Aq+XtYkRdXcCyKgByekl4x6Gvrl
NktYUFojPPGWJEQgAXJ5zAIcYaBYo5SfoekO/riako/RkVyB/jnhr6NX/HwshwENDn6IBc7aqmG5
+lhU1oycYu5gJL0HWpQne4H10MbWIVh8wD7TNpf6v7bCHChJ3SDyA3ddsb74WXwwye1uTlCYTyJe
wMSmTydEwnQiaXHbp+6uL5ojp/qzw34FHggxSj3b7WknLHdHHpuJup6ujl0/FO28LXhJFvtvtn6l
CoEZ2A/ypbepU+1cXbxW7L9QMS9kHbtwLb1jEFcHyTfLgG5fu7+JRI/p2Fu3Zutego5s0DKun5zH
W5W1d2JAGaGBetckphiDl+1ER5pS2l4xLDjY8dE175MpgQlix/SCAGBuH3wb3xJSvK3oy+MCkh74
k4HEud4zFCniD9f83SI8mAZsw+V7INng0Dqs7LURBzXftftnSoNd3kangowm2yUGal5tXsp4/h2F
UJu+C648jNcsnAhEdW8dm+ihdT1wDt56c3xxLefOaDSTkpsEOsxF9PhnXJLP+wifVLWG72TefrYd
ycpgJeSCc997r5fs6M/9oYcbrYb8gNqVSiN48cDw15P75iTVK+cvKGFN8MrygdH7JGN7N3oC5SOP
MiMxVGbImy0YULAGJrhXTjJtVmZfg+9+1EPxouLoxfxCI8+NlIDm42GEL7bp7B+ZKDP5+SJ+Y9uo
L7I5jxbwYwVlJGG3iI4f9HG2Cz37pokRLIjhaS2+css9w6U8NGr+ZaB4hOD3ONSva2TvejVd0io7
SVbOhGvLKNiGcrnMbKPm0PuIjVrTqcTNmBBoFYdU+KPF6L79tJf4irX1kjnNT9tMiPwCE25xGzb8
MCG/eE5dku1SNlPrsVpJ6SRnurQVOT8w7ia+M2f6DVH+N8QOlYriEdWqV2Cl7sm3CEj8xCCNsz07
qkAhepy/6qXkwBs3rZ4PKL4eMjynHlAGnsaGLB6n/RjNp84BBCIOdH7NvMBhJVzIc58RhVjkbxWy
g6Cb7xnyPdl2cBeraNdpaxcsRHIjYGTmsunz5mCW/h6gDjsc7pGRfREOQ3KfODS8azPyvpSpWllx
oilxm/FSGQQDrHL0rPE1Ykrse98GDOR78Rbt8zZuc7aX7V2C+Tbzasj8SByrX3ta93ERPDrQ4MMs
Qvbab0c+tbz+Jtb9kgz4K9g0MNm7Ddty08IS0mI5J3l2SEm0MFJNqIxX5pA3Q2gdvADkXQ3HHO1a
k0UHc2DMHN+6+M/rOhzFPocK2nSeFQYTbCR08dK6+hqQoWPZwZFB1tYczZpEbeabSz/cL3BTvSzc
26MDMLra8qaea13/e74yGCFssz7Mzz4ghzNAEwCUZEtzNnI6uDLctHX24oAqt2fOScyFjnG+8paa
zzyf9S21ODzX+CSy4Im+++RxLNAvIJFcrpUTGiLjFp09vZKzQ9ayxe9zYs57bBPrz5TE27zBrMTZ
B978RQY51hN7M5DH67jN2aFbilk4gbQavlENXqLMeV+xi/KPNKQmvuyFvrw+cV7uSvKDsOad+bz3
wioI5AWlHgUH9njI6wU4t5m9AytWRW/EVwUu+CmcPXQGzjERCWhbPA38eT2HHJl9l8B2AR0SNsru
0HwnC8gI8/VqFrCuQRjn7Cb8H7a6pzD6XrGwaKwuDSN//oSXMBsf/SF91nZ0WyUw7lnJUz7cjNHE
alkeVovTZmbrCoQF59HJnuKt+d/RmJ9tDpIubPa4zzumFnPqbQqf9h81RTTDIcK7hnAEbUK18aw3
+AR3QkcHc6aZM6toIkhXKFm5wikG+NvjdyGmXUu3UUSrIcB8KtlvS+SCJe+nO4Cd5Pgwt5VVf5v6
oeihb01Ve04c76jxWprP2vNAOeaQCye3fnJEiwEltw8Os82bwccJrbnUEo1Yxs0a1JpT8KJKFjVD
eB27ZS9WiNE6H/DUOv52zCS339KkR90Przk/TFQuu0DxbVnWU0SG+uqpgx+7VwUeOwBu74o7hkTb
itoig4YdROhc0e4O4DWsXB0cQoFN3aFUtmF8CcjTPUxLdam6YGNeuMVasDemzOjyNKEhWULBhD2+
8xvvYBQEVdFdo0nirsL3za08j8tpGuszOsw3y/2W1M1d63ChYk2qGeRgFwzH5WxgBPWE31eXLDo5
rT0emnZWZLIjpeLvpkLmEEYYOpXxV0AAws3IF0s+zJWVD6uZa0jBGqfjvgn9i7ld+mww6338Toz5
e3Tp6AErK3xcFh89UnbyF/+jbpPHEj/pSjeRjeq8CmoUjAIXG6l73iI2N391IpMPlp1HB2Um46j8
s7Tjg7lVZswCbt7d9rU5yfUuSP9YZX51eckNjZup6db4jczPZp57svIOUf7Mhmcf8nBWwfBiPmF2
LVfPX++p9w9dZf3JezJsFYz8Lqqf0iR+MqZh8+iyQrrpyEFwYnL5RLM3p2nNCQ+b+k4AzTA/WbpG
2UaXLKC0cyoJ3PCL+Q/yIF6XnkuNWcwEMEuBNnU4kir7DRPZPam/+6LD2IiG3YbyaFUQn73lue8X
HEPVVTcQEmXh7AvsKvaAxQCLHWuOYVcC9/E6csSJSDO+uzlAKEoVGYDPmcS465BgiTI+1dH4CNRn
PyVEcUTwOptgq1EhmopW+uHRTunJMS85q94a/1CQ4mC0m9s1JyS5Ls8LH78VMhGmXJiYxCGIII0Y
oxOZBFGWxvDe+ttoYlBsvpe0H+kO+dTNH+egrFlGzL1BGp9VMz53EdEclFFWAKhS1t8NhW7biccs
y57N6WAuzcCLH1o+tQbRB1OYh270tv00nmMqjpG1BzNABBzRmehlCqjiFbj2ichkaOrrNhi8/exK
kH4woAgxmGf3ogzXBAk96//9gi8+oKFDosrR1+4yvu9Glme+hYfcQPXdX3MFg4I4GgcicZj/au1F
V7d6hKPAicsm66acYS6achvTm+RaX1X/6XM9tUN2HRTyJB4pKIOwJQ0pojgINYC6z0+5Ki4W8ntN
xRZ43+SxQ/QM71pETHlZX5vqc+glpgpB30vCDrHoe5WunzqS+4VzM1bdzmaUY8odc242ucFuAyPg
WidvDkIGOvcxuhsLyuTY2+h1OcSp9dwW+TVcMwKJSNJqRQ4kj4BvLFAl55KcvcvCFTbjCzRGCpHk
ZxKdzl40nbPJDHIS9peMf1Ed3JWmviOa0JQ/ftxfzJdsDItZMR8gpG0SZrnmoCyVfmyz6UOu8Q6l
/pkrh+xJ92uEYDBE410tvZO5l/uyfEccYKgPbEmeTV0C9eO/lhnqMFFoLh10x+rVpu73rbcy4jNJ
Ia4HPizg8c0cZA0Il7Fn98CfCKbKfMFhH9+ak4VV6ZnRzF8bLRvag725S7ELEXdCkjUdDhLNW5WO
X2PoTgcBBmUoy0/LEGN4StmtnkyLEal6Pxc9MmOBWBDYsVfNbG+RxdBwEne/bwuMKgCdiHYkEAUm
W52AvWtYhoADok+PZHVuavyvtnftKQlYJ8Lmzn790aGC6phErgfOgoQiEm7TXgzeuR2MOh6pN/i8
R3P4DzXpqvzXtJZDsl5qtJQQgP+9LhlhzyBTL+a1Zjt8YqeJZsjFmNj6z5Lrve0XwnTinanYF+BI
DqeMed+ZSj04uIBvuphbzVOYf2S3T3S/H3FAMrvcDl10O0bXlm7K+CSTlpE2+WqhRlJfFN8RlE1f
1AcH2qcjSJCY78oweJ7X8KR5f5VNeMiq9tHo7dIw2JuGz1/mjUuXpvri0rJFiujtWBme5hEjEqY9
v0L0XFbMn5N9nOl7CziBudF64MUDP7BQd6YMzHlOcxR7IRVjOdC1Eta65VreNBz5TpH9xzJzby5e
87SIHJIh32qPrtE8o1n3Fqh+pwJazFTAKfe25s9z6SNCuiStcWfyjqJEvy1meUWszftdHWMxMiTz
jyH2QRZwt4JMpLh80VCfzKPAouPdHBcFb7+wH2szbJP9HvK6qX7GdtxbjoPLmegVxF6EzPTRtSGZ
pdbdD9GkFDXBIQNikw7rhTfm0DEP1Qi7hWR0wvFBTbCv0vnOwA8qSq7SKo92EKAp93bm1xG+u03Q
89sh6kF1b14J/hK7d8+u0pTiwBF4ufBO3xepBZ0834QsnSussSYoFsQKiWG1xYMTcpetr9TfTjk9
QEKmxau2XpOzR0y3IcFvzM6IFTYgGcOjSo2Qw5/FqznXVBYfeZZ5ECLp/Omq6UH1wTXIUbzUV1Pm
mmuUxSh2XPCV5pOmOlxhwmF6YgBzqYuFn0J4PJNy+cbOco5SPEyKz5KHw/y43OOnYIruGNUBzHQJ
ODTfdPl3YvBSOpzY7VNdTTtrdW7t+NGpsgMVIY8foUNgHP8VKd0cklP741HyW+2dOTuHPnxanXxn
qn6LI7HhCWza6a2liyAo7Ejq5iF14xfCXvhXu7ybXIV8yOZcdmk8CLAwTU3YLZ+mybTU8mz+KPPS
mcpIUrJUzNZMOUUFWGRAzrRwWUh0dzQp+zafWK5KFhtlclaMfNpI3bMuxTQltnbxhfD9zMWU0fRa
wr8g8Lia9ih2idkN1dYzsFeExOvq/PXp4lEY//hWt+FTicvqaI5XZ22v5O1wNMbtiQv6nHHXQr1n
CdseIrKBVGd/+FiiY07BGFxLyo75JmCcFgCcaqqY/dHq/oTx+pSjwxEti4/6mrrWQwofMQv0k+Ky
ZTl0Mt8D69A/hQxI1knPs5t/ChgaJRJBFsgHSZVonOE8deGVU2i3JOrDzBxonlMnvti5vDUHgjmC
bREwe2weApmTicKRp03VIdc9k4QSvqAZMLCMOOB0OYJ2OuXJ8uER0sbK6J516JNpwJqSnpXvhSJh
77qawVRx78cV8qaIXmG+mdTy3rvowRlpzGq9T9X4TVLvoZ8Q6aVCXfy4pg4LzpVnXTT3baz1Nl2z
d1NNIVgBvdOrf90xuljTuYfYFW7qbDwMtXokDviJ/z/k82IaHY/j7cS/aeDvQ7vz5MV6HzER4ZkA
LXgsSqiG2AMA5QFTWOVPbqzgvKBdS1FKwd2qomB/HKhHwX5EB459mwbxEakNi670amfJdeirb+ZR
x1D/f0whOSSNecvMBLs1+hvSUTR2TxVd3lOo/3VneXYiFuIZJX7cdQ9Nox245uJctOuDckdna87b
Ohp+nCS7okw5e3AKZCyew3o4dxK9EvjUQ84Mgtni1lPWvRktmgKwHNWRrQ0ojZmxmpTwn12d3BHC
/RNJVvdIcDlUuzedssvpO9aS9uzdm0mN0wVbU05hgiURxeMqVMfVqdHdYQT2Yg8zgQZHnl8ks8wb
Rui7hcNjqV3ixYo/LIDOUTQ8sVq6iWzvUccWt3r3r2AboAu3InkzZ6Frt+9xjS+bydNEE5jCnzEF
SOoF94Nsfk0bPnFfsqp5cPvhDsodSWu856qsdwS1bNGHnruCpX9kVR6rpP7dlMde6d4jWLzl8LjO
U/5bWek9RIxb/roDk6JPlpfbkBECUKFfQfflu9OfKkgJvbX9/5a8e4x4jyvP7Y+YP8kqJDIWf8tt
b6v3asKnGYijLpb7QC/cJqRuxwHPoSz/fWiI8y5OE5xickrt7BII8djl4cUqxlfEmFc2sl8TqNx/
PfeEYYwQMq4LUwz8u6jheBIn/2D3zQWA0rIn4ekVkuBbiF5wM7jrE1PGbWF5WN+Ki9MSiclk3qWH
7pEWmvGH56UkcJbHkYbWoFsLSu6hB+pumSEUN1WaTz9OT16cmedx/oM5KGJmeU2AcnyxL3GCs0Yg
h7nxggDnrXzKGvysPfVPrhG5WsBrVbB3nGTXNUhWIn4PEtyHrlteCDDjqaFQFXOdP1ox/huIF9d2
MLiSwP/JLP/YDRLfZGzdYBm8ravqVs75xzRCLOrZKfgRf2ydku3kXSjxT1h8/h0mITZ58xKGOns1
HVU5uU8JT4vS5FGwp37oh+kFmG+IuL+7MzMl7FPMCGhNTW+ElJW9iv0EDo63Ra3M17kCghBCX8S9
3AzVXxqIb6slIqmu/oxLfoSMBzVXs7yMAephRb9MoXfbcpgNbiduGmyfQDSbQ9KPf62we83i/laG
3l3AKGiK4v1CTydK7xEn3QH95848ObUA0ux34urZi9hNtfNbh8VjnrXbPlYuSafrvccYcfofZ+fR
HDfSrem/cuNbD2KAhEvcmDsLsliOhGhEUaI2CBkK3nv8+nnQs6HQRFVELTrUUSElgMw8ac55TeBT
mSu3890GJfbX0Oyw/+biahjxj2xoNzapzr5zuBMax0AvAD+miJho6FpzGjFAG2qz6bgmYDyiCoJG
FfbkY/h1sISGj3b2tYyACgFA+Al267auGV4ZR/gDdek3mSi3cGpeeh+nL0tBmcms+91spIACkf7k
gRHSqvDLAJbvyu/JkuAiAgunbaLrMoALmea1x13RwRpYi94mJ/maZP1ralpzTgNR2ZrqMuLHIbcj
400amPYpA8Y5Yf47M8G1g2j4YuGJAgIGThL4jqsQyAAMN2gRWX1XjxTbwLchvVjmr6NVA5VOX3Kr
AkjUU8TMVAFUtMSHbQoSbDEl1fl5jbct54tlVtG+DCfI0qCDKHlY6nxzNp03u4AZEkiINfX4Q+dO
BTjZpLqh3tjdtBWj8WRr9bc5HzYfig1AtJzouzsDiVcl6zbA3Y4jDmW2E+8GNjNKziSLuA7PKeah
zFjamBY2ltKacUDRGp3nhlZtwDaJQBAt87+i1bvzTXXchGb6rWqTF6vDHRd3AmjwAFesCmUU1k/M
KXb89y0KnF1VIVwZsyUq1BR8xL4klBYoMNTSY7CHFINljag3CSLuYbw7Dpzpc67pu9GWz05H5tmB
46ql6KrY4lFHlxxM5h6PHDKXKd1ec2/JAmhtCUqANiZzydTAiWqPYES8jchKAG9xw5Uh2GFljk8Q
DjdU+NNnwDM7ja2CZALPDTaS4lubcYzKo7vRLh4EfjsNBgJxZ6KGBLt5IsHOHSbXKe157MUiuZu3
+7Dv77Eisa9AoB86/oGj69mNkoMnJ12cQh3bzvuq76FhFDVOv52PWXNGDC7FAfzCna8ouyEnozg4
KdKuwaGXHVER79Vk2OscrecnMvuwtjLjh5rjdK6MUPmcY0uOw/OzX4luub4x7A2zezFa/ceQoqTv
pACEOYK0ju/6MJlnPmtw5U9wtVOVO7Zls8LPRSdkvHAC36c4l3k9ULdZh6mD3nJdm1RbZ6I6s+cr
zjEPY9QFm9wqdvM/1FLxGiGXdchUeXRQniATH937nLg9ybFVWqgQkJyKLK42pLLxQiyvu2KmGbIa
oW5TXstaq+5QMn5pK6fdZQiVwfYObrGjSK7wNPoWal7KBkhltobDRy4BwfByG9VtBhgsKu60sfL3
gCjLJy4G0S4NA05pbeC2enGs1fAP65I1Z5DrJxlaN3WndfsgSe2jZtQvDWLPqIcoRzvBiE3Y4afM
D9+0zvo8qQqyD3C7ZyVF7G5eM69IUCws7zpFIP9e27gtEsku2cdtYJeflDp4nCVCKpm8ovO/D8v+
KUEyA1PA+9LwfuSCGzGmVCCePfUllvrzmGD81w421zANF5A5DiORIxYz7bHHBJRjoxoEef96UFE4
5TzzjJ06Jghcb9VmeuxN54GDBBlhw/g9lTPTv82eqrB9q4N+106IEYem1DeJM/UPcy258slnm2QR
WoYE0n7VWT8Yz9ekRWw2RtiLCy8e7coPLsZbadW4InL03xqj91BOwV0Ulo8sSgetqB9aKl1z/tam
HhSoSbbDMuCTIiZKgiLBWDy6Z09FSHZAZbYhg6iJx7FpfsFUQKhEf1PL4K6OkFHUQ50qr55sQOmB
uJEsNcEk9lies31QusFZ4zNpN8QU8UGKoRoPEhlLEhR7BfvpsR6P0Deu5yvZPFO6btx6fsXxBcda
LYGxPnJRGAP1c6EgM2By25vLIuB7sisMix5TSuOwK76MPgRtNvuop5aYxkm5r2fh+jYDnyd6f5t2
gRuL+Cat2tcsS37xZp8ri2MIHiSfhKki9dts6qb8E0U4IZE50Ib4gN71fdzpOE4VnDNiDajemNn6
rlTAJCv5QR2HJ3j84PX5VBPfXq88mvw5zG5FldhBk+Eq2u2HiTQbQWz0yLUFo4K8aHxnZwHHk+ZX
0VPOrcNAm7EzgAhQeKOYlzXywctUt9KbL2lLWQK4/jfF5Cw8UCbX2LNhU+y6DCaj0ewzB1jV2MJn
ABim32uWFiAk7x8kh5ZeIJlWSwdL1PYQzWeM+dWC2id/NvsjoNG293A8ui79eE7wOU8YO26DHFEO
m9tFGmHeFacIu/QR6x4MjJssMB5ZWylF2rMdFwQB9IzqEJeDWuUSm9k/gEXCq3F+xqSCxsDyroZs
ng09Qq1WN2CnYSTFweKbxbUq0/LgAdp6AR6B0XwfHIURw9dWv4Vj9FuJDZIasfbWRQnQM8XE16Qc
xVVYkGFWUnazOcJjETzoQt+LgjSFJgcycWqMeQWyrwGJck1/KiLrRzOUPynAfgs7suDgLu9D37au
oO+ad52WkWGcM0sYDOJ5U77kFcwRTbYsBgZ4ggZxMatsvk9CD66ABh0VLA0zETzixPtEksKD2BKa
iLAoJZfw6G3eQDGbSymHJGTRiiLdNWOyNWuzo6baf7FQObmOzai89iz0gDUb6jZooN+ZIb/VnKS9
NnUpcL4Cm4Nqb5WfOAI/Vmgckk1QmlmTCHDYfIadqvG7r1nTnKd+7LhpBh2HTdPq+03Xtp8a0d6L
vEMRDtYprLRnevkgwvLLkNhkdDpMyhyVbDEJxkTVvho1IOKGcoZjowEKxtDmOJR9jezqMzf1nQUD
tiPX7YUedQElealE+BQo0aENnaeRqtYYKDe1wv2vUgzWdjRMqeqhElPAAosM82DgoeyzQmSl+jlp
wJp5nf2YtKaLxO1D5lRHRQkOFFPdCZulGfrxCaXmF5hLCP54ueshq4l3mHUt/nFJC29ESyYK8N23
qDb34K4/ZZmNVlj+Y2L9by31tTclmT/1jo30zbTa55CqwlUIwaAT1ki9wvrkJeFuiCgz2yUKHJTL
ogTBsLz+UlXGn3/mmkzKm0bkNrLg6sOg60eno7QACra7troaU8PIg/iXfY/a6Jgmyl1ua8AQJngd
bZKSgQjyG3TWsyuutvcpNiEgn4dnDdf0K7X3f5cD1q56k1xDOeOTVeXFirNok4z6jxArZ1eSKET7
Ye9D3R+yHLwIhPRdZbfdtoPenfsgZi0hsFfMsts6l3+yjMRdGncqWV8Vxhb6mDkIFifqn/tCH3at
pr+kSfK7EEg6N6adMbEl1a8quIEHZtHrNljjQSLp37XfKAXcxbY4jGP0wKEneADW28IObl81b/jd
DMVWq1W8n7MDy+pR6ZFdAq6CoFoxsEFlNX5NvQ1iE0PS4aVFIeMqSDXjZ2EPyX0W+JCn+4nIlgrK
hxIUwAM2AfIYmMgcTrPQuxUnpCBlH2NflFSYdE2lucWdofrRF6P+J0I75rYKy+Q5QVniroTPFW8M
JOpAJnss07XWMqRmTNUDO5poes7wmrtpWh8zEpSGflXh7CZZhOb4KuO8AAoD/sbEgAOlex//G2kC
A7M97zPrfj87QSj3LIj9K9Y6FLCJ5m+GbuTHsZz8Z8VGPkCUChL7AbqYqOBElEJL5KlB6jr5S5NX
zZXWdsq3sbbMHQ6C/s7kTa4CxzowGJ9qJ0Wz1AJrAk4fniGaD9SyOeEZ0/grcHrq+RoarF/JpO5M
J/yult7bIAckm7iSQaS+CeBcalp767NKQ298ySkuRH19j+JoyWoejeyeFToYIeXHft/AxUXtYGuV
8X1mqOret+ofUNl/RaTIIaQ+4AT8Qu7vu1SGR44J+05TfiiOeG5T6HRFLc1bMTXpUwoh7xNvF37u
6u4JEy/kGROsCxIEwxwL3nqhdV8IkHRfcWKAPsDRlIQR1niewMfCCZG4JBPrcD6/Ug20XlGZfHR0
uOR5oes7/odCXuz8aLAp3iR9+xXkGYAoa/okjeo1YqY0Xfx1JFsG/+1FdHB9RborZbZLTOu7lKyJ
1ixNRToeISMwngmFBirW3QSKmw0Bj15LYBVAtVma450dcdPULfVmKKJPg0Avq+jhD0WdvG9MrJFx
DYoDrrOlmVrHTKjcsK0MRRkru/PDqsRN1Z7zd3qJZiupWR8p6hAHZeA9v7XWYUe3H/qkxLjAcFXP
h2YHLgVFFO3KqtUn5gmk+ti8sScufShJkQGNuHfZur0LqUh40XSsautzWGR3nVpuJFJegWQ5Uqvu
M1KLO1alQ2IWz6mVfR+H5skJxGsDDwrdEu0o69olV/mIvffBo696iaBJlybDg4n3E6fozLgayJnv
Za9tTCpe5EzMHcIj1CoreCVqqriNk3/LQG00EAg83IGnEvhUYfI6cOUbRWKlxl9HT//aRshTT/Q7
O/dekLndF2HImpKM90lsfbH94L6lk64Q5JhQo8GADEI38GTlWW3NZytA+JRrzhezU+XWUkoMrfkH
hfOcly2iMUVJlXzcykanMESKI07coVbvIXLvtFzeUdAk+y/VP5Gl7AeQYYAkmcIg70j+ciYmDVm0
5q2TeA5kieAGquC9VPK3TDGmu8jM2k3ckA6RzQGhgZ1pd4i5wcqmFlLCwfOqb7ZifDPG/pfTUGzX
MoSzq1n3vSFFL9VNhOooxOrZcS1/VrNgL8ZpjxLQowYQ/Bo7pIepQdWEklN2BQKa06EsC/QeTWiG
afg4GiAXA78m9zq6Smmi66lUvxMLOGOf7hMLEiGZNxBOqvdqVP2OnO03ltL7QOkArnl0nCI+Kwhl
j7jb5bgkIih/OxqU4Ocqs6FFKpfB6MC8oTrSeJSFQB5mPXocOqlU5BkT6h1AySyyUJmgwohBduR/
CQcqvWFb3SEF7rZygmzdQIetc8owYfUdFafpOhvkqxDW5wJryyvIAw+zvE8xqnBx05tewiKwC5K8
o4X9h7MjU/AlTNEBA9CNdYBCPUvSsWGM0mkuv8OExhOjqF8RDLmN4+45C0OQpcGtLMVPOdTfMtV+
Zgp/7VLKWIZng5xVWBlG+/7/d6hgCLIpm7VLnquxt/eQ9eyNraH7OhjVd6/OgAJEvQpgr6CgAlWS
hVH5Ola6gmcAcjvSQ4zzP//1v//v//k1/Lf/lj/kyYgU8n9lbfqQh1lT/89/zP/8F3Zs86+H3//z
H0VAvzNsaUuV33/9eILDyV/S/lfj9+qU4mh/NCs3sArXofhaNtqPi1q3nb9bj4xSi30O1EcE838H
iPtyPqFS0RX5r8seIP9+gFLmI2SmShyHEk2yqT2GFuJbeXJ3unnj496x7b+b1xU/jqwkEscunPSj
P0jEqVRnur6sdevv1snXW6QgSkHvcNdEkQKcAFDSyxqfB/zdwE4OGdR+LAQFtui1sJqnNrduL2t6
7q13TYe1gRBNgkmnAwlpH+R6ttch8N+cbn3u2w9mpK3/3bqipeiFxxVK4AlyLB1ZDDWubwbLAq/s
UW2F/nX6QWuDK/5+kK94qhdVsTj6dXuf9oYbVfmFPaT93TSik60YikAcjYSDde0pByXBdOr0e8/T
46MOWoSshahVJITUjnnq/SxEexOQVSEntbfhyZx5xkrfWIvAjRUWIke32yOavgkCxhi9stmdfv+V
JcdaxKyuIzUjIBXNEvhvGLDom2lMUHln3d+dfsL8lh/0kLUI206lppO1uXZMAunq2nQojP5Otz1K
DTmZu2A/7wmQNQ+nH7cyY61FHFN7IXMQmnNSELH8Ef1akhyVUoLiTzF1Cj6ffszamCwiutIgyaqR
XRx1NTfVDcq5GVDPZLI3l7U/P/ddWBu2SW0qr4qjpcV/kgzhP0wZz7y7NgfVR0OyiOohbiVZHsyv
zWi4lWkD5q3GKKC/y8rkuhQR2Ldux856TBTwzR7VmjRmm73sy+aXevdlfqmTz7fj8QhO6B4xcpS0
i/rMl60N/iLUnbjJLUMPR1DGCJBU2aZq4IQl8U2Je5/5cNkHLEJe7chg6Lo/Hm3iHVuPKtw2EkPs
062vBKS5CHYbxbRS1MpwtP0x3DWmHl53+qQfRqdpz8yttUcsY74pbbKVbX9sWRShcCM4MoovEJXj
M0O89oBFyDPCU8nW3HH1aUjO4rlao8htN59Od9FK7JmLEJe6F9eNVndYx4HwHZwBR78Ji5nTra+9
/Pz7u/kZdhqqK0bJyzeK79qNmW/DMSh3Vc3x/bJHLII7llFTmnrdHqMCvdOm0/YWBZ60iI+n21/r
oEV8R86QVn2ltUfLHCE+domCXhzKnqdb11aizFxEcIVsGVY0U3MMUsq+3naGPUUpuOh+k2fTDXxM
kHEAuuJtYUfXSjNdMx/g7qHQGwIEFhsVDOfpd1n70kXAS7iWuNtYKRp06pOuIilu5GeOy2tNL8Jc
8WsZd35VHqmDDTdcNrEz08dzYb6yKxqLMEcI2vQ6Cyp543ngt0OKm76P8BqUQ7SUQCzm/XdFx3Fe
xNI5M3ArX2Qs4h7nsEmYcVscMX61r3ITfVvZo9N70VAYi6CXmg0S2GZP97NJXhkNoMM0S53r062v
TTpjEfRZbXSRhq7IUcPMNx9/SO5GLectLpoHGTyKurn3Ajcfp00ZIuthH9DN2KTgxmu/2Ne6cTCo
ip5+l5UVwlisEC3Cl2nbsTdHU+nGMjl0nvZUzPq5p9v/ZxJ8sD8b8wC+W4KkUFV9jMz8ONNbVSRO
s3ZsrhEvrOS9M5oFFimGhQADCXg/xr8ZKQG0PacEuYADGj6oc2ddTN4El7c3gQwOhJzyjwXIi5Sn
4ydm5m1j6enUAsPWiZ6biV3nMPbTUH/BiEAls4nkVooIvENRlaKsKByeMmadg+K5OUXDDrK3Ue6A
55sgVQf9JwJUofWQFwUl86HIix1qhyEFox4B4g4WiypsjPFQW8NDtAmGOWub+BDpYtwzwFl/BRcY
hoCiewwefXwi4NP515PaZs33IRMR8N9p6g0PBnCAABmGy2PZ/UhL5DcweMtAaZ3p+Y8PRsZi4WwA
SuWmERvHJjcAZESiNMsbktd6cXPZAxZLJ2LjTe3Eo37UHRIXKCyO3KCUEU+Gy9pfrIf0b0ESLtCP
eBq26baF3r/lWjU0Z04na0vIYlG0iOoUkVRyCLqYxoc0UyOVdOmIqueZ8/tKcOmLhTHJYxRugKAd
sxAtLGhD+kBpturQgioiX7xc1E/6YikkjzjqOqJ6RzzW+nLTKHkP6LIy+uDMvWqlo/TFaghH2NDR
8JiOPvpgzaHOLJjCohDIupz+gnnd+2CN0BfrYZm0bY5QGqwADRdrFVsPFIbxmaihiWw8XVb3p58z
98hHz1ksdjb6bU1tqZTgOy19rqoUE5tOFDZp2zyAV1VK3NIyPFP9UAxnFvu1zpt/f7f+FVGgIyaV
j8fe05O9EQEDQwrmy+kPWptgixj3VLQpOossVTRmEeK7pqSIgnEYVJNOG1BrOf2YlUOSvoh0hE17
n+kkjpqJxcXQ1thNz5dTOKqOT3HMMR6c1ChfTz9tbTYs4j6IKyzzMjkcwUsph6gI8Y/vQzCGeW7f
yAs/aRH8SgoCs65JILaqgtQI1cLALappgI1qalirOuatiY7Q9vQnzQH/wcQTi4UAMKJXGGU1HA3I
a1MudTiQYKopNKF1VfuI6I6oKaua0A5oTDZnvnFl6onFwuBTOZ9GDdsZsBdxD/TIDv8EUVpflsMU
i2XB0GtE0EqWhaD1wuMUxyHAnjiIv57us5W5LRaLQp0NhqqleX+EaDy1V37eA6OE4DM91LCf7DPn
k7WnzL+/C0876aqgFWCUqToN29xv7Nes0aEdxKb6dPpD1oZhsQJAG4QyD8DpOGsCf42FSYxKMhXn
sr1rk2uxCAihV06KhDxl7+1gDCh+RZ16LFPF/oY/ufoUYnF47NpqdibNN6e/aS3tIhZLQlLqRjXK
cTgWTurGYYWHJhJoO1yBwC5SN8aRwDoMU31bdmCYlV6OmxwJy23sWW+nX2GtWxfLRGdaiKvXen9E
VmT4RRd7PYBs4C1nPvHDmQH0cbFCeBaqMjgHem6sR7F+20EQtzbSLLzgiGUDBbTTn7HymOXSMChJ
gR6JnIlZxYMBiRWYj/ZQJtMls8/R/7UIOBJCjV05ri8pUWlhh8suAjBnwufDnYHWF9PA0BHvxTJP
0knpNfCZb2LyP6ME6U5R/ylI65fTnfThWPOYxVjLCp32oCqla+VZ2bD31Ja4gt1kP59u/8ODAe0v
xpp8QoJ2iS7dTk1+Y6IKMxPyrtQS7NP6nyYuHGWR7U4/S5tf+l+bgaNri80AvuKkJlUqXYEOUamn
Nx1uhgpAXgR4v2hVs5kisrsUCMOkQ1oqPPPcD7dVHrvYDephmkynjulDTO2AIlgwlsObZKy2gDUf
Tn/byjj9c+F9t5pajgMqV0rblRTtb4Jk2plGVZ8JyLUPWGwIWB31wPoL5loJl60VnwuUU640qy43
lWl8Pv0Faw9Z7AdGJ4Yh9ZkJuAXghhUBQNLHcNgO+KpDn1fFJZsnozH34LueSgssTGqjnSdBS96s
LMvu96ScPUOtDcRiT+jgiwnDL2zXMhC2ybKXwSm+n+6hlQXrnx3h3ZtLG13KgMq6m0WQFnu9fBh9
kEgw3k+3vzYCi1i3ABQ0KRkYF5LXUcTiVtHHXZbbT1DDL8kp0vmLcLfsoLH8SEi3HbL2u5632kPo
jcH29AesLCbqIr4tZMenIeYDQqd+jCFGovT5RxT50xzTVFg+QTm/7EPURUwjXyAKD7lCF9loJECD
9NaPUu369HesDLQ6r/nvBrpHtVJAS7Hd0gS/ClchAQ/hxab5uYYA1ZzZQVZmqrqI6iR0ZAtuw3Zj
MzQfJ0/TrhPFlhd20CKc5ZSUkKS6eUFCsTvMhqvWL4Kb0x00d8QHC7m6iOEJkcLUk5A8HdWON2ag
7QDD/06zZtuLDNh+emYLXxuIRTBHeVBhD1FYWAJBwUmwt0/UHqW8Mttf9iGLXRylP87tNs5XMlI/
2w14tVj6P2c5hh74d25CoD/9oLXBXsR23NYlwq2W6ZJRkDD2m+hJLbP8TJ5irZ8WYQ1tQYgmzm23
xg8FMp5Zp684DuS/KT9iJ3rJJwhnEd2tVGs0s3XTNRIFdn5LRidBP+fMlPpnCfr3nBLOIqJj1IgH
2Ze2i0/ALVS/P0Err0XUw7a3nuxBd6cYAlfbgaMtfp/+og/vD45wFnHedrnwx8k23aLEasZrc2Re
QlT8J9sAy6Rqxq0W99mNQS36Jkv64Mykm7/ooy9dBr4IKhUME9GDytdnsHHo5Y1T3VwNslUPqhf/
Lmq8vSej8s+dVj+eflS+/l7Rci9GF9VKTddKMqrEKAfUeO5AZTgzNz6egMKZf3+3YgYISgtTqojh
6RPGRI1Qfjom9Cc/k/qZR6z12uITQjwHmNyG5RYj1mMYM+ydJr0fDXurI7Z9bXjNAUDmRTsAcip/
f48N7XrsJuQNOiSm0sEEnVzc+63xfHrirQyHI/5uPoHNXWqNMF21HmEdiVEn+9EXm9Otf3yOEM5y
rYmnBvmfkcH+QvUZeyolwIpTpo+m0x9OP2JtvBcLTqfoYIlTw3RR0WyuTGnX22mEXB7LLLhoAxNy
sdygUw/pSWNK9UMKqZEM0dZpfePMbFr5ALlYbcIuNARYbdZj/NG8HDGREaNTT73w5Zcri4PaQ4wu
iltbyPIXQQItOEE14qLel4sFpCqboOjyyXQR/lU3gTD0g9P3+HLoXnfmESszVC4C2gRfP4bWYLoa
fgMY3pVYA/qgO09/wMfnByEX4ZUIzTEH1AfdEg8XOLYuDr0Z+NzWtVqdslhwBjSmrYSCXAQaxa4q
1+KMB6HZp2Fzv5/q7AsIY5+lCf6Xn+zCYryu2tZCG7TemejypIay1dCDIT/2lNbOTDm8cNItAhNZ
XbXoMVnCzjhQoFXn6SGRYOHLtB4eT/fs2rxeBKYtyEUKTwh3bIo3YRj3GLnfD2X9err5lWnxL/Rp
3ViFJifhqkbYv/Z2Un/FzqX7eVnri6CsirgvVQfVtsGHe5/GuNZ0fTldNumWyFNDjVXNTBXDpf41
0zPsmf/2JisUxDy1+mWP/mWxYy/CU68mmap9ifhc2DczKudoZdPDZV20iEtomwnOSYHpNkqKA09v
JXtkRLvt6dZXZo89D/u7bTwMKk8zI1rPGISk8w5T3P9ps+z76ebXZs8i7FvTZPpYuel6qvJWRdEr
KeHPp5tee/NFoHsBOpAVFgMuvNQvWG1/kho2unjvvJxuf+3VF6HbTB62iEEo3CGbNdSDILzNHHRR
Lmt9EbWJF/R2ZBTChTnUXsWV0VzFInk73fjHGWtHLJGnYkBaHicOzfUtpdvI3EK6L97UAn+WRt8M
pUAx2dpOXf517OztOCRHa3bePP30lRV4CU3tOjHFQ5UbpMqTx6rBNFaEv3PoJ46OAPzpZ6wM/hKc
WrRczXG9EK6GkxPpeB1dA5AI6Jrp51ICK+O/BKQi5ln0ptIhs4KWzU6vMrR1WTnOrBhrHzD//i7u
JtCtaJ+Clw4s7bceJneKPf0i3/50Wf8swroKc+mQ/tZccM79qyoYBejz8jsc1O4SyAJzbBHalZBW
xYlHuKGqbqwsVq8TYuRM96zNoUVw5w1eX4gm6G41wT7EmQIfH/LEkooBUkeX9dEiwP0OxgBSq5qr
TsYDuehbTCK/APk/8wlr82cR4fhsRZ5f9poL3byGlpj1Ox8XizPH8ZXWl3DTrHRCB0tBjTwJZZR0
yH5EUXGmY9baXmzKuTUksa6VGpkL883xORPlxpntZq3pxSk5E71dlEGFT3iHIbQWKm9Fq+0uGs9/
wUurqgv1fhSujuLwBlhSvakMVPfDoDwHoVx7/UXUKinWPmXs666jY/VSWt+7qPl6+u3Xmp5/f7cg
FHrFUt30ws3rIblSMZfA21ttz/T7SjyZi2AdcbGrHJkI15R++qVIfRvpaLO9M0xRocKd/7nsIxZh
i5+3PUZ5K9zaQ0E/q3UNw5Wzl6C1LloE7FD2WG9OGotaA9WhGlGvx9P6TA+tNb4IV0NHJCkqSzZk
0mo3TtsV6CVnbxf1yxI1OmLV1/ngw13wD+ZVYLSHbhhfLmt7Ea1BEaY2YmVEqxMaKCCr9ZXpO5dl
McUSHco92TfCdr4tdzqWlqP5J5t1JU+/+sqsXGJDO4SqrCkSYAEBPx4aPf9uSmxPs7EMr9XwXC1t
Zatdwj792g/9QCtU18yka4T61mhR0ArOgbbXml8EbmDaNXR7jF3aSiLwrgyz3av6qYqMzeleWpmZ
S3Bjj5Z+CeoY4cYxwMupz8fhtmkH7/my5hcxmzaGJ41epXvawohu6rLWUeNoS+eyNcFYRG2SO12C
vZNK6iJwUHC08VPdhwUa4hf2zyJyc5IHeut4uKNoVVFfN2oZJjs4myh0XNRDS9hCZqBR4GvZ5HZm
8qvVgx/lYF+2jS8RC03u9JWc6slN6xLxCQwcb1pFH870zMrUXGIyoaB6QTw4ExivLLkRjSWuddbo
fZBN5zgpK5NzCcjMCq9BpJfJmUVKSN5Rt4jcs/eYeXv6IG++RGMCXHaQgtQmNzSNnk0F3F+ej3jx
9Fa9x09swF3D1FAkkeWmRwEKPGBs3bboH5HtiW2EMk2dxM9F02CJ3FRT3wAraU8uKpgIozV90B0j
1Mgvmwr6PIjvDwATyiMyCic31mSk7fu4NjBONfrIuuz9/8mYvXsAtShfnfJhcCOjY6EifXg7kJW7
uax35gnyrnVfVEHdJayyiVluS2F8LwtEmk63vXaf1RfHF18bmryIWUPUipRz4g9uiMP0jBlRk+A6
UGdNEjQLetv77MeK60c4LioXXgSXiNAeo8vChsvlNoHVdZtidhL+FFmF6M503VqYLlZIJUBVpx6J
IUXDhsmL9gm+3Ffi0rvmEt3l4HEc4Cs5uUk8/UktcRMOxh8kPh5Oj87K6y+xkQnu0oUpAl4fPYzt
ILBxjjAG/iwaJzpzl1p7xHyAeDe5Wq/LigLFIdfo6mlrFDU6pEihgSYa305/xMo6JuYnv3sCkhCw
aUue4JVNchNDlcKBGyfW062vvf8iONQ0LpzSSCe3Bae6jXBlvcI4EqJNG+dnumjlLCUWIdKjkyDq
JB5cRbTDZpgSZO/ELDXfgs04d8Va6yXxdy+NejC7t6WDGw81+vKYru8bSs+XlVCWyDdVqdDeG5IB
+Z7cLQn5zWBg5HR6CNZefXFKSISvOEgm965QAv8RUdF8R03lXDpnpfUlzk3JVDA1iTW6AJ+Vn5Oe
eV+tGpm1i959CWfLTWmkAE1HV0dM/ZpBrq7RrY4v65klkA1rTCNH2KdzjSnUtkqK90geaufm5crU
1xaB5RuTLrKgYVCTEofeChHOR10Ew2ttSfMcRHet++ff30WvJxFD77inuIlh17OGZoXwVXoGarHW
+CKy/Cao86H2WzePRPGQm2hzE8z9zWVjuwgp3egTywvLBqef3N+GTH8kAIdzGIu13l9sLX2hjQBe
rNotLf0QZ9OdDzQIz7czXbOy6CzBZbXuiGbKDdRsYu93HxbPZmYcdKP+5GTDy+n+WXnEEmFmpIPd
edyx3BYFEQt5wr5CpZ2CXdOrfy57xOIGraCq1/AhtasW3W1uj59C3ByLxjrE5XSOezi39cFJdgkw
w/AsMkWr8RldMm7rMsYl0QrEodOkcSfjEnks5LheIzUdtqe/6uNpq/1LAsTWEcS3psTVowLRR6za
d1MR2mem7dqwzL+/i7ik07hUB/QZkm7oQBcRUR2AZ8A6V97EUI3PLH1zYvCjflssH4nTFMPU6JUr
8kjuI3XCrScV5W7ULaxn2Nwy/xzcZCVWlhC30cp9LJrTykXo+K33OMnSdG41Z873az22WEb0LNbq
3DZKdxwwcvHE7MVVF1edE3/P7ezMsHw86EJdrCZN3DnoXRKQcVqgpN0pyCGzNJ5pfa2HFqtJbiq6
pygdg0GWRmnw5vOhDDtDOJ4Z7bXXX2zSmj4isJby+raQxSfd0TjH+8Z45h7vfDiXkNP7e87qNYos
ftNXLuihL9gzoOOMEm4c70IL574h3uJ6eGsOzeNFAbiEt9kQ7SYHs3s3k/EvkC2gGBEHv2jT1pZA
NruuWqvurNIFUIYoHnKLOwMpyYvGQXMW0Y0tou9ZSIm6IlJ/1KM/XiGWd1lKkRvm38MwIPQSzqlW
t2i88C6wZpsNOzbKH6e7/eNJqjnz3Hq3Mo3BYJuyH0pXr0VQXAW+haAB4MMYCR7csi9iIjnaEi82
OhOOYtIp3FwyQavRUa9tEBgbdH8zFwFfZ4t37LRRfRvdpdiRm8u+bhHgrYeBt+QqhBdFk27G2Pgz
QM/RjXMooI9XKW2JJFN7pKjrpCncKcNItre29lj81r3kzhfemUPDx0GuOYsgt7FtLp3MwCIowzl0
KD95aXCmiLIy9ksE2TgMo4LdS+GqvfwM3utJ1v3PsLTPgItW3nwJIasK+/9x9qXNbSNZtn+lo7+j
B5nIxBIxPREPC0mRkixTXsr8grBcLmyJfcevf+fSrmkZFsUJRXeFJVHCknn3e/Mce07VWN2NUfVl
shPwZWmiuaJzl56dPOAzua0MgOuCxb6667WRB3GVgfQRowcbMJa/LUxm5kp4ukQfamc0cIjNjiQI
OjCoVuNU7RWTdOkFVkYjk2V4ziXuFs3UN3mrHrI8ksFUz1/eJPvrCTVAFgMLXWOgnlJAanbaKiA0
J9cGuO/rN7i0v/Tz51tQzTaXINK9KyWYr7rOyG8iaX94/eKXlmfl/xG0tLENSoY7x9E2U7v4Wq+O
uR696ZANW8+9cVXmaQhk0bvUtE845AV+3jE5vv7oF4yCvfL7mZmHmKuZyztQbHyQyjwkIjn0HNgW
YZpdcc4vB8hsjaFYYpwYLZ8J4SqQsAGRm+uf0bQUvmXhAB9Qz4GmWVv9JwU4Wf/1t7qwIevJNsAP
CR0nN9UdQDtD2DoAcGtdKEFFOl/z0hdeylplFrFdzmHBneIOZfJdZABSflm+SC36MCf1pqsTH9nf
x9ff5oLsrmfdeMrjJLYNddcmLQuKBmVxDbDkbzNO6wG3KORT2qpZAbI0w+F0nEIDOpvBoisu4dI6
0RY9U7wlXeyw6XH5CfUCcORNy13b5hx0ym3jgSitABOGBJ43qJzftlorTc+EPRshKB7vkEl+aCye
gtlFe0sZy7bXZqqYl2EoLT4cwOyAUWnDSkA1llnTWxQdl189+pwkZmSByO8gigpQJCiq8IkQXvsr
I3svKjuuv7JTwJet9Ck3kAnnwFLm5p89+CLhsneqKN8SGeMWKz8U5w1ylAjYYjx3NHCVT+nUe2E0
Ad72DduLG6wMlpWpvB+xDQco9btUdZ/M8Fp4eWl5VtFLhjOTXTG3w0FjVAYtgYu7NH8Y0XQIs+jx
9cd/0TLhCOkqUUnrJbVT0Q0HYDWDQ766zaXjDUK9TUDXVmmUTZEUTj0cpNTed8n0Xk3NlQiJgpXf
0nU8+SqIyYs4VGXUDAeTh39WcXeXKNAGy+kmmvJDChqJ1xfoRWOH26xCjYHxyJSAi8dEZvmISeok
Dq/EGJeuvLJESo1F39nAysid/F0UToGRO2+xOXjoleKGzJhUMQMl2Mkt5eZgNVjM/IpRePksFS6+
1lrUtmMR4uIpURg5Kv4wog3QgW3PIa6UNtloIAlum2mTqejKZl9aq5Uam6yZ9XiIskOPqr3b1iAq
S3l+rXl9QdGslQ4vkZUaIG6mq+uBVjh+qzvfF9A02Dx8U0sXq7ZSZgOAKFVoOTpgPeZHR2gfrT67
Mh5JuvqCJqxHcJPSHAsgEer7JK3C+9gogLhd1F+LIqn9uc7BjaAKcEjy1NoCEmi+ctcLW7KevTU6
vSgX4PnvFTjIixoooDz8+CadW4/ctllrpgynpEBHb37oDHXoUWC8Yq8vGLz1rG2qTTNoTWx9b6TT
ExBPbsu8uJub8NpI8qXNWGm1FlZmVERYFnDBvwc6K9FS3uv5APBU8JnlFijnp20Ul9dQYF/GPbBt
c6XrMCGYoed4oQ60kYueP4QVRhI0HJBeDHMrCvl5VNaDABZevExbjF29zcb8NpSLmCatQ6nvJ6F9
jbt528/OlQD9kmittN0JlZPbQIrZixQ5r8jYnVLzt9dl69L+r3S9bMQAfBOh77NS3S3SOPJE+2yi
yvH65S94JXOl5qDQsKPENvT9INJNMzUw7NGujRMc/yrvbPBNvn6bC2+xnslNRj4UssFbVCB1lnF0
sNPebVp55S0ubIBcJRPNYGhWUuPyzhL7AJy8QZ/rivt4Mf5GxLpy23pe8EExLBDYnmW46eMZUI0f
0/IHS3STXtnmS2+wcttGmGp1bHKIUJN90pj9Vz2OX9+29isN5zOI4JoEixPnRVBHFoZCcAwyM4PX
L3/pyennzxKUaO5jKaomP3SDJjyNmwyIhu21TPTS1VfOexGWOfYZ+luAygDfaQTuMsWiayNal8Ry
pbhxzIElAkiPvdOHX0wOouKp25bWNVyGC7ZVrnS3t+txMoBbBezFO/C5D92j1mleHH4GcGycfAN+
0BUDdEGL5UqLMXjggF0U0mPW5k0FnlxAK+975XzVdfZo2+ptWrye1XU00Lg7Zl8euAQnZ+JoWdDV
I6jNAarvvy5NF9RtDeiK+SWhA/kIb6K2Jjj6WFQfsHQl+KjNcDNV/fQ2v7qe3rXtJUlLcGIenMaw
3aawv9hDuwPnzdvczXqAN024GWpRzvZVOFbeYDtfjTR9Uz8Oee5KpYt0ChN70NIDTq6z8A/WutO1
Q40XYss1UCuQ83MnnHDpsWr3BuDopD54tTZuq2sIRBdUej20K23UzOy6X8Ao3fQ+On/pTbbYxhVX
cEGlxUqlJ40DeJU56WHo0zsc6/prqUAbqifT2yL79cxuJ5bMSsK0ADl9DgLAWUVAoI1A5vXpdQW4
tDorVQakxzBmeqsO4HPXdpkhe5AHRu0Vqb+wu+ux1ynKWke2GRhA0+qEJvhHI5UPlZXdT9a0e9ML
rMdelRbmCodulr2qpenOfNBdjun7t1185Y2XuhyQFuTL3gJ9eQ1OJ1vXrhXyLhjR9RBrjXOqGMHR
ioPNwo9K6oe8wznsmdv3TSw/6Cp/mxVdT7PqrW2XJU6CAFG8tp4KkbUgx0lBygVOrWsNhwtSZNDP
nznlcEhg1cBbfmgKWYBsKpoAXO5cOzx86eorpzwpTW9YZEEH8vK25OVfed7+8bYNXqnv2OoAwJcO
ms04drZBXcDyeDu+5fQWyncrf2xXtiFsTKAdSi7+FEW244n+xkuv1BYHEfSQTT1IqJdqvO3QQt9m
su6viP0FtV2P2QOxH0ziyIoPxdSWJ6fMQSeu9cBtcJVjYiwNJdrMuXKvCx6Yr0WnTbK0bmV8MPM/
nTl2G2sz6JtySr2oBeUYsAFe3+kL6raeyky6AYdcItzHwJw4bgLmW3P8w1TaXRz9+fotLsjpGpbQ
SYxwmbUxPZhj9SBl/N7W5DVrcenatHzPNMyIe61zIE37HuyjqpwSNxSxvLI2F5zYem54Bt8Hpvqx
Nna/uEWH0X6Ql2X49/V1uXR5ErNnz56iP985DBMdvYCTcfNuEikg9GqwLiVuDWdmXdHmSzdaKVyZ
STaHoGE86EWy4zFDw4L/sThv9MVrvMbM0rgKbR4fOpArgkgtNYM6DsvN66t0QenWg6s5n6yiUpU6
qDTBGN80gFRGgP7XlMtfbZhcK+ZdWiP6+bPNsJbK6YuqLQ+Wk6gdziLGfhyCmDPl3RtrSOshWQNY
RE4YO8mBp90Xa1Q7qzO31dJeEacLqrCeksVgspGDJig5ZNX4F+D6PiwAi3p9Dy5deiWp1ZBWiwZM
/gO2+sHS9AzE6tO1EuelDV6tfJ4mpQirPjmwefpeDs2NzfstfMQ9ePne1k9Y4zvGImWWlo/avkoT
FD56gFizanrTADFaOSs/HHW5NkdLh6tLnFwtmsAy+kCofvf64l9an5UvTlSMXjkme/cxj6J3Awi7
EzA+d1UX3xpztXn9Jpd2eGUiwPWozNge4gNOUX7qCzBrN013zY5euvjKK/fhJMFLWEUHcFZPvlYA
3T2qrw1rXVie9fitUeDQExB62B78qkc+8hxIYhixBqu4F4Ni9G2uYI3tWBijWWqo0R6WKVEok4ap
W/LQdoF98vimHVjP3y4gTlomqNm+6ZLy3SxDtssbjPm+7eq0es/M21zao+pjZu9Z2AHPdgn7ncbL
awccL+3BWoXjWdQpssd9I6YBXlIablpVi2uBp9VtVBu8/hJ0uRc6Fuv516JsgH2HmbY9G5tP1SI/
t2wBVkjM3rjJK0WeMQnHLHO2kRLjjGwvtRkzPFnj1hm70v24UIpaT7+2zRxzBoLJva7sjQ1uN2/m
zR/K0BZvCucPGQ6+ebmJ7Q/L+crOX1q0lWbbHVO1Dcx7MNs3NyAA+zhbQOVWcrk2c3tBu/WVdtux
aprFCM19BzqTbacW9lEahnUlon/58a31SGxdMS2bYt0EJc4A8p9sBvdTMagPIA4uP78uVi+/gLUe
gzWWBUhcsbL2RHshP4GrIR4fzCxn+afXb3DpHVZyVep6F4KwaNnXDKjCnmri8FuHDpsBmtGiuhbJ
X7rLyk/IeGAChN9yj/PRNtEWqYek7CSIcpvm/esvcmmlVrKEDhvwKcGBvh8d2/Gbdqjf1WBm+jkU
8V+/0NS2Z9rab2U1NxjE71bf/s/2e3n/Nf/e/jf91f/+1q9/8z8fyhz/X//KL3+B6/68r/+1+/rL
N0HRJd38vv/ezMfvba+6v4l06Tf/rx/+4/v5Kh/m6vu///mtBG8QXQ1z+MU/f35EzLuMbNX/EvXS
9X9+SO/473/uyiL6B4a5o388/r/jb3/3/Wvb4RJM/EsIbnBH6KZl2HQSe/z+4xPjX7Zhm7bQQeBk
MDoaCFvYxf/+J+f/ktKxbMeUlnS4RV33tux/fsSkNFAptizGhY7M7+/3f/hhbH9sycvEwpRn/cck
W7bgYIMVOs55OVJnlr4S8WJO5i4OO/0QZyXwanMvKp6ySAJI74m1Rw0wG8/W5+f9nxMZ/5qu/n4/
ktBn/gws2YKV1aijg4XZH1vsALWMKrW5TSwUWqqnN9zNZGDHsgBQ7ay9/6KncDx5rx8wTeDHRQn+
q8Jd9DAQOAEtZn7l5c6jhL+tJlgLdNsCYzMg4H59u3a05JBLrKYB7phGx5xt/leib1OTeSn46DvV
u0mo/BkzsnXeBEOEw97aSTaoVPbCn0XuASzEFxI8UFHha0vhKfCvAqINYP23ZXuqZgBk4jspb8Me
hLvHrJk8x7xLhtyj/3Sn8LQEJ37iDm5w2eBI7qEFU7gNqozWrXkYhEAcK1rAWZkou47SDdNTW2mB
RC2kytEkaLd9ZoDo+Nir2wWPORed22rHBseVQPergHdjWcJNC+adf4SrqPlEt9RG/EZxAnUEXcSq
TgvosCPjyHTgj4UnXp4/ajEFSbeP8bCvb/WvnvmnYD1b+lWglILYMFssEmTc0zE3jfHETIizcxxx
jMhOcm8Y5ZV7stVQzN93FY4AUoMtocu/brhTKGes5KwfGILuGGTCKTP8Coc/hyJx8c6tkG4/fBn0
+nurddtmuo3CzOfogvJ4T3vsYD9SnNEKY4BGYhN0hf3HDjvZfQp8AVXf2kO3RZDvDmbiGnru21Hh
dVHn6jivDsg+P1QRuNtyr0hAPx5yv7B0r8Sga6cJtwiFuxS5X81HgJz79KUoNgKRMHJaF2ivXhJr
QWJqgSohBLgv/aVpLZvUAH6xIyBFnZtgt7M5cUumH0B/4JpR7tHfKq3dapaEHEVuYlpuCDHIxAlg
nP4Sd9sMZ+dFciohs0MHkMQSIjYfM3XqusR1huMy555VoQbXdK7ZQ8R7hrNx+U6UndsAwLzPU/es
Evh+ybSgBDSCaIRPCxHyE8mp0ePpwFgeb6OHqI83kGZdP9J6jjMgI25NkMSEEMzXRe0MCvC7mv9n
18nIPTNic1IUYWku+gFcVzf0fmZVB6HBPdrNPsr9gl4FUoDHtEPmQSHA/ewl0Lcm71xoRZ0rv5aJ
2+tVgF35zHm+mZja1Rzbr7QAR92hkyda/Whutp2t7foxpCPRLpmWEcnq6+/0svr855XITzx7pagx
lJNEOqr2EWD9pjwwUFGvdOGlsMtt0vtNyV0ValduSwbx95WEE9RNkxvWul/ZzmPsAApZPyCkdmPg
jVWhQyAC29ff7tx2W9/HsaG/BmOYj1vPadRcC3uZVewQVpBE6CrtWjkfo/QREESeNp7kHAZSQzM2
v+0T+gnMdd24R80+VtV26WEbTQksiCYAoEpQOGxTCeGSmsO94ixZ4SVQfey0idmGERR4UV94mfaU
HiaYUFINvYFxRqe3ANxRh1vIQfkJ6UbpmsOpja5t6bke//ylHd2QeFWgnHJdWGzt/bLOiecGdbhD
CEMIUayzm8zWXVK/KZdum5nnZUhyH9Amg4Gnx+Pg/VOjOzsDCzgRSXMiN0DuooM+khnI55PVZDt7
yH0Dqqn1t4WmfHrldqBS67WT72vRPL+GLZhkOmcSZ7d/Fc1Ca5gDbZsO2Vy4sV5gAqBw4aEMsBRH
3BXiScxX4oZzze23pXNwQ+6YDhdrwIDCSHGqVQMcUsGwBknhoVbhRhxuO30YtR0ImnBYHuIAHZf4
hE7zIlmAiJwA7OmajtrR7r4uxOaZxWH9VLbtSPzPECDcoJV6pqRzrddlN+vjYdEYqD6xjZPhZywM
wMkXzBBR+hn5ZvJENRM+BRvcUr5epO4ywl+EiDBgP8g+u/SEY6F8srVnuwoJsOLCH1q4BhhWMmal
Ht0oAw6kgX1u8vOF8gXqAXk2CritbN/l5UYDJluaVbsu2tLVLA26JOCOODvfblpyn+IfsuywaoNt
3ZB2mLwKyFn0dYGY5JRFt12aumT2zdwAzQQeC2aw0U6MPxaYzCSHQQ8+s/pIly4hdvSmcdqTUAJ2
zrUhsgZTfjSd6LcdqBuAuDdRyz2Kqhrfmq0tbMC2mPDwsNg6fot2cyLSSrFthsxHyuc1Drxl3ARp
Aq1YclSkEAotxS4RddCbdWDBXyHQmDLhFyOeSnlTnOxn+Fd6qJGLcxCn8nxnxkA+mIwDaPfuDVZt
e/tRTvD5WNTzjoHATjdBswDfG9WpqxU4m4CdIj/LQTD897KZOVz04MWz9Ml8tc1tGN1hZtVjkxYU
trzRIrARU+CR7FseQrlzD6RinlayjVE126GBxNZtoI3KL/I6qBWkF1SmszN+tlL8295a2LFlgo0a
dDQDjjOegmQHtokWqy3/qusZlSEwVFEoixB1ds4ZA8Ksc0RL4UtX1OBHw9LONykwdMBw4s/6iTaI
LE5WRBt6eQk7s5hHA4iqRgZPKZqgbkG5qHVnCXaAZGcYmjc3biVyf9Agd/0J10kitdOMZkvBCYXC
0fhlcXq3sJ3AzLgXNXWgRWEwTNxPobOOYh7OIXp29y4HspyEMKUIlIBpvUMI5JNdq2Ctokn5rRN0
4/38V2xV20lvjjWWrl1OMJp87l3aKAiYbA3M1pK21wFFXNI60rbFTucWWHkTdL9Vavh2dSoqw0e4
bs/7xmq8uGNeFAug5eobvHacFr6N9UPYtSPxDZtoQ/KVAY+J3BOtI+kmbRWORXkUACCqiRtIuq4F
7QjlUsCnSt0YSqRHbEP5BDR2S1d1bLiywivrwqd3V1nv2kL4iOHJ5c35I6nyZCGmQDJiScNvEZHQ
Yjo62wioTjL9UH16HfKCNoe0mPVR6KDNMMB3NeqfMxQ/wNOwAzIJWCVxjUhB8EEDgahyYIt3Qybz
VBvvKd6nlIaMjo0tMo172X8fZrYJObS0MzYRO/smCvTmKrqhV8kErFYdAc0Gmw+5pahnyswbet0W
hHhk5ZIcSMPjbd+dSkhxaWlBA4nGTyj0IpduWXd5vSFrRIZEC3d69zBjVl2wTxSYUrA5xDUFWWEd
39Azkl2zEK2RhJINpL89e0UsDIJwF/fiyGloGUk8zhqqY94N31PqhAwNsQJtZI/nHRHxDqOxJyGj
xRhxryJsghLWgoTFaMJd36Zu0mU7gh6gAOMGk1t+lECz2K5p/iI9osCZG+muivXbYuSYOzxFS3Es
R3kvR+ddD5Pt5Hw/wxryVt7jYPKGssbKgoVBOEL7ROaLfAJpPLnvpeIe7Tc9cwoihBLKTaEMmT3k
KQFZQ76Iu8bWggr6Sw+EWWacDHajhn1GiD2YZOLSHe04/aVUwq90592o1x4LR1+jvItNj3PZbmNG
5O7WO4FIWabNFkheQZ2i/p4i75CtC5DiA3AEjnZjvaugV5oNPHishy2XrVbyj8NyDAt5n87pk6Yj
X0CsJfFCFHdRPGItHOf4hNsh6MYoC0U5eg8LN2wKNLu0st9SAss1/MVyPPuKGjKFzAE0GX7ah7um
Vzs+VEFn68imElfjp8UkvacNoiSHEudwwR9Agp3I8JWGM4T04iUkC5uNYJ7M0dgjxsfqzvjXbJin
N/IGXIFuF37OsBETxJuena4icLbKhghTqkf/RaIK7OqHK6uMj10XewgAdpS/c70JFkTEvQN/aCwb
yu0o5pqyMNAauZchTDUsHklVhWg1LnfkuQq4vCVptma/DSlwi5stOcUCWqJ0+M0Ofg+SS36mhMEa
sq1lGp4xITyeRTBV93TvHtJLmR7lkLTMFeIJ0prcgEdBGtZ0dUBeJqvgsZCP4DxOUOCzcoFXB5we
+D9RR0B+NrdbFAbk1upCn2II1pef4LCUioIehqAXDI2xWzUbLq1EnAFGBjvdV9DEXsdH0YasBy3u
OdzE63KkwRRtnxcejvv1OOucdKzDLMdATc7CxLAh1+Mi+ThYY98b44ESSQo4yf/pfC8scoYwxSiN
BmSlyZRSNgpASF9lX8nFVQMsdHNLn5L9AEC5q9mnKEPggwSjzG7JRitxooAaMSwtMMVgCRRx6o4c
DTBkxkwhdYQ6kqGaXFCdurSrpB4N3CT9EskRrQj5nwUCv7TXGmbn7ucrq7DGduuFsow8l+OBTHis
e0iVuhiRkf4UDdLLBjzU9DQibctaBhfMA+MaKNVv1RVHF4LOIaKEykDaoq/K1lFlFqMZ2oj84W3J
npEsxshOyDfR4kjgzZNQ9Nm1pGMFCIjKK93bAUYOSram9RvQfRTOZTyDWvhA+TyFwpOBUGE+ex2w
+bioYxgwK6TMmgbbgb2/IoZ8lRvTEzioK1EOgtR1jToNVr1GpFk/HwCo54GR1XOy8taID7r99ZyR
xAdUaEFvkiIdgueBUniUuJMTQhRnVb0vs85Hpula89PYSQ/7ZbVPXfPElsIV7AmtjCBJpYefOKjG
DviVCUXJ8Fg5e3xcIsbN2psB5bMEAjnCa80zorFvr7/nugKN15Q6CJ2kbpimYa5Trc6eWZdl5nLg
Y+EO4giEPK8cUHRQva+Q8TH8+PU7/trtPG+t1IUpUHLQnR8F+edpFGr+eafrfDmwSe4iC8eZ7aOF
BdASc/P6nawX9lDqjpDgWxQo2a+PixpGoldWN86HHmtdOE+ahTpfGOhGe5PH0aZOTNqVauKubUhP
76PNjIFDqeSuDsVuqKU32ziiTA8nkfjqYhvlecAF9raX27kGaGQsd7Ehthzu2jaqh2rKH1o4V0a3
2NICmkUBgpofpRX6HpNXvm0WD3hrEwRltM4Lbgr+tYdbXvAbBxRVJBpjizClz70crXn62oRETYCP
pDpq2wIzP/fpo/NDUqUAhSKj+7FfsGxIy0u8Vobj9cWEuxRymw/ypnDMm2i4evxKrgtJJEU42i9M
qCwMxXqhMXNaTtEwTYcp0WyX4sHzIk1yW5lPoBBwkbuQHtESFg53aw0Ihqa21wGNFhnNI0A3XatG
dFd9AyeKBzWjxkSba4ERq4da4+9jq/Npo7Bf2TgBHMLsSg+EQNU2HAESW+kmCHggusbTAINdTwIV
+cHvCpTSWO8nw36sSpcuCFu3BffjVjMZYuPet7AXSSJ2PDe3dmLdt7F1H0fifa4jHwR89XZQ9hWd
+72kAvh1MLJJ2DVkAWexfVZIGHSAvbSJmg8q3BM6gcWe6vmPPPlEsqH10hv4tcbPC/6E7ontsVEo
s+R68huT3sBwt/P5QMUuCm3hOCk2LZChICui2lOGZgelElGB1kFpYLj9WpfgDKn6q1fDU5CdQbVe
QPlXLkWY8Qj6tXhGPv6tsIRXd/amVdylCIqsaqxLVJF/aEQFCuMMeQj0Vo1yh5HdjdVyl9zflIpd
J6XH8nED5GnsPVBsAtUfI2bhBMm+04BPD1jXxEeY5hkael3q+LptkS/ZFg6sNaEjC0STa/UqGcvn
qm+s6aBxVBoheuCnIjQDj0wIPSQ9P6SVLIfpSOQ1crvAmoxxHtR974/imFuOb5+1H32pDNTTRykG
VwOsM74avzXsK74YWlfDKVwyIyi5iVwh1EOdgYo4BiwId0d2HDIQMJdP1EQU9beEPNINwFQ3Cupf
JioYYTeMCWWWUAVkFtB1vFIdOw/W/razz5aDluuZTIeNI2vAbSBYQPoI6NBAdLco0dDCIJOnrBYn
efwBFXXKFEnMKFNIkIDT1yB/P4dbzBTn4AoRa5+9M3UXnSwteXx969ZNUDJWhm6ZcDLwQPY6rolN
FaJVFY6HGkX1UQ8ErABt2JxJryjLK4Py4iV/9/x2q5UBSohkcWiPB4pGI/ucJlOBj8owtTxRGQat
ROoZ5ihNA+/jnOBQW6aaMC4FzVAINQcE5FT2k411Q+EnR/mva29FdKSEDC0+ypSW8ZFpm2r6qPR3
SK2jEbp8QJ19HpBb/yxYUhUwbk4tdsJgJ5mk5zImfpvF1yY2z4P6a6GAhlhA7IZXMI1Vp0Y37VQR
yP1hHoVPOXlR2d68pyy97b6NGDVLcZAS1VtqgJa3yVJ7PcSU8nsg6p3LNIKd6BeGHnUnLAmaehTv
8Q5FrlSdk08FLyjRHKD17OttHIhl8KmIlcX5+yuS86LoQHqoBAz28fXRpbnp69ni43TgVn/u0+iU
bFePyhGeFLDkMJ11A3ODrxGxk86RPSeNHJLR7xeJol7vkwvUOSIN8UR+jiwH5f1xtsORO3/pw2AZ
xLbU4fGZ2BohdyfzqCEVahFOQqt6AAArDURPsCdhGAYjYgKyjw38G1276dEtQrWPjAYFGGX6bS4w
VRBmt6X6YQ4o5KT+cPVpce5hZshUUC2V4k05mB6wpc+1VTIdOMO7y/GGFK9kiFhJUWyFF28RGePn
CIQLCGGHt6txZ/rzor0WNr6Ujkih6wa6zAzOc40VzkRbKHtu54PoDFoEB01JjEuQPVXUNUsp6CkQ
ur6+54IGsdZCLJkFwDmTI1RenynTwU3KHa1BItDcGiIMqHJHfVoqnZEk18vHMq7PZaYcjNIWiudU
/KfCHmWbVK2Y8aiQXLAE+bTPVKejfxeHHcAFf58WPWrYn+w23Knw1IFgQgP1L7CM35/rxRrqbVSN
R7J5zrZQr6dZAuquvv6q/KW0SyI24AjPBUKFtVOr8hbQBlE0Y6iYb1ILxVzcrJ31DZmebJF7qrzT
g6Bh0DTA+NMCjaGdN6DAV6Pxge+XEDUVoAwDG9uj6o+OIj3AJPsmPxehqW+jVQ1W8ZEqwmQUSL83
hfYFzEQeFRapNGahiMMsZNnkPzThUuEEe+vpsGRaN3igcpFo1J6LvxN64ijO0WNRx5ak2LJ++JtK
wuRWjw2KpFSOJeNChnSwsx11G6nsR90RKh0oZt7QpgxIOE1qjaBmRP0HauTbHGUlO/NxvmNHPWNu
s1ulmoBqqlSIJPdGt6LAip6ap3LflPbNpKOng58L/qM8TqVodPi0Kkf7GbMb+Y9i+rnTh/oNLYAE
MDbbFQ84d+DWzcdsH24hHn5Wn+bitsdMKJUsaXXovh1CD2rFUIJcD5nLxftUqh1VPR2GmiKajnhz
mvig6pehw7miW0AzEPDN2taCR16Ab6h34pZyia6jTaXSFQ0QkAmFW6DyHNX7aEaACs4okAhU7waJ
utTeocAGbemiQKjTfKGmBfVaqTJjz8D42qmx83jND1zjKIILUKeiTQ8/2GEnqMLaqAcFyaDpBOqk
mdg3+nrpT1TcgoGysMQ0b0HNTbL8iWX8aBElaHShd0rW31AQVGwbVRUhuOcZjBk9OhJJ8o70bjQZ
g+mIESMa0GMS497yVHikBwHelQe2OYwBBjTqkWPSgcJjkj1q8TULlmnG1xI7XRYeS+orfXj2kl+B
4jlotqKzj1m1X6OnrAaOfJRSojoi7SlQ80Tpn3YWURT6HKR9sB+pdrYmVP+oQUljl/Au+RPlNxpA
SF+3BS+bApPZJgfHtKOvy3Dl0gnCT54PGWrIU+NTb2RGu5DGVKhEjNkSbM85DLnKiAPA15eMriXR
hEVaCbO7iq41lZs4y4Dqixb/7MhpAnP7hk8WlyrJmJ4NgFcWUPsIg/eohZrUIugx00UB5nlwqrml
Hh5V4ZHhUE3w76QHOWTD9jSPQ3kPaZOJjg/1LrIONQBYLWq7nIN62QSwyfQtKdlPe4Ko1HTQTMMf
pVoVULxCKk7PRaYEzUZ3nr/QrlHjgYqNmeq2ZIFoiqFHBzNCGY3qqGTIqWdJxuvcv7T5nkptgy32
SYVOESIDmEeS0hGGincHM7V8ZUPIFbDNEMuRUlA7l6Ni3rTHs4cYzRtCESVtimbTZWhXQX6pUh/i
zDXdl1QDNpyKlyaqeGYbBtQDoj471aRHVIapb6UoIlX+JG2ouNrliCnyjCGvQNMbFoVsUAkdKh+a
4SOCCGq90LRdruENnW5LvpDcpIkWBZX9qd2LJpEe8s2k+IYae7QtpFBdjSI/Ek7aCIqFw8J0NYQz
tKajOXvEVYcPAFzBTx1sAdTh3NyBv6D97mboJpwky7QdlScFHAJV9x30DlBpyWe8J1rBFG8y8eNB
cgtb8REHKuFYtvTi+L0ekz7UZSInYcA9xSahv4Y7tF3Otr627ivwtA7Z/Mhw9QWLTA9OiTS1GBt0
BbsJhVG8FL1IGOPf6ivZJHIt5FIyJm/Odt46RlUb0EpSaRolAd+W8ka3im2HwzZjle0YVzvkrr5M
UBZEU7UacRnYczGlO2oLGch3+zhACFdw7lOrRzXWhwYlFTuXN9RSwSLVDL0AjJyAvf38DCHWNBeI
/fvjXPLbPBE+NWrLVvk5Bsq6PLlJF0xCRdhB/qM1hY4qNeB4ne3OzXmMTlJQo1mbvOjP71qSva9O
FqQo06OnuLBubHgPavOebXIMF5uwoEhu+lTbaYuz01kVAJHb6Q2gFzRbknH6ixJPRjMGChUkSlRo
C0t0NWaJ7mhk7GsN62zsuyHbAX4Jx5vHHbV7zp4EUUrcb8n756iVFg2+xZbQzB45HuoeAwbaMxBN
9ZHhzxgvyIcwoM85YE2p4VG3uR/O1nnpqhaMcfA7mjLQh72jEjfMnUKA16M5CXIzj+E/kuBdKHFc
vLBvoG5bhRh+MzV8Q31R6qKSi6a5D3KJ54YGVDUc0ath6JnCAVLPj0aUcvSsaUIgU+9LaSGaAHLl
jkeTmyBQNyGdVZZ4k+24C4wedWhIi6kx9Hf605BDHJst+hjAc/Tp/XOEKDTYRFMetMIUCJDgaJhZ
lMuCQC5ISwylIhw7d4oRG5C+oEJEQRyFZmSaOEh57BrbA6+4NGczSN6JGpoclYhq2U/qnh+WNPSF
dVzYB72sXHtA6wyhRRuyTYqKAADqb6Yerz3Pd0l1pfjw20QgZfTSoWltx8GklbXKM+NxmnVDTfBV
cNnIYDBUcEKGQFMt4gRjTUFAhCqRg/EOsq40+kkWg5rHcBrMhHTD9pBykVmjVmaBLh3pTY2OEuXb
5PzJtpIRzbPeVTC/FMjQz5LwGsKB9VLRAM4P3S8Mt1q/HY4LjQGcl9UwH8gqN2rDMM1Mkx60P6in
kNuiwgH16Gm8jOoJKboHNKWA2gn5ary/sE4Fw6gAciU8KekTBacWO9K4Dawd5kEbBTSpH5WFIftq
CI92Hc00ipTJX5EFpyJNDTDysmQHwAD66L2cY3/9/zN3ZsttY0m3fiJ0YB5uzgUHkCJFiRosy3WD
sFRlzPOMpz9fwv13uFRu+/x3p6PtkmSKBLD3zmHlypXgSd8NtmTmMwlhxUFflpWbJWdf6qMlxTkp
FNZX1bU3YpRqquMmp5FtJpcOPMEVyyOWxy1VZXFIglBwasPpz9YD1G4gmzW+hISa87vg62dorG2Y
0O8dCHvEHH+PvRLV0nRU19Vzl4674Jsk42b1CHNZqUwYWFRmAJR/E1z99DNt6kuQ1fnfRzm3KJ5j
4j1dRQPPegCeVHlwa7hJj5GsURE2B/FZYr3xq+K1JdgVvq4Y1Lg+WXa7M9zsdup+Jye0Sph8THht
BxDfYOvZoPp/fyBxksfq0k08EFIYOS6SoIkbTwxSHugygtROkw0o0ew8Z4Wo2py9ySb7H8qDUFcg
bkqVULaQ5gArU16WrKeCsyAwR5dBzaI5vx+/6cEaq0g8NTeEDOzINQjC0pKTyN0Lw1PMl5dTf2av
VCTgQfW/0+35XppyDGBBVkX31I+ygQyJyIbUozTFkVE9ueGMAwHYgdGcpW9Be/v1RvhZ9e3HD/wQ
5oa5Cb5i8oFTVrLo7/xfNrlUDQEzpKbz68/7WZ7x4+fpf19aQ7eZe+EYy1rUBBUyOeaCBAlcU4JX
//rTVrjg40768eOMv39cOEo/ZmwtUsQOq3ktHPextWtq3a/gWktYAcVVAjbSYjFqYmu89FvoXaS4
TLFfbKs4EsnsJWj99RWuZY9/XCENI/QAmdLp86ELz1HGHHlqbTlb5tsyZ3up5Rl6eF63+CxVN32z
UF4TMD8c3U1ofa56e4vxNOtiI3uk6IRCCJjDq/DJclwXfmw3/Jg3FPxsXrSNGayNPbbxF6KQ20Fz
oMhQRtSDkzhws7W3nkphg1dL14/AabIRBKz/9R3rP90CtklzjwPQw5+/rwmlmUw1Y3c59xRJpHYh
9YrKeCvb9xY8XG64QRpLbicM871s/Sq9HycXdl2300vrKGimOdl+WIab1HmNq2Ets3gEhAJ4hvXR
xKFSifv1lWs/IeCC+2GQdFUwwH8QcJc2t42iYfeKh1i6k5K2EDVs/BWYknVPJ44aHSXZF+MhRUiJ
amQlhfIlqaCKKIF4NgFgcH7QGqlobgi3JGBfGnIf4loJDCTLhFEGLi9xWzPnO/k1CRf4qfgpST/l
W8loJEWRvJFoG98qlk8Y2Sl5UAHfRggMss8lHxBiD31LvtAuTaJ+CcqWKjsKjYHrEV6RlWbHYMjX
NFuspRi7ZN6PISnjo/Tt4P3BxMEwxFIK16tjXt6aCIIZSqwsHyr4uPym4Ijyb4b0NJWQnmx8v5Rh
zJXky1su5GIrNpKST1Ar45fk28DjCROIy+1LikTWRkwlhrmMLPzQHzq3EMfG7yK5n+5Ourcsm44e
FEg+nMfEG4owHzmPEuiIVxQUSjeAEAXuYmWEHS9cJ8n7DWog67oQi9neuqpNFW3zPOeR0RKC35AF
lezIjnp8B2/DehEWCgFMOFmSdoNxyU9Dl0dHciBpYp/faM4LTsCIu8Ovd/FPLf4PN/jh+IVTP1go
Si3nrMngerE3w/e4wsXklASp5P021vhpZc5VPZ3yrwqPRf8Q32iZoxZ9y4G36nmLSPCmMEoobsCx
brezbAVmXLSVqoHUGQa333bl0cR6CcIP2aWj1lDE5kEMmXAT1Ij6NPVGoqaNOCgpFPz6Ea2KHh+N
sqvp7ADDMWmJ/eA2ssLCbinegjLKo8QekokLp01wHpU4fCLtFqhd4EiJDzgusoJCApITL6C57Fvh
ZP/6yn72LInKDQoQpm2p/4gVOdPBXJcTbJlK3SVPyr0ZNZu49bXU2wxnltLkME5WtxKgE7BCKd8x
PnovFenZzPbC3ggj/XCUslCdUShJYnrM3n99nTwr8eQfnqGt0tfjmYZhomj4cdXTIbVjtMbOg9f6
k8XcPLTYKLrF45+uwurlnd8ora9rnT/HbymFWwXvWleNn+bvWt/61fi5G4ttnlh7r9qPlYo1m1/S
uNsr0XiY3dp3ht7P7HsXCGZkdTyj9e3woZVqahhsIqfZ22a7H+J2741gRV69QeQRRJOmhbj0KYFY
yckU9Mpo9zrYp1YWTP1611GfahKFE92fb1BB8NOx81E1f5a7SPXvlJlEz+ArulupbskflcyURsDt
UuGjdI/mgn43j/xbqV2HtpHYqjORwFk6f4mmg1xk23kbr279nv8qLem2RiZOR0tdPjveeJANp1On
l5ckxjUdNf7w22G7t5t2L3csvxUA4pjmcCiGbh/wvbd8zjRnp0UcZ14ypOnJszCVsPqbvtkM6cKI
R1akGA/rMwVgMq34xHj3bT8wNwRWg0f9UrhFujYf0kYujAsmLdWWz+H8aQZs4+nUPJjYu3pxs2uD
B3Klo0ZhMY86P1w8ekBpGZvafQh+OxuMMeJrHRnELEpOA4/FMaZDr/DYyuQ0wbcw7GU7slAOwxUD
q954xvAsS70Y1rGap4N87RbppejHZ4fMwLJYFpaiWMZHi3xuoANG088r4yLLTvLWjTIdMjOA+dP6
yvhQuPPW4EbtPiALbf2lnA8RD4V64pG2iqM5b3vIWS7Pxkzxrfp8bvjNIFevFjczfk0Xg57875c9
ZsHGMWKkXYw7IWzm4zZxGz9OOr9I3dd5XK4G2bCyNJula/dagUyUFl/yMj3Jr8kOm+HrBtX4WGbT
wYQZXl+pIYPEsPfa+SCX0KrBZjI96kkNwWvrFx1wBs+5zK07iKBMqyV0YCcY/MFeHeUZlJoDhOzX
Tue7Ye9rBdRE9rxRqtea5Gnga/AYeuR8+U06J5ARng82201jqyVJcZE9JCsm/y1r+9jNy3XJxx3x
aajYrwU1AXeaqPY+yiEj5IJ4cbY5RUjO0WeLis6z1QTQko8QWy/97NzVdfatadhmvXMnWzIyzWOU
v2bpsylXzvORf0nt8SAbLgm4K05JwEKgQACcCWjsjAdZO6aOIMNHnDPs1L8aAKukV3zPbp880B6r
yE6IEPIY01Nd9r7YG3t+NRTY6fVBiejxKfc9equFuyDLFl/CufOHhF1cthzdxpc9qyfzOfc6P+6y
i9y5PBF95FTxUNPHoloe5KCYzZtRZScF/qBcVn/S2+SgQBaV+lNpjtwEX1s3VuU3KU03bANnugY6
DkyLiGrpz+H8i/mTEntRcKfTmxzkYUpPYreGSNlk/bXQ0hNjaeB5N2sxwBBMQzGO628s6UmuOumv
FWqLi2PcqZiGiZ3p5c3GYItFQwP8Nx7k5T2bw2RLyk1qAKhyoAbc2mroGoXa6qEzruGLZc+rXdQn
7Sq/F0wP6HjtnZB80DqINSRt3iqAIbKXSOZ26IgQjbNdpc5PpVBuTbGii2zhOOLKWOCcvsmUsxjH
KjWv9JJ140HlKvSxpgkBuhW2WaxmzlZ3MePMfQekVLfyWbLaCKxdLG3YLdV8Bc6g+fzdyKr97Lar
zZtMAwux3rNchbxLUPfrlRkzWxvDJI8t1527RMUq+KraHq2i24udDTMsHa8QwyBHSLfbfZ/3vok1
F/sr5sjNh9VEIVV/LJvxcO/x9mFBIhA+yHpPmDQxa6b16jHjR96y4tEIObOcMD3NzqC2Iz4gmQ6G
mZwthZEJKt1al4i++sIGWyIRIOWWo2iN2UWebkEMaefWUcz8jJEU+11nMeyyftfzctmUpjefDWs6
iDl2WfdpZFMt1p2sSJzMhxCuqBoBwetvak1Ympt+VkWH1I6A+LF+6XR2EjYsDIuAB98zbqRmX7ZL
7feWdRyTmF2mQiDjsur8ABF8BCKy8m9iH5b8rwVGaRQRHkGfra92xuEIaMxqd3IDOft39QTsVbVJ
L3M/Hbp+QH2RbTTVx7w/yQdz24Vu7xf8NOd4NUZqw5Fo97K/JoPB1pwnMQriy+Mi/mp53ePSG7dV
9rRwPiqWRG64oOwj2wR+71ZCCFlOsWXizFLXvouX9CKOWa4pc8ZrAw4eetNemQpw1vSicWhkGw5K
vTGW5LQelAQyD6yhUL2sbq+Hm9vZdw3+UB5gYzb+TMUlML7K5k/q7tZYb8phO2XhePBGwQ3Hx0Xt
n8Nmudazdau6BLysuYof6gagU88pt6ZxFgV/7cZJc1+OdK0zQWqwj4t1mRyOqGLHKXIL5raxwm9O
6d6NrvE69AuWBngS9RBf7k0usnM4KnhOm03PgKXrWIRHDABgooLwAKIbzAqX3WtEy5WpJL64SXns
4uSnheEF2/GUR1B4XGuHHh2HU55waFh3E2HX+mreOcsxN3SA4hnS/lpX2aVQiUQxjJky7IrJPc6w
wIi25DmRO99k4avcdT9OB42rkFUoWSnZPuLLxbKKJ/aW+CKmTLavvEaiHsZZXWS7B5VzrFiCpFb3
euvLro8w37LZxJ4UcXaSsyg3KMYhSbOTOLZsGQ4Myd3my5tavVdIStP34dwkk3FMCHDk7qbSuxMz
k2P0Vrqncho1rLp6N1E20qr4m5Z7d1ZugsOk726XXLCXzmLBx+AEVulFhzJtDE/y7TzPZ/FlJnuo
HpvtOMFa4CaX+dmutr1RvhjtdBjkfPFoeB+FmEU+VELYqJ6u4hDFBdlRwEZUz6E9n704vmkhSUli
Sg/hZpmSi7sQoZnzWQyO+Hs56URke5XoTzZwNQ7nqHHuBvVLM86+hABiwsOW2RGcmwQHkafzXkvG
rZwdo2BmUnzf4Hkw2DYhuqyLrIWcoHoaDvLG64EkHtGSYCNuZPLM46j1B8UzjtGYMIWm2SRjcbEh
E6sxznhczuIcS0RY8rr32yJYA3F5T1LkfV59S1rrVrbEDCly/fXYON4zdObazcQ1nMYuyS9i1g1s
kVtjQ5Xsgs+c9fkqB17eqmNbydYoK95+aPdR3K8R+6KwuTlGRtOlmzw6mviVOIXRlnxqA0wML6fw
vanGP8uCpvI/ojI4W51zUwqj5ZLF2Ve5SbkyjVxlaIddJqEKXkmc94hdFk81EOhMlAbU+Gs9ukel
No99QJeep91ndwvmzJnMO7m1zqMux+pLtF9l+aXWkkuKUxLLuz4RtoAE7aatH8HI7yR9ykiUJXKS
4EuikSJYKOZ/lexGrq0ymVookba4MGlTVqkzemzNBrujuNaXkTsf9fbOCIl2cEvl1G+HDgXLfix3
kbUQxg3ZYcqQd3XAE4f8bDuUe6wSEZrGqLdJuyD8EgUDnDPF2aAXSnetop3i2gVK15YcvTXt29je
BynvZevqzk1tGraHcp8k6JJUXrls2qQ/K0NGqxzNZgGyqSGCbfZMUmZCAVWbnQUoBhkKkCg8y7kX
t72wf8RFCOxHcH8R1+ZyZ2Lto7zyrfJ9JkSWh+OZ6Sk0xsfG66kqtX5uEZgrHXjT/KJ54Ft9Rujp
nr2OkpTtATiHY1NSnB9eI3zEoJCntdT9K+PVq61XNRwf+w46MQ43YL1sJYyQ4lb9ucYEMBQi29ru
tE+L4oxcVcqaTC9yxes760p3rgOSM/s9sYdlk4fRp3bJDwAEtmUeE2ltZnNJWCSnySRk7THkqrqx
0/kqPl/SichLThKBJN384o3ma7rgKuxka8TtVd6msq5pZLwoE0VZDyl+5SZHmmTTqck3PYfygdNE
XhfCdTTv55RsACA8nKLHlgkfublVl3vJaBtiLTG74YzBUqfHyQVmVr1dNL/MfTKDOMf3fVG+Szpi
w9sWh2Fhl2gDPdls6mxKLzFV1o4RDd50kARqyHs4m3+I9RLrLK8uVZM5b/wzVkoslryTHGiPqDfF
xYpTiUxYjLm2aR0wzgKepdI/a+hXGLn6ok79Vy9CSQ7LqJXjM9IAG8nZc8s+ivWbBuuOvmIEk/ZZ
F6yZ3uJMjM8lecYJ9NZ8mDAWDK2nL9zdpE0ENPKngbhu28/vXSh+Qj8siq8m8+OaXfbXuL9WoaDp
9aa17FdVQAk8hQSyklT1afRNTrNEG2ntvOqGeh3Lap+Y+rzN23w/aYsv0W/ZRrd981okhKVJ+IQN
PWqGPm4kIW6UKIYS+F4v0yZJPkvgLPFW7/SPpUlLrHrIePuqTC6ak18k/ina5GtVLFdZUZjCh9Dy
JXt2bwYzJK2fXwzeNu3d3aS/pIN9l7vTYxcqB+YU8UTDvevUn6NZvSY16Ok8bNt+2FqSK7FK4n8G
DYJd3PuC0IxBKO2KRHT4aPlHcUphlH0zmuFghEOyXZR0Nep57hwlkZKsS8wYhbWzPs8vnWfpL8sU
HiSPiVziIcCFNa5SDiSC41nilSnCtUjGXfzVN0XGpuievSg/VfzYsQcf3I3FJpUna2tIL+Rx2NNV
Ald5OrKPpJgRVT0tSPWhDo2jRAESmZf9fLAW9SXK3VemQV69lPlPJNniuXNpCUKayoJeM1+1QTvX
bXKSJZ36INvKhq/aGRYQQGNMgtst28607wSvqA37aDk1LcbKum0l9suJfuye9mrZdF2tnoOl8t/E
66EfvJGH4ioEjiSEDcF7SJNXT/YpURTlzrPYgqHu/F8DcT9pZkUCxgUotOGEwhn/AGVOQqxzhgjb
YhbEZHBiQJ2laj9CKIka8EukaER9QbMb/D+VB6nGc5BUuzuIppjwEoTgJNQ1hzYwKQFIjV56WoVH
JLj4oH2qtL37alvRykyWFlXp1dRs+jWFEYDfkqqrEI2ksqwq3vPK5Gk0n9q7kMsgA99QkHdJ+OQT
pFdMgwf166fxMwq3raLrouq6ZTmO+gHdd6DUl8vcLCtPQ8onQpGjNVwKHR6lDFGxyWAkUV/49SeL
lt8/4FA6C9EeksoRpf6/V72CeRkiLccAA+onaGAx3EG6ZZg7vFfyEpRooKVZ2yyafA9RHxa8VMAS
78EKXN+hKNaH0Fwp0AgOXg7hee0xgsQj5Trh3/22Nvyz7gn7x2v+IApV2GURWy7FYSL8eQrRmIdC
BgdaCneVwaGgVRNysxQRqEdKDdKa7a1JcOG6DD2xttIeIL2FCS9sCVnr5LYZAV/UN/kp/MrDd0YF
ibPz5gxv6kidcv7eUVS+/T/Ug39CpbcxrbphwHygqfbDKiy2Uw9DgKfVDfq9qBvSOYDgDo0P5Xo3
csFZuPb/lQMN6TTlSF1EFBEXCAAavyW1VJX+A6ma/r4+vl7BR9hcg46KJKOUn6wP59XMqjCd9I7m
1IDutLWT4y0yh92AEJEwAcAQRP9oipRt8Si9scRyotcnoYc5rC0Vv965gtP/44LQotQ1mqss1f5w
ZPRc1Qx7cr63IUu3rNOuhWTpbvz1J62C8//4KE+lNmx6Dn0WH+69niunGCuCA9lgBlHWYJoHVyWv
UvdV795IKTg02XsT/bIYYSkQySlIJCrhZNSltI1wGhASsyggGdRCfn2Jq+L4x0tETtKje1BzIet8
qGr0uTWXKhjZqiiZggrNBamuba+V94WOGkTW96KVJl/jSBt6C1Xla21/V0T/t+Tp9ftHftBW/fDt
/7nE702J7k63KqX+N63Vu69DXHwrf/ma//pOcj3/eeP/TyRZdSpN/12S9fS1+vp3CVd5/b+lWE3r
Xy5twjo9wpx/9Fj/I8Wq6/9C50tkWjHNDryj/0ix8ju0cDPDD9vNcbQ0ful/pFjVfxkaalyq4Rm2
YzsMzvtfSLGuExF+2FuOYZsGamMGPBA0WU31g3EqB2us7WoxngFprMa7t4KiJ6Bza6TlouB+/dn6
l5lR8LfaUSGfmLNo1zvel8GcnKNT6KqzUWZGfo2ltunLyQOpzL17dfPDM/337vtRxvUj4VGu1TQs
XbXQZTAhSnw4qnPUpiHi6sZzV5b0hrax2m/6ONYQz+OvKdz1ILxDj8/Db43jPlWG+MZcKqwHg5/j
fECne6j7pzyeXpjjEx+d0Xq3jT56Cky9vAtS+BCT19uoAizetVLdflNpbvSWxvkX1cMrBtEM9jZm
NzqJ1/1S2tHOycLqi1Z4l8yah9/IWHsf/TcewyNc0Q25X/6Sf/+hvTQpslbzgJeukT4tgNxxYT1N
rXcXJUv+PjQoKvTTFJzTtvmDPvLqxhG3PYWZ+lKWyg+v0uYlf2zpyPJInYY0iZjg3Z2srjDvRvlR
4pLSAeCVBrWCZK8WWnhUA7V4JbU+LY5TPuVR0lx7O/26/thQwgRYft7DDKYrd33idWXXp6aPSHWj
6KKEXnmLrE5bBVQHHsIw1t4WJXwJp7K7G/qg2HfUXM6UiGZS7tL5NAV19cUNjeukOZHf9qUBaFk7
uzKy46danSm/FwdzLrtjM/XtfWon7X0nX0Vu8qUYltkf2+i8/tv64ykyPnnFVNzPTC/fq5WZIo0T
qk9VCMqqZM6dOo6Io8lXWVQpBxsocZOXztno3PbUd6Z6W82G7ttAlJveK5SHrDFuxY3v9Sobb7pm
ci6SyBjucIHrh8hEdxnkh45pdLCMland6Q3n6NeHYJ2x88OBRZLBEmEOl241qv4Uuv++J8a5r6s0
VJarHjvJplaM+AoNEV5gG0W+F8QJwgH8TNVL7955igaHXqWuHU92FTeXJs2Vm5lUfP2OObXsZwTi
bnCAziVxWurVNoe5hp9wHzN0d1PHra74v76FdZzY328BfWnXpkdWOpI97QMbxNZnrW2Y2vXQFO2y
UbtKeekU448+CMI3aaQIcuMS9sECAp2Pj5q7hLe5G7zWDFoj+h+jTV/Z3r2u9A2MDq39A3h6lwWa
+TWFmb7t6i64Qy4tuJDpDVR++AeErUElgvilmprxiHS75zNpq37NtLM5j+W9oWnVo53MNphh9KX2
qupRSYPyEfgFCY3W6fcGMoO/eQzitj88Bht2CsPzWEbIMR9Wcp4ZdqQbVf2Ql3G8LeOaszNKIcDL
fCOc8/cJctkmaYz81Gt9Hu0Spwq2PcbvkXm1JKfuGH0yFadM2d8VLRFlnr662babnem1sKaQyZ7E
v7NTp0/m0HxSS9BipZxzX1EK0ek1hs/rV/NEd4DX1F/75X32SucYdPHi23NFrTl1KY6VwfCYe+F8
8+snYP1Tu5r00KG4YYk55xl82AmpE1XWEmnL9fsNGvCaIsQTGwM+zmDCS2o0z8+nvH3IKcDf1uXy
FGXp/KoggbEZkqaik4YsOjQjRAIS2gY0LGRhtIDXwfjQoWC2bxfb3CPTbz2FdYygLW0YQwjuoTeF
8SklfaiwOOB01fwHA4H9VIubo5Ut4b516XmpSqc56E7TvujVtQrSG3Ho36I+BlLoojfA+rcsnvdF
owzvXv2QlXl+6iqv2c12pt0umaveNind3n1lfhp7qv+eYT2NnvUKbHtukIP6FLiMWvAy/SYwq+js
uJRt16s1WrZll6sD/bSRqFmBZppG651qhhs8T5m27Lu0T/0Zits8/BEF01O8lMNTGYsDK2Mw/Lbe
pV2GyzBn5WL22WNbJl86z5xuGS0bPSWFSr7XN8ZNBydhR7+GR/EwY3wVEn3t1kkdNpZ6+L4Q4/jX
nDXHUe31t4HpjJrMAqP1sltuJrc8McA0eezr6NS7UXhnL1n66LCOu6yHGLiMarvvcnZrMQJfhMbS
PHRBDDJq09xRjF9DT5v26qxQ1tGpjnvaIS4T8uUwbXfaOGxakiqQXU85zk7RvjV9OWymIUv2hWOX
B8oamcnY8ZaYRU0DRvaY2UFttPqTXdjjTcMM1EOSa19yx56PYWi9NUm43OmaNn//a8y8atOEVUaH
l/Vs6p72TF9M+WzW2yKbtOfU6RbQ8NJCBRoR7Trpp5uqLrtHJ3ROsVKnSJBN3U1vVspFz1BPQxig
fizUhg5o2xp3kD6o+pgdaaY6NA/3fZ5SOZy9/OwO5J6DPc50BiXtw1D0J8UIZIiz5KSM/DratdlH
WyVlpdbvp/csW/JrDN3xLqjBFWlS/ZrCx7r32pJR7G2hnQcmgQN8tQ/AQfS6eEO61xOePpU4GqfW
76k/oBfijd4Jhnt/P1repg+85qH1gnPf6foTk6xW4MSpor/6QS3u4sYwz1E+sh+h8rkh8Mq5WJb8
lNuL5XdNtKAdOQU+ghiIllU0vCb1nF4gm9qKRVmepiI6WUBu5EiErR0cmqir0XqKq/vFni5N697U
Y2V8YjAIclNGQNnErqZLZOcFfSDttMuNVtknGTWOoHOHwJ/LcJvJ9l7/mi3lYi/2to6c7eDNy4nO
XI5814x7ArZ7cPlg02v2EG1jug+QFOiei2wud7PTDs9qDcLYj+3bFJThs+aa1ZegduBgFi7ZLY5/
M1MbhRsTdkiSpeadllrZOXFC+i5jz7nG6tBdbM+4us58RcF3G9eFAfXCs3Z23MeUJ1u6yFwXhSzb
ah/n3qOJKKvPQeGpt1ORRv53y+dk3XQFnI38vgWrsHgA13gBUOSywMynctqsxj3WzUtdBqiuErlt
Sq8xfKezgg3iIvGdq7poSoX1dOxwnQMmFHpX68U9befw9jTT1c7uuKC7tyjlMR05MYU+WVc1CgPq
6Kr32XXCr4yDjveFutBWN7rhpVhCc88C6P22zylMIxNEYcWdYbcX82vKGJrPGa71xiGbhp/LHbRq
Fx5NNAGovaQu4+ljdU+X9GOvLTalumAJzk481UhtEZJv7SlVdnNA60zCIblYansTDZ0LSo+cTTFa
IS1siufj0TWHrgwHe9ia54LRAKMzVwadngk+g0h0PsdwWg/MXjT32VBgMbolAB13jkqnan/QTjUD
vHjxNp6UwQ/apboNhoqukjSon1JreR0U119qZX6e88LY52K/IiU0DpWZl6fUboZLnZkdbiW7ocsN
d5UFprWrPUxxXVTWJ43gqoxpP+0N51QwmvdZyb+5HcAOpwfxAD0OP+dUXjnixaOqDfVBX618anfm
edD7hHJ+CMzQBegSipmWGt33l4xqM95plVHdDHltQCmi/3k0nRxmTx2/6G5sPjF0ctPIMfLKUNuh
JedstLDqbhp0Tny6uJKvYMxlbeh/tOaezsDiLiorOhoHDkZlhMZFgTsu7pPpfG+1xkZ16tK5Lz21
uPXcYNr1Tar7nqYTMcOr8NyyDTfGCPzgae27poW7fLYywVDiQ9R3KuqYebLDZrn369aPigGF19aN
dsFEcAYSaj2jRFddKBC8l2NrPY+qnT0WbrDNHe+Egckf+4VZfrBtsDxuPHwOkzk+zLaa+eu3vaEp
cGWvZk2bmgHbO0ZEFMdFGLizslHZ5XnQ7z23wDqKUVQqxz2mtT1uVpu7RFW1y6zOOnRl85bThHsP
UST5HN5llYaSkml2FJmC0NgMAyXHuHICvzaHb0lepYfAwWV+XxvYdyQk+fDNCKP0TGWmvImdcdgb
cfMapoH9p5VGB224oZ0MKeLU/MxMFuucwFDY1vnwZgRhAP/O1M5LG+nnBMD4FGl/leriAPxRM+3y
djeG5fwH0+2vts59GVPt+C0tXjivkgxGWYzwQrdGChvDuxomOymMjehQOjOntjTn6dqrw5vTWMMV
bW6/KG3rqUkoOayRljIvyT0iXe19HTxYDcd91u3lELlT7I/JrD2ZdW5sArWb/H5JCEZHJT6b5vyt
V7PuMSyqp2VAqs9owp09VmSfAHs7HIW5s/W8vLMmDT225M+QzO6Ta6vV1oqiL85gcmxHEhS6rZsv
WpyY1xERlO9/We29HSvxvkkV/ezGJFRVqTuP61eUQO+aToGFMBPWmRrdw61DA2AfDdVtQ/HytAyG
4wOBEzYSrNzUyUNTjXswtqXf6F6GDwjd4Zbo7ajktOIY/Vid6sIdL9mS7FJltp8Vz92b9lzsDZT2
jtpg65/ismwgaEmYmvD2kaZS2x0Qsh7t2tqbhUJvhlIGEHei4hqFwIq/Dpk/4jWu6QJSqkAhqkfd
4J94jd03AeMJtfuxDpxDNM3pTNf9SJllHGsaT5svuhNWn6lNdzdlpleA3Hw7Q5AHrXSXozfmCvMV
LNPv0+wtSN3srs11/ZNnFG813Uq/yfWsj4xsrleDC0uLqgG4+o/5vTkcojhqTO1eKXoTAqxR6J8z
yy4OADTxcc697HPi9ocO2GXbdhrqzTMpYe1NlIeX/mbO4/laRsHo2w5jZ1LTi/dBR/F9QR7atzN9
OmZ6RK6+OMpmbo1jnzXmPWPivQdQG+9z34X6A/JTu9yeqWMn85uNbNBBzaqjEVcPi5ONr8wzrHet
SZCmR4ArMdaQ8wYA0Jmv382rVkaXshg3sZ4W18oYiutMI6A6u+WFILe6eejQS/aHvhj2mjWmz5pG
IfLXCy8A4t+yRR4k9Ht6RAxDVS3j42hTOqsju59HZMXz2jsPVRVcIq1w0TeouLA4je61yI0v8dTQ
ocJ39aQdBubYI+pgLw+xavZHz6JPxGpV40lVyoWeZkKbprh0qVJc1q/UYniZkvJ3Y1L/UYeSawet
cICyEMRynA84VjumboL4znAfJs4A8w65kYWJTP48p/Ud1e15n6iRPwQMtmUyYL6xASXulre8Nbo/
tVK7yQjjdrD0aVUKnanaAJtSfE3H12pQvduRCieVEnV8auvU3FQVWBMR136g/eM3EKQjCemPOTvS
sAzz0AFzNZ1FWPvMfkDkskoxvaCzzXs1G91dasXL/YIpuro48s33TMlNGyh1thVSgqTvzN3kC23s
ylOn6jkcezIFK6wrX2/xxFakLrfVEPlWwID0eRnx5ajI97dWRfoQxEHzF3R/V88eBy+HwTQ5NIbA
X7nEqd2f0yDSnQ3WuN1oLjZYz/4vYd/VJKnOZfuLiMCb1/Tela8Xoq1ACCRhJKFffxdkx0zcbyJm
XjhJVld3HhKkvddehi8LptqLFBMxwR1hNWZr+wMQ1eG5yAMy3aLt739nGKZGIQ//9kN2T0y1znnE
vt2qBbceFk4iLPujQoZrl6vgranov9/PCzqhcWhbMxBsgKp8GJ9jMw7LHUe1AI4fuc67lEkEduUG
XpwTUCdt8wO1jIcaWIF/M+83hge/VAJCRax4vvvfH5b/1NJkCD6DIh5SbSDn0333H6g2Sbsg0mXf
PNohInvjwbpikUeBXipQHERfyRcTtDDcdP03H+vmC3EkbDXxvxQQrOzuYNZyah96lVQXEzm3+WwI
I/F/ZMz+52wYs3E3dKFUSf0pWuN/3E+uilEZ0oA+0liD2BA0BSypsU6/zE3IE2mHBzv4NeWkUIlg
sK+Y+/F/XK7/WFumTxFBI4VvADuvB8z5/8cUu7qkxE0pfaiSa4SGF/JzsHH9KwvBRzPF8O194A4M
QLRBtEO+6qYbwA3p43//GH6W/ucHAb4/jeIylOHgCPyP3Q284iCzcczvWVqVj8zAX2VustLSyfeA
JiqgIV3+WeSigaqNsPiIMmcfuIX7jYLVLltgMfOVq5qsW7piFBfXB4xfo1D5DPRA1wEsZLcVkmW7
QYgPzDI/mEjoDWL15g4axbEEGwPsQN5sEOR2CaIYZN8ShEe3jrq9QK7bTUOYtWRl4q3ANB7BlyLt
AdBJtpTjALavWyOYyvcCaEnhJB4UI4HNeC5gIQfeVqZLPE1ELQIajjDHAylfZE61n1/ZICF7FbcP
O2p68pXlazKWYPpPceWFin8T6L9vROTfEPOgYEkTval7UF+shbi2z6E0cP34UVYTi150fypWya+A
V/lqhO0FcRtkncy4tkhxlWT+GiBSR8N55GeDcTPr8NdADeflULlzeqxTSA0xODiVVZncDDjkezP3
GsqPQOStox8tBRQm3+vYE7fn0ofPjcenzAt+tCHzL4lbnOCvgnkpIb9ohm6iKEF0xBhCfIVzM8la
66yo214sfO7fTEv5bTpryc5WPXpXrJ8MsqKoBDo9dds9Ca9O9lO3afdwqIsOn6NTDOpiWWA6sq68
GKtkhS95+Wx+AS/xY+oTmOM6aX2FQ6FZguagFuB5dI+mshlaPBKvyla6Czg35IcU3BSClq9WBzmB
Wk5byYVby3zfon86cVfCFkCAbMXh5f3KffOayaCadDK/A9+iTxgQ98faTnz1BQunwhvMVlMV+eqJ
noAGw7Zo1iVY8sH4bVac4UZ0K7WCV+WwNUXfPn/iL9PQiV4oa+/zT4aMwaIMxjv3JKeXGFK3U9+C
sGh0ecjGsDqxgi0ooc5P6AEmlDKl7o/eYb9dd9AwAQHUIKhFOEE0LMa8A8JkS+0c4SClIzGuuqJU
jxSbxvPV/B7JfHDQq0YtbAJglZty22OTvmYaXdp2/ho7sUprfJLU4AHLYg/KnAz3vwBrOs3Hb+oJ
zJWA1CUp1WvgZ4glGOBbGHIU91n9YRFeexmdAF7JnOVX26lLMWTOC8nSVcyi/Kw7c3Jw1z44gnUf
IWKyViNt6w3mcad/a0MnrqbS0SrVMOSj1g8+ZEguz6ufViDap8BSyqptD2Xl9o/aV3qtc0ORLGD7
dYg6HiAOL3ZxbgdQ6Pzh4JYx/mW/SVaQyV+YFj3sqcriTCPEpTxBWeLCoQN94YRl6BYdSKovfLCv
eaFhBgfslpUd3ZM+eTWYISwq6eHpnLqO+YsYhC3XAI+naG69BkZu3zDCxEDSEpQS9GL9EFbogKQJ
0QYkmxpNI4SDp0RSGO6Y9pC6/DMoTJ6vTC1j5DBQBDYUrrmlRuTX0dkkTdHuGkv5UvMf4PkNP5EY
HbOFqzRZaeWF6zhOKAw0JZAEYFj2PEZS71AvgB6Jqhni/AnsSZxq3Mu8Se4tLA0g4U5AsplOHWOT
e9RgtZDocpYjpk1jkzrntgDW/N+HnMGyDY5l47r+q62OTyzMyHk+IFmrOKcpjKTAfIAVJGXlOTfw
YG5hvTMfEmKXSoFqMl+zPK29U9gjo4MZ8zG/hWhtWHIluD8ToThUZOzfQRh8ZS4k0HC3jpx3x4Y5
fG9VDke+wjm2GB9AuhDUEHJOXUFS8I8emO1E8fvLgKdc/vtQy7SEmxc80wOZgvZIAZQEjhufQzf7
d5r71FvUEKNuXJ5MLgm47zvm3qzh+T6ZpqFwCYcSrMjcjcFY8C4cXSHTwHfeHEdpEMGH4uQzj+/8
GJrvYqA36/rwAmSlA1OWIXxpqFHrMAJm8VxDYDp8dqcnkjIPZSAMGUCmDo6VBnoB66bwnmh/25ZF
dSaR/9rGQlQryA9gyTJlCGBXKEoTwKMVv1MmFV2VAxv2YT/4e0hfVKCLSyqG8sgz6Etrm8B5vRgO
dZh0b6bIZ98H5BmV702Dku/ZwrelvesUOSzUrey3peMloAVMEOdOWebwShNEOTuWYOltY01uDi2X
jfa8YzPqYNMZsw7V4Jy121frqhjsW8W6eqE1SMsyGO4it+SM7o+cRyiwAxCPjho22edRg/Vn2cLm
rH8fESTteUMPzamw3mpw5MUn7fgJh5Y68/WGZRSKRcfVEuOuGAY0CRjomwYY/aYhPT85YY9nxuX4
ZKjVVs2Qy50DpPIo4/NU7G7a3htek2pyWhvDr7ZI6k2oxl1vbXaNPTwCCgX8kVsNO/jcgp9tp51u
ei5hdYZrjz4p2EbT0hewt65NQDMPu/7qegBpMMJNiR8D0Mxd527oj3nspQcyglYB42+GhT+O2hTM
QVfvhyyhiDOKHyLr0nuIrek26P7Li8LhCtN4RKr7wCMwBSpuRFd4FeblJs/7P1nFQI8gGiCVsino
7BOiT6s3wLDRPexktGmiMYJ+um6P1ZT+M5dTaODpZt5vW+X/rpE/uklzwdeZhDYrk1nwMYBhvypH
uk1aoF7zfMnFr2M1dw8JBDtHCXjqCbkVTZthsGExzBVs2LkkrBfPB1FVZbme21lwONOiA7+jToYr
i6QLz7YAOhman568DzTIBVYnR64KSQOM7cJ0lzqSvDWwCHLCAt/j0P1ywovJlc43xOfhWYF9cKE6
+I6tMFCDmj9pY+i+Y/QQCNudB1df5m9nTPGlzl2KH+Nrc9ss38wTH+qG9SFjDpA7H8qD0TX+ToFg
ugFEDJgQOAqYaxOvFBME5f5OZV2cswk/T465ti88y8wNpXh8qKaZZsWzG+HphgxJ8bN0o3ViZf3p
NPlfGaAhqQUQ1lCn/Fv/JTm/u27lfBSIGocDqvuOAYVAF50gL4Ga+rVJZHKDrG/De+1ApmP+cBV7
14aDvlZJdpZzZ5NHmCmRPMOQFGO5xKodFqsUXnuAp6l+AaVDnGvb/1ZIkcNGjeF3F5XlTxAN3HYC
j7huttQGfJWAP4NVWjewVtZszWBduR2hbAKpm8TI4AugFaEEILrDNhkdr5iGpp+lg/gGimt/EBS5
BOBtBjC5whiWR4NeQc8wLHq0/s8BNgn+8oCiMBwzCzWy9fYzwJlNigpS+eEmmMLT/DG6YirMlh5L
yy2uqoWMk7uLzvr5B0eDB2ow2Pm5EzkHng1wqKSZgILvEsoMtJ8U5i58kLecim9B4qthTn1D7zGe
IoIoplo2IL2geKa8z7ZdLo/CCr3H8N07qQwaaEu3vbG/LKuPpmvTA8vT4KLdqNrWZY5UN7if6Kru
YU+NLz4A4rZkIDCdVefYQ10Dxm4Kc67ZkIFi2DY7XacxZvmpOGWcg2Qf60OqE34eK94vZdjRFwZV
Qsddfu5b+e8Qjb5zamFVWowgq6uwu6he9WhZ+3dVFy/gK9Z7kbvYgWQGX5AE+Yz74svpxuI8Q5qN
4Z9asGVFpNo/wYw8blaR6tqtHIJNMaHXdehsZcyONi8K6A269PR8Pkw/iW+kXGmUjycHwPYlyTNv
3fYhEF7E2XgLX6Xs0ANawEgfdG9PaD5lN42bNsRMbexssLHAy1dqJBRrNsVYuXCKZJEKePg3onxP
mBN8RB2BQbBEgkVrN6FRCuJhPY3sy8mpECYH/3ZGsITIAJ81vxnYFtFR6lVnbrajogTVBdZdayuS
YIPMbHOMMctedNOwRFFsXKnkq15Xw8tA4f/pdqT7yeW7yzzJYbrQFH8MgcCzfBtEAqJM3vLfWmZ0
1w0O4uDi4bUX5VtSyfJnjLg4bCe/0bzEh5lmwAZvEfdejlPM1GeQGbGC5PAEdTB5cvfIhSDnFHNa
7Jn1uPN9A5kDdaA7yQLMIjC6XcL8I/ox6vKkrFO8C+vonQQgvvG6ZYBd+rWtGQhhYFz9sRPPLf3T
tiDtpm3rXy20sNo0al8AowPPG8V6T0BaDaTjnUFPvnp53t4azLkbFpWPeSWbzgZUB48Rfc+hLxA/
4qrAO84Hnk1eMhKe7ZF04LuaYdgwDFTDsoxeNPKzjrowGIBDg7VNq07vhiI5WT+hHyOjyOsKlN33
PRhdSd8/hP8TZv/8tXPen1eEwIxk4VeSX8Tg8gv8u6CQFe6ODP2pKUrva/CwJIWaiJtiGbtloV8t
hoiXG3T15MTbAhURCRKshih9NhyygavbO/4phDLJwYArql4LGdSvSgefrmegpoo8WEdIjU0vJd66
NE24z9xplgxc6xHpl8ZR5m6mk2KIih2t2jcfMepzuRNh6LJIWpaCkwUOgAp/xxJB0FXYT4bozbh0
ogqPeVfBQoIgO93msYaNj0Wtx81vP4RU0rS1u5W296BYr9djj2s3f+puorjNh7ho+s0QMwi3i7LH
44d4gyvHN3AM8VydEh+OTzCtiFYU8PoJnrXYZGBi21jwC5AYENd7J7cQmrGjD6jnIVpePbJqAPRe
BmgxzABwLK7LU+TU4J07Oe68KhfHQYYY/OYBRqxDj3g8CBUucN2BxcSA3+2Y+szmaXxN60fNMNTF
xciPMGlCIzYe+wwwZiyov5+5LgV8Vvue93cvrPQOVgfOEmZwH5CS1+dK0f460RZJkQQLM4CB2Xno
gsiI0rn3HMjp2j8FqeILmUaobg9RXwuFoCIVVjZVOL8DGZpbNaIElBk0W7CypGV2mbvUf0SapoB6
Scjh3BXYTjCoWeYhKy4wqB52HVHjUsDgaeVnPQVwAyr4s4Nw60IdI1zM3VzOzX+hNk58HhgdNr5l
2Qn9wR6kIrPP8ggZhWi14bVdvec1osVBo3MXom9/t9TlSA0czSa0AfZS3xjklJTrZxsLAfxWTZut
78bV0kFjfJHZ+Gcs4FrVq+GQYNDw/VzkEO8d7BsLQ7WhS5a0sFdeRTANdjzcESPmgTLC15IWgmDS
M6EmtCPB1gWOCfpb9ILBCKx3E5thNaudyWM8fHfkGfZdYlEimeFXWHT7RjfFp8cQySQMq6aM213n
mOQjHXNkZpriLZOtd8V051dSlBi6YleB3xbUSjAhysUBtt5/46Dl19al7NCCg7dMrrCB1m81K8qd
k7g/h1qpVwGOUFSx4A4kG2eJhoYPpdTz//O5xYiAf7h4uBGMhPrKazVBYI5E5pIbI8Ak7PbgJZXb
0sPgI3Ssv4d36AhF3gC/D2dACFLSJ+fQ+PByzoZ04TlBcsbMe+GWKln6eYfKF9vlIsET+mxluAYZ
AhUGmHgmxU+aeTg+TjwkXEuy50Y4cBGqkOkL0OcQA4BBCkfW7+PCF/s0G9oj7ie2KNSQCYi/i0uv
opUFmXcxz+I6oWJYHSAoFJPi6DjftUHl7/t84JvnPzZUdTnlHvJNScZ3Hui3VAkAW0mFVgcZXvUe
RNsFrSk8quroM2jpjfkD/4ZhLLTC5o+KmviUjY56bTsFfDCo4aXjx/3aZaRae1NZowxgINE2ZNUJ
s5Gejo4h2HPQN3ojQl2nqjAklt6hmOI7pqzYMt9GH/9VrjKrA9xdxt/Am749zDtGmDnjIq2aegfF
HpAw2I4+GHEuft9gCuJ04V5PPDyXpvvEyKZYAVJAjG81Iq4W+PcqUMo7lcDy/g07OOy6JC26UxES
3OfTwUhbwLBkAOWu5O5duPn1CfQgjfxPWZfZj3zslrh8GRwnhDiBorXSjDU/SVZUS5lEWx7lOYbs
KeZlHeREGv/W8nm7Ua3pV4rRCuCx93kfJTT7HVbYArnL9lxSviKiJxcEOG7mi0j50F5jeYGk+1LD
Um4obH8Nc4K8z7IeoTMaP2RQyEvju86DtfJG0hBpsRSBzzKVySL0VfDSln2wlh5pzwZzp2WqQJHD
epLjFAAULjEBLDesSQKr5xpaFTDiunpDWzWAxgM1nfZ+gpgkIX6k8Qmu9uIrEolYgVkAf4Hc+uv5
rgOzaFwaJ//JVQiquxs9RNXKrzhx03UEQdYi0T2yGTSGUUuWme8G/NdDXPUF9HgyXYAjzc+I0sJh
emUbtk6iSG3bsDlViC18vj1oUhgAoGwRwXrkABp/dJwPrd/Hh3z8MqaMwXqKoueBmRgSeV5k4b7r
Wph/ZFz6i9pgpyZQPjGdmFMFd4ExicBPn/nqgD4cmPrIfDUz1weNPzu0iEfAU2nOAg7T3HkXpXsC
Elr/ctr4G6z2eFeDk3kyKZuKy9C2pw4FlBjsyQhpYOKrx08R9w6AEJD759NMmXUj0+Jt2olgpmPz
ft/z7Av0o6pK6tc+GHAINUW4UUFP83sJHcEOL+qXWvBNXAF4b1tVnBiGw9dQAQ4pJ95+DrjKgfU8
DJihCZ+YO6XXu9uZtYOeNUXpmrpbBV3VG/YJNGccPWOQjcu5HZk7FEz7QB7kzq2IUA/Ede1g9Unc
G4Yr9SuMXIbd2OUIV51PAaZcwcc89qaJDiHLwNdxCzgqsL7z4m2fyLst3/qK2oeZns4uVho+JsW4
q2GsvesdmD4Vbr8Ht8Z7w2L+0VTxX8wwXh1Slb9KWT5fEIj2SwGzJLPJ+qkQhA7f7PzE+0C8XHsf
KaaQcXljU99Lxx9eMZqTBaJ1lu5LAYLqaUBDgtusz85Zg2UsqGqCbSJpv5DqNEOh89vR9HZc6vcy
SpB/3oB1dBwqi8VwKMfPZgTryxl0tetBut74ivENGz3CV/kw8g04ZgqWpBqGYg69Y8Ow91p2r5qz
FERXuP05HaG7NoSpGTJPgg+rcHWD3k2ObRjABiLXw7JtUyCGCtzz06jD9tT6I4TdGKqfIChxYV9c
0hWfmDVul1YIs6lX2OobOZ7AInRPaCawwpHCO1Ue2vfnKljWHYM7edHCgBIaiW1HoDpmOkDUNRUB
kE7+AmCP3qFQ8F4sCKUoj0ONfNDxUIYtP8mqFZcmEyszMWfmgz8RaXjZX4smSI7zW7FKXoI+lJuw
ixAq2z4QPzFeOmp+8pGI195+ax6Ua14PCCt0GrmB1NuAEwayw0x7KIJuN8zjwb7Jbp7GAIa6WXEs
/fxvAPU4W461ew378dRFaYmWvtXL+RX8XTQUm9ZeQiUgHAIMuiQONkiX18mXQ+CvBf5u/KUqc0cX
iZwluDWGGNEd40ma0+M530VooJeAMcfPrgg0bDMovdREA+2hdi3gpPDZMLfa16DGoHFNYPxSARCr
Vb3hPmh1bmA1KjLjr1XVRHuval/CHNY3mCP6mwRl3BqDerj2VCx7HWP40sPuMPwVwOo+0x409LwT
8Ib1QYWvm/bHPOsAI6HfxLTutpmXgJegq/gUAbVLRZ1fwc4r3+IAdlJ9GED3jq8sHNSpTpwGVTXa
GtV3bNEmChZKU4OjAEGtnE5rOGc1/q6A2H01LwDzKeTw8MSeZq5D4ni7kWiMiH25kXNTL2JHr2CL
MK3z7SmyenjhEjQCILzto+uZ2EILJQ9jmZIdBmagY1EH3z9pQtg6dJXcugkkwM9vtoBF1SqMrTlr
EYPWHMLSw/eluxU+qKJsxKDHQCx5mGxQIZkaO3DMK7qGW3ECEL2Fk07oRadubJoViPvOIsUTcnbk
IBctU+N32jan2Mmy10QGwUFFsNsPklMZ9NnNyUu+azzr7XqoLe5h0wC5gVNNZUyGrQy+J57OFMCU
6RzidslHeQGvAVVGYH26zVA6Lty8TY5MpZs6JdkVJMfsGgxoqajTp8v5vfkwAL8/om+8gRC+ANVm
fJmvdaWg3byzEsSBBe4JSLKnV5zU+CBwsqlbexoinz6qqgRS10cRjG1xOh8MSAQLg4H3vo7cAxEl
gXdKGQ9rzCvlMpi+8rpL8lXpQzRFFKGHqoRcuZ9m0C6BfUMmsK5VNOUfQsKxrZftp2/BEsFwMrwV
jRfcIsNgOg5ix1ahb8pRp1Vg4uUYequykiCNOrCSKvo7bzO4oCyf/5neUERV3xhtg/pDhHpBnf2W
922yHJiLQeSkFQkj8lJ5vcA3BwdmjCbrhZ9z9VrExHsIbJlI6Mz6JRynrq5LyVWQ3ANr0BEH1kUH
QDT6JavC9lr7FdKYJsS9rqpg3RcJQkPCyFxd0T2qUeIJqdiPoBv6rdQsaA5h4SHdQnVbYN1w/crZ
K+mTED6DvgBlZsj2lMJnp6zhVuDC1W3Xisx8Tn+WBebfn22SFPzH6X2Zv8FZTS1m/glNkR4ZlQRm
JRrjjM73AepLHwPJ6QclYPJ1jUREgEiku7ay7a5KqgQCQqSqOsXQXsbmC4mx6gUgk1nHIveQUYzT
wG2Sa6L4lszVfRECnESHDyeVKBnAgARNIZ1qmOePu1LBvKIvbzS0zr1r+aaGrxJ6k7hDWIPdkwa3
aDkBEcDE7RIjb0yDcvBA0grj3SVJp3zglt/me6wdEnoK+vEtqAzfgloUbEDvdldhZRBl/1+vurGy
K5CkMKBlMEicb20wV0vUMH3/LCsS0ArW4VDjVCB605Bo3Fmu1blkVi6eDGVs0LCAK8LVOPXeZCAp
NhzV7XgwIo8JDd2hl/X+eZdxRP1EMlZ/qr79ibKn/PT71kdeaT4l2Mps0Tf6b0aq8CgckmDVbdSG
JyZ7NDTGV+A14Q+hQZnCgKBPdAhXK63TDctZ/Kg6SM8nDlOU40qHEN7cJPMmUzcoAofS+p8OeMEC
PPiFB671dlauDdM8Zn5Vp1tIJ/g1p2AQ5JloPwqWLU1o89v8dbqeX8IpBkDRfAqsgVxzwPPY6bNl
OMoC5nQpVgBGS0g2IFbfl0F9FxGDp0Vj3HoT6Zgv5/tnvpPw3HbX+QddlPPl8z3K+Oq5hRCf6n2N
9ZbBp5JgvwuaJtsJDLnuepJfRHp4N47oj/NZlpo7MVKsCeF6z/M4O3Ad4pVEwgkH8rroalEA61f6
e36lefHvlTe9R1MBt1WMOe5Q0DkLEpMOf9+AoIdZM4bg6Gwzb7EwkvybRaF71G17tA6r1mBprGf8
KVSBs4I9QLshE6PVc8c/caWBc4x+fRN19Qp/q/aivQj+b+OQPOHOee1XSp5DD1QU29b+SrU9DEIj
lFIFQgdh9eRVMEKZxoptGSOEZ+LndGVKl1HGvz3EYC68xrzQuR0JRRnuPSQUL2DPguFilPweY/HB
510Z9Wm9gQAZnkEepABrRwW48/MC6Eg7DXwB92BEP7+cDxUMOJeYXm5Gy4tt5vblazBiwcPcEBJh
Vy7RUNy6MeYvyUSZZ9Z4AALz6CWw0WcX0fb7efVghqacl+fX6g7KvqD6uyjC6FdkQ7pC1kh/HWOb
bf8VD9Mg0CDBctdPiJ4DOckSsbAw3e5LuEWpXB0hovjJ4HP0gFKiPHq9jbqN5rp4YJznbAFquc8i
YD6tBHMBbUyBEthyUSjGZuW7JN7PSyHorcsRV/e99X0O5ZdE/jch9t4XANsoaZcuq8NLkAzNGQ6J
oDKDTfgTRtmTxKT+xpgkXPsGRQNctZpHtvXbCDcN7YY/8HCWvjSAtjGFJSrxH12BZSRUbrqHJWp1
VUFcrhKu2QPw4IVP3mPEuuJuHKuPvAZk4/TTsCu/Rr5TnVTtVsvaa8ltdJt9rkog633kHAOIg64N
WHsbKHMEvClX4FPmfzwF9UAax/JtilhYRypI14mDZ9/AbWYLSxogsFDTrHqwnj5AuSuAZ5nudz+U
Kx1P2yIUD5vMhC9x0Y2vDDNUNE9ecsdzb7fwJ8/3MsHUoyNIG1FejJoDVa6cpF4V7TOQNKFvGAYR
HAfaPBgnmE+iVvNgEo8bNkmR9FO2dEOEDH6N8TdG3JDMw3fdARl7GdbpeEvzDJnEPkiIQZoj5Hm+
hSsBq04TBEjYtFmO5tCECFCvLIf4bYQtE/eQt9Q1IURzmT3JPI5PCpPW+/O3YR+ctAG7a1Vji2tG
8tsfQTOg9prnFNaNGjZDkMRFf5qkdjdR3EHfI9PkGNd8BKAf+28R877txLiuQHo9Qg0X7eZXrtPB
eBQNwK4LJRxJJ6u0hKQYlkb5yhY2+ecEkPZR+5t4PlSFdvwqRohUmdtF176N8DjpodnRRqBQ42Na
nmyiIQOaxkTReOC2nJyZI7FHyMElbGpzlj1qm0aFuHFqTvpdVrATqGHDY+yq7qHMiMxGE3zkkUDn
LUT0zjHEpvAvwcR7zeHe97fKvcq+96OwK1TYAYQWulrAeNG7BBnsxVJ7czoXzn3QwG3ppB8buHMP
cnBXZiFZMCSvHJLCmi06gfUgnYhT6awaqAzcDQe/2v73gp/C2HsjyCCfa/38g3kTSEw5cdCCPSyX
k3Vsa/U6sDrfe82RpQGanwJhBNO7oJtFN/D5tvNZDJxwmccy3gqCyBCRes5q5vX0tQNyD2rxY9kn
V4Dr0T4vsjeSDd4xmHQj86v/PszvIcTN2z631KwfK4xoo9JsSOy4i6Gh+hT7msBCYXqp3Ej9Ox/V
+Cfth3hjBJCTOFXXgURmRfMkXc276nxIJr6DVfo0uPhQijX0gPX3rz/dUQnW35cneZXCF2CHeUsH
+pwfb7gHAEyXokVuQVu8jBlx911eAfCvRuhBecK6LwEKleNC8+o3wB7mri+x4gezQ7EBSkKWTdS1
dwSqZ0c8go/Ot/UFUwe0aCH3x8X80w6165aAqLB8apuKumCbvj9JyDvXfTrazwGqA+grsmsLpTSo
1rglbTLNPVuY3Lc2Ci7zoShgJRhpuJHVUBrfawKSM9f8ZkhzmJdybTzAmYy8d/1+HLruBzO4G3g3
qht0k+3eMpjHYFn/9fwgFW3feDiY4/wxadr7W7iPccQ2ZHLpqwYsFI+TU+BEI+xchPMmc5odGsfA
vHX8Bhbk/NQlrOYQqvyjzVNYsBEnvXId2P2Iue92DIryJfM7jekcZpZ1txNBT383ABRhExO6dxMS
NPJEu7vET5p7hS8OpHFhf3nsZf6ViKCvqwtPvdQGRRaLnLfWtfzQBYm4VIh9W3kBx3Dd7188XKI/
cAhYJyr3fkD8KJduVNZ3V/p0BzQTQjVOzbURWDe5r81XhuH75HebYm4Lz2Xf3N0YCfG51MEefIHy
EnbKLOdVqQJffklj/6Q1cTYgDYpNqVr1gQgNOL3XBrmwEnoBO+jwIluyjCY2uwR3iohs+BqoC//g
TwU2IkCSnhzJdJhftVA04U8nat8Rcgk6X35nAqEFljGgUSIWX/O0Pq0ExJNOIGFwEgLPEn65q+GJ
MC4GHb/wopDXEETRyGP0dXoHHPfXVuTF8anDciAxT5o2XUvhg+WX+OGPmkdbn3fB2QJSXhEL/Rsa
QKhOpkcGjL/fpqreo7pxQcHBDU5je4m72NmVQCrRq2d2GU4TrjRwkivyVLGleygeZ7H8PJOSjPZP
TrvIkDvo9tkpahlMpubTwNq1Ke06AgS1zDropBZgWvvLeurqBUhCpzEasPeV+WSyABWXW4p4NYqU
nhsOXpTBRrBu8ibYtllZbU3L+iWM8J09GD7Fp7QdvfNxlPsi7vQ+H5rbjFh0DTpxq9lthjfTvN1h
gYfbflyDIoEx5yFF2tQKDJo/oEFzTI47EAZ65/8Rdl5LbiNpt30iRCCBhLuld0WWVal0g5C6JXif
sE9/FkCdmL+rI1pzoSiqZ3qKIJH4zN5rV3BBUWIECfqDqsHbxOGnNyNOsSQ53P0DKdSEm2UBfKP2
dQ5tl9x1GcsDuRSyXluOVn7EbdkTsT48BHnzPfJkw54aQUZIqsq6jJglqdkT3afOh+zIEgdiOu2X
lw19JWJ50AnG9Hcs0HAuK0y3jzhIFm2QPbpfIl3nUTYY75iQWE4Nw7SBk9oCV+jUTsN3f9ViyO65
Eaxdzy5PSTv51ym5IhbxroXugLOzInGQTdk8Mb1LVn5RYCWfD3sv64c5YqMHHDvF20l3jCNhEfE6
Zvn8JbT7dzyilwbb7Zdp/ut0/utABqfS6bQnNcUCymR4LAvdXcsO86oiR5T5iSBewY4vhV222NTw
DBpVlh5tFFKXPnOqI7hRA2Av85pai7ciyf+25wtZDYjgOo6yqGt+NAlmrNkkssq5H4E1IszDoNIc
cst/XzQkJqgWpJmCSZBDaZ41KMpjdGl2UuZbowzZwcTnKdLDH3XYP+aaKt/yuiMxT9TYknyNb7bR
ujcz8N21AZxlFbOBvTAJQlUTz5GATsgBFTjOM7N2JKB7Z2yNdydV5MQSfHhJbVjVyM/Q1KMhQ1sR
qalFoHJmBUrB3U4D0seSN5LI3eKNjNyhYKCMHicwSuhmEfQ7xuvtqZ9Cl/RtBnmvvzXo4QisIBgf
DF3RuA1M1Gn5x2+6H73ktXWMmzr6UTk5iUZ+9a6q/HvURNnFqQU3NZqOTT9Z2dZwicIMbe9vCqvh
4I/mtVEQbBZuhFsnm25qvY1rJ8990zw6mrJeKgZ3T14qVy1LpRdmOc6uqktwkE4rDk5lIZSfTxLJ
FukgIhQZzfc4QW7a9Fb/oOssI0XrPLEswfuH2vgS21p1UqNgJnv/QoOZJpZiLmhT0cQHz0bqPtba
DwS+1S1QafZe0rR44aXXbEZWi3nd8fR9nIi3+i8Z+1/jNCn3dhg1F+X5/alpgm0320O9vNHOPOK/
VhoAnaiLqwNFsoEYiMHsmEKZiFLxhN7SBU0b1xR1Jn7y9mDMNRPVa1itrXn6q4Z3XOZ4micXo0EF
s269SIU7JqsbcAhoW+ZbB6PnK1VicGYu6h9NI2qq1cjS+/42YTSwlquQtnoxodf3vyxr1//CAwEi
9FC994EcdmNfx7/NsbhpvYM516ey7U+jb3ZYu/3geNcV9C2opACaCwRJBJTkHP5cJBvmrPSMjZlx
832Qs0+bWxPD1nzx1ezE0BLtZpZWfgp4O/jMhwGLRsK4vMxMsg6szFyDCXD3Ki7t8zzfgMNtDQz2
8+4CUuFMVyVufdojsWBbF0kLlZgTm6vlfnTtoD6Uebgzenjcs4ir7LQbIxd9KwwT4XszcWvYOevV
eaGVaIm1SWiqKVGrHMmx88OfSTqhzYxJ14+BocIPfczQ6XpsKoK8NjYuTdw+YLq5bvom2ZR6Ps/3
ieGt5sIbnWG6psJ0CNlBIdrk07qdivitVgS6F3UkVj2o5C9jhoC9rvxwLXyjupG0xaE4iuL9/iF3
gZcfly+RnzTtbTmLTNb5m0Vjmg3WzY0Ez9S/upaCsGx6s/oRQDXZZEFhzzCROYEYUMeUN1/02fTh
xOW0C5y8gCgh7DULUP2Y0LPvU7cOGa465Ye3CRIGAH4vz/yuNu16vuoWPkYgXnxgO0eDIDayF+SX
KKveAF/kxzhFO70cfaKwOnKBPFxCPkP/YfpiVkbCRmT4BQyJiSJroxFuCIpwIgvcmP171DOVbJkJ
PyxyBXMWKTh6/XNwnb+Xx45n4WFQnRsgnYs9+ySH0j2PHSKElvXRyq917Kpj+7K8wykKJDcuJ42e
iOZRpgQAzGYCHSz0epwNJvdHqINGe9XNh4k21MTZzLp3PbrUZmufHa7jrmCz8uKjegaoKuu/Uqw8
ox5MF0Mpi0eo9s32u/yJ3si9hQotDpqMl2aYjC8yDg9BVdfvbMW/ShQBfENrl/3RkD2GaTPrj92L
aIAEqJSolYHBD37g6iMAG4bOpNC2aMa4zd2w3qU40F6qgo586qKLFEVy1kB69SOaJBXaxt1O1Gk2
mphZZim5jLvOTMiCwS8PerbpiNsw3X3dsY4uQKUP4Xax02mmlfy2cyxGaEhL7V6GPv94SB7x8HQI
iwyd4ez44ezNNjburBHsRisLMsXMUys/KJ2CVa2yQmw0IntPy+eLMAaZ6UOgJvAVueLmbG00C7oz
ZohZe0aDrtY9+65xi/TR+Wp3/P2MmFo+v+UP1X6UvatvOidyN5zHuP4rJIOZoqCbp9RTpYY31yvF
Q+ZaYgVmZPw6modCbsPCrk9t17+PszPVSpxfKVatI6lj1L1lqXA/pywpkhZTM0ymrdvcL2EMGoM9
Qf9s4R57deico3Krkmh4jlB8PkcWElj0l7of/hxLQSBdWMZXevP94sxYHgchGSscmQSIpmX1YuQW
a8HSIzd1Of36AA+1XiUm2dChBus7LK5pFgeX5XP7g5nwU+ScJy1hWmxvHMO1+fmzUxejLb6bRGlP
HRCTraMjyXfirjiEJoMw1pRiP0W1TnawI0hXGcSpN3z/FHZRewhBAWxbVc/kCTA5fe2dZrfGTubD
u0pHZz8hbSJvxZieW9dluDv5HAuFAQi0ya3XZuAcpmTz3hpoSGv0QeYfwFn/BgMCDjPA5XjAiARG
nTlp9//YkIsAuVVra9mTiqM3DB85hBD3HfUolB9fYr+bX8Zi7A9Un9iG58W+9AkdWKRuOnfgcnoW
beqe7cH7a0CE8aK71dcps5g1sencOobFNWkaZl8BhGXbNbZZ2DaHqrXpRrIcO0FhZ8BTREnoANNc
zv3mwHbdR0msa4Tp6f05DIiWZ/rVEUU2VRt90LIrC4FqI1l2cuD4+XHS7PzcKe09ypOfrZZbt7AQ
rIS7xHrgGYtgb256IqwTjE4H7WjYSbS3Uo47gzxVN7Hky5C12Di6eT7bV3swQ8Z6WXtU2bexk8ld
Tx5JJisOx0nTtm/toH4ZY6pIrhtWPQf+WI3fK1wzG/CO7WWMW+4X6X8dB9o4I0vMd7ewKeMbjklz
Jl+skqwHfxV22UXP/GGHWuwjTuLgbPrACcooNt+WlwB1QSuFVP+hB1ogTuWW3ASki/iVUK+76g8G
dfEZGSklXAjTtJlcYOY1xScrbxkOqvKKlLVrWpGt4Tfug6H51+XjVmn9ozJszhUWDmroT3GB9aIN
EEzQx/IB95Tp7GPf+iKa/uB0nmGm/3TO27okk88k6RMtlud9+soayUDj6g8B6VZ4HWXa70yOcXDt
rbwWZdHOXU510E0DPmPcta+lC1FnqDznTPWmLjpl61bziNDDEcdhDC4Kh6p6LBrHek1rhGtZ09nn
5aWmI9lPJ+ZnQ15XZ+Xb4bXQTsqN2TnMdddCd6DY+5v6W+76hV9p1OO4rQm3yEPP3VM3Tvt8ilK0
IiSkKObOqgppqCHqvQYfnj35L3mvLv99aFnzRfgHXsAG62EKLOECyKtpfgIlAHjqGzXp7s3Pks1k
WQUmo/hpcXOCtIfihLlYZ45wXOpLWUQ6rob5maczDoVhmrzXDBFWfV+Pf4lZ2zAkRcjoYkB+/qNx
jgnH7SqrQ3+P5XO8mmjBmCPIztgYJRqcprDCm11yPDCM1vfLy+WP1E6oBpZRQ4bYatczUH5lt3QO
+ywht4XPIGhMxf+xII5ec7K10ymSGui32SdPAQrQkiIiFMVZ98eShHPemgOe5P4T+Dt+MhneFTnN
eVZH1UPGmnCTxiNlKIoldl4rcjiJJPvvK74wYz9fcU9YHKU2uZv/QqzyqBLU67hIWC2Ue8eZksus
sR5k2c0IMaLhJ2TMaYbSJ4m/DLNSzHfrX1HDo8wX2C4gnRqHRi8v7tz20FrrxEkk9dGdm+XFowBQ
ol/VeTXdqnpMb54/CkjS2W/dbyqJyRNT9VN6sXiKTT7hsh7Z4wfd0wJF1edEV6ct3AclfcyUvR9d
RTw7OWaWGG50Ihi9rNw2ihl7n1f2ndjlBn6ExktbWc5ZeIm2Xiy8GKj0a6DHW5UiykkwUDeTI1/w
D5yQzmOaY1vQcSQMpEsppYwj5Nan3HecPaRI96Ixzf/DifUZbOJ5LpcdXgPwAX7jf4FNvBSAZdYT
hJR4qU7lX/0W+s102kXyR5XFjIXDbj3/VxmtahAdEZQRptUReDI7W8TgvCVG3p2VxNwLfmtc604N
dahntJ2n2gogXXFlBVT+4Y5dyoh/fH8cCxCIIV2LcalLufTPJ3Fk1/hURpk+ItGyYLMrdaq7eLeY
W5c2zNS6hMWlByawMNxug4QdmFmk14dl3zF1wYWFqHnUoshbh4P1fVk6deV4M4w0f1i2T4Dq/EtR
1nwS2j7p8lMC4u6bazIWqboi+xNi9hOFwZWebkIetTl/jBnK9+moZv5uFWLs8psgi+UamE+241c/
k9nQWKvefXMaP9iOtZEyPc3fp9wGGJITZyrnFh2AAlRONorXIqyT11RVCP0RmfABTAc5Zl9gDpBg
6Kf4GloSdP77fqbG+3SEUvPxaRjQ9kBje/9CfwDMzi0ZhvFtqgZn1USqRIYmJfPnKNjEwvgWxtWw
ZVzZPwZD/uNemS56Zz8p5rgB9mxpCxzNMJvrgggLTYFKwSu7teGgrzND+2bMtIL5lTD7Pe4vteEQ
nU4igFerKdqDGCAOfidJpRDWnn7tB/lX2tnus+MQZGekDIHcUH9qokDbOBA5LoEmSV5EU92kjIqV
QZ2hiCi6DxgQ70h21fS6ERpnGM2sCfrA/SVmte+IHGivIXp/sJUHWUL35GXyuh9SOgCWDSvalZ6h
bWRuc6wFyv+mDGwVadvdCpWsLRSqJntH+xUDmrgXWyhek2vQO3DISvt52fZY87YntpS/wzserPs2
oLWH5XZNqua3liTt+hrX71wceUOGXts+Y7CXr8t4mxd2QcqtimCqzl7evPKRjI4Muxsl5E4BYdoZ
aWZcpZt9lxD/aOEmstMMYzp2gfaNeS2CcfjLDCCCHohQiQWljtvneB5eIH7nOQayFa2GM+PGDFdv
VqHrRxiPcMWLkXo1ELqzNh3MHYYS1ik2cIhgsxhvFfHPfW3V7I58OjsgaGg704z5eKnftMoQqyHP
o5tsKoLrYodNEBq/KRtcSNIJhyvfBa1txG6ytV9+3AJ9o8J6wJ/9pyQA+fnO5MtNGWU50JMNxzHd
T8jgRJvsImxdi/xXL7qklqnNpuVgDeLO/uq6ao61zv1Tlv9yC6P6ElavPUO1D3zc/qFpoo2ee/1u
NF0Im+gVzpaMsv1giOExi6Bd2jL4KCmNn7PCU8/RmP8yOwHMbn6Vhk1wSxpvt/wX6KzD/f2zJlch
XhecKSeR2RjG5liVUTrrEOv3Jo+DFHoa+FfqruDoVgRDDtX3IvXEHw5i+bl0mns9iBvGgo0R4jNj
qiWSooiMCNdMX45nOa9EaYDUHtpMtimy8uq6WEVnt18MmfIxiIz7q6QuxCEggGYXJJ1x5Flk0gWa
xjH23B2cuOSW4aARStv6dU8ISpti/IQa19ASxftMl9861r9n3UuoNOefrDYvT7TZ8ETo8/EwC5r2
rrlkXK/1wPCR+DTyK9OqmY6ahSanjyaYEZBm+SoxQ1SmhSFMTd7Olzz0jcglAisaxu9pbx6E1Nxf
/Y//PjSNz1QrEjZMyHJUP4ZY/vPPh1g5WkU7Jk0FFD386kK5+R443l/WVIpjkJBADCvhJQhIIJx/
CDMZPccl2vVx7hqjXLOOwYjn1in47SPOh21XyQSURFyDoMvrG3T7ZGMoyKL//Xv/qw2WDhqlmcZF
SgKyns/JOh46yyjhG37LAy3dYqQgFnSW2Kfwz3THnL6EI9/YFCTgsc/Znw2xyrf4g6u9Hbjmyenm
gxcp5zodjf1i5Qv6NzZ06UdkQWxVTtYwAYJVuzjbxv45aDLuBwZe+7s1zE9N+2SzKfPXUQgf+74g
0CaeAJ6aqrWPmZNUvAxr7KgJcD7ZWzCwR2cG3KxlKkCgz46swSPNJqic4FDNjx8bTdAKqe+0r7Q8
vWzlrASa2Y+pWXVb4s/0Iwq3+OXOC3MHkke6uHtmrtV+02zv4X+whDBMNu7k91ezGuERdm/Lvx8P
CVtrvHI64E7Sh8LHKLiyLWaXXzfkzc3aTy/uixclX9M+dHY99876rrb1IRJtEuZVL24b0ADn+psy
Jv2xLM0XKCUNKNcUVtK+c4lqyuPWYsFmApeITUxtdiQPCU/ZBz3RX5e5nhkM9R+46nz4/yoBbBfW
uEH360q+2J/oXyWnPUd/0MJKnRGe8/A5ZhW3FpKx8Rioj4IWC9EQkzRNmt880RSzc9r5UrZ1cU7C
KcVNQn/eSCK95lyCKJWS5xcpQjTVzd6Oc3LlKr5tC1CmmrXAHZylLSZX4Dd6LGFyGGTCVX221/x8
TQmJj2MK1VnS2j55dVihfifCeLQJrXOx+G0V4gm+ESVQgVEySTUTdcha19mKVENe7hnEMk2R+eiB
6d5GNjvNmR7UlCh0/SldL9O3+0amdNKNQV7THgxnwaaEvtG2AQmHPb9bn9NfxIBytuR19KR2o39p
ZAb4d+ao34shUjAYBbEcKODC3X8KH5dS4/7PU7Lpdr7XHqvJ1t+QrWd7C5+jHk32zo7QfMIiGNdN
PgQfoYvYu8TbxtfpJvilbkls/HJHgSl36SYZPFtHr+N/BztU9VXz1Pb6qtOb5ItNqyWGiXTaRE7v
TZDtcjefvmv4xzeJHhBm6MfhyTMBzCxeHyejfmYedK1I8tkWcm3bo7jWBVyK1NCPti24TvJWNPlT
YOP2G2ICau1yVgEDaN2FTeY+4bfBVBiM7hOIp25VTaD+DmOICM4G7VVH3pFTlNEfeo/twkWOxtTZ
Mdoo1ta8HTK4UwgOjw6xRubs0i1Cnn1a5pu+r12Wlk05I8tYUxR0cNOwqRiw80zmKFVsnFZWrEPr
o6E5tvNIe0IPP6PtG1aj5kgSVJ1E136SD+HMBsaxMd5KK8C63YwWCnRcvHeG3W8zh65Qs+UdXFj2
gZbjvtxf5dm0NtMmQmtm2cdMm5xbiON9NS3IHBu4wCp5KVQTf/z3ib2A9/5vu2SRajO3FwimzHk0
+yndKylN35IlVyqUf8ccxF/6ElucdHCruE75peZRtOZMfWpZN/1/3Pjs8O48BwytAZt/8X9L9GB4
X0DVpowK80Ac4sLtKBnr+Hv86DaT+43Eb8aDdin3GdpomEbecK3cfCSMexo3hVOyH6WH2RKxmR+I
V5lo1ksII02q/eVrw0uT8q2cRYcZecUJ48tLaM/527X+rHR09PlIhchRjJS7nVdUCwa3Rtq0q4XE
uzaP3Be/cJyHNqumclYFhCdKIWGA1SG1Vz9Mil1Znbfa7Ax79Amg2YgcD6XWdvK5rsqbCLrxoS02
+IC8xxbd8ON/fx7W5wyK+fNwbSFBEeiuYLr2zye/mmobSkbQPaCL9l+9pLjIKRpugRCHyBj8dZEz
zV6FNuYSGT84hvqloYF5ndD+YKa6sUz66bZHjpvpQcwNN2ZQSQLKnqwe9dRmA8yF+fkW1fmqZrR3
GCSszqQV8s1IrW9j5LCPf2umsPnGpDnYg+x0VnaKE8yf5WEiRiabZbNTFUfO1kUgcTXq4G+vq3iY
t2EPPSipts3SZ2E91NdLX2kmTK5Hsz/LSl3vHVQcheMOU2L4YvRyHZuK+AjaSAipXg3a6g/UW+PT
ZfWIPWQg7jKGNXSd0LBPdXro27FphjwS+zJBTDE/1AMPvFY9kiIWOVl9tHHj7a2w395VJQHPb+cf
r3ythWBqmG92kps3RETuZRpTOQHl02x4N+REDIyCH9zgbM3PowW02ZdGvRaLdPi/vyjyXyXinLc0
A0+Zc4Dy/fyO6jrMk7Lz4c4PuNUy2zBOIyjnk11nmFmmO9JrGXg4sXi/z5KKqD8BJfnVKRXfEtSX
sHAyj4tQMlYrB+wwGBCC4q59Nw0/3JTIFgCWj+1BZfQLSd/Imw0l5H/AD7YuH91QdM9d7I7Q1FtK
zglJgh8XOtOrdqw+KmX+NO5MdYvyz2xSGO9lqzGv4zj87+vyb7Stw9TK82zHIcNFEjfzzxsIGGxb
QuGw7otpMYwMXbts+mqaJY2ql7xZLu1DUgdsyzM9olLOqALKJD4y3yZvvhEg+ELklXZOWMOyseNT
pXQpcO8KEdNwsLklpQ5YbBGsgAD3IGdayNgYNv6QhUfe3+fSiZmAxOvGCS1siSjtU/Aej4oUc0Dj
IM8m1rbymrOGKWHPwtG/yUmfNogwq7dBMKqVUUxEe4oOLqtRPAK8yc7NkMOezq3zffRBhmEYPOkk
vr/EXmpukswTu9BX04sVVeND3tksrPmHQc4bZSEKS2o2ixrd4G09ZfwtyRFbLT3b1EbJrpHleSGx
NshYclc8T1X90ASqO0ydslCWQXXwyD99yPOeyMocXumUgAwZrECuG1t8xJ2T84Z4+HfhDwP4Ouos
rX9JlLsXCerUwYnqy8ToE1Vt+BcZB6s7kqvRPO1BucEHI5x6D9Qi3C0Kh7LM9/d3SgRH+GoNTobX
qXtFL4AGjgfdYdkEkS6J9CEyO66Hl13QXhZr0YG+bYeog3EvfniAI09aZLxEGqaX3iyfwaf4r/5k
MgfxmhWDQ4a7XtNYK8fvkPpDCjVndcmyB7CKcRZf1NWWlAfCvrO0P5jowo5MqDTCCek1II3W32kn
d27WYaA3KFZ118TIranff+QeudRJlKy7aRi3rdvr31TyVkk3eRtT1Lywjh4KYVXbSrXqbawdrK+5
yHeqlh5gR3sgpaWWj8wss0vetA/t/Cqd7WvLHxnklWI0/If//ZVoifxoBayzSB2XSjonwvrJ1m9d
5lCriYmdLR8Q+dS6U8A4RIePOTB8hDyxNRp1QQkfsDqvxy3kiens5cFw1fr6x70Li2zwUkpqxUMM
Se+MKM7YlZOxJyMrWHUsYNDNo8hqoQGv+0Yk20V14dW0/RbKdTbqQJrIaT7oTyi80nnimmaE6yqC
FvaIH3BFa2xUvJEBY9BPJ8e2V4YDC1H0vnYCYNkdhi78Liz9YQqdmIh5+/2uE0s9NsVq5Eswz+80
MsXWILDvpKBYxG+T3GaOGTwJ3/nuhtWwWXwvrFeviwvGqjI+ILsdHtoBQ7PTSRj61uSPVxHsvTb0
f7omv7GhD8n+fikw1DCVcwZbA16mv2qhzB8yxcSWvS0ykn7Clqq0aDNgtVoTOv+9nK0z/zPNBGb4
C5eaeyyIQH8EI7Xp4qle164dnSranUfIXj/u7NW4dGCv4WxZ9YRBL2v/BaYT8f11m9AB0RrxHOD7
uHHxe/AkmQmMaA4JPdXjauP1c86Oh78M5YV7vEe9cD6kmwV4aLYoKdNganZ66f+tGkMydHXdg4qa
ZyOsJghxOafkPObhKvtAEXiW7cNRuI+iGtKd1LNp0xR6dpgmWH2rlJbiIIVk86/MSy+jFQzX6BXo
q3WNzPgpQm0D4bv1bmL+w2ibtUAesLLKoT0joRweAB/eL3KQvgC1I3BEpGssqeWD49Wnzgzsh562
F1OlcdJ9wCPJWDITYApxvqM/lidVS/vwqJlqvez6Mo30cyPqf3NQZIQEaT61/KjOMMiCedJYhX8z
ORQPrDmnlTXrA4cqJcBtQLFs0ppXTurigXLNbp9U3f5+nUt4d4e7sjkdMJPApusOoUT0RUb4cB30
oyNLcxujGrj4Ks7OxSD8nWFWOreI0neVqSeXvKyTix+a2WZK2VmYuZYhFI4L7RKkwMCAW2hFl56W
iBfWqD4xR5WkzomwShpIilYOjvwtE1gebQr52ABFvzfGfVHoCjM/yeRpoR26DqJf3OTp3LH1G+pI
UmDD3jwNSRaf7TH6MDvjCQEaAKtFHVl13/x6JDZI5cVzlTfbVha72KrOY13oz1Jpw5ZyFzRMnN70
xKRdut17UHbM8X7h0ImCjOw017VTPYKJkjamwbQB+eKK9lC5cAQ86H0sUFN/j+Reg9VI+djV5B4h
VFXbKK22/lRNr/evXVZnPxdPySIWIjJZY+IKwXpstJPutv0bcrvVPZ4jVAFGSO6MfNaqam74Wgp9
YHroGm9xiTkLp+Am4bYwN1IW3xbhUYnF6q2QuE1VpBcnxINo6lHUntsQN9hSNwRVfu3MWTWxfMuI
CyASh+WYTVDWQZ0azBXJBq3SmwXG7xqGk0RsaZfH+2Qp8u3HpbWue/tZZpHNL1wle/4taMH1XQBZ
sUStnUGQNCTRNCOEuhW0DR/hZ8oRrbmQ6BWxlBMuEwYPgLRC52KEQfzFg62xU2LOJ0qD0LjSbOFo
856op+vtom+NjRwGdZ/cvZD2aMwplebaiRjVuWnx6JRmdVpoeqRervtsvA6h7X8FWwI6C2Huyg58
iUcguMEAcyGlIezv0Dsfu9COUTHDUUP34DOH6ORj7CT5xqyj4guyxGo1e36ZsL/XVXXCiqodvbqu
fovmejpy1uMMapY/YqtjUYAHejOQNfKIIaXbBlbOT73LlnV5h7hcN/5YBavlw41Tvz5ZjWj9nbAn
IlXmTif2cUkVZFHcWxniae55Lr2XdptRwr2LLTTPWfyrCLxfuWnJh3vhEajh65QUyS014rdQpncN
3AQW/LRICYWbglTA078NVD7tvcR7X6Yfbh5Xvyf4VCYFqCzdWwNpSB9SdMg37A0SqNP2vl4NkzjZ
eDDiNx1IsXhWCFuRdsrrKD0GjaOtq7zn8545lB2agnVGvOhB6fm4SZMYjXGXPKRenX6n9JSw2JP6
lTV/tjURtI4uuJ52yhGlJysUo86mdGSFzE/45wWHaMjD1MbWcamkdHuYVotcu0Skvb5TXOM+AAjQ
gaoyQvGasydlhf4dgmIYwK0azqnuM3AdhhHOIIK4psIcM/DNuRBPkC3C7brM9nqJ8t9yZbuybIPj
t1HwsUX5zj0dnsmt+xuTjE6IgFGeCjDSX2V6MrRBfyBsy1kHpt0i+SL41q9IAeRrvk68BFGolXbn
qCDgu+Y3f2iiZAO6QzgodGEbhZbp3xNqfK2KT0HgP0Z9PKwCq6m+5rbONFtwlif2xkhqb7sshsdE
2btyJAywL3nI1jK035tJP92/OMy0xEek2uLRM6qrmOXgvdNid5jNJo7ufEdKL997rewwn7nTg+Pi
noOO4K8nuG8rX3PflzIryDNvx7sPqVgNoJ5zxbE8gUrAXisIFOi3Z4CcBr6rZpB7MxE03UxCI1qD
ctVDvPP97kxhwUZcVDOYq2be+Gapscksv9mJfgTsAPZh68Zu4600Fe5cUi+f0y4ZNstPYJI4xua3
mvR8BoULstybMu+H6lC2jlrD2KYDoz1nFnGLwNqqs2zXIYEb4sRk2q1PMLlGkMdMdceGBRZzTdRY
Y6v/LUIazS5JLklqnBq8hbelHeuNrjuLymByw4xz+fu+QQi7/MSattp1mnyDT5Nd3ST92fQVoQyq
edOQN53kQsymwih3UpBTlVj+T2ts1i6zng1oe3Emgb3egP7JN/1SGZm54x0XB3DmzIGWfdDvyy7Z
xYu1NABiuq4Xfb41WdM1lqI8F4Z47L0seev82F87ExZ/Q7XTQ8fE+ESvae+BEQbb+xAw1st2n0fo
s8sA9bYmrK+pEsZPs8T6yWl5Gnuazjw1s71qmJO6IrVf+VLKE7UigWWxZb12NBwg/dFQdJJNiW6A
Ewr89mOBwiRzII5AE1LEcl2HJY6gqXhc1NpCmOTu1sEOrFx+SjNmskOjZd+xROs1S+xCN2pggKix
ooKDKa71jwX9vVgwOE+MrRaDDRN6VBGzxB1UmDW4oqY3bjnpTBtYH8ZbZbasea0B9RgsFpReUI8A
ROWPpCHWcK1Ga79c3tFsyrMVdl+7FG163qwzEEBggh1x1hJv31ed9ZTgbd0M6CGe0KVxDAELXJV6
lN583dogU3ZerCCPXyw2n5rqo2seUy2itM5u6di+Lm4nGOn5LeaV3RwzDigyVvpvZW0p5lQ2faZF
Cccn9gVD70aQMQc1VbXXiuheymjN3tyr3Sb19a1VMPGN58uLczXDEsfim3kwBPMs1HCHl9qJ0jVn
3W+5Xyxz9FaJE6cE7iGWHN0awzNvq4v0b7kWVZSyw3hGJZeva1gayJOiXUIDjbHRKdecae0HfnVs
dQXVVA5Ai4uClWAOw/IymW+KbjDuyH6sVjzLKhO3hWltekhSa0ERsbeXAhQrwm/DBAK35M7PLQS8
19yNiGdaoh8RP0Za0yDciQHDzbVD1ue3qpX5owyqL/h1ynerGeQRBegzqO1hhUIreTd1GAVwqH4W
/U9T2QaJblGAcJdDSGB81tj0PNo2e3mn8lfC6Sxzhb3DO+sGkAMn8a++E14CilY4WExPyOvLj7oz
r32Sbks+EcCuxY3b42jTJgSbngveocKSsVGRrZ11qJaZHQ8ctE2azSLbjD7EsLeFG4L30bL0FtPd
H1BzGduhji7MVrI3Eke47NJ8dowADd6sLutd81ddTwyXsSkfoX1ApzYHFbMMIFygDbhjUDSTIF1Z
dDJ3D4SecktbRCGi2uaCyGi4Ur77x3beUi3GOVUkal1oEpKaLoLZGu+Zx17GoIcFmqGs5hR38zp8
CI2BuXOt1KZSWox1x+nXFN7lOWucalWlJGbLxPSfMKESJIo8156Mh4YT5zV3FYmCU67tyttIx8sx
C6pxlSYWAmAx5xNXnZmtIcG7JwHH8CEt/h9jZ7bbuLZl2V9JnHfeZLc3yULefFBDNbbc22HHC+Gw
Hezbzf7ra5A+lTfPKSCrgIAhSrKlkMjdrDXnmJAkHCrulmfCpmna6Y6r9DDEWnWRzUw4kQqbU53m
4hgHpNWtuzZRBPbR3CqILifdkqR3Fk3yis7+TwOGaRFZqLw9eVY1FrL0Lpij4o5wnVuau8l9KqvP
vqf6YqzOIQ1ZPRlh1o+mZZZmjunONouNzfe67Bv7F6JCTn04KvWb0PulIKCGG5T650JvOtSwLmia
PGESIlUU1MjK0UY0hcwedx/oNmsTu834VLXFZ5F1dOnAEmf1hN4k6hDkaTptt3SofnSjQUB1gOym
buWJ9j/ykbWsY5huvpe1AckbF8oq01O2dC7fU/oUmx+4pH5WQiOCMYq8bddb7bHk0933ZVsdWn3x
4hGM66/dJRuXQkO813WPjFOLxjL9fxS3DVP+TYZCeZvKkWRoQbxnec7fi54dy8mhy2ObRJB0rwpK
RDNMtm3GJft9a73PWO5rksp8ShE8l7W4Zr14TrMJ81Fp4yNt8vpixISZb2IYN+spVBVTch1QV7pb
AYsyG2CxjZ7iHF0YXBX0p6RpSZ83JViCIjQ33+nzBsCbzfdz7KwHHmCuRfBSmz8U2sMTY8jV6t9S
JGhdiuSw9gI8XIKHZsms0QO6953Qos3fsiLWw54W28424n7beNa4x9Iz0+/TredwSKI9ST1yS5nm
QnFbdnAnETt5UUlWdFN7Oza0znOltWjfaubmcXoNsTwfA4HpO58YOqkkejtGPMfPIajvV2lZiDHD
r7lUN6aWPUZr6oShlcMWkEJ8WKN6pzGyjmgJo+3qaqj18vdyo0zT6nfEjWS5Z7mx3rM8FOICHPr5
C3Wf3+d18ysQrtjYoVSPCeth1ntB6mdD3n6OKuUSjos7Yj1a7VEZyfTIuv7QLTcQBVb30ZQ/BF3v
PNTxeCIUM77SFz3U95v/r0PgIhdhzdljFlszn4TIzq7ZzK966Yuhwu5jiMrXOxfi0RzH+tZVbs+a
GcPISu4u9KSjwklTrjP6J2uRJehBhe6s6yg7atVeNtVMVlDpAuimG+42Hn3LPMjv/vUAUQC9n8ec
5CXQtMI6wZy565okeAgygoYITqHdvHi+bA0zGCnPFgbeBEKdkvYp9kz9XNgxApflVrzcF86pdprU
Y6Bl5aHSR+fHOOq+CQzxVx/n9tbtJnrLS0+e9ctEKURFh8KMoptY8RkMOr7RKDG9s6aIbPeI8X6f
cBon4A/fEl7AryeSe0PHTG7HFqy0iknZfbVriS5D5uKWHrjO4CGSfdWHxtvces8O2/AHw0biRA0b
6urQGW8QGN4DSZYYikTSKIc6cQmeeFqiyvXK+VEDhjmOOvkVa0WypBIWGlH2ut4fFwbZVtSodTlD
iQkX4qUIL60VEJlRiFme7CZ/ADeKB4wa8DZKWpK01yrQMFafVSfaI6EelCPbQttE3HcOxxwICfS2
m7BR1kMdTff2cgK4xIWSrMB3ELeh3IjI1V6yEs4ee6kG7WsV/mD7sye5pn9scR4/Np23TwjeOH9f
37AK2sdRle+dgJwstBgQVYQtxqsa6sFsm3erxdiyHp0MykkeFd5eAxBwSvuO5XLKld/TPSiM8Gn9
QQ2c+JveK67WQ/bnwvcG8qG6ifq+01bNjS2i+/XB0WLHqkdTDOKUQPT1FuUR44Gkk+lizCZYP8IM
t6U0+501VZ0fl4tzRs76KbVb555a3I+R7GaMsbFzv941uy/tWBl3FKBpccjMulAVPq8PybbHxlQG
6b7jyr9mkX81Y5HVNnSfHPC/IOtJm7hdjwThPHdlTcYD1GqTJGVzYcYnLzCjYQCk7c9wjrsdiweT
3EcjgYbaNPvM0xIcNM51VcNzcZLiDXu18TyzXWaxqBGutsqaoGCR1gyRaFChfBwmaFnpxFJZ2KPw
bXOafE3kch8XwjxX7WDcRhXIu2K4dM0IeXlwnEvZhD2I+uW4tijXWCgbOG0Xgkdecm3L1WQBOe9g
l/Df7OVQg4BxI9voKSbfWW3NvtnFrt3frxj3YqkKs1AVJypQH26T9Nc98PJd2ioMpd4cnUZT01kt
Bs6t6UzRDreD/Wo33j2OU/W7IHOir4big6U6WCNaMxuvIA7UJmbshCSITaXRBK+NXu1jPTd/2WVD
098RZCw6Q3DdTBQGMe8bv6zggjV3eMeoSDZ9GL9ThwavS0rHsyZnv55nB2WZO3Brgc8s1IGkfmIr
PLzmoupOmB7pZi/Piibntt3Fk9XcrX0BR7cvgdWqu3VPn3by8tfHkgh9RGxIe/tfT//XE5ane3r8
918uqul6isCL3npTTuOKwoIUbnafJ+7z6jP+14/ATqc7xjg2liwyabO6L/W6EGqTQUDGowpqIm28
nmzQ2etsJdBrblIK7f53XstqetbxePmJudjj6hhLrhuiLRRz9/I9+SPQtV9GhhnyGSqB0lghQ55d
ZxtbVXgo59R5QO2K91jJ7iMkB4XUZOforPjbekrOq1p78Y8TqYzG79sOtx5zDZNEPZKeQ4kh/xiD
rHhF0ktPZGkBoSZgY9Q2w4GgyPwe5MF34tR3VvCqqsrT7KV2coMhtnoA0aFRedZRbEfdJUJGFkn6
KgejnDJocva4lR4u7Ag5hT/pxqvUx/YIREQC3EuLiqoOTbe1fecgKTmbg3H/3cfTYAQD53dZSezK
Ea0hBYvt9w3u0SmxunKJiZwN76lg3Vtui+S6Z5x4WA185JBpe3IV4/0UV19e5ZF0qOL4hJ/WPcGF
H0ki9KBMrTenhNhLI9YOZE2P1+tdjaO/J5leXvW2s88wFt2ZC0G40UyokKJQJ5Q9i9a6vlDaA32V
xeF9H5nlPu3b8H7AxPF9S3cdws6USzJQcJpZ2OKrktGjXOQXqt93w9Q/rAcMC2IfLwD1MLVwBYu5
fyg7d9z961bZNcguBduw9db3o6n2woeG4WApwybekrxdANZVYvq+a72/yE3nAkp6myg94IMcqrth
yKMrwrsmCmKBehNNu7emJv9Yn4FQXpZp8mpE9Mq6zhtumwb4STb3+/Ul9OwOpzv5dMvrra8QqvAn
Ni78oMvOdiU3rD/yOLZ2DnmEy4Vy1ilffppZ9juw4u7JsC11cGVWnNzEG+9trbJhiKnJ1000AfCV
72n/u4/kJgxXaNKrXTyim8hrUgA0g85vQrHEXwvkfTaTYd1aNHyXNlgcYpATqtBemXHhxif5R1l4
Erdxp9/RrSP8jwbld6gE0Lwzwa9QozWbbhV5BTbimt5gfUDhPJ4RZynrhRKi+l162RuvpH4EdTrt
wlHaN2k1of0TVKwNVO97d8rDHay2hHzysf8RWMbHgLDnS2SP3hoPrwfzraOb07VZx3KDD8s95AEN
T9nEeIxrdu9mi5odaiyB2nOj9uZUs9pwWlaqoCjSMH2bi5icAEqBN41u12fMKdEBamHziEh2QC61
RNEjyvPtfJ59aDLDDtAJabizjRzPjaP72LXcGzklR9YpuLRUd8TyoEOtXXwNUyoAKgosdwl67Ksk
iSEUzjroQsmodmoJJlRCJg8t9JldXeXiOtIsWnJpKTfRJMW7R3xl9YtI4OymyAP313cEMOcQnzCA
3HpbuQhD3bmUe2mXnJVCR8jD4kCHeR/+HrLkeRwGhFb2YotxCnzey33rUWQO6nboLhpwLMjzEQ5m
TmVIEuxa90lkoyux+DtqrMxbT59tmtB6hIxQ9kiwp5Qdaxvl5yS1k/tB6f48lcbT+gMjOfr8JriP
U8N46iyBxTGQ6joWU78VSQnxnkTrXUl99fD9C1XQHjo+YugI/AZUIeuKdSknzHKoseSkTFZ6vtZ/
prpccCMUfreqzqYjxRdQqsKj3DYCuijD2rxNjOFcC1fjBUs6XStwJtJ+TWgrHwgSINOoav+831bu
9/2GV6LgRQe7qSqt3kszS17KLv4CFxF8mclLSyvzkzYqTg6G4UeF6s43WY9cIRNd5QsJxsT6rEg0
fh0Rc1P/r+F+FW3/3DrdtmfsfBWJEZwhA7AmWA51Z6T33O+jAANvmCqCYVmw30YGO6awKmr+H9yK
uiVnNCwvudPW+0Fq1VNRRJBzy4eGisO7E8tzNs56yIwDjrIr6i9UDA9LcbuudeOH46CLa4k+vc8V
2ew4sGLcmFgRBmBYhyw1+by0aN4hZphUDvyFWNTINZrHuYCfhElPPZb59OetcbkvWR5dnxcKC0Sj
nnfbtmEeDcpZnLjOSSVtRL6tZVB8Rj6In+YzcTAYOjN9rHBsjVODteMwsmF/miL5WwAN29IADq/G
yXAwg48p/gWpfkReQ5m+ArQVusaBmfZqnhHn2O6YPtBMZQQ1rR+UFNRGJyiaFCr0sYPImgebE2ST
JqQzJIO5sd3rHv3qW4Ch+hDVE7rapZRCNEzhaO8NOVbNJkMoDwqRxYNPrTEnzIHJbhQ9rLil11EM
bsymGuDndwM2Nqd39qByg7I4/8BTg2dd1ZcJrRkJK6CPEnMoNjqqPH89THXk72x8jdO3CU9v38ws
cK5WE15RZXwTYUJvzEFYsuQx5506lHWc3uLITnZJNBTbcja6bYEM6qljzbyvMqc9DnUoXps88MfR
sZ9UGDmXfElfWu9HE9/tzKwFn7c8rc6eLAO+a+wawwEO8njLtvHNtgamPBnn56pgj7keDo0W+eB4
Ax+IkbWj2qwB26EXMkRE402JO/prhzJc5qt4+bE+oCISNABP7Zg7nQseKNJRlh/rrcwKuH7HEnk6
tMgzS7lLlWhik1uqvFpL3EH6/J03YKjhJ1G2mMaLNHieh/Ij9VT7pbN3hpRBcSEuq61UaXQ/SR2R
AR7HYytYDrudqMpbHcLuDnxXdxHbtSH5ZxjACK3Sc73wWlXEYbOFgSQegEnFeP2N2k7UiG0uNr9h
3AY2+JuGtRHJ5TE7yhdaOfFhpEx6CnQIw+2sQYZcJsPlGT2qGnaa43gWc2s+R/27SObyqc5S65D1
FhTtVZtR2wWLEa0mGzdRt81SL07b1juOUv9a77JYC+QGH5Bmx5O/fqydg6BIX7FEaA1NSvkAo1T2
JHK9YyYN2StQztg0hNz/CQMujaS+6kdorJOjz4jFAZ4RPVTcVvpP6bTezpBmeWoWtHU1p3uXXvkp
T0t1BPv6J9lyqoerKarrbbPwdopAMXrMhqSq2ymanQhWepT+BdUr9iUIWVYNi0wSeRqL8WfZRe4G
AZjA4RWIq9KefQeDFvErLkREXLP5ma7R9TepuEvp8iQ2bfBqigDIVhLkbyQuZVAhdDSsxF+Vvp2a
mwsVopeoo2iuST0lBcaZHrvY+S4OEQA9P1qKWWqxzVVZekBRn+xxqUF8mqyHeKzyezPIjcdGdYcK
FehuHmjPqiJo0KCkwS+j+F1nQfiRiwnakAjAPiwWZuhmDTEfQOhXW3OeZBNsnCXOnIXwfJcz5O6d
nP7YWmRwqeBSbO+G6/VwJP+0lFb7YLjxuYpdb9csJW/DJnPFMCJqfEtv23bj+OKF83uVw8k3hqRH
qgLGq7MFOSUtIrOGxdohyBOEDDrMqqLL0VKIXIGlCsItvbvkAb9wdwArmJ5LZyA6RljJlirilUCH
cJNhUTlT+0PKbvfxs4HBWWnWLbqF7NIsoqbEdhAvSD9OmsxXME58S7RohPFD+MZEMSUvqJ6w9SwP
rUVyiieL7ufojqdqHJCylyWiOQiYuugcLLydLq5LA095Tehm1MztKwrJjVPn18aMReegGbViO08Z
ydC8d2+S1EzWM6Tu2mSv1TVI/ND8NWjApbQ8OpBKaj6HqbaTy7ZKTIlxk5GCMq7dAi0hczRMup/r
aLoOsBryjG0A5PaYW4N6qJR9bMmg9L0UxxNY5vlHQIQegaSs5FZnwlg0LFdDs3jrGtIqYdTloWX5
MM3YM8b1LhaQbcQawBMBV8MvGn2EhUUrZI1+oWbuXcG/yhFsXKPdWyYmN8+cQ9kF8349zByNUoJX
tv7cZbqfVtpl7SCuP6q6nfGPNcnerkT/J9rZdaHPmdpcoWcAH7H+x9b/Ilr220iWhP4a0byJ7A64
fyburLBJ7xktoucpd7/vRqKMcIMe5OQQZLeOs16WJZfZBVBUt05yp+XTVSyKiR1nEh5FGRi0XKEY
77NzqbNfSel1XiJp53dBWn8CS+9+RIq/6TT0eMt02lhQu65H7eP7CJi+tj7YY0H7nxXR32Sd/+bx
YH+ymK+B7vBtCxNTwV8l0W0c6kQazvPDfKvxcIchxon3Gu75XdN7GKxMaB8DUUAP39p8a3TMXVtk
EgS2aR1tGg5XpII0B6J4d1qjqiPzunhhr3Fc66VJo2FMMIkmt2Sqzl0B9n25NhQOJ3TB+cEZDRv0
SdShh0VO3Opjfkj6GXHdcjj1DLkDXPD9qh5q61T61oAbZw3j1AYTW8di+lodUW2o7O+g+aHW33Uj
9k2MhTcEOk7nTqUeptDZ/fHdSLKSB0xZ2tWqoNC0uLvCwnGMYp1KhnFvgcIoRW2cccfpZ0+LjDOq
xp911B/WLxx1yXtBiqqVQTXJ5dieRkRN2yZtxS5wGmiiC+7BKZLkoqs+3AxA9xkjGjRfZOzh6CIX
G1HVWdnWmf548hajyUF2EE0XEVr2FTr2fTIKOjLLjFI3rtrAd9zWXE0QeiTpYhbzzV5kx2i4zYcG
etks8MBF9aUyQE5gPIt9jzizjV1ab9+66KErP9pywtBeojxUU7kvpIkEN8kJBTLfcAi2P/ImLDaG
7PKzXCqENNLY1nSPU6MZZ6fF7jGW1fOEkP++1k1S4joaNDjcz14zyScCgalMl223m3QirJFKh5v1
dP33j/F/hV/l3fd5qf7zPzj+KKupIVyn/dvhfx6+ypv3/Ev9x/Jb//Wsv/7Of17ij6ZU5e/2f3zW
U5nz7+9P+cvf5dX/fHe79/b9Lwf7AmfndN99NdPDl+qydn0P/D+WZ/7/PvhvX+tfeZqqr3/+gSO3
aJe/xohf/PHnQ6fPf/5hWEj7//2///0/H1w+iX/+gSgynGbVvv/fv/T1rtp//uHq/2DJjmkIz5AJ
imrpEQ5fyyPS+wf0Bd0CX+NZQtgSp3ZRNm30zz9si4fwZjoG3gIDbBXOTEXRm4cs7x+G4wm56FsX
y6aUf/yfN/eXL/FfX+q/MXsuqMNWLf8b+VcOBAMLdgwsOM7fHE1d2Y0ELhLRWVCg3etTalxlJJcQ
KCAXw6ftVfkTFtzaT4yweurbuNl67PBPbTVat+7stihU7OHJnsI62zMtoeSqHbqOBqinmo0HAqJ6
tEmIWDTWpac1x9Ipjd8GrIGHzBFL63GojG5DMa49eHMmPwOnq/KtyuvkkpP9lm3MSRrTJsy6ydsG
dBeoInBqX5elATgtDDvodi3pwE8uIX+MsnW+bTURPyN/yA6AK0IfkH7yczIq14+k2X4GFBWQNeY5
5STP0DZNXg37NLTdZ/Ys1j6LNDoBxGAAMXKo4iC9LZJjlzvTSzg3MzlfYXvb4a0iD5Gi32vZ0iwK
alhAO5OrkH184sUZesReXmQkqp+SjN7UL4h50P2sVH1+VXkVGq48J89kh9ssei1dTfxqur6Qmww/
JrEwBbbNinD4mXJV0Xo3tq5ZV5ObG2+Ey9j9Fgo5zMvUWDTEcw6nI67z6nNx6t7JuCa8rmOt/6HP
GaE4uVGc2Agh+aKlkr+zSISOiNx51B6HcBoLvtuphKEfGzOFzKQ33lFu1KRYakV0aowCe7ayWwYh
256wsrfmI+ckSYTRmNNzSDiv9z0nBWKGIOphSTSFt5lJuKnRjeJGO1YimviaC1LXKJuczcCoP+LW
GO6c1CUh252T4LaVpbpgKNb1nct0+WvwWGBRG4kNsklRxcWEv9qYbJsF9L/VVNq/OGHOpsfVbPVu
46rvd6Yd1cescNp4DzRe1YC69fRj0BrBx4FW8SNMIo0YzzJmmYyqZ4TMkcs0OxZoianL9Hk6oLf0
1FM8UtDZ5IICCTkZ1XwoAwvgdJmWZ6ja41VVwJIuUDoBubNBrGt1DCnKMCnebMeymWmejh1LZrxu
qJ5orM3HTPXJEyiY4EnrPPvoKgdmKoxGzJ1Y5qfldEW14WSsazY5CkCI5C0Rz/u8itmR2xmyqK0s
MsSYdVvPyaZLaEj5kw33clcCItCBRg1U8lwEaDN9zIS3CszB2yCn1BdBQE0t1ytaGm5u7FX7QQx8
QbXZiod+7GybtlLV+InXiZ+oGa27mWCdWxNRBto3ipDmaWyqCeWQBAayB0rlUdoL1XMwtPiv0Yzq
59TQ+ofQtuUOm6FV+CnWF+0I3Kw66HNERgetyp+VGZdvrp2GSO57nJ10TUXwMLJDAJwHdGVbRcog
9ioLf8nW6WHQhULKQ9dYZO0ERgsupGWmfQOwCbCNPn14YxpTeApQImH8sQQ85AQR4DFFN7gvCIj7
mBVIE9sGOpu4ZebrUaZOpdaqcjvEZDEh6bGUX4zWfA7zMb6CuaJ+ONowXCxtdiPgmwOxsYOZWG9E
tzaAD4EY+sS09E+NXoh4m6LQDbe9sjN6LZk3+xBsCmz+XgloZugLKM76jGzJdBMD1WVN1eUUBwlA
8Alc5LUb57iQqEzGVFU5o+tdFpIGBnwm1OYdxfH0obNH/dHGoPPSe73mG54Y3vQ0aj5l3pObA1jG
QnyHmP2YgVU8NU2vX80gII49qu7NzILWX16K1+6MCzmy3vsITPuZna1u+pKMqm7HoNIUPnj25sVI
9eo9brrkNSHfpLiZckDL5pzEezNLvZthIgTGjr0g3YANZ+g0m4kxt/CIGzoOQTCDbsXdu5FWwtVT
GzaCFdp1w21XO9VnxobrOsuL7j1xqHISFaRpZ2BX5U56S3hYozvuQclB3BmqjnYuxKV5oxyL0GLC
GF/CgnfMEGRc1R0xPVstxRi5N9Br/XDDVmdV2uaV2HqeU50AX4e/WThRQQ3Q0DIcDCldj5DqPciD
6W5QXuZtGhLuEZ0p9yYeauNe0we9g1w4FQc5VSFNGYQO77OkA45Hf5Y5SVuubZ9ahtbg1DgjvAfa
QiQ/lpycPmILi1XorFMS6Ew3Klipkxaa1iQm3OtAIi69xRi8q8x2eCekBo04yQDTUnoadwYn6Zsm
qvrOcymMblrgxocx9+KcmFjR/K46fN2sXymlEPWFwG07V9L68mRppj7syAA1A/Ig4gBD1T9YCJ9C
NuEd2XmIzmcX3JxOVjJvGdX2wDTsj+iSsDCoyAN1CbnkfoSQrTZ1MTL3kb0d3GgFlv8NoBjZboFo
VJPftS2Jf2EOJnonh7Qj+NYaVbdRbg6FnI5IovmeRM4ALlRBUG2c7ibo9LDzrdrkNB3rMI4OwPcm
GE2j5+xrKRiw7Szmv5kkHQXy2Umbi544Q3wWQIgQujtNWm7ZTxPQPcA934DJ6up7s1F2R4UaF+w2
FaKVOzk2jdwkRVvLXTvT/du0plb5I3n0HcNzRU7dHFb1+1xXTN+g1torV5cFTht7GMJd0AN/xGg1
5Xc68qd64wEGPTjWMB6oqlGxUrohmjfOqPBHNble/lJFRfOrMpC58a7D8RMe/XCsWs6irejMMVmE
dzT3mMuuMmYT36jKEBOmUt5uqgiKndNcZwcmXOtQiyFjn0d8hhgI1LRJLI0Un0hQbWZd3dcNrqAq
I5msozh4q1qtKg9QGPrbFh30EeCj8+yk4NEgXuRXgM4p4LBDWN5BOm1hPxB8kiTJVp8X4VFjmdcO
qSUXs26Hi132TbDhT2qEYg7FDlnPD7ybxnEwLC6bGPaUW7hURGf1EDWiA5RoGG9FMCUbfarThyHx
rGejG2toHBUSpUQyy3aScpwxR+cmp3YMRSNMrgaDEQh7fm6xNyJceYN/JHSB5Smt2NSkyMB1QYvK
GmruS8iBTv9mxLKaDiTNAnnXw2K6IvXQIAw0SkfkXyxIs1cKStp5rrDG7gHARl/1gLCOhbCJOydL
TsQm237q1uoGoie5cQzRFhxP0Nj6dhygz/gorM0v3dPLdzTAMRgxAj2THUtzrfCpR8WnHq3q78pz
g+uqtTyQGU6wz7HNvlemxPI46d38Rai4eR1QEMQJwv4axW+IiMqZZD3dSzQFEQEXuBQVfQ2CqLvM
Og6x46B+LamqMg7CXFk6DiwMS0nfapeioh+PbqCaDn0PlZGNnKQ98Q2hCHwzhbTie6VLJuKSjMq7
sooIXSgaNaptVRkAhmhhZG911Sm69VZfO889ex/qhB4JUHbZhTVeV7vOtjrCzeBghs58LtgNuLDf
dWL9Jib2Ha1+dr24j7tPUjINVqP9kN4AtDF2VTa27T70VP6Rjnbz4JmNIbYJPriEwtIQFVt7kM31
YCV8Vomk6RNYCSzjtHdIudIBmqECjOtHh9gZFJnzBFsZ98Z42wsln21RNc6OKvdIsIunael28ibH
3XZaNpF4NNix8r3ema4mQtRvWsDmh6ZmAYHj2sUnY7WmuSdwdVGTylJ7FHUp39tMY1guOxHckW8j
S+JLCu8RTs2SGecQ6eLo9c9aM+ebYCirn6JwMutkgacMoW32Yw7+BsvnnpnVRdw8kj+WegaWrnEi
OAMK54GztkGWmgh3cat4+rODE0Ex8MzOw4BNj5jf0IyejMxySr6qtKZdxvdLkmXdZBsXbFBzYkfi
yHMczdbsJ25gMzSOCt9TL6PykFc6IVXW3A4MEf0i88f7VuHpp9GC1Vhrygc2QLa+qdEz+llmh5DC
c6W9RzIKj7iUxHvsgspkT1OmPx3mcAZ3EafO0RX5/Nsss/bW7tLsQzeyPN8MOfVlls60Nw9aI1PM
D/CniZaeA4dmoGu0nDaa8RWWRnmdB3Z1ZWphdu2YRUvob9PQVYimWSyOLOclCdz2STE+n6ihVp8h
CyoXKNggAU+4MQst10vjXRBlzq5EksTM0cBnw5t3vQifz06cy0+0g0SiKRq4AfgFInys4FkrLTIT
sfvmB6RqnNtlOHliC5HKuZ0g+w1bu6/03xGAP2prminucgYgIiTwM0WEnaOeU27jm31r39ctbIam
1ApjK2zFgjFM5p+TlVsXeMg4AUoM4o3bm/GhqBkS0OjnwcyivSkOWcbKmYJlmEPVUONTNybNTVcD
PZuNLL42Ot72ziRN+zPIs2jcxJWtHwObPa1hNuZBiLp/NanHXKMOeXA4x84mcQ2u2SJtYaVotMOj
GKbgLIrWeZtTcVDgdv1ZZ1tQOz6m4eQZvpNDWGlvvJmB0A4VQ8FRznTCN2wi4AWltu1bEhA7rYDu
5NKiOJmAnlDkDsaLjJLo1nDrYTOgCntM6kkeymKQm4F0VtSUKMLfzK4xnJsgiwixjTpn05dMIZsM
fxTtvLC07jzEBKhwZiUXRUL8xcep3lEF1MF2KrLhjS7k/CopYb0MhofrdibPGxikVQVMjzUXkMYq
nVQq56YACM40ZXRvlTDzzxFZSLgD4s0WsIcRxItwjUIKHWt5M00hzXsur2Nky/rOnlySq5BhH/uy
go/bSybNkIyUbVA7+qHABryNHDW+Fk7Z7QK3k3sWKWiSG7q1hzYux53tUqKfVSO2MG27ey1yk3If
23lCeVzPf1UqtH6kvfveYza5NYANMIBXYmSlgvQ92oANbA4B+zFYUhEDPW4Lnhb01oeKSd+t+hql
cpEYBMIqLAcKHk6F5uSSyEGyTIsHdr7w2w6AJVMf5VGxmq/AMTFRnti9YgUTRvScibx/pdDCxlsg
X+hgoLMN0LR63pGhl400wTr6pMK2tiGmxU1cuwUr8hJk8z4qQMpbrVu9s8VTwFFGu7olCiD8hOhP
fBOdaj+Vc7Tz2PVjU1WWdcDJodJNl4c6IRIi3WakFR37aDAPVQCKfMGYwvmLjGDIt309OnuocSzH
0iqqsOsWA+6HMOt/VlgAEx9yEBqfvgLI5c7eAaXN+GOuIrPhzxTGNVrmYDMJc9zaaZ0/CgqkuxSH
xilkJn0zY0LMZgVwH3cwsVbxNGIGSYvmaNHa8/uJYKlle6425ZwVZ2HF6jApenWlFWafISONTw+5
PPQdjY6d146NX9dpdkfDM3hsiB96G0qbxGJLm06NS7zBFo33eKDjJnYWpamtYrsWH7SeOWcj+yL+
2cKgdK8XVMiyWS8ooAHobu2th+9pQ/5P+DrbXEY9BddXuzLmnF11YT/Qhxj3leloTzYo8JvUtaL3
JHbzFpVTnFPFLlPnxpv64Rfj03wrtdgpthiu2mvTpE7Tzk51CCqayLVV98dSpfgrTIHDIQ4R3Wch
re0FsMa+JMt+pv0aylzrL8moTGREenwvZ2egTDSI7dCb4tq14/Ie0nt4tGw+BeWl5g0deyI6I6eU
H3CXrL2n+voioTkTiCSxI2/lUBQ3lauxXHcQnIt+Uoe5xPGqEwrmGxQfCV031EOY69HRi43uziaU
4x5VIUuJUBofUJx7dpCD6K/Lxuvzw/9m7kyW41aWbPsr7wMKZeibKZA9M0mwERtNYKQooe97fH0t
nFvXikIxmVYcvZFMeXQSiUDAI8J9+9qJleEF6WP/C+Yp737rRRicQnrcdxjoaLeJMdZIU7Kans+c
VqzridM0h++oyNjVI2q6Kz22QfJEG7QgF+EveRAA6pGW8F7jwRqak9LQwo2WJJfW1PqRGxoWbKsJ
y2GMo2nv5BT3INT4CxdqEO2bwFKeqePk12kjlQbdqWSsSOglaPBKnB3SSLPxPhKOkUK3uSUX3VGo
Uhx4DZJRokPbFvJl02BfxHbQiXXqWzKlkk2Uocq3CmA1vucjPfKjeC1LXf1SSFT0KpD4+1ElOaDr
ffBAbnmE5NYiIZcLdrQkg4Zja1l0LgsjBW+lNVZl1ATPQSPUr0KS5Vt6cakYBN2UvbIV015GKYtp
jvM5ymuyWT/JTaO/GV2Hz5PUI5w/xIUeyBQOUnRD+gA14WYqRP9Q+2EEgi6ug1dtkOlGTMhuwBCa
ewBiqzRWKt6teyWJY7ctdGNb6mlN97aY3SmGVL34lhY9yoBDfoSDHL+LcSc3NpmwCO7nXGFpwOeT
Odb3kmrJqAPBHfRUYn6iSFVPsl56z3DCc0ofRanizwcHw05y8DkUZOiWDaOI0MYhw+lpCTtyAPHQ
uaWsXJ6c82DILE4i5mUQQkMP6QrmvsGxbMBf2EHmiwdkRhmV8D747ceGeS1hpor5Jn2180GS+nSr
Bc0x73HstFO/VGg2yMUT24ruWLNG/SyUVPolt2qCDY9vdmsZV8TBmeVdO00DJmkXlaw/zttNt2gD
8xDIhriPR6h1aSeRl7HM6pnCXHwKc8G6S0e53De5X/ANWutqAMSvBXPAc0PCT0SRJDq82ILtJ005
sG+PH0t633d5roabOo+F3BaT2jt6NYBMXL7ydSCa9VrzMYZZkclv7poKp/gO18HrSQkRxKUh5j14
dFzVkTc+J3pS/coG9kmBWEAI1ScLaa/S7ZPY7KiTD5F1gihDUrIThyOD21wBs6AdYegs+W0yQXfr
UxajNQy1U8kb1sEOAxtUVGF0NxAw7sDCKJxnNbO6Lkd6BycFe7QsgoOJ817zqlshnjWVgLS46L1T
NWXm7yQxi52g+p4jAh+wlbpjy0RAtbVc7N5R5qv7PDfiFzkCP2D4YfgQ0eh8a6Yt270xHFZhFJCb
Lkx/vAqUpMfWKADBTY/6GDhQtoRkiw0ttQOwKf1LSntlZRvURBwNOht9k0a27qoufR4MwfxdoIJH
qtS1d8PYZ/etVyGWmzTWt7Zry7WqJ7KT5Xma0PXpdcQlrUCnNuUbKPjqvR6NA1b0saV3cObL7qBQ
pN6iX2B/bQhWvh/TMryRQxyMSdkM0x9jysZ1rXiS5RDAhDspJkPJ8zMann5Jc2aKmyWnyHo70DJ6
5BTNY7IM1bjyZKHZqDgAdCiixw4XdVwj7MCLkOGBO3iQ/B7hVSwLCPtymQQIYg06P4FZyImOKRsd
T1dITow/qgIgu/LhnaAqSqcI/kWu7Cq1r5/JSGS3NTlIxzTUwJ1Zv2+ljwVv5dNeTKYna8RdVIh4
fk+02u/qaWpTW26H6men6eI+TzWFFAbGy5qYKtuOTiIkwBa9X0NJtqIRhdI2yVRE2FZ6zaHwQvkQ
KTK71kzT3jPsIiEN0pps01sm3nG54Rcbsnw7mmK8za0ieQTeoe7TigLUf0RlwMFMG/BnJr3qqMDt
Zb59IvsYdMNV1IgSPa1a8YQMuH81FJrXZUUdHiyl9reTp0k/Qk8UOyekirZJxDI4xtCL0BV0UxAj
iynHdOXJqv4M2UWWjxoW6NdaKpvo+crc/Q+tEkZKzKW/y8DX/hwrzJVYPIfblGwSp129vYGMrR46
AKY/VciWOJ6K6VWHywCnOYiZP7NyCEs6t8qZ34R1JckQ6LxRpNzJKZstR297TiRCF2RPigDB0LYS
aPcrNU2h6Hge4UuxevyUS1rh4M7nHq/xaGEa503Wr44+th9UrLihoWuC97DxHjPR6iOgnoCy2KGF
f7xag2g24Mx8xclCewJfl289OcIUjAVoj21GuuoLka3Nf3DYretWMcMdVe5+JSZhe0t9sXToCcKl
jTJP/IZWuL6ruwlX0DayUFRPeeXGVkddsBcNgA16CYsDaBDQnP97EfvzyvNfBe1zde7/L8vTgPTO
l6ev53ry/7vKq9+vfxe1+b/+VZ+mvv2fumUYuiUBCAQxDqLxX/VpSVYpNVPTwHICZh8F6Y/1aZHP
ZGvWsIDulCkq/7s+bfynTr8xuhYLjwr+w/+hOv03ZO/fpWmC1t/CmDkVV6CR9++QZ/S4GZnqtve6
+vrDSPx3Lfxj7ftv9uT/fPv8+QdPKEPnba69UrgFgLIhFXE0B7BPeEpyqJ82X1/j8+K6oc6ff7gG
0BpTlNnc3sVi8cPQRyrGiGvYuIZvX1/g3BDNn3+4AFzOBlBW593WOV1YuhdKu8zPu/X3vn2hTGJp
TjQwhf6dKYdwmMzxROO5/q+XkTfpc+3BubFZCA8sbVLJkyNep5MUFHQv5K+s2Ky15qDsvv7980T5
H4XV/zxiZvvH0QH7Wwggevy7ji7Wbaz1rEnwccZQszZp0N2S1rpwM+eutOBAmoUVDz7ZutuY5SeQ
i10MgQ3B+ZslD64vxK399R2dmbTKwmqkpiY7QRS3bo2OBG+h036HyNRp0bJjmSV+b9oqC+pwk+PL
m+mqeesbxXTizrT7QQsb0KK1/Pi9G1m825TngTgkIKSjtr0WC9FJkPT1dD0lpMQuDNaZl0OZB/HD
y6FZQMAyTTduRV//KSQdUshKe/r690vzO/DJ3FpaT8VmVbRG3Xa3dQnKqYSrQ9Hf9CCHPZrTDwDo
6GAi+ruENZ1Njm7cqUgDvr72HF4/vfbirefQWquTXnezA6w99bQlpZRgTrofrzTlbaANGqdTG3eG
znw2MCvLaHOGxH7wxGNqxav//qNEaMC/SWGJeqS8hj7aCfkfFO0Xhl86N/7z0H0Yf9GsvHQIuu5W
EYK9oryV4U/AtLanDFeUmmnjRAET20KFN6mvHIyEVI/a7XslXF0Yp/nt++wZLUJMYqWRUMkjBuu0
Uze9ZfeMF7mVraQzNJPD3ffms1fcev5GygdAdQXd0hW0Es82cP/zslkGtScHF/T1hYf3j7Dqsx+1
CErpaMSgMovwNuj690DLTv0gPpsl80WJCrtJQAdWuLMEo4WJQbMqlFaCdDR0rschGgUpzl9qO7cL
3rTR9KvQ9Rt5RHRrhc/ohqkACj+pvG1GacCNEB5SMF6ZksCpjQPTENR70WvxT4h+U3dcAQLG2VAj
LWWaxMZWGJ3Q83a08R2CCTf1ZrhnW8BJw9u2Lba0YF4AGVBcEabrumu3Pqn7pg0OBPCrMCMnhGTX
8tvtTK62umobhMltqFutXQpAQhOsPWXSywkQjGouXtNlQhaO5oKO0ELq1ZYab6dI2V2CaGlgT2hn
Tf444tD19XyQzs2HRZSWes7vGmkI+vv024Ftu1OXEBDbIKVBxQek2SZyeiK8Zs44dt3G7zzjwstw
5l2Ql4F7mDQDgbfnjhXEcwQAWZluv76tM9FAXkTrCMw7ni1y4ap9+tzq2hOOSnu5KC6x6D9/iZbG
oGqexmDhldItS1znEg2FPjlHGRs1ygJX37uFRaTuKI1EhaGVrkS6Av2BISi3VZ2oN1GpW+mFR3Bu
nObPP4QjJVNGYJFj7Y5Ncl0JxdUoCjc05H3zMSyCslHVklWXRukKpdDaU5LfoRjwHX+U998bpEU4
FbTBFCLFr13qH70DXk6wpRqBSNyAUPreJRYBc8AhrCh1qXIbYXQnGAK2UlFKQTF14Rmcew0WwQ8A
oZZ1qChdcpc0VtPis6Guf+kRnPv2xftN30ZUm2pSu0D573Wy5wCPf389MvO+5JOovfR4S61gBBXa
Vq4VeX88mSzLjK/0As/tAu0d4+ELp5IztyAtXmbDFJK5wl66iSdhyUGyE9Fsd2HTcu7L55v78AZE
yBpy1WpKlxz4rwZ5sU1D5YUwIc2P8LMRWrzDCSow9F5h48K9bbpmlRqbqOn2XneisXMlyN4bJuHo
CfTY9pr47evHcu6O/tc7PdZlbHJR2fI2RQ03vPfqcfW9L58v+mG4fAU9bFyZLBelNOxbmBHUSGgY
/vrb58j/2XgtXmdM0TiQhHXjWi1yLI0UYZfE92UcXWWi/iTCjslTc7xOs1q7+fqK5wZr8XbXuj7S
psRgsSu9nqT6vlfV8sLdzE/5s7tZvNhWbvhU55rKrS31vc1aR62wYm9nYxn1wmlOPrN8/7Osf3ge
jUx1MiyEgp1QFT3jCF7+ysQx3eVt7a1j5h8FyVK+pnccMVM5IoyMNelOhDx0bDp6ovzRB+OOBOlJ
T7OJfFWE9VY0sPPqfWWD3Y18i6ZCvzB7zoyIOD/3j782Tg2g02Lj9nm/KeiO9JTpJiyyU8vL8fUD
nYPCJ4MuLoKFR5dcZTUps59t387XAKUambBrFeNRVNHJeuXwqodhc8mb+MzlFuED0UlqZULZuMNs
PEoKjw1bEFyYQGcm55x/+jhchqx6WYVGwk2MKF3VuKuhKKS15euRmuPBZyO1iBOSQk2c/oHG1cwg
XOVaHjFm1OM4toebry9x7gbmzz88b5i7tWrqdM0ibOlsXGt1xzTB/3797eduYBEtaPcsmnAwa9do
RtmWlOw59ZDPJIZ8wRjw3HRdBAdzgP2HupmFh2LHgWKF9UZyWNyZZhCfarUu7r53I4tAkRtJGyt6
BRZ/Uh4wXdg2VeMC8bv93tcvtgC5QDqkSpvGVWLyOwIsMZo+bbHu3i98/+fjhJXJ34+59wal9cyw
ciMcFPcSKhk7UjLLCQuJXjw1U6BmV8XKKMvAbgw/WzcyqFo2DBStFHpchWbCfUDTkcCpVoLxB+wM
ybRyp+z05JjiXrihlTbnhIQDm+B5qQMBhbVAKEcQUpq8zgrR2iaB9lB2XrqSph6pXooZedRWqGZw
P+YMWdcra+iVTWxo1cZPU6Cxhcd6HKiInQq6WJEGUdrurARRkBefFGk01thcBxsrjyzc7+LbMheh
BipYvHpxPx66pml/VIoQ7SPVzFZd3MA26qQZDWVINllIgOxfj/C5AV7M9LpH4DfSUu9il3PMUpr1
EMi/IZVcz+ear6/x+W6OJqq/H6IeFKYKyLRwKwp9eys1Vaotyvi74CRFFb6KcRdUlQuv7rkbWsx4
S038uUu3cDHfu54KZEe6cl2N+ZXBs/r6fj6PDnST/X0/YUFrGia5HAELzzpgsSPbForGq6phj/e9
SyzWmq4KVJTzeuGmplVjcGMyf4TSX/UtJivfu8RifZHbJIl1UyzcUKqvA9VkkTGTh8HUfnz9/ece
xPz5hwjdNFJt1nSyuuZsbQeGo3eMstZBsHrBVh+M6cJG5dzTmD//cJ0BTXchGlLt1kUJ4Vy9rofo
NOrehcl77usXCw1AOvaFZV+6WqV5P4NBiN3ICMu1n0BQ+tZImYsg1ypybIhjo7symPujrCivxtQR
Zwy6viB89t9acwAZ/T1QrdAaYzXKusu2bY/l8F2O682gjj8i67uXWMypCWJY2BVcIjWE7TBVd7A2
TkLinTK5c74erDPPw1xMq3jE3VmnbuZGeDwjf4sQEl54I+ZH+r+3LXSC/j1AtMcJo6bGuhtOHRXq
6LePr933fvViFsnDoJcV8nHXMyLT6YVsO7aoGCKYERd+/Jkgay4CeWUJeOzgoesKCQp2MNluL4kP
aZNvBCvG9iW4sC2dZ8tngyT/PUg0Z3SllqS6a/jCOvfNNXrC3x794lYGDiCT5NVoed98MRaxvBrQ
DbV1wbOOi+Y0WZiQ+lYVghcOzVVbw6b43tNZBHRRMVmZOkVjl9pq+GUMb55YScd+lC/Zv56Ztcbi
FRcslH2aKmluX9CkI9SYgJkbQbZ+f30DZ2ausXi1/ZCfWlSj5tYjwgM/DlK4Q1J54TGc+/HLt5pe
CRpXW81F7H+E7nqEEX1v5uL26x9/JlGM6uXvKRUHllgqoU6aCmkZ3ZsbX0Vq3W+MiWa72tyWzUkg
k134l04/C2vpf5cq9aUdt64ZJvYBpu4O0THTf/h5sRJxak0GlJsPpJlWdXHK0MOb3vWQ/paVt0R5
Aop2peh7tjD2/LfyEE7xZvIuBOczx239H9vgD8uYCgt7jKPUcE30wPowOFb/Z7IeVF+1myrf4fpO
bURtb4wygg97jRzHyT0aywA3xBMlKFrGy7l2UurZhYginVnBjUVI6VH6TbqOm42J3gVJJBh7G/tZ
O0j3GSIjxOF0Cb5kZWWX3gvZh60iooytGqdID6o3XHg551fkk4CzbJnP1Abtvpflrt7dTm3Hvn5y
jJzy2tzjEvkruX3WinTz9Vz8x1r0s6stQk5Aiwae02bqNh2NNBXK84M2ZHjy1JUK6UgZbLnUxv0Q
Fm+B1z30lklXLxDZm6by6QwuYV/Q7PFHTuq71EcgWCRVb9PH5jm6qPvrMp0eBjxmbK3I6KLDNBmj
504HTh+863QaQ72QId5A+rWTUC1pjkOYO2hwNIpgKi6M6LlosQh3AzoGDSld5gpi8EeelZnYwU0X
Zs2ZSTPzFT5ux9Cy6iDjJGhRY+AjKVfYwpb5alCsypH9fv/1czp3lUXAG+QiEDmhJ66ilddW2/7W
y53eP2Ibc2EinBmjf6yCP7yOk1HT5yJ0qUuTMlYFaI294lJaXp7Xyk8m2azx+ThGYRNMZTDx61tZ
bfbBMEmzOVu1N4S4cgrApRyS6qJwOgGQXjJOjCGohGMEv+GgDgIGf0ULlZuV/nYiWYB9TIWbcBhw
Ug3T6aqLmpIG6VZlp5H3+irolWH39bifG5bFFgn8AZai2HC6HqBl8Os2Z4gLq8y5r54//zDi4TTD
Ais/dv1e2qlZ86A1yfPXv3qeFZ+N9yKQGSZalD5pYjcpYOz2viPR/wSa6g6i2LEDfDHEL9+70mJ3
JPYDXW0t+a6prd6DnE6SDOb0YEJErvHlSIrnQKgvrJvnBmwRqkDxgJFU+tDNa5q4JL+UVmGJHfvX
d/KPtOKzQVtECQXGQzFJQ8heftNp5QpRv91rt1m715sNlCBbMIaDH/62DGnrDcU+lqZVkGBGE8BS
0B9NNdhoFIXoibA97Dhy6V4QQ2cKHmKPBuviycBXvKfXUpHvvQ62gIf5Bn/Xms2/LiH5xvfinbYI
ST3Z/UhSk8RFe/4W54pTi8Kld/nMQ9AWgShiiGRggrGrp/JVXw/06jYXQtC5fZG22HeFFt0aQpzF
RFA3FW9UeKWi55ZRiErUhZe79fQbuNxfP+9zN7KIScpsFgHzlaYc2jrROYXbYlAvlELObCC1RdSg
izoORk1PXezcfXJiJc6qF6bpuZ89f/4haiD9RkYOO8eNaN5aW4z+DqyJceERnPv2ReAgWZelnJtj
V8nLU4aJjy/6v7433otIkYEWjtMKJFocJMVKkTtrrY80kX/97WcinraIDYGWm/qAka6bmOkPMjEw
R1X/sVWGkxEpx1iPfxU0WH59rXODtAgUBQwMAVJ45BpB/hB2Fv1hAUnYb325unh3vQlHon4aMnCw
QJlxrDVp5v3e01UX726siqj7pDJ2QQjV665nUUgtT959/cvPTPqlnnYiK0WzVZi6uF49Yfz6pmrJ
OpBpCfz6+1lAPl/W1MUr6/lFTKN7FrqiLGDU0h8JBpr+2Mt7rTT3Iq22YbqvBzzF+tUw4bPXPOmz
le8oO6M/0SYsrqxUuB3Bwkj6UWkxvZm7kOt3JX7gS1DSYyWpHWW+SG9oBdExPqflUU3Hfdc/YXGH
iEpzYqFwYmOls5VVYhGKBgThySXOg6uA/7jP230HZI7QXhsc4shz88nUIkXrxT1rS6kEHCd+drp2
5RnqsUzVQ9Wc+DdyrNqGXK26IklsgBC2qt5wSD+ycJhe+xZKd4YOYrPZ0JRtm7nulNjdsHbkbWlL
gbrlJ5RGgy9aiQ51X8Eo1KrXKN2jDjRSA0VBYY9lvgFmYvOV0oAzrIdGLzrxb0yoJfwETRpQsBnz
ONJBb4fWk1gp2yIqVkVdY0G20b3ryPuta9A7pUdWvU4sDl6irtpQpCRP53yFwaS4sUA6cKvzWkjf
vZ12+MZKEPiG8smjZ7CNTzhzSMm4kkv+hjsYrmFrX8aSucXchXNogKUD/gCy9FxRntAz7QXnsl2u
9tu0zDhaBOvJl0BK0L91rMlhZJwEIZE4voix3SQj+2t38xBKg+hwTmzFTevlNAbR6SpuQuXnfJNi
P1IMr1f8FFpYHFwK5rOVGesn0hd0GYsrbvjruXsmZCyV2kFP+RqQYuTCCwt5ttpPXBMurPbz7P9k
36IuVgRcU3xryDiAdKr1SPp8ZNhxd8/HjFvDt/LCZc5EWHWxNJh5pVeIpyPS5/pWqTO7YDc8iZNT
1iKNrmA5POlCJDk3WouloozBp2TwHF0d2sXezJHJqYBDLtzIuTi1WCqKFldBfz5fIxK8D3zyzm25
i5v09PWjPiPdpXHh7xW6pCwPYkUJ3Yz3IRiw5Kv6Ay9c0GoYiW/mPVMd3/Y49urKJldEV2oev770
vE/6ZCYs5dsAM9A9sa90y1bVXzyrLh4KNe0JT175QC+YdY0d0iW927n7XMq4KysRpGrQQ9fUQvGq
tzTtVpQqcz1OLe1mOb7GQCNQatByNdkgaK39VEXTOsUJHGyJhHtLbpkXZsy5O1/sHA2dw0EF9skV
o7w4qbKcXAv+JN6PsUr3KPTAdRthx/31MJ954ZbCbzOm/WkaI3zuzPg9ravH2iy3FZbpYh5cuMS5
+5nn7oddXtIoU1oh1nElfEvtgvBk02aNwQSmAa7cc8aVJTm/kIqbtxafTZtFAAG2M3rQ4Tmdi81b
rtbXvTWsJcg/9EpDmmtCW4s9G5OI7wVDZRlJDIgLWjJi4NHnL1lWvKai/PPrR3Pm3f4ny/Vh3JSg
qgVTbRO3kJorCBCs891PU28uTLMzMVBZhI4RdGITYYDkNpJ68lN1XkAxpPBvIMlulUn+iVFRc2m7
c2a3MxNCP86BPKoriGNSQnVml0+HtNwHCHz5oxhPMk31sLaS8uLZ68yMWyqIJc+c+yvV0MXYwLjX
QGz80qNM/CNkmDavsyjDGUUgqtHZAhcWiJ6G2yrhDEUB/D09lo9mjye83+XTpuvzbgWSs2mculHD
Cwc25dxPnJ/Kh4db1SMgkcIK3HbIQCyz4Pu0O8amPWS37H3GAnYOu7DqVYW/OG/NNJzioEFHcyI/
BgYCH0Hc1JNbcKKMON0nUbzlE07qjZ6uYyNd+/lTUKnreX+R+yF7KDA08PHqjqxUQYr0XWyfu/bC
SnFmsi6lz3pqiIUWcT9U9hrSW5Ej1Rcmj6oZ85z85K2W5+j1cbSsvAJmWkduYKYlfgJlDHfLBB7X
yjtdEYxbVe/NnazHL5j9tBvTsqp1DPoNZHbib41Mu4OVB20iwHRyK5kQxwBV1PYQCggyxNzaR7zE
tHsOYvoYyyA/GqHzH/Ioj2whA66R1VK6mjDXsw3akjeBOJoHjJjz6xEQlx1pcbltckBGliT9ykct
vlIkU7LLArs6K6/fAoxyNqY8ZIeo1+VtVeHMNrItcAZVmA6NNCnXncZck6f6uY6ybhOgzzwgtxN+
qJgU7jAXx6BCC2jQn+heMpKCrP0UVOwpcojvooVBTmhR52iAfGiCYkddJW5QDPsbUS662aQ9IFeD
u69ujO0qxp3aGWVMXmIJO4URU+W7XFTTE2CHqKAPovNvRUzf73TRe/J9LJqyFJ5ilAqcgaSmdnqs
WzeDgCajDhKBPcGAYZLXMEmn/rbPhMSZKGjanqrsmzQP17mi3GoBCDOhxUVZC7ClEOve2NWWnx2Q
KRqlE/uQCrJcOdBS4G/jsnwlv/0eF324l8MEbWQkSw9lPiTYOzTK0aKsf4jBou3FNOoKO1P67iYT
k2bbN0O7o352P+hmvQpGz7sOhGrcqK2AnZw3ZVeRUEQr6trlI2cwIyN/XuivUdBI26kAjx8CEdyq
TauuRxO+dEAdZR2PrXRD27N17EOYmYiyqC5hdJv5PkYcffQkmOWbIYq4fsX0ZtVhbuNHDlMkO4lA
ABxoUyvwzPvA7HZyZ9zT2IKDQPQTA8N0PdKoDlQLctGQgPhSokNbRrspMHS7ljuigxI++V0H/IKV
PymvxAA0YGzl6xK3bz3p3msD+1KjcgaLc1Po7aTUWJvQrYmtUYbLYOPddUii/M669sbmShoawYmD
6R31l7od2bRN3sZXsDNhN29og60qG0VJNiMB0ldTh52dx6UxCdgM2E5G5TUwoF2N0UJFA4KSTU4I
FTDgXxZxvhWtxBbbp8HT8Sp5aVpyiiKBtqvWgAnRUb20k7EVOErbMORWqayepp7aWF6v2Efd9XjL
q8xivdR3pdKjz0y9KyXp7mSy4LqV4RfehePe7wqMX0fqZ4Aa26MX6IITapOjDvKOuzalEo6TEhyg
9zpt/qpGyYvMq14Ws+EjdEYUXVr2INbSCot6dnWCo2vWa9eFTpWACIc2rnnqPH4d8PY6HHfzP2VC
YtKCWeHQrhiTmi2MH98QmfCOKVes1vhXpPZIj7cKU12S4n0ZvaRSQVM9FVGtPpE667vKHTGqr3E3
AROE1T2csxI/4MmxgJcIJNgGYEONcd9IPA2ls8NhU3g40/Sdo9fTLf9FC+6b+s2qZMzoc8xiH5r0
qTKDKzH9DYakoaEtcDRlU8i/Y5BcK9J2UJO2Hf5LcFX2XTNq88/XKjTakxT50AFvePqyDF5yPOFI
Uc7/twyyCmrWtPZTb9cKlm0woQYd+HBYyvbAACblXqT/MNdRis5PTJdPJh31cHwFkCQFDyE+BCEm
HRMgSbhL4tTYBHs6x4yfXVsdq2yEwZpkq0JSr7wodoD00nQamqdAZbZQ2aKeOzmUFTZhBnJHT24M
wC2bgMkGYng3mv0qbEMMUU0ikLSLYuRvLUHUVzcRnl44Mvxp4vjA7yyk+FR5BebZvP3DBm/ffaAn
3tabpyE3nddXltyvlLK55RlhWXLgVCs7vLCDbM0fGUJ9zR9epO3ErijuPGhKgMmPkljM8y0hcR+q
CX1zdTs/MFP1+5UR9e+N7/2ZQXu9RG+o8l4ODT0QBrCI6qoPCQtMNr/l/QmFfZB666J7nJLOs82h
WCVNsePRzbsU3+LkIY4vTSlvJaB5khw6OAMF4X6eM/3Q1yQDQH8Gk/FbVzEswtMFPqyDIaEzyMI8
A/pKvS2a235yjawgiPeHYiB6j3ucfzYKI+Yb0Q+BbQR+4OvRuw8VeGHo9wNQ0fObzdyqJ38NFcju
sl9+2e77EKIPWSQqXjY8V9uqg1U2SDYsEZyFWVaHlyHVrgax/5GxlDQKIuVAfJ0nfDn96LTh3rNI
SxFhE/Gdr1enp1j+QcvXKk/pL+zEa4a/ZL7Mr9v8U+aLxCWbI2GFmQFLubCLOUwPhoY0TdvV6ZNi
Gs8N7wmPuJn0NxU/+TbF9ZeuQD1+10XVhpRpQ6mbxz3raFgscP5JHgJ9ukUiDA5b3udg4eZHZEKO
E5TpVZbCo68VutPjDbaC/nqrEAoiS8RGCbKmFsshboXDrtWje8EjqUZRKlQa3AIDfCB7AVve6AbI
3w1mqBuUN4+Uekj9m4MTyTHFyRFrIEltDurY7ZtMNRHA1cJdOTBFszjbGXFPZNEm7EZ08SR1nSOM
HgwZmo3XuHB1dhx0eK9OFnRuS7XLWGuBjhFo4eXiEOSTEQqYf/Jk7QQcalZh2Mq4h+OlJXWYvOor
szOvZLW9r8Thqcvru0kRUOpWG1AaHDN5fbGBxtxw4F0POeOoP0hIvSTWiCWGf0j4vB27gXpl1R4L
3fw1piOuyR5eMdILfZIPIUsZUgcYZ2oxstXCxHKAT4xKw7iGukofPpguOjSLO62oH1k3swcyrrs2
bDZDbxEjQmOlNCGYuJ4lyJs3baIyJHbeJxY7qvhRyhUMcr3od21IV+ym/F+WH/3sJA56ddw+GnHs
rQMf+lREXlMPK8kBgnbgf8Izp5BKqnrDjLXb6zkXGQf1Pkq9G7/oDpEWXSVq9VbRFm1Xui7aE5xY
W6mbB5pPb4p0ZKEI1VeseojoxrPgjwdfjg9p0LwktITTSe2pGzUVx2NN09426K3+oOR6eJyEDnOW
ItecaQSaXOcadWM/9F9MDw9ywlqwkcbGs6MylZwuJElM91eB4Dgep95fJ6MoG8cEZazbC00N0h7L
V1yhKO/6PzRRk35hTIARbBQExZ9YL7RrM1X853oqxl1Qs22q4GpS3IdDfhXIVKgI64q16npBvsMv
U30eCznAXDPKsWoUPHZtAz3UjyClo4coN8vGiRCmsc0NNW+VoKrgAffl4EZ9OaprKtrsl4TGm56j
aGhiB1i25FrTEFh20IQ40VNw4PXV/cEo15IkNxibAewHdDtUr9xaaq3CtLGeaCxWX6pOUNctDqI4
LeVdZwtQ+45tElb7Mc9HZBYxFLLSZPKpBshIKc+ak6cZGVpvc1b7QC3CKlXYWsWUbbsRIyUQ72Kz
xoeRM1LTxyCb+vZWpOq0Uoa0RZU+5T+QkGQ//AppYmzkv80hIyeb9sRc5bVpVHzc80z7NQRZvK+T
OgEKqDRHsEzyCoOffjUC53bUHEsazyuYeB72caCtjbR910pB29SyL995DbA64KSaTv53Pji09P+k
sqCvx2KUVykOdxAce3GHoxuC+S6BNqyL6QpygsUtQfYsAm4GOj20KnCbjX4t1bmMuWLd/Gz6pn3q
26k/puj9NjhCKTe4ucQYaZmlcK/Isvouq5V/UuNyukorGeo1plJQ1f6Lo/NabhxJougXIaJgCuaV
BOiNKNeSXhBS9wjeFTy+fg/2ZSdiuzUjkmBV5s2b92jaOG9LpKCtlnM/aN6a1JXY+jeNkvHV5zLc
tnLSL8QakgapXDeAnqbfbEdJDMgWjtdaiMs0mZzXoDLHnwH6y06YYMFiNZT7PquM06zIhNVUNHHQ
mPNLEffNM/s4LFMbaKUbXoJJhidX4Nxp5i0M5/kxWK63Jc8frG6f9OJDd7QuaFttOLp5177bUyh2
5AAn9ygVX3qS/hWFc4c7oAJebHvJwSFsOGGpbPR+5G+yirOYPJyFlRPWQVa5P5C75svVoG2TE00+
W8cctfXu7I4+py6kaMoROZJS4C6vwiCx2iR/343X1PlCf4qU7XGMcLUZ02H2sqtnVbt+oaDO7fIB
dp6i0QB8Qe/UGuol7S2ISmEADeLV84hezlvKoMVmp5c6Y/IOLdW8MMkca7znKJ+uquxxI0Xjg4rl
qySCemvy10gec/aGIfaxox4u8agbOVDg6TqW/AWAdLtPNbFP43kXzuRnj1686jzMddwOAJ5YeVe6
+C+qrS9HaCA02nF+IpQWrWT4k2cxMefieXCTneWs50XhsTo/hN36ED0X+bIt2E7hAJDuTnQur5qc
atd795qc8rwNyMOV7D44wVBykBOex1uoY5Gy0itH0V1b4itxYeeuzl7bsdplBnHt01DpvhAunAur
c24zGdD7tLSnexUJ9zh1UDkyKzTFxhSZuTdkT3nQhRq4I9DzwA1p33fF0t9zhx5h9urx7+Ca1q03
ifMqjPhWZ+HNruJndo+INTXSXRaPxEalOex57WpPy0wmfnLGUgo+PvlbZlUdyEQnZb0s/jW9vM9T
cs1aubMT9HwjnDYE0hOvalWPsajZZHYAeKy2w84GUJwFE5dfB7Fu5l+ohv7vSApzICtHbdICLSGC
GEBcV/GbDURj5kTGbeqQWh9cye/Q2DxE41WK+bA6r+CdkGaX/GcIfiZR6pyI8tibMU9p4+zXz93N
wZA4TsjhWgv3tYWQvE0XAoJTc8BG7HyMitdnh2RuE42/J/VqT7rCDpn7GU6mA7/S6gIqo98W84dR
LeVm3b33bOfby9zd+qrREh5FOX8udnXqCp7fuBQKGKedniyntn8dYaQHERfpaz0wl7OjkgRSbTza
UE2xaHavUSMuUnonrVMHLRsJmR727tCfbJIN5hgackOe8lrEJ7suzHW/h+k56dG/vO9JtyrNQ1hp
HAgajBVyml0DI0I3Y9zDoED2wZB99Sp3zzarPH7o1UTQk+ylxpw7dkm2Zb1WrFMKpRnWglVMDTPJ
Cmrqol+U0NJN1BWfQ9EdiT8/u/FyS534kAzyZwI/V1rl3lRkpLZRfuM17bw+TQOdPljaC8nq0V9y
TdbY/FAj41r7yuPqLLBbkpMZW7ulLuNN77Ycpuaq34BBoYGXVtBlrtxo9vRaM1xwOQkcmuOlbE8d
2SPNkJ8zb/mOEETaWOFGqqK729FGQbkcNk7kPNymvzheecnVfDP18O5WLcUhT59lTPfC0E+RXq7r
FN+TlxyKheBXZ/A+UxbXN27OeLSX9JpFf6ZKItuhyh/gjILJ1v1BgUxtrQd0yZNg5WrTae4x17wP
Z1nu9SguVjT9prr9OjoE4sVZf7LWEAo2Qy7EQ75B4b2Yg7xiCqtJzUALyp38mBjTw+q8vciaX7dC
6xRR94RA84XZkF0G597m/Sfot/P6TiSz91o4EiCdJAKSUBLQsAMfW/Q6kalLBuohybLDkKgaE6ar
9hguJY+tGTjT3KCZqBdbAbqnat8kqX51yU6UYzYdpGct27Kz2kOBNnVgwCy22HcpFJqGKJD41HVU
wlO454lOGBS0ZA5bJaFLJh+mRg6GPckfk+9xYRtgKAXqKql86EFlCFm08vpj0svyYlRWsy26Rj1r
3iQDrZpbnFIzpatn1/WT0aflS+LKOJit9B8s5fd+SvKrLNeY18kwzuVqOeNV8qxrEwAC0RO6Wva6
zndkLm+5OZnQjar5Y9QTDJTenJ9Q5rz3ZtSNY2TA623tuv9yCiudtwuQLbGZSQP+GdWYbc2C56e2
8tHZoGllu6kIJbqXNZyaluvSbqD3bCJ96J/4VJtvEsqxtGaCEMgNXJZm181ldpfUkc8Z2MxDWhiC
SRl8jkUvF3Ii2m7b4/wNGoKwqUOBj2x6wyV6nnSbB0gpkJBFb0UflA3DC6nEJdIl7ByD42prJu43
5YXz3BuR+hD9QiDP6Op5sxmVEabHOpUNST7SJEycLbf8RGNCu5s7I1x5nNfCVD0x5naV7qk28a41
PUgWs7bFqVFzfapBUB3/76wEFBzfAPbqQQmnxocDkt2awut3+lAzUAfo55NQLW5LXztboQ9kNSIk
PXtL4f5NRvEUh8s8bys3nbazlnhJkMluMKnODLXzlLA6KhY93ru0aB5Kbx0YNgZjQ6MjiEldPOh6
yFix9Dhop1EEmg45rIpszKEyHZxDlPXJm2KLZY/9cYb4kGgHtcBxcInA94kN1fzKIREZkCYkx9nQ
L5k+ab7VWTlB/DAeNyF7bX/iNtI/bYAZl34sjPfUHEnh1dIpe2hOBewwLZrbrKYfs5lQrXgF9WUR
ZuS3LDt8kq7Q+tow9qTph+2lk508TIZu3ZSKihsuawn+GwxOP5jWm6q6+jK1CZyYKA83cqV5RGzK
btyYm0V0Te5bWWmiBmO7XuAaoc6ztIZSyQHdhMilDst40uiNdzDkpIS7triUY1sGbpSVPuB3vPWz
irdRW+VnwXrJfVQlpnmLYHCLr7BfKqrzoqmGAwiYZptCv0WXdPqNaw/mMfYagr2p89R/eJLIeqLJ
AhzTitYOCPp337VcYi1syxnAFYHky90qQoHrpVWZsTFiVU4rg8NLtp5Z1X/TaKzwsyt3i09a+XMF
4KvNovaU5ujAubCmwKnMIWgFObVbBWfj2+zZoxOlxhwAdDRwgkIttJ9gM15KYn4+hO3oO64i/a5q
jQGU06zDXozMpOf3CzTHxfs3hjEgaj3mKUHz923drCBFDjPPXVQ9UNppCDs5IwDUtW9nvKNl2vVb
9I21NkrqzfB/Pms9VRBc6QEYk6jP2dCSLaH2E/+1MfFn3sddmwCBU8Zi7FToSD7TqL06g0MEOI72
m5ejXmjCtQNTA/REhDxRz1XqotmZ9peEOH/sUpEFZkOlCAGtearbKg4IGJh3RTv2xKUQRc+gCOap
H7YJ75DObe+yAbHrdN3aDeGsOJPLcuNotfMHNg0gt7pCjh3IPA7juP8q5gjYjDUv9zyUPYlJFFCD
sqeNYF6+EShb8VwqP1tYUi1y+z+tSNuTOWuUomF4Hdv6N5qRRMriWhbq2fH0a9sYr4mdGUGxZI86
nU60cNc+KX7hN3YgofRPM6OSzjPAL00TUUbUBL6PeVr6mjRqUtcbi/x3dql4u7j0LPFKI/Uya9q5
jeOEHZXsJ3cbFnzi9nUJDa4NN9Y34bQirjFQeIrVmTCQtnEg1B1geA67QMx/1di9wl27F958Lxu5
YkS9YOT6Lcb4MNVWvdFaCjYXw5JK6wMzcBjVaJtqLcid5FXlLEGAjHhnPyUlNL7/EPli01fq/KaA
mMOlm7frmJ6uraVxyt+LOnrTeusW5fV7Lt3fsTGP0s3+kDeKJhSCg4lsxsNqgSwGCeVPWlJFN0OJ
/GRn1349eImZrjeeMStCsEpQPNJ5Ife384WJtGrX77BpbqTx/czZ+FVF00c/L0c1gvJeEB+BtD8P
ZXpjY+w3mrRnY5Do38muVpX95qy3RdGCNBzntoCbBWXJTOrdQi2L6EiudEYJYjIbsiDmURO4HjEM
Tqd9oJc8MfU7FGHD8JQxjjKRFULPOPAwsafBe8GILjpi2Y+uXNLe1mzTP3B816BeUGSNB5g5oVpo
Y+0mhGANZBjTD3STwk9HGCOoNfdQ0Ms0DC26Wf/09Dnbsq/O7a2KZzVYdztD9CwNcctd0mYhJP5b
YoMt5MX+XETkHOGx4LomWH4n4zDZ1g7QktWuXWRcQUllcNwPNDfnKdW9TZhG75pa3gsLgFI4kaUX
V43iuKaQzl0sa3bWZTcrK+wdoczxrqgxAaLTOkEcInU3jhvAUJFb9gzzYGnm5O9YET9cxXF3I5DT
Rn0b2l0tWqiMfa8R4u79jcxRHYzEfOMpVlTgY3uPdCb4VaoxEplWK7mdLH4fxctbJykx48xcgtFq
2ldD7/+xZ0oguuMYGzUkbYDVyjz1jlb6hCljP8UTdwMmdK/GZIxpiEzC6hWCh00rvY9NgCyULx4n
k4Jn7fLm6jDmEUIrWQImb4CbM2/Z2KNevAo5T5tYNf+lccRhPoTbaDTViXJvunPuO/+6uZUvTqGh
FqpQzBtyqTJfJW59tgFyAlDU8kPL6m3g5k67jQwUBMEQ6UhpHm4lAvCTWWifzci4oYji7DVhMz6o
ANVs29qbCRsw+i/KuWjXTsq5Ilpa29Bo/g0Ty8FFGxXUrzEcyw4K18YY809N1NNN7/XfciwqhncV
o9AxdreuVdcM7xsi0wdT0Pxn53lA3BokjxSSN1tmfOMJ6t/EZsydJinh08FSB1wQdP8epsoxHfON
JAtv23ewhzgHykBUTFaRROIgjg1OCHRKaJ5Foe06O5yCJpLZVed6fRbd3PmIoAZjT4g5zmTCiV9c
wSHK5w6FRRIJ7tTjrSQicT9KfD5WN31ULeaGWo+8R+NpdHuGGYDGaS/M8onAp8g7uGqwt4PD+Isr
X2dAFHtPoZW9TPB4gjDtW1ghZnUkhpqQfWE194T/YYwsT9gypi2h2lyQM9lhRhp/giPKtniCxYnp
DiDzAgBipHFAk4Vjban0GUmDKtv0dT4+w6RZq1+EAMuWaVCS4OXX1mhtJlf/bZQGwQhz6Tbt+Nov
DiVFtwhmoZ64JYBjtxyBz5EcTOToivcMV8B2srUboNEZ4dbDxFrIEYG4FruC18iB37/TkHynI1Nz
q0+8HU7eJ3LWk/3cJoSbV+9NPH5HEUpVLWLYh0lNU+VBXuSuQ7Ma2mXb0jVtdd2Z9tE0/iNKmCFN
ubzMYHrpPwYzgL0yMCkj7myoGcWpQkx3hyT6TTfw8eqwqDezyRsya561TctworXq28BU1bhto6jg
o5OR3zjTt5kIGTgmjBKi38J912oT3DnxlnmuPDH+L/2o6Be/aXkBYaY97MagQyXrAipE6sbbWcAt
Ld1hT8rCSGGGWj57CTZfqgCfzvqTouoDMYErdiK6OomMv7q2oqCiNWlIZAx2Ea82hskJ2CVWeeiU
82eYu3hrtP0FB0UKyCWrUc95ORTIlj+bmHN1rT2XBqy1zk2uWtW+aJJjPa3Hg1XFyBvLGPs1YjA1
5NATAyDes7yaCSRN5p2TGuIkZi0/UtdWD1WYNm4c+9mTWhqYXQqzV4p7Ddqj60zu1pT0dtgOJMVD
NcHsQJboUpHrXVUDv70embSsqc756OU7Q9Loh0Wu3w1B/oCTrjITVKcgWfJ4Axs2+kw8jWvcM2n8
6/m/VHLFxfn8J4ZFgEBYVb7CO+rTwlZ+acr6DOsaSWbQDS4HzfIreFsgm/BL04NO79JSX1oh9EcV
hlFgdWHxKAaLEW1o9Ffdids9iMzcd2y72zdjjD1udJdNhq1gN07L8IKYqe4JSW57rS2NNwd5D3Fc
zb5tEUCgRcB8x9R2CTbET92jh10VARFBpxfmsc6zIoAKtpxZgF3t3EaB0pHOflQJvqkjJUNU9S9j
kxSnbizTXZ+JcGsQtc5Bp7UBaky2qerIW6kmyndqHSdE21oXeojpLhhaULU0g2K2gNl9qu3mUY6i
O2neoIHAMSIm+k5zjMLO+zA6will1lqQQuNyXy3g7hYgI7sscrPdUMXmIxT6SjVy5d2rDfPoaegv
Wjh7fkxa9K0Y+D1S8JK/sQrtjTH3zdeA1AxEsq1fVg4xwTR1D2Q2bJjtzzlTS7M3OGshne8g5UzM
C4Z2Ty2C2KRp7o/wYtDFXqm/Vi3BNSsV1meAMl/QqtNvJ0xxMjVG7E9lOTxlmTgzKL+FsYcE4kyP
BgwDS+gDbwnwxQsV7vw36qR3nwummlU4t0eF6sbAsM9/GJS60clujdH9Mys94zxz0NxqnGf9sQRK
8akizz6jn5nDNkOqVBuhbNMXlW0+oo68Lz1tlG97mKOSqYqONoV2ABSYinpwm+ba6iHhPdRejG1B
EFKsjN7Nnox/S8T3S+pk2Hoak2FYO6zOVymBUipDo9ETUmYFF7KpcCDkWoK+N436cSDKz59Hd9hM
ohy3oanUyjVtfNgo9a6tseuN2jQGTma5u1mhY08xcJSNnpXysgzlsrc7m9Pc61ygF4uarq2BTSsV
Mev109Luyyjr3lPlrVJGaPaHEqTdKzyv8lLTCPzTF1G9elTWH+wAug9oK3HQqf49H/mEMyMr9j0s
m72Ry+XCQ+X9mVNFWwu0bT85avI5r+2jO8G9aa05CUDLg7Nom/4BnBkok9ej3sLXrF9SpjLPReO5
gBqhBuo94CkBqWqv25b5PVulscNvFgeRPqVbW9Poj0oSslqGE98ShLE/MH8DJFbEP25TtgcKfOnn
Zly/VV6qghGZhgDjdHhJp2QMxlmLPwW4p3vUF/bHnLT9rfKqEW+Dqmi/TB6SQteCqcjlk9MPzsMs
K/Fat7HzYxWm+g4Xx7mYTKQf4Bqtz9nTs/uc2PiPCrhCSxF5r2HVtZ+WjJY9Trfq4LkGBQY8mB2W
ouEVfOAYyILJEhFLs+tPxpJcALAAg80t3Vd91X5ULH7sVC+JZg7Tdq9Lmb+PQrRHM0SPY8/TuBXM
/QIC0Pr/LPjOR8+mPw/tpvgoFgZ0An66L4bRfFZZh5gSy2hbm6OFcQOyQmTFHJMQts6M0DN2Xnoa
ZMVoNHVkyHk1mjqwnlbewOGhXGMxPxOI151cx46gBnrj6yiclZjB7BL7qCbeYR4uwKViSv7Y1ogH
MbjmgPxV5LK6LVu9IaaY1HLkriT0glFgp89BVjvZwW7ZGxu7XJ1kVWnXYZA1KE1e56dRwib2Q7jS
6GHN8LdM3R4arxqOpEAj98OSFUcyzpobejW7QZTL5h9isOKLkNVIDpBJomBZ9pqznTmHfDOex6d5
NJdjaOmzC4duHCGsLO11MNPlLuqIViArtSvg8A++3gNN47LwxYdTdljgxd7CGvP9tkzsmuC/evil
00T3yuemf5u6KT2asvL+c83Z9CNmzufeRiKhu8ehSrrrcJ1lHEOKQ5TOMIHDh4Hiju3KKzhkO/0p
7izvTYYUOVs5V7xJYnHZeUnTqP0uCzxWMJTV1WrK5BLXZX2GceVQdbV9/2+MKesbI6ut7YKcX20M
u8ItFpvDn1TLxFPvcbxWi+6ecPbXP5Y7mj9RGOZBbUbyxUod999ijl0gO/ByThWR0LV+T/SI7D5E
FACrMfi5m0OYIu29Hu5bN8mfcw6lr3Ie3H0hXfPP1I/tNY6t+gA0zTgLiG2k5hIvXLjL8BUNAPpo
BmS9q0173nlWu7yRPgg3VkTLw/E4gl3mTpBapejgcekQZ1PPCIM0D72S4Q0cX5v0dFidaA510k4n
TWSSWMY42uVWwlzTmLs7OpTwpVri41IBb8rQCO5NqRV7SYqWT95VhVHLivezwYVaTSauw9r9r7Nx
eVSUw9emq72fOPf2M4fmZrUY3KHgjRtIOnJr9H11Y9gm4NlQ2eaF1vu83xH5CHFFRyLwckxTtotC
xretUWd7l7BubHs8B1nb/oS5Y361DQNTQotwXg+2w458wSxeZoA7Sx1RkeYmAJwDTUor5sAbwKbF
9mg/kioZH3Zr9j3dIutwXZ10y7FcBuclzfAYAg8wtyQ7TD4QN+Ot86Y/Db6DrVuA1U5L/iPYHSnM
iqHaW3xCKBYVtsTceY6X6j0pEuNZEyZsJtM191MUx35S0cvD3TmmiKqbIkcwoWn5Z1bFa4zxlb3+
VGqw6tAyEW6IN6lcw/iy7almvNP241/NpU93oMj4M4SavUg8+zBoznikkWTXuy+XHhcTdjovWajg
ddccfojbZL48x/l9mgvjpFd9dyqhNo4b12ztE4YScOFDhQghcxDTprPRvRVdz9CMs8Zr9Q2Q3MJP
3In1NaJrH2lo9//x5ixfqSvtwNLsYVtL8ki8vBS+2+BRQFgcjpnV/JBIx8hkksP3uHiSDbnwTz/L
f2G5/PX40GhJEDakndnP/eCdWP56nSv2vu3i16PQ2cZZuJsX40q2R7oC1NZWtmgo3U3CVmZHuxW1
5T5nhd7imc7yn6ivmB8KCdPaWaD3wa9DxxQLgX9knm/HRoEgaw2AwwQUUuUk16gjIEKuUnT1kxvl
vsa6rDeJuelFn29rTxw6xzhys2lUwDh6KSr3AJe3RsPRH5vvbQxGWNen/zjEjyptgfSUy79paXyC
LfZZ6V1gLbMZsu544h8zIRYn/NNJ1alkJk6Q4WkQ4Utl9HettZVfZjL2VYMzL0Khxvh+ctLJBM5G
Eq1rFg6xNDHmsFZwmoJ6L49ex+aozJ0r61HrUcYfjfhohhZE2cIP2T19uUejPzJeHawwDrxU8EuU
7qko4rvZOXcW7/citN4We746eswD7p2sVj8kcev3dXLLSv6/xdxEBiPqqqm2CHz5duqTvcFvPOXG
PSOPvKySQ12qI20A3j4Ni3OzKyANk2cVGOvAa2G3dKkMOqle3ZiT70a+bks43vUJ2reHLdtI543C
dsK3l7VQoXnRzZ1pxyrTOsfMqtAJxjcsOaz7jFfHxvg+8KZr7abLCrGJ5mremGBL986cfjbCeFcc
RzlWGDbmN+zy7kagdQyyhxkcJx5bP03pZMOGOZ4zN59axTnsTfHZNmM+cpK+37BGuVTf4SUOo/si
FfCm2H2YRYMIXth/2q7W6Ljr6blLbckTCaPPkfg+m2XHNfss5+ihh3WzwdCnHUTGZmfSBUqfmRYv
zdGcMYYxDn6UURIsmv2WypaRUPOVmvN3bsQgyFqo5c2Ijx9fpkGZvFGiO9fVcunNPAoq2QUG5xWE
1tzXW+GbveU7dG+wdqMXO43f85LfRNl0785bUYD9UlPVb1NtOGugwDZdAdnTNZwT2eJ/oqrUqCAb
gWU5E13sU+6J91KBfMTAy9YyQDZmBYBV5ovu4sC1DWO7GNoJvO+rdJOfOTWe3WH4QiP/4hLd1bp6
m8jrprsvS05SdPxC44Ab1FTfTTN67pZ6NzTJZ6b9WOSE8j6Wi+szhQxqSnL8j1fdnTaLrvlGFP9p
6TvVArOwbj7LZX4yPY2pYMYX7bexPvGg+WOqcHrO+4wN5WyUqGxSfo9W9hf0y0+YLQAWMH415i6B
1D3G9X7io4UL9zwv1VfB5yRDNI52/m1Msj7Jc8+q/MXmZ5Bjn/uIU3hhNpr08WXIUnoAGbgdWOVR
PEtiu9YwybYLGTwofbe0w01G8TkdhnHj6A0Thrn8rtA1sP3saFQuhiPY7LdBbjsbUpu+ZJE/r+Mc
p5fbGqNNrEYfPvhTZWIKMWVgy+U/BwQkTnTaZ1rUaTa/tPLDNfqtwaIxteNz56QvbHonU7p3BM4O
Td+y6rgrkuFklfMuxemBOep5WWAzYunK0vjRD8m5ydW2sCc2PI17ORnY+l8x1QW9w0ykAVkcOmB0
uvzYTYtPUedLHSs/9DN8wOS76uF0KXC14Y6ZiuQ9ZxyaZt7BiNleTtUjdZzd+lEl87xnFnR2AbGo
uKfUXnzRICcpc9NYw7nL5LHIw2OBYprI/jjLiGttpcDD8mzM88Lq8/o45OkQAC7crMnyicDGPk8R
4zCXVqbYFuZyi+MXRbzgukDNfNyveZwqfun14zHM9gFt0pex/odl8og1bY+/Fsnq5kr0uZqpBJ/X
Ys4/Q+swWFmC9X2L2mZvhMWN3OVo09iNb5dcmjwC7aj9t/6OWW7vIy3az1EaiNJ5czhSMitJSRSZ
fRWPT8IuTmbR/mMr5AxCdu+5+WH9wTYfUKnm9/W4RRbecd5svaj2SQi/MNXYzAYttar2GSkonp0e
ynY+DHq/7UUd9FZ+Qqf/u4TWgSEB2BhLbqpKPJFivs05jbNp2oOoyzapgUULCWvmkp5F7DdTc4ZU
U/Bkre921VOz9cOxTpj+4J5uh/DKzan47ZWvM1LJI/We1fJRT+F9IWrLtKBHDjUyav1gK7hDF3yN
Het5lt0bqxWCUyHdDZ3xPqbNYYJWi8ayvkuVuGA6JZreEiQSOfsZgxS4zkJi+Mr/YoaJNmHC6sas
Nb5cNI9pWIu7WRiwukwfrWxfxiw2lN5hhIfMWV+1WztV/uLEDzNyD2kSvlOT3cOICScv4IdB8y1K
813egFV0w1gdZOfp2xEvzb7OqArs6sjvsNrv0g15p0nQVglji0I+l2o4F6KDn2m+1yZwnHGsAzUb
/wHtfiuXknesueRD8mYW+Xlo5m9GgO+qrt70KDc34dK/E4h/4AC/VB1eco1o8MUKT/Qlv6CZf4G1
vAptfEz0fo3V3bSl2+epDSzeuKJHovKpoTmzlHQ1dBeYpbbsofG1ROawhDYym19/bdRpnIKDdbO1
BmtWTKERrg9VothjmCI6snnEStzryu9k9Yr54qWWy1PjQfGsJxa3kqnfp4l2g+KuHaisbhMHHAtU
IAJruMnnYaqOU46+4oFZ8Ih2avi+xUo9N6PHLUfMArfytg0rfJIN30TNZjJpRORFxLtpZkTk5jj8
Q0OHs8wI1nPbnTvmp6yH2zuYr3gDDwvXm0DaYoMCv3vU6DMDfIZ+ogdzxsPp9gzKYNWebDE9N3rP
0BHZlc6C2xtLZVNmJq/QxKAtbgNeYE5f7d1jSTDv85OXqTfmOIRRVJitdA5wNKGXRqi9bI3vhsUT
jiRz3CR5bLDzk3y3msakhTvKaJEXaRovYc73vI/EVSjj2bRK7uHR2iVt/l9ISWRy5sSu7PFbO7Nf
hlAi+2zcaYQ49NG4sA9nm/yAKrH6KK6Ppf0Mi+5QFMYXcxcdMCwLGOv3sAIDVYfFIatxYHSOuWra
0cq6ZFznPplW81swOgrbiKqMyr7RxytFGCsM+nAa+4YcoO4RFtm7puVY8vu/KT8pZXVm190n6+s6
1DHZHeNMn6W0QEuGX6Uz87JT76in7fs6Y2uk1uEzZvJZjf9VsYvnTGnnYlxOxqyvhtr/MJbus7he
DaZ7o7MOpSwfSF0HVhDX504vW8iS8HuS8cQs9UVy6lvcqOv7XQBLEVCQxTRtau3Fzj68gesu2lWt
t/V4Dnj3KTax1wzjNgdJRCrFZU2oWMtJW3CFzOHDK6xrxV1mVP2rPsWBdDxf4jfCOcFGgeNrCmBv
OfojSzjTWvGeTC38CPEi4rayioMzdC9C3sRYkoRRfDJADma1BtHb14reFJX1gx8dtHKNOVkXutuC
rFeW08rxFGNjCO3ktJol8KuEHbJ0Hr7UtNYsxfleeCTmIyN0I6/UOzb5o9mnX6zZH0K8LyXT97Ir
LiV6TeM8Ql2ys/fTpddYQnwqWatsmfpNjeHbbXTOZm9L3IjNrsq0uPeRUoqSdUeiiZeYe8fprvzp
+phV68PPm8+RexhQMouGCx8fz3OfXiKzZcGADclxKl8Hrsh4qK783UgYLFWtvsELIjmUWp4XHTFQ
O1ZDtT7Qwtng/Sv8KHG32qQ6hp4deYM8y3WL6yPae2U9bPKwxOdV1huLb4DkKudfnTrFZ2SwAsb9
Y8X9Ie7na0SwAwbcP14sniJr5M8QcEbnjPnLd7rmdf2nJYp9wcGOlcCfGERA3P79H2fntRy7cmbp
V+nQdUONhMtER0sX5R2L3t4guEluJLy3Tz8fJI3RmemZib47PNx0VUDiN2t9C8b6OWkQWfOnIbM0
ziOz0Vam+16Z58pxDkTKbhqJkLkwHlOL95MbqPdeu0U3iClnaS+8p+WnudRYeV+cKtRDixXLqu1r
1KtTUGLVdgPzvcyznd35mzJ3D/gk9vOYAZY1DppbSFIye8gxsYE8phwso6LLhtvCXqAJ28Vdda3l
feG8Z/0VDQFaHGs1W69WGNwYSbAfPFQN/TrIX72WoRldthEcK/tGtr/Znaxzhrn8+jNWL+bga9TC
m1z/hgy5wZX87LEsXs1xwxza39YtDWSQr206L9+ujnNENj2vrdf+bsvb5aE+lMGGyliLslozUiVS
jDt1mt4s8GBizo+Nas9BIjCcc2roskXak/jbMkw4t5ZRnD2x42bj5SVKXJieMC6W7/yto/e05GXg
MCZxCplUxa5huaM83uGRm7blGAtqCtuWGOEAhdIGQ06BrwR1J/snJIOExAdE8qXpno8saVfb1Bx+
94vmlZcjNp1Hh8vK8XEaUTeE3LnM8VbgZly4qijE6PxZyFCsrSeDLOigD/c2xXOKBDdAXJty05k2
C9R2F00oe5F8+ygU93VSDeyPCnNVTxxmEnrnKpIzfnYfoUGEfIkqax/FBWBSGGS0hi9N5iEuQUu+
HGU+bFlyBvbS8nB1uHs3jF9Gy77NcuuWP2SkEPJ0ebe8CzpNdlFnnJYDiJvLZX3ddNHOZHdBlAn2
WkwVdDSdRfvvdd19aLpPYEtTYk6U9Z0yBEbxfQrZ8CccrctVKsgkXs5wBPO4WaP1tFgjhuEh9HqG
ccwJioKpY/2TOYt6l3K7Yvm5HHjBlddUlHJee3WbLRgkadf5JkhsFEcIk32z/UzTbD5YQ8yhkEkc
EVVnYXQKP8oab1Ao1Z2foZY0X4sULBC8qpsprPgWY/RmcmITSDEicEMHFfe2jfEtP7uh+5CZWHY9
+ZDYKA58o/stk+zBWpTAkfk6zc4xzZ9r9eZa30mfcbEk297eNHYfHx3KNObQZv/UM/rdGuwfnqIZ
2pwMre5LTUwiM2NGCTaVLI4n1Jmp5zVPQZXH+3rAuGvp9kVMaKpGh9BP4uO+WGk5iOfafk8aa/o5
V+X8XKAaxIddTtQbIXNfb3Q+vFniPxBJ+ymqsPownEaxiEtMlEdhZzJY8fvqznMGxghl3bF1aalU
EA1VW3OaujN5C8NqWioTLsCOVRtxBfGUhoeZ33w/JmWEKrNS8W3IbvvQZmNANy46ttwFXZgL/zRg
t4qGaLZw7c/OO7HdVrxvwsL+IpN9TjcoA5nvxpIov85qL+ir3KdF2cEzaELSIkKq0Fk2eu2kNVY4
W332EUdnTcgeXH1EV8gUwzwm/6L7IGj1SwUh5vuaunTVdSGcYK8cfpsWKXyrMvbIATeIl3PcKF9l
0scwwBVr77PCjY+pClk02x3opJUVhna1zv1EPlbSEec0LXiCu2FyQCOGyk5XSBlnAsA516KCPI1J
7JWCD2YhMQAA37vXSHXjLc9JBo8yqu+bcnYfq7GP2GTlFOygOY/Kr90DeeszZWnvNhvSUcIzn9Eb
lBPpzhkGhgFjUOibyXCLfccpFY7pG31TtmqK8Q40yGlkWJEzM1+7SY0R0OLWKBnwzWezLl4cJzgv
7qgxKM85FfDMhMaqqYQlGkVf3OZKYA9E7LzqZXnPiIOxglIvcsS32KfH5f4UuftmV1g3jX6HPWxP
nNfGNdV+QSPXGLngNjRn+vHD0LuXwAvPhqfeVG1u8RLuCSY/G0l45xUe8oLhqCvrsfbkCw6Ng+2I
q92mB9szjh4l29wbn8t1t4wIfASvK8tiGO/BVMjb21QT3arDDwwbOEp8Hmx+TDhkpalOaRtXzSg7
Hko143rTvbH6rr21ButKTMkJCX26b0M0a2l95hL3Gb5V731k7ARyx7kLmepp/4i4HzGRDItNo53H
VGmQahbDURf/OZkKXmrctiKmJxW3mQMXu0LrEPG1vZu2JxPK/ZFnJb2I033HE4yMPn8i6+YBlito
Euc+iZnlq/FM6vlzlo7grSlnUM9eex+fDMQLXMoYHdPmHqEK4kUvRuoZ72fV70Cn+OtqcusVZrPt
3yow274JBc8qtPhHSM13fxsp8GTPWrT3ac1WJjr7efbsm+V7X6S8YdzvUUbeSDzdquU5MVbdLo/U
Q5B016UQqjtnWrtjixJPFNtRmp/LX51U4tkmq52A5ndjTHemk7/IZjn+dHvJAuzWrTRAAgnz5FfF
d0C0ItHzpyGWdwyFUaSkEsUY18fk3FYlOjLBWIGun8oEqrX7M/EKpbJ+1WyzaTfvmFPf9G2PVts6
YLdE0+EYKPCjN16tHFaItSf5bR8M1qad4+eYJzr29EPGxbHQ5WxwLxmqAvqrHvOf/aGS6TFW6bFr
o+cgyn8jwis47tNjCiVuohtEvHZMJN22TO9Eiz4czwLmQR9rAZ2R5ZdfVTWKjdvw++t4ZqYT52sW
okcQf+sF+C11gu6SZANPILaB1HAazJSxDJ2kHzUXiVyjUzyReSL8KlXHBn5c3DIYg1di4NRsprd+
khcjdA99B6EuHLa2Mm7Ntn0V3KshHSb1OOsg42sZwXgJQBMDfVqbH+uJ0J82UCi6urehDR+yAM86
8pv70gCuYk+KhqezD4yGEGZXxWeO/ABcSXKOnX4+5VZx15a4F8dEsMBNiG3N9J3NjkzI9g2lHWVz
Vdzz4u8QuuhtnajkbmH6NqxreMeNclXOem8OpbvusYxgsYtQF2oa81n/tK66azXD5xncV53np2YQ
r6iK90Wd3VXeJyXGcpEm6xEl2ThF7FHkaRDGN06q5+X9xEn4YHC2oW3rDrWLsidL5L1TZ1fFS98t
uLnlnSZew31oZHET1eOrrGnDDU9b967RPWc2bMjc2yznUBgRBMycR+DUzmr1rvWM5dqPD8JEJF3V
9b01hO9tnVwR0jylVfGmOLmWj0teJsRrFxs+4UJ5L7uCvUM+Xha/MQaEczA7uESdt8KOAFcsE3DW
8WtVGj9h4e9l4tEYY23PyrNRtVwIubgF+fGORD3b+gVq2FrXp4jQ5mDW3E5Z66zC3ACMYzQKyX53
RdbK7q/eGv50r+1pX5bNpQzHtT83SwZ4UK6DUXyZjucvMiA4DgFSZA/D19K4TEp9Ak/5yDBytVF3
bFt1SoX7UAhuauS52CU4/J0G/Zvhz3dM+Xe+yBN+f31ofV5gZ3b2dRthT3Qwy1IRs9VGp+ruElPD
OTMPJZaD5bt6Zf7AwHZnhIxdMjPUkAWcS4GgHdYom2lhYTJ0oGwOzQNcMTS7bndbaf3jDvWdBGIp
y2QzimGd6+CypNi0dBp57e3NKT72yfwdgrLzl9a+s09VMfDgGeNfggo8y7n9LE3JxiNr9vsjcj92
oWiALTtfx0F0UIlkhJyy8dT+WU7tMWRczxt3n+uYUYVUFBKF+m2rHMlpnfdPcxOgF3E73HbRUVpd
v/OqkEFacRJTla4bC0FhIcbbaB5WI2qVvZrm5EeJ5mJV4Y5T7sfO6HW6yrotYZWu0HtXKBi6/eDP
+7qwH+ZexWsfQ9cpx+H/mDeFvEenyQpYTvetwFyS5QttPw8+5zYO15kMqXOGgP6yE5gPqIxcWTw4
Uf9r+R1glewjQ160QGXDxvpL45ai8h64juop3ETEIM+NdbVUg4lfYKRu9LiZQn30vPmp4bxgrV7h
90BLhnAFI4n/EbnGQ5oNRzA4q6yQbDvta8j/M43xodYsEGuXslvnzzKOsGzR70wZZI92SY9gGwPe
IdTbKomcLWJVyTTV+sa6sA2j6Kavu1MT/SoRUuJ4X9gG8R70yXU5UWeOIxuZRcK5LYdu1wofwD1C
ZiIH71Mr2OMyZxplxc+Okb6HpfOc9xnHKuZQUR/oiG4R0p/MjCGTV7+BiLgZovbdy1g0LZz1vUq5
rgZnhGicf1QBksfYu8F/+G6mQbuNdHXXVc116BhwtGF8UqFt0wWnch83ibmzGgbksecQJZecK4kG
feh5mgYdFUkwLc/RyH8M7PC5Q13MRnmAlTrf1KVNKpcqAcfX8KlmY2fk05ue9Iuh1TkN+s04+OfC
K5+Sbn4eLMVgZuYxbDtldQjyoGMJZq09cGargsxWbrFFL35ROQg0k+ldXSOmRYqXPxp9Xe16Fu+b
3oXx0rnGuO8LKEpz2xOiXZfwngK/8HahURH4EpTzKcCFuVgNwC2hN8XTabrBTpoZHBujZzw1kU7u
SV4b1uApLlIebzM99Rq/Gmaofv4la8YePTqDh6Bs5/ew9ZEPOS7k2XGQPLAD91Qje/spXHv49Ls8
2jhePbzUdCr3WNmng1ckzamvByZoMpbzMhg8deQzHnQzuwc8X8wDA7agO8/Ngo3QVXKyXEYFbtKh
de2DoTxEJngqMjrafoOBA1jUxLIi72IcVHRq1XvSUgXSITvUkw2YoVOJT4SescfRLaJo6w+huVed
Ns8+wgPqgaxHsFOHx5I52Btr5u/e65uznMt2XURGcI4T6CKFYOgxizB6bPNuuIwdXt0ya9HeZSzj
mRij6xgQU1GHDJeIw+Zk5szhWee/kzftX2mf2u0spXHLVtI+hSpMgRQLcfSq+ql2R9JE/KR9R1RQ
rucCsaBJvXGLSQ2qfm3eT3bJ0rlDT1ixGlkVA8QmfnOa3sArtlxm6OxNT60DwdRMh5BQqqGMr0OK
+YMGLH01DRVTSbf2r0JIgtGlajSu/zrajk382+S+XbERG5/ojGDmaiZ5yofybrpoCArcBWumEA2C
Gc0kNVMxZk4F0mtZ71hDEa471bGcNtnDjSV0aY0kCxE4k9+gtGGUCOV9Isnj1q/i4RDCeliPcxCd
XAAQ+yoakmO+zNOj2R9/W+XMtNLkmKTY0GozLaab0i+5pWKFG6uoMdQYTY+AoYmB7UR6bg6IlftT
4YbTKzW1XBtu8IY7qt72VWIfA6VaPHsjJCcRO/7W8aoPl4HdBlFevAVrk+mV43uI2qdMSgyvIPDi
2tSok2E1WBoZYQyHaJ+7AMxR1JI+H1vZIU2sB7N3nXsfX8vKmOkGZHR1HJ/ECBF+wkd6osnAQhy6
L83EIAZBHxqVUsU7hw8fUyN+SpL0vRemc4jrJdK4rR6Ax3y6fdZxMuJMwmIGaCwsX+zRimEfmPlD
YuVELsyRCYGEykyVMudyH1GLFa5D9JxTqfW/1nSkRuOU3Z1Vins9i41yMfoww2EqeAiz8iaNsJnM
+m7GFuEEuHvZmtE36yqEdJ2s/7W0mxIWHeZWIeybZTBUje5Px/C19rMPxah1bhN251Sl0zJ/5QrA
OjVsxwyzVGfU1W0bI87Dv/iSLDgqW77Y2F5XrVM3G3wY6Sa0mJ+7ZfmsSzz2y6zIb65TloGly/d5
VD65fgHTEZFSmq6hgG/R/T4nbbcgozZjjbQkjDcJ4mss9O2H1CwHse3f/9+pov8Jj9j6A43VaaTq
KtETFeBHzyZXeKGr9//at/4De7XzKBunCGAp6I+PcazQAKV4c/9r3/wPoFUhhxRJeZLeuVFWLIhJ
KDH1/4NQ+5/BK//AaG4MRK1JxPcuogwnX6CwMbmV3MbcfX+HWP7b1/jv4U9x93dYZfPX/+Djr6Jk
MRHq9g8f/vUJqViR/cfyNf/j3/zzV/x1/1NcP2Fq/fEf/dPX8H3/8XM3n+3nP31AjUJJfN/91NPD
T9Ol7d++P7/h8i//fz/5Lz9/+y7ARn/+8qevoqPu4buFQJj+9I9PHb//8iexwJL/7X/9/v/45PIH
/OVPl8+i+d/++c9n0/KVpvyzZzueY7vcwErydgw/f/+E+WeTYkJKUzjCQ3//p38Bp9bqv/zJsv7s
mgA4fNP3hSVMn4usQQ3Hp4T9Z5+zz/RtqcAcSeI8/vtv9U/vy/98n/4l7zLe07xt+GrX+z/fIjxE
/5k2mjCLG8hXTo/VTI1t+sX45IUdqQiqENVH2AJk7lsr/kq0NVyjwehubMtw0k2cz1V/nNsxG9dC
SndCThKOH1FhjlgLCQ/4IZRLFSsTG49NUWXp4zjP7sYgbBZqgMPm2Gkz96mcUsFiIUIphV+a1Rmm
U2vCDDGmOQrAIr2OFm4YE5baidIJj56f9tcqZiDVODNBSrSa9O9o/AkR8Nz2UdUqfPL7xLvUkddt
K9Al7cqsg+SL8SyM0G4q00MoBus3o3t2obmczJuuDo1rSl7uwzy6NGYFLi8ymuIWJXVZNS/OtPTG
LlXjo62lLfYQjcBclJHqH8uUpUlstSw4zCRvLrGq7Hs78BP4pLHDwDEb/QsgL1wJahgB2ShSKHD8
BMadF4vuMbWb6KUag+rDGZLhDF+xOfdTxUbKlgtiT7rDY24T977uIrx4OGsGhAgzPq9tbxTM8tPe
QtGYAZmJiq74ZSf8yduBYfveGSBUgrBqvJ27AKuKpJ9ueyWyBxnM/t53zXJn+XlxNTpfbDtm6hiq
LY8HYZCX4i1iA/5QkPn8YudAEeD7wx+bxr58npWBwLBuijMtiN7SK2AOZdFzygaw5QZGjm7bBCZ7
Hnfwb90gDUlgQ6/0kJa5c3Fcng9s5Ot1KnrnJi9KHqbYTu59OvmNSnGy2uwLznYU5hecbSiIDWZ4
/Trqcv+hbqzi2joYaFAIQbFElQ8Mxhi4xHBCCbHrzH7cY7tWzBCYgp/KlJzHJEwzRNVGtatSJ91W
hm3dhWPTLOIoAH0rBpf+sRsSh/n86LxEuNHvis6KPlCwtdcKhyvYWtoPipZYM2czgq2fxxUKrrEV
L1abJd+8OTzsvSmGphqPLP6dygsOgSjSbZcrkHDSSpp4Z9ujd+cg9T27mY9eGnXzVwp5FYUFtfdF
yi48aJkKTABp/hE5s32JvDRjEc4IG5VAyIxD4Fv3FTrgtMONaHmaIRWTtGA3V64+kjdm/DY9IX6q
GZ8xVK2YuCKfZs3PUrQZUQpwWbCdAhvN7HLwIvBvXlSd/EllRwfcm1pDEy3CDaadcT34uPuwpgKp
mqPhg+1H+JaVot/OtvS/IaaA2cJj/NT1Or5UdW8+j8LtXwbDiBDQpvOPjjoG7/E8MCyzh+6MV61F
SGTY51gJ58GYSvNTFT2lOvW+A4iBViJx8Y/NsZlv5qBJr22ro/OQ9jQoXjyw45gbpZ+bWWeHKSox
LLrWyFDcHRpIJGNKOSGwvahVARaDzfYgb6ypGW5YZthr22rAFE5sEKTflmvZ14R1R4NffhbklqW0
Kaq9iwGT7FooIv3GC1VzmHTUoNBLkk8+Xb128cTk1vTFc4Zkf1vLlr1UWnXLgi5Kt2atxH4yeZtw
bXm3zDUcFpsqfkuKTL9biYoPTTwg2K6zNL1gqXK38SSazZDF4jwJgjgyxneQaaYeMbBsbqnQpquw
OrZ5wxCeGRQwcPeDyrvQWQ8/E+kB2WOQWziqUZw9NUWS3c2RrfdVP4c3s1nLcqOZZa57jk7UfeBS
xsazrxJDmbtSphzvfGV4Z8tBd8GQTW5aO5juOqvmmMMEMIXErTCFW4RqxDyLDGKr5HLf2Uy/Z5Yw
kX/EzLCQBQDASXOqdvzI9FI6wn7NraY/NaWkueyj6EcPVX/XlBN1YBlDtYpbogMjxNTGQ58J8THz
DKNPYFoRTNu08yCn4jRi/OJ6EsixP4MHGyrxgTKWCXlb5UxFON5u22zmOi/zqvzJGiPaJaPTXR01
te0+GirvHFNhXhxHgWsa05hEOh/he03R/VjO4XBIGChfDXcabkuwqq/BqGpjZY9O/lRQ+jDXDbLx
gLEsx2KXgxMbZ61XfTiWv4Y+nC95nvr3IPzwlEjujaYI3ywvKB5lihBlHJ341pB1drCCVH2Mcb84
wXIR3tQzfL0WWf22slrU5I5R3YiQBOf1kHIYlX0df5WlHo650WbMFVkBjoCNd4Cn1SpDTnXQU+o/
w1dpj1gdWzDglqmeIHmphyolUBecFEO+avIvBIuZu7pNzGu5qCbQ3TNuKpFPWwv7j3mGHuUe8Ihe
8DDxdxWOC9tFRa/CsXyasLp6VLMjfwprRgcQNoHxnMGy3TpgaD5T7Y07USbNxu1FfplTq7+BxM7k
arCcU6/HQSFKJF4u7GmDVzFA9P3AA/xd25jxocugd0ojy/xVadXDb8hjhpBd4sKAyCzrOiBaYYeW
FMl1KhwQrmMnDijs6jW0k00iZbhxSiBT9JLJYRhLzXrASH/awpfVKiSyj8sVN+Eqlx0sZ3pAiQUw
UA4s/Gl68i0gmL7ZISRqvP7osae6F5olCcZQ65g5YEHh9VmPnlPwt/CD1qXV6ArvuVPseWDHrB7s
8LG1gY1iaAbAhdJ9frVc0b823MQPCEy4aqe4K4CZ94a4x5/loq+KlH6JSbk+QTapPyPukX0dwz0H
oZMFa4yDIGJlboXFOq5rO96kFQsyQxvVVec9SgVDdxd4VtVZLBSBqvew9PvmaF+VH9rrknUz+3XG
F1i0iuwCKCs4ubE5fzL8no9pRyx14hX2B9JnSKleMryR2ebeZTqrj1kYTKexHFgYI/pDqJZ4C22P
bWR36hAjLby/+ZvYkk14piEsi5idl3S2Uc/TNjYkSmy95Dhox3gJs1h+6UokBYm0trpiecsv0pjE
1iBe/YjXDnR2h6GN8Vw1NK/aUcalcgLvAHId6FUQNqTIhlDo1yHO4A2ZYeaZ8Wy2hy9tHDAV2pew
8NyvpgNVzoy8aO5A/GRnVrzmmedZ/B611vSEPZnypOkrdSrCKbxJU0iMMnWgF4yNfTOIPjzVYY6A
LCbkkZduBNAFkF5vPUcE/coqJnWd8zjBnevVT6pLwidrAqHYmpp8gWCajgNFwmtaV/kRNXaHOHdI
wFrZgUHMbMW4AimTUbJGaUbGThLCwMHmUn+mTopfMkAzLMgEQ7009Ia7uoXoUhulhQxFgY71UpXb
9IILAbV0GH3gccOFUoOAsJPmQy+DyTTGpuEmdjusiqwLNqFGIusBAnxtsmJ6rWw5PpkzUkdXEfBg
MYZDN0mmsd6TPfQZqD45jE7zWqlhO2M2QIho25synuFUtlYhnoA5cdyWINPpNz4xZGDydBBVXtvQ
1bs6d0AqGQp/nIVc4ICITGMZ50oaLBtFdNvn+VcK3Oxejip9tosk3ReWo27MJoMmQz5wcFn4h7e2
iZ2v7oPxVzoa0UsUR9CMzQIjOzLmybg3DTe+abECN+QVuCMyBJdKppoXs0NvRAztAOYB/pMJFV7e
19EuCoVJUpU5bYHesAZvXalvCLvp0bOL4FL2Peep25kbfF7WNoAbCdckHzwcCrpHCiM8C8wk98nk
jGCrHGdyj0ohNyHUxVtnQ9cQPWzY/OeUuvfM7CnMNCDlY8Ac8YiqKdyC9a0wTobp2ct1fxfHprgW
vHgF8np+pufLXKC9tKeX3kWWHY2kuWLRn7/zDoe2F2OwyOu4ONsxc8cU79R9purk0zL7/FH5An2o
LVqQ317bhpTCDcsXnQhx7xQjD9wJV2JeZNahi+3gZey9ms18lxrPXpsMR9kJcTOiqn2bcpl9zg0Y
37aY3XhdkqR6UEZX4BqJey4mv3M/Z78dDi7MEJYfxvjtSiQlPNS6b4WfGUl/XFxUSr6UMlrstvXM
5iDIFo4PpsuPoQhI4fSs9qkXeOyEldZ3NFwSzbHAL8RNQdoQFfberUPmQYEcgbT0rktvJ8evoQnc
3z4SwfuOMfVT28Ie78QUrtH0h5fSADdd60J8egw8D2424VsOubmbpYfCIMeqJnYMEJBONt+aXYhr
2yAJZsDOEJIFPI8NzHSpnyEvhfdKSJ+dPpZA4PHJp+MazilzGue2b0sYLqO1ZHPI+b4SqvrqQsd5
McWkP7ohNL7dsm563E5UhoVQNLMgqJATW+XWT6ae85TDnCoLTRdrU7ShIiL4wo4RnHnTaCOUg8HP
qrVyzoOW7V3lllzAvDbOFf+J+LRNEa9DpcIvJnyEfPSN5a2nTBk31I89ORAutg7hIOToPIvPmx20
YddMHApqy/qqulZuRg2HCo4mLAgvD8UWcQD84MnrnzidbFoG0tyisEovThbDGHOLXP12ilLjeJ9n
b2NyldeY5QqM3RBWX6RXsshufSzChSU3jYgZ+sJezJHszd5PEixexdnEXIVkik4+GuS4arF63wYd
O+WtKZuAaD0ByEaAT7hYs8uL7PNAKmHDrdMI1xL9Vta+DDb1XF/xS97QaBEfp9ISWWap892EFe82
onW9wxJN7niadaxnatMot7xa9TaVbXQPuoIsBCuhRy5MQ/6enI7KJMlHlMWmdZosvXBYENmrrBDc
ZYb1q63t9q2MgoAdmes9wNGON3Lk0MQY0BSnonR68gIyZFGmhZ5qjBZlMNJY4I6z7UDkZZK9ayFa
oD8zCmqw0RQ7Vcz2ryHBVbrqciIfGBUbJBS2WXZy3b77rZ0QNmxfBQZiEpkd+CEro7LUobDwb8fH
zOz4E6XXJB8T3KGMtmgOwQVxvhvaTTHMxt18K5OySo7m2KibEhTpAlIxMjwuqW09zChRzxxZ6cVW
yoK+wzVwHNsFQlkyn/dvndHskPn69otlTM4r7voZyXKpaduk9wzeckBCoeDGxiAz2Jd3VfhRzSbr
CJqGX5HTtTxJ6Nhoy43lgVBqyFKG+WYIzcatmSCfkURkv+DQbh5Uwg6Gjl57DW4mQzwauWz4H+2k
h1UMgBuheWv37I9HN/kduxMvHJ6L8rW3RfMTG7nzrcmmZ+8BL+a7C4uJfe5M8KJf1Y9zkU2IUpAo
05pnPQorT8uvafKMGzDaLA6wa3McTXJOv0AzVGcNnAoIVzu84p/lzau8dB/HXXfT8xj9yfwo6NbI
gTWgPVgA+TrKBjQLsivHkG48RqkbEOMXrrVtzO9eqjMqxCR810nRnsaK1Zfbyfwh7emipYeCaG3p
Ul9YjYNOrEsd/VLzhOqzQbtj5ZZ6NeDcIVbyQIYZXgZUhCUW/SDDs3WfVQBig4oU9p0LIo9oDVnN
vxKmad6unPL+uauQ4TGaWdxHgXTFS4tDd9hao119dzrjNMAfwMaIIBimErJ37RP3Rz7uQfiyoUB7
7B8yOp23eFkoZ55ZkGaAPV2gcirNe8Ntmi1wJKqmGAojIGXdqbeqArzuB8U4QXm1h3VdmhlScsPO
QHqkFlj4IXJMYAsjdiRkzuJ3yWj61ZnRf+2jMDHwR0RB8+PJEfMIFw/b4THFftA1keD4ouX7ZpQ1
3RVOgETfEInHUzvI3BgBQ1J+BA2DlHVUkXM3e5bae0VngsKNeoTtoZyDZ5WHxUc8hsiX8t57DoM4
IxfGkGeXzfyprGy9ayOwoStdefN1Mobk4tmN86FSRDJrrEfja21BicGBpMw7sMb6Nq8Bqmxpq4Jt
XgUu7tLBjp9SpAHzZtChY5wgPME4B3ueXxyh/EPSY3rsvKH5DqwBEcwYlQ5ykdDae1HtbllMWc+F
mI21LCjRg7lMPnt8WQfWXeICyyJb8I599zTYjbe3+lpf66as7ijRic4LSxvtyZTN96XA04g73tpF
usAjhU8v35mZN2n4XK3xAHhnPo1xJtatLKqtN0pQkAingp2T9HKTueCMTjnyq1UE1RoVAowTrALW
0srK0sXSUyFLAdpbrtPWyp6Yg8JSLir1O4U49duVkXlrjGRFI+0tMPRbZvudJUxIafijTeSNwYeB
aAFbGcE9ZWh4aBbd6QKd0j7ywORxp9QsP9WIxjkD2rWyiDz+Rqq7cCc7TTSHXY74LAz3UXS2/TZH
RvXDAk+/42fXhxBd0RRY0Rer3OnoOHJ+q8hc4JzzifKoTYctfZMk000LlvABhYv3MdSGHW+R3Nus
u93+V56ZhAfkgpA0nZVrmo+U4YnfpoCQGQRsW0i3vxO/JKFjwJdE7W19JLYaBfZnVT1FPne6q0sU
vjlYjgfmZ9nGDMgYXUUlmWjrIUmTSwZOk5WMBN2QJ8SlEpqON6T8VRjOAaMWlDCVYXUFl28MB0Oj
m0ZLyYFhef4+tNP80Vv+WsLjIRLA5EKfZEV83SqWQ8ZzqOWJsPJtWscFQa7A+bXGjzPPxmeh+/YY
WDyZMcnjDOAlgERiZw5dMmiCS1NNiNFFPXoAvv8beee1G7ey7vlXmRfgAclivJxudlB3K0tLtm8I
WbaZc+bTz4/eG/u4KZ5urDU3AwxgGAZsuchihS/8A2OsrFY3N5UfdQ04xdxCasmtvqMIQvUttSqA
x5TXbkRe9qcG3M/NEEpqtLNRverWPrTyDaJaPik5SvubUath6UkIB2HoJYJir1iaecBQGZE2Kmxo
6Hsx1i8uKsrbXFNjdEyMEkgIxn6rxHfj2yHrddYVTIGhAKCa9WEPashChj9U0TKV6YP/mAxM1jFS
vtC6OAxBXUkj8U8PNXErNBsGhjeAl0nQt3DJIw+W0aSvwwiFKtVr6AnUhXZKnbcbQ5Xqh8jNJaIy
L92nyNVsa92TqPH53SMHa7eh2IM5loe9VFIqYtPIanGoLFncxooavqlVhXJJCJ5or3hpthZVbb/k
gQo4ZyS7hDiucv1G7XveZQpq5YGJ8DC6HkCkCf3Q4ov3mrDdbdundJD1cYJTY5NN/8FDCsiIg5Pt
DXSfUSyGDg6jJS6BtUdKJK11U6uekzxs7gyiuDVBKutOi5Nbq8qrvR1X9iYzzQAvL8QvmWru1gCO
fh8KlMTrFryS2wbeoehU4z7OanavVEu3lPDoACVgT9eg+4B2Gn0JjTAVLA3d8gi3E90/xCGeY12g
ZEcE28UzzsIt9CAJFRvo9lX6zj2fIPatWQmi5p5d/Ug8LUINMWyCY2XrutOj80GFPTK1m3CgbQWd
T0dOlbTRfInryaEqM5W91+m4vxl+0DlR2Un5Y8fKfEKIzgUC3WlZvIvINENkEyTxPQwq4x5XkfBL
UukCgDFuXg+kLtmmhvpj7IFpIzMrBfAng0Fq/iqswXgB+wrCokUt+8mFCtdvuQgjNAOCvv5iigm0
ZeoVmGrNz8JXAd70QCmnth0zMoObAUlfj5tYltC9ogT9QXQ34uelIO+Pk1OKt0GAGcm73ht8ggIt
vn7Ttx23vDro7ROIOfPRtzX0R0wp9O4yUTZ4WAxICzu9Fqv1XvPzHldmP/bgoKB3Ezu1O7QyGQf+
ASeP2jFCvH0V1GtZzWJqBHI+fPS+rA2oSAD1mNymJ/Jk4CLxHCNm0u/pEbq7LI5sDzHG0tW/2LUv
/5Lz0bKfO7W3DIcvF75W1RAgQYdVBEKBpQrV6KGiIB18oJ9Qj2i1EtThSWklP4NuFOWd4o0u4lhU
wbuPNPVSEyGkgTgBldn+p9xnqAg0NtXgDeYnXQnrkfgQZttUeR1p4BKWAIT56OGtJlvDstCuK3rU
pSh3NcYe6Zms3BiZhHgJBRojdEJgrKDHNRMqR4qZpLrNVCs/ZLVEeuGNyA4UWic9CLAr27hC2JNj
36qV78g9JU9yhEY+9JHuGZHH/LaNa4AkeQtY1OPfDgfRCv1bmcfhjxFsANzZsXywRpco0Bv3YLiA
CJieBYh8aLkCsXaob7juIJXqskrAajRhvaq4kGpspST/SyWF9s+KiPZnpwE+3DS1xLkaUwoD3hW2
xU+v88DiSImd98DBCoCkVOhWbUKpepD1+D0cW/T3QxoFd41rW8cstuq1VKTxL9PS6vtsVJH79Xrk
E+QS27SSPbTVXBU1L2mMvvBi2kaMpXC6UdXuPcRYjiY6vW8AecptqI5yTd1Hkg5oOES0Z3t+GCWH
95p2aQUwCdJISkrzTtWVcJuOR/yrQW3za4aQ231jKcEmVUT1MQBy3ea5gWZPFHb+bUmnFkVVxHAa
HRQnIDJCuboq0JInYVePOJSKp0QVzXPdQw6pNKs5+LlRGitASMEXQ40yeg4mVSVlqO4Tv7OOrmqw
1SHHH2P6mY5WIAOrWxKuY6XSvw41nWKosuWh6WrjBqcnaRenAT5sA+jvEhmOYNU12XCnhoBWOtK3
YdVY6Pv5uQ3BlnkRTxG7+rk1YRvoFhoxyLzlJL8CvlYBbNEEExhEafcX2aFFhb+uxD6KJG8Tov79
jeDffsjxZt0pUurtbbfqEI4sYgUL1kC0dMUlebrZqrHEHbEWxqs7oh3lRHKdoM6ZmUjs4o65cquw
fqjR0GhPNI+B8ficMvBQXQx2MmIjYg+8h71OuwVLJDk5DRI0ufVe+5qhcdCSyjb6hy1bTBpq4CoJ
eGUdlML3Jv+OBkXhJOnTnC/Xa2gOKyn4IApZrfQvxMv/z5ARHWPX/xkycvv+8Z79r+f//XSGG5l+
5t+4EZAeOk6tJvQaIVs4NvwHODL9jWoZqA2otkbBC1vo/waOqIqpcOLJJj8rbFAr/waOgCkBSEIm
b2MjZGqGbP8d4Ig9IZH+26TWBJoidFnTNFVXVcFDzpBKeavnrmF4+KsZ/cQm2Fqm94LIhhPGFLkz
CQhHQQ06W1sDtPv4h118TWz+5Lf3PrVzJJWb4aaJntPx6NMIjQFxhu+tXa3T5M5HNKC3b7GO3PlN
BeSCHl1UYSj4pCsenTG4/iJadyjqg4DEI8/fSeCWbV04EusfuSQMSofDb8WCWqX1rf5UbPM2Ht2b
Afk/DVh+LPa2bTiZ/0Npu31PqliMKAw1jwELXjKtlZn/wqwzVPYpDy1aBKex0cpRNag7fZIrXBX+
Dm5xamRvQGvwoKyIRg0OYbqhmvtmecc8xkBDOKn1EKb5NpGT70Ktv0Ko3sbjCBA4XGWtfJysKWlU
3ugQLyuzO/Twy11qlnZ/BfX1G/I2+2AGVUvsAU1VULOemVNLtVYj1xG2VJcbLDjf4/aL4nnfCw8J
qXKg6K4OWBW6kwUThFX3LQhpMAEreO/UFsyh8cNr11WcruTuoRFo2e3RJnqjOJCTKf6i9vovCNkZ
guwMmWSeu2j/XmGGRctSFYZt2LgqnQOU8IhM8yLXm6PcvUrayRwfSqr3sXJXkTRSVV/VNlre75H2
zUu8FciHVd0gZieoEQVw36vJFnJ0UhCYdXdXy292clMWaJJy5wZImktw/5GLuFXg1Db1O2wW4Dey
+RgMHzq6yDG+RwnLkZmifbJSWxyfX0IIbIP0FtqvbnfSoJZo3wqRrNT0R94hTubexd67F6M2gAl1
cZrWhPcziYJ7gwq9gUCZ1R2a/lWhTyZDePQgj4DNWEnxl9T+ADESl3eB8iDKU5C/miqKbO0Xrzzp
VnEXcfaiTZt7sLDAMvn9Q100zsSCpNeGhRha8/BEXDr8E8fOw8TR7H5lmpMqr2GeAWSAPwJlUIbW
nsNU9CzJgUsd0jq9w24EgYrqxcb/hTbrmv4SrEusXlHmtyigtq5G5JKDXoGt6Cfb8EdDU8d+nay5
AJZP1k/rYWKGFMqNLNId+F5HxxkjLnpESWonlt664E6WPmgT0V+m/NFRMKto+/VQZZC1MQikTL3d
Je0DdkOTt+WukA0C+vEJHkaIyqZZ6A4JBmbCjqzaxzptn+tqQAVssl1UgGmjB13AcfexCOjRd5Zo
rEQ1kQGRF2GmI5R+jTYhbgWrEXUSmSZJiUK2T4lGoykMiov86B9AIG+DDywTsl/1HOB4hom8gweb
/sou/pv/8X/6fxEqaQBxvHTvxT+C9uc5XHL6kX9de6b4L+TSFKzDhQ7G8T9oSVP9L8PGHs20ZR1i
vjbhMf996ZlcbDgX29x5prBVWk7/ufQk+b9AV+rAKHVV13TFMGT171x7yuxQ0hhfY3gehQuYyGnm
0Y4MUwFaEO1SYY20yR7TqnGa7DnMYTzD/gCkIUdY2sbN9o85+jdw8+w4nP7jP47v3wPT2VEsmbc0
zN8P9oc5PNU3UuC2lrEL+wL+ZSNDdZu80knMcPEJ1w07K8fiAEnwNW44mN941DN1UHtIZtYo7NuH
K0+0NBUCthrQVZ0pnmb9T7v6VIarXVaF7PB1AA/WkLANWv8CSUdtZWEKq6KmVPX+IXm4PPLvq+rT
XGiqBkPbQO9cnX0EaltVTqVYduhL7yL10CTmnmIWjIzsPe6sV1f6ZSk6aBrt1jNb2MHawTDifZNT
XVS9L6Y23CLzs5Zzp+4d6rDO5eebLqb542m2KQtZtwxhWLPHk4Tdpj6cfYdyzap/FnLvoMB5i8KY
Ew3pqaGhP9rltfty6XMAGtYMLhJZlfXZdYmcF1ATl1GjqQ+aoOiMm3o2PMQwHrHQ9W34yfrOdvvj
5bdd3BJ/DGxMD/bHyjRs4Imt3MpO3o47ckv0OGJ44OYXQ6foFjTrLu/vZM166WHrXh7706awCI11
SzEUwlDTUM3zoVVAZK082VMGGj0UApkaBQ1sXiCrSdv/u6Fmq92oab6FNUOV+E+Ab9qoqJXAddqG
SnflU3LGna8f3oo9oxqaZRnTxj9/qzaXx14OfNnpA5JjcBl0BVG9jk+X30ghtbg0jjX7cFbbCDvA
PdkZoavlYExDPd5T7joC9kRhE62gGJFlr1w3MP8gxjxfHv/TNpleUxXkEKauG4Yym1Fd06gdlJNO
K4oMNsY3+Atkg7fzkP9L0d3lEF0nlra/PKqiLr31H8POZhcCe2wrITK/KvxaJK7N0UGAQsb7iZJ+
LVM0RzJGU7R1Hpjr5tpmmV7q7GyYXlrIBOCcD4IU6vzbGqGQOl3wbV3zC14q0GHFvh76u06VSCuo
IxsHV0rfreRb+NMzauSWURoXFYDVdkt1Yz/JeQGsuDIni5+C4pdt6CbYNHv+VCxHCG6shKr63gL4
rmN/g93Cvppc16LxUOBiK9NvltBfG8dob2vaoaEZOcbZDujsQ2vpt1SkAuWYiNd/8mzc4IIL3IBD
Mftetj94Xutz405fSnxNsjdsYxwjR8IReUr0gCAh7VxTW6NIvAKyvQY2vB7QFLaZskCCFWZ6m/FH
qapXDh91aSWplmbzUCrhx/xKhjvRm5bgGho0C2xmC4xh2LXjXx64rcxqjplqn3RhgSL1nrIBAaqV
D0w8paNvhwbOIvp+UGkEmtYrkit1ez+O8Sn5u3cR603IaJnowp7YIrMvaxXu2KVjIjtlLG1M7L0i
dCpqGxoY7pzTLNHquxXatQV1TioxeWZFaARjEFWs3wHYbJnr4YDpC1PjlfYNiLf7OEFZuGs2DQpM
ZYZzpI1rTeVjiVSh54aPb8dj2O5f4bW1vbS0DVOosgx9Q9emKsrZ7dTpLrpsLWqhbrnv22oXWN6T
4dbHwFI+guCdPonEuFcW7TSt820OQZKbSeNqMgk6z0ZNZBGV9liPjiLZYK9WIndfbE7VhJvRxT5b
olaroNPiV/X9laGXVqUpmwQBghqQYs5euKU0p4SKPTra6H9pm/5YDS8jHgvWwOli2ti+9Cujgria
bqYn0Ab3yr5YPGFNxbTI3qlPqfPAsEC2yzXxjXRw6zma1J6BX+wkNXjSMEQCE632R7QCf78//gq2
9OXKDCwtPtwRTE2Gf6RArjqf/Djw4zyZZOLGIdnXN8NfaBLvAQSvepyOzaS/g0Bx70IPwPN83Wb5
KZDghKbltS+xtAhMfeJw2Qpn13zpaX7RKjjGySgPIhPW+AdAZHtUv05o+TxJmXuqAN/YfnLqS+/a
HEzlt/kC5PBR2PNCFerv4sofQVluyh2kJW45CfBlMQBIASanoU+l4YOLPrHtlje6CSkTGbBeOapG
fhP2/67p/o81nKW9Z9pC07lXUJafL0UL9JaMasII/9bfdIjm5hYqP17sYBKApWFztHCJSnvn8vef
gr75q5MKqhQoNZtu8RRe/fHqcqrD0ZeI1IrUpU0z7lRZ2tBo2k+5SAc94PJwyvT/fRqPrU5aqJCN
QMg7G88Psf6JJUEQOsnwVZh/I+9YHzM84XXJemkpjcr6LoWrnkLi0O2T6tkvUpQ9iPzaoyxFdJZu
mRofnkNvnp2mwq+wqcCarodKbFKFChL4FiodXkRn8upe7vq7JkK7ID0NuMxemYilNQe/0Va5cPhd
Ns4nAhl+lIcyA7P43nL8NtgJQ7uxkg/gV4+F2n/Q0j255YAOyHiSLel9CNvvmCxceYqFXcfWt8j0
hUU2ZE1P+cfnD62w6UddQ0K6cEID2Tm8bu0iwZwHxjnmMshireWh36Vysroy9PSCs5VwNvTs4MGO
ZaiGSb26llqU1PR1iBmobzQwyx60RNwCazy0qXcbKMEBM9q8bl5qG52YQNyWof2sKVerBgs7kKlQ
ZUJsdAE4j88nI8KeBoho9O8EqQ8PFcSQsoR6x2dyFeu5SoxbAxUHE6I2PoWYwEX7SpO2LpaDrt6g
4RE+pgrPBud/7K4G40sfy4IZxN7hMbHWO3++UArbMTF5vqrotgPlzKZGPj5G4dP2fxnexmgfAhUn
l+bqJbE4ssWQQlBu4q48H9kbhOcB32Cxlv6TESGSXbvbyVgtGoyDaVdA5er1r76sPi4vkqWoEf1I
mjCkdjKU4Nkrq35gBNpv5kFCdgcuBZT5tsu7rQfkug+NvaSHjzr3t051swKa5LX31dBtPC1EPGNK
4n/lRXcnqfV3hNiexG5sMOMjLbj8nEu3uE4djs0sKK7xp/MJkuyOjLehepoATi7pyKCxt5In9pUc
fY1Gkza/yeDK8IJ58Rr/YUSNrq3fheWry8JUrUlZerpKz59hrMB9xhphVK0xHzLaAlHw2KZwK4dm
T2PJcWHFYCV0LXydvsFsI9PcmgZEvAH41GwjK7FqYCFK0FigG6H6xlZ+rxTtENsqhSRtXSPuRJly
PaIZbw+o5aJ7d2X2F85SSmpT+Eh/j6tl9uaiqgDMI0BDicHbFk2875Lo0S6kU9zFCBRD18NJCJ14
fMz2KXnG0AdPktdcOdLVxceAXkclFkqnpc2OdBVfIR+9SC4UZCm0AklWBcKiUsK49HX8Gsbh1Szk
VTt54ITeOxZb+FtTTs/bo6WE34C27ZSq2QRB4eSggGT7h5TWGB6qyLsNwF3Q2LwycQu38VTuVSgV
UyzFpft8ydC6CcD5yiwXeFmF3Z0qXUfADIxs3hk/DFB+0vgaApda9T4Kg1jX+IChIi05hgIiuLG+
8jwLd4KuKIaQbepUJCGz5wn1KOgmFxtHSTF0wDfTMpJ7VO3UVasUtKak4t1rmqOSitvERvkGbOg3
f8CBMCZ7jbXbGo+APqj+yQpnddFaZoqIlWYfFjV8UkYPGxSE6gXkQ6BugRbtRwvDOQx0rYJdX/OQ
o5c/4tuACkq09+Tk15XZWfpaCo1ZCurcAqgnnn+tKJO7AS1VvHSLZE8r7WSJ/MFM7RfDbbfxczii
QzZKMLDh6IaR9RxW48mOxE0MHLmnNXj5cabR5ttepbBP7kDDUZvfRjE4MdWOuH3MoISi32KQbf3w
UQ5SPXA6HDdFJn/8/SHp7pOuMN8ELbPboK4ss4vUEcMQTMAqU3amqi08fzbZDu2BNU907dMvBIk6
ehSUeQADcMZMf/9HgFQixiOA/0B9U8wvvg9vtNf3Xu3vqpw83Svv3UJC4gy/wY7Zryzv2hadlvx8
mkFVAtuzZGpN5qxqWwDmVeqSB6ggx+PG6b316A0pU7YcSSdTj/aaAVMDl/tBk6gJNrsG/Rpo7Y/9
18uzv3S/0BayZGMquH7anFmmqO2A+KcDrTfPbaeQ22Nqxo+jdWcP+162ABS028tjLpVddQqeiHiQ
mE1f/Xz+1QD/NeiHgwNT9xltwHsFbVBpjeldYf6ysIqZXFQnbgEt6N2VsZdOIyTqf6djtmF8Ss1t
BFWMsRqcEJK596vTreesbo9V3R1bU9/DHdqbdEromBCJIe9QF/dY1+0zCVtOYR3BvV55oKXFaOi6
CfgUDIn1KQyDGpV2uIc7bovmVus/jWp1rwG37ePy3gixac/tdT4kN6ka7ZVgvLs8/ucFQJpIJ2lq
Ghom4LTzbxGGndznHvORFeBVWQdjfNA999nt/K/v+LUCz95fHnEhrmJIC+iOArAYjM7sZo8N38qw
JxqcOqveVcA7q8q7sVPjWA6CRO2g594W0icyTuJIVfgUqFdj38/hDRkBu49LEuyOPe+fQbPuGzeO
BwoTYj+dvKJ/65DWn8pkUAF2FvPea4A/KFBr+l9hFztXJuFzXDHlJIamWrRQuYRmt+LoiTK2cuoQ
VON2U7BrdvXNv+q60X7K0LQ82SN9mv8owEEkhlj5YCAvP8TnOoEqE9UAz+HDE+jNvn2Kick4yd44
LaIkUQnb2YseA+S/qnzYVBzDl4f7vPVUmaCQW44yO+H0tBT/OHYxSVAqQu2ehJTKGKKPRdVjSozc
MuWJ/6uhtNkSaxG88sucodSQDwjwNswfauxCZL27dpgtfUhbo+phEmyRzsyGyoQGO0RlKMVtWLbl
ozWY27YU2SotuD0oichrGSauBBoSrZxJWUT/FpbGneS53y6/9dJeRrgG1AAUW1ivs3OVakJCXGjS
PELnO7Wrm3K0XnxLvfWf8vab6Xmg5K/W+Ba2EsGTTJWXZI6a52wRVVll9mOM+2QVdNu6ZSEJD/T9
RGJHJgVdFiRZ9630lrN85TxdQ/94vfzan4MWjhKaI4C7pnMUWN/ZusrI0hX0lHqngbiT7UJiRj/C
POSt5vrCs+7vZyaMR1HTJMDm9wm58ec61qqiDNIiAEjuJ05q+niKutiMUmn76dPSkCA+DGa6xUL9
pTTAD4n0acIoX37phW/NU5CP8MK00uatF7PCzKbLpM4xC2kj49+GQMxRi0NHyf1VBYRdH4Kv9NZu
Lw+7cGRwYCoYcBmC4GkezKdwZ3sR4uWgUw4R9AkLFCFK0aAcjP4PsKLLwy29JXUR7ghm3DDnpYI2
szG6tvvOGazYCUg4TbTOG0N3IoWVlBwzerZKEV27oT7fyeoUASvcy8KmlDjb02OKu2sQJkiF0jNq
+hcDc2bIKTuCtRTbHMjJnvyUBhTyq39wSKrkvUgHUXawjXm9yjYTrcbsHvHcgGhbjU8dqg4Nqqia
H11pfy9Nrs4xPGEHyM/mfUWkaWxtAPKMoNlk6xg7EjtHloObauy3IRw+vzP2jd9fiTh+103Oo18V
sIIMOFexect5baFE4ERBnARjFe2nOxkmVtG2QH3c97NvAc2AzHwXAXIOprfzEzgWCngWxXq5vLKW
Dg0QE9OZRWPiUxAyFlXgaRnmHl7s7/wMvxpd3AaA1GGQrkdb2tRQIC4PuTjfiOxY046d9uz5uaGG
sGXShPfuCH09erO5jtp28xiiBa+bNCdRm4ibKzfhQrCtqlzwkDAnFjOEivNRO8OHp4v2lKPYiWO1
6A15SrV31caJpF001eajfO15NlBFIoBArW4uv/XSRKP+pxLzscTUCbX252nZtGZlRCoTPbjtHlFy
rqUh9XFg8hzj2Hfiyt5dOqCoK9pEVmArPp2Lo9CrGvFQDqgCSWe/wVdRvTXlV8xVVlPD5fLLfYb+
UFE2dObW4Oqj6T/FPH/ENIbuW3Kjy2zXHmXtwtwXP5XReKeG2wz9dsDVubAfO0O9ctN/mlR72q9U
6MjSZYQV55MaIDLggp52SnRpigB1ixDvE60+gnMFAtRt6Hv93Tf9PSRqjSpzC6N39qZ65wWNKAbM
oSVApmpS7qSsP9qoFCb0GHLLOGHeWjqo+UGk7q9BZZRP35XhOQ3J26fOOnfP+UTL8JjhxlAekOQC
TRg8ZXGLrJEU4jJe53gUD3313basBwst1kR6w/r9h1ZARhMx+u2Dfgzi/k3FBeLytPxOVs4Os+m5
CD2guQOhB7N0/lyVhHQQ5wgYHtX+gWTPs9Tshqbe6wDD15pUWmCw68FRgtxY2cj/QuVN1fA+NQ1r
9ebHSM/8Fbfxyer8R9WWP0zZTdaFUt+GptgHtPAmqWzOIyi1VaQdsHLf+a55SFFO5r681r9ZmmRb
niQ5qcMgtjM7oRov1Lq4BrSAQtsahZ/NmIAfr7ptL2PMkXfXzqbl8SaRDcgYlL9mawopXWOQ5VLG
JEK7LcoOAWWouM9Tt3xqkqZKdSPa/i6NX+Ig3PQWIipAB0pEL+LeezEMC4NT5UqE87mbyRcldpaJ
biagkjod439saS8YKrPpmYRIfkFnXra3apicePojtKFY7TBoabZaJg4GNIUUweCi2aB6ll6rm35K
LKbnEDTwSc6BNM4PbqnVkW9zaZ7ngXJSUILPq+TWhWbMYbpxi8EZjfZo68HXqrFe2wqkDXZfRXLl
+J6zJqajlBiI65oyAWiO+b4XddN2ij5hOUV8RLRjXWThScfNRPZwJFK8VxRfngK7PNRevkly6TE3
uLcpxMO7hEdKn4YEpMllxzDtp5asv5eNp84bbmHpua8l1PhVa12JbNQpe57tygn7wB3L9H1GnyBH
nudIIQFxw63OYw0B/tdffS14K6uKUmuUrj1T0PCjSYvmBqC/0M5Xulbd+MT0tQQsoLdOIk8mJ+B9
mTXf46YPQPKbm3J0IeTF0oPdcnlSVb98oHyujgAVsDDR4cKkZs55N1t+Is8tLaYhCBV4nRTWVxOp
MCW/1YHzizr6mqXqDdRo7HQTxP7ll1K7it2Zzqzz2TNl4LsTdIDyBAnG+SMMRWTj2GBN9TnpFdLe
zZD08GIQRuu67xXie0106sSpT3Erhlpb+1cCpc+3KifpBFfnOFWoQs8jRKNFIDMRaJNhxvNsgbYb
05PudndR92bJMQKDxKq9o4XGj8uT//laZVw2PwGaMi32+Xnkm5Umt7y4r2q3VU0n0pdOkfEdgjuJ
ZAIF4yoEdZrL+VxPoCxKsML4DFOpu6hoUy2kweerH7Xan6xCftTc9MEfsq85+kljd9/p2n4wsL+6
/LYLS43XZVyWG4c+BM3z7+x6ObJtJi0QLBJ/oOTwrCFbmxV48cYGqC2Ayw1yd6EfPYqOW7Suf5AM
v195iMUJIDZlp8LJI6Y5f4gijJoOk/vByTHEM1xzU7jxCSWlJ/3WxZm6iuqb7Kjn0dPlcadPOZ93
LjnAMYoJRmveJRskRdKFC421wVt4aivW+Kon5jtQgO3lkRZXM1gUAIjkOow3C9YG9I1jxIrocLiA
Sc0K/Idp599T7R4NNpCmq6CV0NLyv6Zt8PXy2J8vWEISiIqCoI3lNa+0e25U9/XIRvL02IFdvvFq
wgrllwwmTUFH+vJo0834aU5tbnNQR9yc820rYcUiwdakqgq6aaIjFJSsk6o52r17mlp5hHa3zbVy
zNKm5byips8S/pzJoSHYj8rIpg1drLZN5QNdlncLiVhD/yt3FafKt2FXffH7eG/0kuP17qbugKP1
LQHWo6pUKJrh0dTI9pX9tTT5cCip7TLzijKvIkQSQhda1IEfoMHQdfU9Hnn7uLjTiZ+b5lpZamny
QVVw2RkUD4iSz/eR34oh6FP6aGbW3YD8IUy/zd18m9nSHrDSChOkmwLcy+VPvnSG0NQlI1AnCDsl
/fNhe1azLEusMEMLDxih3kh4X/aI8uIbP5E/rDf0efdaUFMqGosHGc+FACDkladYOERAsBAuEaRM
O2328gk9usKt8XevS/9Zh3NYet9Qo3tE/nJriq2MjCUC6u2qNtSPK0MvzDtVQJ3Ti0q++FT/xKAl
SKoQVryGRRgiUVuB03sPC6oy7zwYi7HRf0d94m3CurtJ/A35oZ+9XKN0hiaGNJ78KrzxOv1k9A8T
PefK032qZE0gAIo7wBcUW5Asnn+eDNzRmNqsQQBge+REuzb6idzjgCVsfd+bqJYHCPgYuAHq6QC6
xQ6cy0+wsAlAbwiSZJptYBJnV6pcqtWA9BStzkS+S0zrR4ednTRuuWc30ShdWQgLpzo3N4UOYJ8y
iPnZaixQzdSQjue804xXXa9xz+vvpFD5pobKtTKW+vm0o31EMWc6XmEOzMZCvLfsKoWxauUhFz4y
muMOfZ1DDhc3w1iMM8kRsbn2y1dgl1Z0LUpaWnjw4WzOdch/gMfOP22YB1mC7zEzW6CORJm7L7Xd
CPfcHQonqvq7OtsK+gx/+3tCRyblBSag0vSYvbWGt0kbxEPvFBR93TFA+Al34lA/5Og6BmDZLw+3
8JIqCHoqhRSvwLPONnYP/xa9CvhjfVLd64rT6c9C8ra21x179auL+ks/2leyh6UL+ze1jiYKvz6t
WcmrgDEWTe/4oXfboJDq+dKL1Ha3ZXKolRtXeTJioJUpxqz/4G1hC1Dp5rqwrVn+baRdi4QZvSTR
Y1rVfOnzw5gi9uZp+xwxch/SxD8LQal2w8aBx0G4P49PXK0RoyRYSF6MNA+qrZX/0jbtBtXGGywj
3bcG/TW4DFc+7cK9jbztBDJj/3BnzU6GTikRLUszbo4uPPhCHATFdFR1npVxcuJB6E/Tr8zv8pcF
cGFNXBoKHLPWjWIkCe6L7eBEanhAUWvHeC9BijA+0MOyhrgXalsR/EAn8fHyp1182z9Gnr1tL+RE
yg0O4pAENBzfLDp0WYGegL7r8QXO3Gsgk4WDl2ovqwiOKB3e+fHUe2biGh0tbr3tqKI0Bz2rtvqI
gI3BxSSuhPELBy81fQsQAaAKIJOzfYrEkxLI5oRo0XX04UHsgenspQe3anaXJ/L3cpxFmZQBLZiB
lsWHnPeEgt7XMQQFIFbLwU72h3EN123caGG460t0r+RyOLiKOtHn+pNu9mtDUg8FmqIrv2z3SpP/
6rH70fPM2kRDbjnZ+LebZMTAIAZBu3FMclTOzsgWAUUcEZmMUBUH4u8d6POdS7kEbjB6nNf6Cour
ekIS0Zab1C3mh2QbjkEcT3AiL/S2gZ6cRvwCwy79ppSn3qAxi4Py+NfYk8Nd/hZLi5puM3cPmRsq
KLPoQrUSfAX9gAjX1H+XofFh36A475hGsQmkblvBs7o85NKFoDO/QDE1yiOTvMuf1bl2tLQOgxkk
DdpupQ5AYvKdmdKHHbCiyimYjPsEsublQZfe04B2DlUTZRlW+PmgXuEXgw5oxRFInylWvI+0/D4W
spOq7tpq+juTD3x5yMWPOgGVqAIZ2ucSVlngMVbo7N86AhWNGqJJnUVqKMb0bygUrfoQqp2JBjHm
Y5eHXppiwFngfqmzk1fNvuqIF6Gn4RDBMRXtjBqcKnr9+MThuTmu2vDLiLufq1/paCwdIPRQ4Msh
K0CxcTbFfV61mHMyaJsHh6nwS3S1ijLE1P9+i5XlQ6YC9fQ3aXEewvRjEzaxYKguA9sMoirV8WOk
1qJW7pVTf3EqGYgCAxRJEIfnCycuuy5E3hlwF2VFGd5o3nTHKRMd5HrN5PP1PIw/r4XBS1mZStL5
n3HV83G9PJFH7PlYsOEpzr5KBsJ2soXE9v2gsW1wjIzTI2Ltq+R+4h9eXj+Lu0VQPZeJjz+zz+pQ
yKElU6Au2uRkh90GhcdThCy63zypI40FOq2XR1zeLIA/JqbZAiyhbbHUbBtu13aA1ZkrwQ4rdzQp
yvu483ABEjcw9LFlSr+J/B+FixSvwQtMaQen0vlkj1GlSpOTDi4zcKjDbeYbuzwdd9FNYsXrBu/z
EI3O7kpq95lGMS1jujUAh+E5fSoUCyluGz8FQZYLrE9bkt9hNEfk+1MHJ1nJleisN+otvvYfOt0K
z29ueryUps7F0KTlqsLGp+1iVIV9x+rwVyZXKtc5Gplo6SN821xj4i6tC3hJFFZZFnBeZvPkF8WA
5T2pg2mOu9yTd/qYOO3Y7YIyfdBNR8W76/K6WByRruGEqzanNvj5l/FAs9t2o/YOYvfIa6FKDJu+
JhJAiV9jcBQHr1SjlqIuKubINcE14jaeXf2V6CsXBW/OTpiXWinfKRX2VYP54gcKhrTXFsHiCyLI
IoP6AkU47xFZmhi7TuuohQf6oambG7tMkRIr7vXdZHzqGcWVOG/x/dhhjEVrDP7O+YyW9WibSCv3
Tmnfli423kmznsQZ0vE+Hq+BJJdOTwJK9E0m1ZtPEH2K1yFUIBaM78NfVOqbknMsxIm1UoHi3MuJ
uZ3k0C6vmaVBp8U5NbppIM1vB9et8RFpSr6gDi1d9Z78EtGlSF4prrzJUht5c/UR3dbtPxiWaiFf
kbYHh9j5xOqIyGJ0zbAJbgBBET1KQF7+D2fntRs3Eq3rJyLAHG7Z7G6pJcuWLMu2bohxYs6ZT3++
0uDsLZE84vFgMIMBDLiaZNWqFf6AicZZsOTzJH2GWGJm/k6o3rwogLIRSpi1MORbXLvzFAdGgq6x
F3XqoWyOcfAjnT/jtnVyYKlDXmTq0aeW65v1od1TONvavQ4Jla7Tq6G+XzxzXuVJnCNP7JU/h9k4
DXpAKHDoUYOdTHBXH/dY+Vvf1gEUwqie0e5q3lxmqa62us/TArqtJXKN+Ipe0odK1i6Z9GVMLHc0
/lN6TisKfzWxr8xl9gh8Ax50ACxTQeYO+dDUBWWcFVBAQ0xo5e46TtNnxf6dzenfz5DJlF8tLY7z
q1l2IsTNp543PMMHSia34ahO0zkk0qZWwtc20ek9tuRBWnD9IswJ9e79jb0GIIlsnWQd1CDsn5Vg
lG30qhyEGo8vzyyjXQw/u6bctp4TwbAgs62/tHPwSdplX2+mBTTgBf1ISFUtk8pJr1toYiBDC+su
KTrUTcanupO/VnV1DSDjkgMJdgpE/wifX3ceW0T6ZZnqgKlnmoiN6RoZVCokBnMA9GPyP+dT/kmw
i0TqF8j+F6X8yjz3I1b3vvZrxDSL4/lrihr4CHtmtxuHjEgtsFcvPbRldjI1oZH47QgU2mAK0TCY
yfLbPPCvKvwxI2b0KP1fvf/sG7k8S5ISidka1Enxk17tOhlJ3grsCgk2+caIrxFO6m57F+fNzkJb
H5jmJxQSMXGSV0ILadA5DuaPXPAWVFE8mWVomnojuTOSJ4FUnlVEk03EDXCi+w9ni7XBiYi5E027
xVUfORLkrFLhKXX/UGXGBeiZO7aXoZR/j6P96Ey/iii4Tu3wAbTUfduXJ9/+8R/eNE0QgYoSGieL
843UoTLT5QJ8rYTfENRx0g9Fn9zpkvbn/YU2d5GY0aKroXM3Lu6JNrPxOjKJYbhN4MNCQ1bundRV
psRr2pgWi4V9rQmA8P1llwFbwCBEesN/BdZ6eSsiU6wimqz2yIXIZ9Hd8E1wL2l/1LH4LhVcDRBu
kkmx3l92dS3+u67FVN5C1mklUpTJRmfrsYxaRIuauODLR+EhQA9ZrwBCmcjrVI/SuQHWH0GSDjGo
3fkBy+ghfgCKt2wwoJtcz4vNVcsDvMhew4ETs4GmuCsChJqk6JCgFmXEj4hWY/yqVCC0EiI6isR2
em+CInj/Zyy/+suv4BeA3mSDrVptdSSrkh0hmlGZyPqDEk7Rbq7l5rpphmulMk4VnZf3l1wd6Zc1
Icag7gvyGhPUt8EDw5DGKWq79+IkugjM6mQclCS4YY50SOUrO/7Cd3Et5W8TsH/XdWhjcYxkuBxv
152nmiGlyhsfEbLQZtwnWipGPF4s378TYn42IlTUSjvp5jJWviwL84pNbtJEE0rGr2Pl4FdIv4PY
9NTauAg5wy5vPrbNj7BT98Ya4gle30hiKRoRMDtZad1iUeOo0Kp0QvVFzTxH2GJ06NzGzqOgnBbq
r2KQb7IE1Sa9/qgNzW1S7fZuRXmw/gkQ/xX2NpFk8ZKlNsHLcRoGL/8VoGksFq5Vsi5FflS7z2qJ
91Ghf9DCp51NpW2tS4uSeZVGTm8swhfbVMdiDFSwUM2Nk8wd0opBXYqZ4fc5ds6MCw4yAo4G83Oz
7o+0SvGIcXZO9VY0ozL8n1+xiNaJamMTrDbDC6n+hc1QzULb+boosJIEkiFE+wR0bufpN9867QlS
QXLtVfBO4HzjhFMPnoieCUBUoRtWjzown/ZUZMkNMy43lMaznOY7m27jkTUGpHT2mEKseyMyRlpD
YgDaNOTRrVuUMaODK+eIT5uPRow6vrbXCxIvcbHFWFHguIBwAWJbJB8zpllkhOHgpROgqln/MHTU
VNJxtpyjFe2Fq83VUBhCilxg5pYFeEfyJ/klUwchijgOCJzpaHbkt5X8VDp75NXNlwkaFD0zAiME
HB79VV7VRSp+dwGhsVO7a1HCVG1wHK3oAAgB+U/kTv3qm53+rRojcYN0jsTdJjrKNJzeLqsU+NEY
lcQtAEI3UYzrBpcTfAh2TsdW5Ae/IRrPAgL5onz7+vFiSWmtWTZ7T0+C0wstAwWdysJJG3+XGL+d
ymgPtSTxyNLOrbP5ZpFp0sEMbPCM/CmeizJx/g3+fvcsBKJSbGPhrOGC5yY2PIJoT1Bz43ZlgsEt
j7AH/bvl3FVyAqkH/Dd4gvUOL/nSRo+W2V3DaxLYWec/ZRVCEo06H7U+uE2LdnRGNlv4dTLgvdgf
jQJfe+BgVVRg+X3b4riMh68Q9Yy46a2kI8FChLK4yitrB+C5+eSvfsfiGhjtMEroBf7Lmsjzb9r4
FCrBKW6fxtwb4t2x70b4R2JA3HkGUg+rPmCc1yTqJqfUiMcb0QfsAQ4IKDfmMYrxqZDCQxtm51gH
V4oslV+nX/Do3NvfG/cvcG7mzkLmYA1U68shMOCK9F4bR2d8mI++beAGZR7VQvLwe0S9XMJD+EW4
uIKIhLPV+xfB1i6HpmLTDQVTQTn49iCT0gL27knnLFgiWGghwEHx3Rxk5WuEZGxKDp/be9Fja1EB
pQf9Ixpqy+hhl4Fe5XPXexq+HqIgDKkY7POksXoGePhDMsw7OdVqRCwiFgLZQLKw8nXIJN8+6KxW
jRz33DqMJz9NBbVYfVXFWABGmNTj8Fl/pp1/SNHCS61rNABd2RzPaEIcQ4wPgvqDXc8eJKWdXb/q
hLz8LBiqZNOgboGrvf1ZdpYBw4yM3ss7iAX2daV+7OIbve8xHIC6SkUjPwtGo9BEev/Lbx047X9X
XvKh5SJWUjMiuRVTU0Fyr4LffvQjVJ8DGnxSvVu/bKQcfABG3w4zemN1C4e5EiH7MlK/RNg8DzdC
d6wbKJ+GI/ZJD/70Fa0Xt8v26JNb9zG9Jl3IJZmCLfT2FetpEA111veI94PgRlJLgDwiUqrabx8U
/Pzef6+by5m4vHM7EsaX+azfxaM6jNhZRhxlTeoOBbJrjnpv5Klbdnv98M3VoPwawElJ5ZdQ6SSo
M7VDytPLYgw/8DSeDfWC/hTgYZIPxXl4/+G2Tq7Yq0B2xX+W4QL/nwKHbzZN3jN9hngrZhlT+x3C
AMYMEe5mqAuWe/33zVMC+F+EKYIkcePtJ4y7ppaMAaPBwTgF2qOP8En4ywkNylzpyK2Ewt5Z1s8j
bm3vP+9mAmIwv4NsA616NW/AKqpGgY7zOcj03RX9KvbRg6PbMMf+rfY8NrWnt/oBg/CdbbRxPEnL
6ZeBIUX0Wl7AkshvdByaUQIMVJyODOkoIQzbyBUAB8VtG/0iGADvP+zGXuKb0gSnJBAS2+LKfJVL
2lUb2WoFzdZQqgMmR9Sf8RG31UQyPV/fu/s2thIgaG5e8GVgZJcBOQ/0sWlzo/NyiSFcCA5dpBex
eRA6WdqZYdmhU9KdR9xcFF0bCi50VUjS3z6i1SU4YIP28j5YVntUI5olKBsFlPL1iDKhVJ1+vf9O
tzYQI7GXWQYDOToJb1esrR7zYxyuwRRd9+YPAfnFycfTwgIxrsdYfsQe8Qza678sC9iLMQo8g1Ww
9QO918aAEyP3RCCm4ALU4A/p7Rh/ldIbhlWuGD1a5l/39rnR0HtkgKTYcIVW+qZObLdSaxORFIxm
hG42FmYq9iW0D/C8vMXZ0HW+t311xmps5+tuxQnqDiF7zy0vr2IvytH2nMt8XqFcI5LZPjEoS746
UnaEYQ83De/L/DEGRYg66c6J3To+NFJoh1oqYK8lUlNqtVGt8YZFGzA5Klp+4Ya9QUy5V4HIJHsi
PZsbi+6rDa1CMCWX15qdBE6M9yv1CYziMnA8OwCxDSNKmT/GyS+IHUo0nedhl98sduyimhYTe0vc
OIbgG7/d0cbUY6aKxwDVkHR0Atw2ZuGkEV2ANrjM7IWetxACFEHKQsXtP+xsMLjgoABf8fyLu4Ce
xWhKdc3O1oyDuPGiAcQXCbwRfgVjguSegWJkcIQsuQcpEdFh9eSvlhYx+1WAVHOTFw4k1RNCoWHd
Hhz7O254rtEgq9xW+FRdm6Ds7OLUkeFo3Y0OZ2/n8UW2sv4NzKJxGdkQEZ+crqp0/Lq9DDkqE4mA
QsrPfXTSEdHWowhcjxdmF4EwMWPzYlb2l67wr2181t//IVuRVAhpo/pBK55O5dt3oUD/6ku96Lw0
7u8LjExt6sZxurKd+SDkmyMslX1sBd9fdXPXIxPKhQHAZQ1MHjUtSXMH70EzVS/yIZI7eL+4kuWe
7mC2wrGXw/Z6TvbCuLp+7Wx1mv+GEC6g9fH2cYE2JeDUus6LO+Oq1SBOQCCtzM9BYF5FGKCx5//J
zPYwNulVJu91hLce+83yi52ntYVSxSa2OlNiXOQScDQ0EgcInlyfnOHj1HGJdY1bgVrbeeEb+42V
xSRJ1MraEqGTlI5VDg0NswjgQZlD9uSinOGKVEchihYl6LRK0gnQ2jEqH4fPmXQvzXuscLGZFpse
8gZVG9kJQ58Xfvarg5dGfTTXsd95Y/yPbf8JU/OQZTQkdqOLeI+rhVQhkU4XhiHi4j3b0SAnjjR2
nsRnFuLwOMhfGgSaVCt0xaEyOGY7b3hraymQpVSwy5ymJSpbymuZjCTuPacMj8ZouEJaBgb4VT/Z
j8O38WDVoZvr7hDHV+Rvn3eW3yjLkFzRqMOpWZyVMY+Nx7eZphzkRBqO6L0Hk/NQFA0M5wpxKvSh
7Zr/kbTpMJi7i29EEQAuZAsQHCjLl/VEjbBamvQsXvXht7DpT50Ufx+j/N6qnAchYtEm+bGffVeW
8k++095kmXOr1BZubgrtagNPi/YmdPT6oHUPiPbthZv1nU4PDpIJZARR0a32QxXoAwa/jWfyGWz9
YKFXmjTh2ccvoRO2u7rxuW/zZ9+HW2Pan7Ey4s9+lul81wbSkwi/jFh2ipL1JiVtFmJLjIigEi5r
PhmqdzZqauPVxfeOIDCEwwlFoiB7Vq3kEmfJXgzYXBDsKDgV0ZRcUiSGiT3qKGMj5A8i5bv1uW8M
VyAbjfy+Vw9Coo7kw8PAkWYKM2AUsMRAuHfj6KoLgFJwP+7s2nVYEqXD//6k5fXDODvyh6HBulWH
FIytndpR+yI/UOFBj79V1lTXlP4P+Im75rc4RBEEUENqZlc7v2R9fgANi2Y4dwAjuxWgMJmV0myV
GjEMA3PYAqU8vMxzfkWD5kqEpE9RXjd+dCSInnbWXqdiYm0NjKsoZvj37a3U5rMpta1ae2n+0ZA/
df0tigSKfaojhdwAcbXwNo9+S84eTXx9bFGgppdD4glNfdXAC0B/6+nc1p7jxNhu525d0B2ref7+
YyUcgwJKueF+52nX25BVGddxHTF2WHmrgQEzlUbPaozF//VWazOQrsDCB+2UaFeGP2OWjhcPu+D/
kg4GBB00DCvtnnBeQUQIwqPW7l1PG9gA2gOCNQ9wC9TlEgKpyxJ8NT+oPYnks8poJofDi23S2AcX
UfiYhHWxrlUkVy9TGuv7zstZHwgKGNBUsLoJU6u5/NRKxqRGDiRfYF1RC8/iEiNTUjyLn5Ihe9Er
CZIzhuvTyRd5koB2SfmuTto6RzaAuWI/R2AiOTcWiZKT1O3QVBqWtzJj1eaxTv9B8JoBa+W2QhRc
OJQa7uc4OerOd3bP+69hHa9ZnYgopCIIEEtkkyp3qV8mdo1pNsAyGpuoiY71naXlbgRU4v3FXnAH
b7MFVkMGnAsMSBdwo7fHL5WToMThvWHr1y98jEJnEgV6zQ6mc4trlqNcpA91QFujRk07vVKs9BYd
9b1guE6PDMiJAqRAU44Z5+J32MakF8UE//A5TOZPErTeAgWH2gLYjGKncBoSKAIHfpRIYSw0nHtf
OvYpw6zO+7PzUkRjavFS+BX0jwRiFbebxQawcyNL/ASfY42ONlBkt7lTgIlm6ZMd/LbKxBXW7ynV
YnmN3atWd67qxrumH+ukilfy6leIWPIqYxx6ift3ov5outspTUDoPvfTAzvzc42kbn5fY/baS4Yn
6bGX9c3ONtyIj4L6BoADuxUEMMRhfbX6lPvK3CtWCaO7PoiWjx7izMUYLYuMg4qmMwnfyVe/vP/q
N1fVGeKZyE7RURPv5NWq2RTEedEapRdG53REaYePL0TAhKNPDcFRQrK2Nnem+SvpPggODCtBY9k8
55r9a5e9BD6B2Gdb36qr4EeUeFF4cfBqj+oS4bFfU3mVzA8JpmOdYu286K0jCBqMVgT3EcTnZXnC
/WMEklZy+9ogwKhLxkdDfxZXgKgHp4bpXYnNSfo8MIifTORehZI5Rdv7r37zLbDXAf0Rhdc3wABo
PNLitH4B0oghXtsfcm5heCcHoR4sQGLighQOpOjIeyUamXG91yh/6SYuDx/8GgZJOjfSSiAqdtLc
dMao9gpFx8Lrgq/xASBz/qmMP1qQ+fFTtoafBca+4DRRo33CQvyQTXftsykdBs1yq+ixTEeAL3tf
auPyJpUW/h6gfglSIo16tTlHPUslGwq15zCYaOZn9TzbCmNOfKqfaxTQdr7HxkUgEkRBCCRP4Sp6
uxwjdGkolaLyhr76mDgz4wkZaHFaWz/USf85zwZmjv/e0SJHyLiJGjWn3BiPUmLd4m5NUuXTNRmU
vZ+2kTC+kJt5h5QWVBVvf1put6WcjWrl1dp8HgbcJDmjovEtRTRMi8DVW0g4vTuYe1zylY4ZZ1UM
QdEOAx4rTOjeLq10lTXj/13R2W/d+TEuIPCV3AR0aSfk3EThOepCVi4+OHQ0xGaNG/T1wuA6Lx92
PtHGexBtWpEnAHag/n37Y0ZnAmlZmaU3BeNxSD/PzYiRuXqx9emuC+jtgT6KqvzWNPYIoyueFO9B
TBzQZxYiDSvaUV1MWEK1xGfVSj34yChCXnBxb0IMMIAaCNNUGWNaLEY8Ad6h0X2wCnA144NmJkeT
JNNCq7r7IQWml6X9TV0NLt2jvaCyca8TUQQvipRS6KK/fUOkt40KUa70HMguzLhcrRncMAARYH9q
O+k46TjfSIUnR3e9WV9PE4T5iEYoHqExE6NJ1/Y6oBtZ5ptfJK6gV6fYjEZ0wSebKwZGr0PvB8sS
O73kzrNJ9SNoVCLgiXfFsZ7M54bkUyn+yz6GBAReEDwXZfdyH9dynGl+xO3e1t/m8l5qvaR/Fhp4
DZFk7NuD2MniqwkobiWlWOOQB4W0MZS9EmzrG9GVQlGFfQxUaXGk5MHPklgOK6/VE25d50tN0hun
+V3RfcSD5loeo6/il0y9ceiiZ4Gjsf38xcpAcC6D3f64ODaLKwDKLHcxgZbsdGkkMRnREM5FwhlH
ILiNDpkNiyVVfeYgZ4ThkP1GTtf805tO5JY40+xUaRtxnu481RmhlzJk2c3qSL+VIeVUCwXhXtcZ
CRtuBdUDqdujnmheuMuT2rp8uViQp6MtrEOAFDXJq13Z6KYpzZpWvjgeO9Y/VtAcBGR3wCiqrM2D
XaZoLNwOYXGyleqat3mo6x2y8gbABA46LQCQwpiur2Jrn801GqRO4ZWyyQDiHHaxV7nTTCgFfteY
jzUMG4YCh8QkLdO7owAQC40HP8Z0MvpVZt214rd7t83GieVnCcYJriZrrd2G2SbE04ATm7fXrfWF
buMFgX18TrgNHbp7dCnaMvLG7kuvqy+0J+Y57n7Q3fpKAnfDphQIghVjvkaYZpSSuvQwQT1obXuQ
rOzcnKc6uSr09lh2DyVQmxxXrwRLqYhZ+54H+Vadzk9gPMlmweNMW2wUdS5Gkv209HS1d+s8uxKZ
2oxJ7VihRQXHzIwk6lLpFNXdnbBbLiEyvH/tbcQL2pywMMnTxTxB/PmrveoUtDvLPCo9uRBIlO7F
l36UmoM67WHcNo7im6UWiYZW9JZvpSzldF/rIPggADdC/tgZgmMeEBDnr3/7bHg4MPnkGAAppCf2
9tkStbMmqJuFJ9pgggaqKtIJFXHM9XZO2/otipVE/Ic6LIA2b1eKel3OessoXmwqAGeK+R9s74MU
7x2gzZVeVNcp5qCcLLeMVCZJ0XaFlxNEQlW9TDO4f7rz+rDXvNiY8vBUooPEfAuNrqVJZ6qXetrk
U+ENaGuSjzVjcLaN9FICR/O5NMRAl1m+W1iS+/6X2116sS3NMUJyphsKr2nqFwbvXNB8r8HHyf8Y
o+42WuoWinMICBk7S4tt+PbC4qlhtAhfMty3jMUbrkojVvqqLHAcr5pTO9Gusio3G4Ez31ixc1Ts
u6E9J3V/Z2CGLnBNdpRdZRndRpwkd66vjRDBPFPAtrnDgKgvnRxkCXzTgEGrB1ijHdGVbrNbKTp3
qJKLilIvJS81kFUR8KoK4+rdcZBo1ixfB81kgVSDTsBxeru1kyJtbb/zOUTjZ4fmdTVxYrlB4uRR
j1KgsAyHoCeWRKuh21Nv2drt+F+Jq1RswyUoxwj1oszQpPbqhBOskxJTp9JNdGUO2M53F991+aCg
1kmcBFiecf7iQZPQGVTQmOhZUy6z66XmIvhMDcbfdGVEIumj+FwrRCv7oFARjfEOmGD1uKoGHpA6
TDBgKE8XYWTiCoBUBRQn6YNjyEsWjQNG+AoFwPtPu+qKiZUQAMAeA5a8tmzRmanVFVps5l5jyGes
ST7pAd4+6h5EYdUCYhmhlgIqhLbMalorjwzrxoxlxpFZZZhfR6Z9SFGu6mXnVoBiKrTDtHgP87gu
LMW69IEQFcVVfHW3D01QhlVj5V4m6RfzWJQNE+LuEJnSMST1lmi7qzj6VGl8QIbpMoTdDRn8MVQ7
nLj3puWre0/8GFjzqH+Cv0Sf5+3GkkJoZKYk5V4efHJgieUE6yBHRdzNsvv/jxRr69u+Xm9x7fUZ
hUrg+Dx884DgpmtzPEFMeJU/neWEp+aoWk3rOtnxpa4Vg7EwOjrJUSt2ttk6yeLZaX+DjoA/wC5Y
3PmVVhTouxLHjVh3hRlLnrO61sb3yjQX+JelV9aUXs0p1JCyVz5NfXiTyujlF/Ge1unW4TKI6TRi
2ffsjLefoY7rnHYUN2dMxdrk0VHY2Iac9b7Qdx57Z6ll2x/sy6Qj2luwtXHpaOJDxwBK9Lrj3XxA
2V6LERQCxTRSlgVOlSPuFDd1Qe8AfbgMMxg2Vpvn/8gTggh6/jlKqgcCiydl2lNqtfbB/5ZM07cM
dP8cSgfLDHf6/6sLVHxzXFnpFAhglL24MULFd4w558qSJeMgoEldF3+fOuvXXGCtjsXT+6Fse48x
9RCdTqEzslivC5s87vqYS0LlmHfRsWwRZMahDU2DY8XFMRR0udl7jvM574Jjb6IvtAcfXV/UPDUC
XHRvQPqRbi6ujwgCjumbpA2S9CyYVn59asbZFVHcRmjIRE3Jz3I3MG6NEXkF5fPOW1i1r5BxY/gK
NQmJ4bWHaZNEhYFNZQEGubsuUSIZG8t35yIGhOff6f7HjiFY7WteEM5P76+9bvOCq0TCBq0qFmcc
KvboqyJCZYwiFb2feU39E9cYWpdk9qAlpmA4qVJ/igVXSO5OKSQlwZCiGQP0/iiojHnfgQZjGsRB
pPt11VfPWWC6xfD7/d+4xmK+/EY074BPi425mIEkNKjHHEMAT7Q4hSqo7MA0BE8iNXTiJf0gzFwF
b1c3Eixv9kLC1v6wEJkVlu+gqDkfb99ROheV3bS8ozH6gjWUK5qcwvotnrtTArtBRXwPsfNz4Idn
2b6X6uz0/hsQx+BNfsMLYAhEFkmlQhDU3v6ANkympDQsfoBWHZhJ3utYJ2rYN72/zOaDvl5n8aLV
KQrkVqxDj6GcB5SaINUMjBcGn6ZhcmgcPLIj10kJ8qLdoOzdt5ufWrQ+GIGa+FIvSYgaiIcwLHXm
LIz3qmORHjvt1KLz19qkczSTw+zXYM6ume05CW8EYyZdUKQhkvKalyjEqjX03sBTj7pWOclDeJUm
hteSh+R1stP73MgqmK8j5ywUNJkqLM4cYteTSUgirkfyR9GyD+icUKFx3LnuaWdE+c6KL5f1cgfZ
dJME9A0NIHXxZWd/nqywwkpHrYoDOsZ0XZOD1SNMg7ZiDPRVpbUq5sy6gmdx4NM4iS4CUg7qWYz4
Ix1dc32nXttIMXkP//ujFtF/1sOCAojt5tNFasbu0EyPIUd6xBfmBXaKWr5T7Sy6rk85TK9XXbx9
LSkzYxavopBz17ABHFGOz1+V7FviTy4cWDeeS9dud6SNt9clk0Sjh47RCt2T5ImCLTCSA5X8nCvG
lUkJKugC+oApLIMJX3/q7RDOyx6mZDPGw3dBcpHmP4iOxXs2a70zA4mVZ2boAS84xyIb/wWfXNpR
YBUTxNuhPVgTaj0yxUStHNr42oRS9VI2wQPuQ/3KAPrQRD0CrHTFGVy8H3xWXui2+C6vfuXiu6h6
Gye6JgnTw3+Y6hXylTqqdAnQU4vAQTBE8g3Va6/VqXCzRGbm+XQIxhCZIf/oW5IAr47SnyK7EXtW
8JTneCc72krY+Ik6ahX0iJkRi4P96rIsJ2iPnRHlXils3HiZM2hZO1E/mJiAinI6AqnSpakngELC
60UgmKaRk6Vx8hgQ5ZG0U3f+P16bkLakx8C8ePHaMj3D2c5Ocs/+gsH2WTcZWwC9HMgoQVKJHyiO
tqz1J8y8ZL/yUvh/s8x1bYZnGouu4OgFlXmojbvKSL63Ns3KQfaPartz8sQveRuDLMyf2P0Y/oi2
wCIGyaVWWYmpRaQat7SXPV0vTrr2S3f2qDnr+MpCiFxDd1KEMPziM1VSPo64wEaelcrI8naejONe
GKOLWTM0mA+Db+1s3o2dIZTwGR/RauHpluRLIzbtjkkJJj5m9iECtheppteH1Tmopsj1Lf8pLvU7
O+o+J3V+79AOafPhSq7Cg/Q45Qq+P3t0vo2QLxp/WNzQFEFlZkkiUfMmHMMk4ydZDPMm+ZiU4Xma
yye71+/TUboy5eQqDZFrQmhHUd1Gqf/xw+BzoMo/A9X1J1p09l6uvfFpaCegzsG1B85oOamtkNwp
Bm2I4OtGbohdYCdnB2V8aKvWM7KjLu0tuPllBMaVIpbPA/b87Zntemvs4j6OPIILjL/ZzWwcNun7
YfllxqCJYp8WR3juwTm1lnHURXvUNPpfIMhpfATaSQk+WEO/l2utczqUBw0U4IUoAfKti6DcUUpI
qiGFyGaUF7nRv8aK/LOvvrZBfizi9jGqqpOcFRecT4Np+A0e97uDMhIeCz+RCn4/9m69JGHeKEwc
BaJiiYoHCdSg+Ek5Kc/szLC+y6TmzIZu3QyD47A86KXNvZgkB1P5+qWKi+tZjWW3iZk2hHZ+pnDc
A4ZuBDaoT4hr04BB6pJe0OLDMWEZ0A9GPrTor1MZjVmh3lepX+sEIZc2CTjbWQ1otFXdcLrV+/mb
7uB+Uyj5UYq766H2Pzb6daPZTybldC0DppY06mrYD/Q8ExW08x4Af2N7g++GgC28mgEGLD5q38uj
3Ac2v7nUbjs87vtq/jIp/mVQAaRH2s9qsi5Kpv1x9PA+rdIr7R7pzpu2zhnGT7/apk4PxTSEMN2M
88433thw/DYAThD5KGZesoRXl1fUtW2WII7g9b5yW0Tqh4dKVu+SYPwCSeWr5kB9Qg0KrzVPHbF6
iKPvmX49yNVvpJP3WuOrzjT9PSFJhKAuozPQbW+/bYoMZiQ1yMbNqfMlasIHFDqfhEFa03y0au1W
jlNE9BHzk/0HAbXaeRXir1/cRC/7CkwdENdVAq4aqSPnZYwTgpx5iBIhicSEWcVlg+FhEv2xUM6J
Qm5NJT5NVUDdk9zWdvujM8I91v669udN0EW0DOoOCpBFx4/mKgySNkC2FtUEdJxve7u9bszwIZ7z
T7JOC8AJ7+yQzls+SU8770H85av34DAjEhhXEohFXRkApZKZUKDehzyUhUW8QJw2Ku4QSXciEwvx
/pjqx8g455q28xE2jgqobx18oTCRWU33sdyMTSmzevjAVHVBejsXg+vk+LbE03GAiNjsWsRvVJdU
8PQRYNPT09WXfUS63KVcoBzvjTQNhC5KkuMFiQG0Gkxu5cBjtU6im8GuvMqknQfeqK5ZHYCSSHIt
3HwWaUmnZ+a/bq4Ohi6u7Zc1LAerd/sOMd9uwhetM5HaxZtCkat/5EyIReTM/6edSLAuu0QfA09z
ek0CbbIIrH0Tj5KRmYNn+8UnoC73Q9h6sp8fA7u+qHTfgHkC+DfqnVtmjZXi1DO4YJwgIC6UuG9P
PR0crZYle3gBOs02KWZSHMvsQ0JXN8CiA0TLnyaMPqsdWanpPLQzaqYGw5uw/Z2X6kEK0kPeqBFH
occfNn6q0v6HoY13QlTr/aOxtTsd7AmFzKSQC1oEckWqutmWHHyNa2oiosMQxZceQYkUo1V0PY04
2YmJ69YrL+fVios8BTiKVgO7QEZLB+BL561j1cD8aQMKF+n4Xz8fdydADtppkIyXbT+zNaUxyhBa
jHE7LFT9Uuj4Z2YuHO+zYjq3OrH4/RW3tv8LspyJNsXKylW4jbN5UFp0O4Pmh4YYUp8oXO0R9M7+
kj0rAWlXqn60yuKm14sH5mZ/3v8B4gUugh0wbkbDqLbgsiCLD/Dq/rMl+NxqjqLmXEQXcrObwAC8
Y5VXqVWc3l9qY/dQJIKcgvEFpng56c+qvJnTCWVwq4gPQnEBi6pjZ0peUlefcB6ooz3U8EaND4EW
czZyN7qE5Lpvn05WxznsR96uA2MpZSRkVdd5YueHPkDTEVV2JTCuiuJHkCQtKYb0NCLNdsC5xWWH
uyPd3rnEwSMyNVqrnetnunGsi6B1A/v3378cBHtIRERLdTXgC/OpK1F2GTwLaws2ypXSax8qWg9B
k1wseu2Zs2tGuXG4yCPhNGgoCqirAXHQO5kkmUSeUp/PlMy3VatfyjFxEz89hfqeEvTGEJOvATRH
FF4suWSWh3KLxW/ek2BoT3lsnXK1vR7U9qShDFVM/V10bQxfzOxQ5PIhxddakWR3iii8YaDvRN2t
S++FWE3nXIh+Lv1b2tKW0btOR6SZY3Soi7tUe2qC9H60r7GkAJ2qHivdOjtS+wNjmb+v+cluyDbN
l2bnkkiA4ZQRFBYZRqHEFyHLMUv49dbXerNHlHjRslye7xc9anBZZN/WYkhYjn1UNEKK2EryT041
3tSmfqzt+otodkh2f1Kd+CFWoittDK/Vov9QtsFHgxtWT05FWjxajX/XQEBr41+lnO6gjLY24Ksf
Zy/uXKCdYZ77A1K6Q3QM7e7kRxGoWgnEPAr+ebyTVorrafkubGFYiGwxCfaS11kWBX2qCq2ZTIpf
8KK+pR8gne80n7ZCKu0OMBeIyEIZWmQ0cZ2WVTMiGUjXbbJ0ZjEt81IgGIxn3w8aeystPi7yDWEW
t2SLgisqWGCOiYuygbS1sfPqtmL3q2daDoCTgJpgKFmpL+Cjoyg2KIjyaj1gDjprcPInlFvff7iN
MSjOFaJRJcpveHeL4K1nJZPJBO02gV8RHbxCjQ+G0p1i1TlXcAjsP+P0oi+ZT4BouJurPZmXzR1D
f0RI8dLeXOoiDRE5mxMjxyQicAAkfVS6476b1NY5AND6P8ssdkzXFXmL9zIMdfrOXfi7S57AQ9FD
PUW7w6SNPFdoi0AtRZ0UQPXizNVZEPathV6OmHEIML7F0CitpJOkfWjbiXmuj+jI3+uhghQhaUS7
RoFPu+JOOR0aA2OPak2U9Tc6XrXibXZTd6NF+bMUtZ4T5Aep1y9qbz/ubKSN1wt0nPgHUIJ/llkA
FHi/9iOTRxaiEnAJGFIKimuf4s7ZfUEn6SEu/9RJet84w9fM0jtoOu4Qjb8labqhI/UU6sm3ULV3
ap+NT0GaSXdJQOHWcvXoXFtVPlJwpwzYcme6t6XbFNmFKjYesd22Yt9tqn7n7llvaQGeJqVWkJug
vhYv61XCl/gdXZgYESrV6U+69aQS66f87+eGDJNgq1EXQihGx+TtKkYsj76k6x1wx4dueHBaZAfl
r4m+M8Fbf1mWAQnLfhL167LNP0kaaF9V6TwQCW4j1W5Z/GQUW44fqnLvkTZGVaINSMwxRZkKqO3t
MxW2Ug72XKGSPcV3clqTH3a3o+Mjavirs2icFY7bRk8qwI33N/A6zLMwnXvEAWjVolj2duFcs6rR
7xEE6krfNSVgVrPj6ukp3W0vbrxPYTDqkJqwjLKc6fdyrga9ihhJoVzHow8g8FtT3DMYq7NsZx+u
bxTMepBEBR4oxn5LLG5d5GDDZ4caO3Fg+/zSMny5B8m1u6soq7DN2lNa2VoQ83EEFuisAC0Rb/nV
xqfBrjZzwoJj8mwHH0fzexB6EBWFv0389P4X29orKuLEPNYL/UpeQOQ0Z9YxfrJbNIq/Pdf+vdP9
ytpLkpwq3FORZOu+v7/gOpSwIelaENEhhSDD+fbhQikl9QYM5enVr2h86JCqkvEK8K/8HF54+Kfx
d5KcjZ0iiAbiIGiisBI/6NXbjI2+TTMzQKopbpjMI2w+CqySf9bma9io7z/dRiqA9gK6/HRpLZ2k
eXH0qklyyrJG+kvBRjn/P5yd527kSLqmr4hYerM4mB9MppFS3lWV/hBl6b3n1Z8nNLM7lcyEiBmg
uwGh1BVkMMxnXuMk+9yMkFKvD2ZGUhfv/JGKu2FsZ8M+ZlF3N972+sN/8wwQronqBJp1eda0mWxn
aoCMTBg9De1NP/r7MJP3VuTvDTVzZyfZyaW1k6fkWLv0cNQ1gMSFYwDKJX1CUaVCiWCxgHWJOmQd
x51X57lbpT/a8i2snmZ6mp+/6aVPKxYT9wTZEb2y00+b67WmVP6M8lRtb4Imu6q1V8VMdlle7Irm
+fPBLiQoQBf5qCBbqD+ewcz8MY9GI9NQqKmtjQpVMFAeR3905+bRrB6yWUNh+1thU5QIvsE8zuds
O+TDVrV/qnyB4TA433Q1WjlxL6SHPBWnLpJBgmO+jJKSwci7BLM3bzR+KcXwBO1ilwW/7MQ6+s6I
zmhznGEBS/bbRCXu8ym5cFCdjL2Y/yGYmlKZOITTXLQj273VN/SnX5W23I0wPYJ0Df1xeUQ0RynP
0CBe8rt8ay6rzqcljIOqW9MtIn93owLd2P7GaLBwL+SVCb48IihaZD3QvloG1lqt270DMdTTw2HP
B567V1xl9z0CyRmyGv74+/M5vXA+Mqf/Hm9xgExxXDdmjbzYnHJS9NoGMzkgejM6zPG2+BVS2R/z
75+PeekSoJyMwSayPgohyuKMbAl6Z6iwHPcqfmLaj6zUrmQ/2Rj1T0nTdoOJZuIMeEQ9rAwsVshp
oouIqwi1hUClwNGe7mA9BfovoRLpqYSQMhCisZShXv1JB7ruJUJTaU/DlyMqtXDJXKtuXPq22kc9
UWRNZ5gxtUmbmDIxo5exa6ZvufIaOl+AsbbpXaytrd0LVSVeloIipBIEi0BRnL5sXve2lat55/Xl
vYMWyEBy3yjvobZNi6ts3Ps5L2uGG7X/WlPF32vJ3aRdrcz4pfXFt0ZXHkFOAsTFjA+JFsswOzrP
Gh9qVdlETYTzMHy3t0T1scLSPbl8Mk3Erns39WXxQDBwFGTHStc82F3tBjDksmll2V+6MpAeo6XB
s9F5XcxNih9p4JeEIZHyIjKLJO7oVSvgVdckxy+emFDfEQ8mFCfyX+SVSigFeU8LE4fXn9EfAdNH
ajtOYGZSTadhV7ReJj+Nw0pyd6HEy+cnJgCvSx0T/eLTz+9EahONAbdi2G+6An9LDg8YRAd1uMrN
6+5b99MAv1bsJfmdEmMR7YhTnBeHDr58HZreWk6nXpxy4nQh0kMwtuwh1FFimLkekfnE13mvuErw
AMUOI6GXwX9r1BtAjm6q4YBy6NvXeXgPpF1XffWLWww6O/mx7B7f+iJzx3FnZnu5bF0tutOn1brg
xU1KwRm8CVKyBFan0yZBGpLQGe08NTuOgYe8dFfMuA+EN2kuHyLrQYUa1Tg/TGfe9bCcU/vYIM3m
YxGIKGm5s1fRFmLEs0OLGqUChZWMeJl7tORXOuJChDeitzxoN+ZY3Ywc17i6NW4eZ1eyfBcorzU4
mdjI3FjKrtM0dc3ZWbmAL4abLGGRtyJ5gn7y6eQ0oWqmpCxMToDiZNB4cjDQh3tKwszNi8bFqtkz
pGRjc1V2Su1q12WwsnPPgjCqlOgZcxcLwVuyztNHwG+dxlA2tZ6t6+AeGDfnxNCTjUyHYCWLPn9f
MRhiTtQiOCxwOzkdbAraJqjQG/Py0JMooilfnOZ35V87k6uk2wZsWuhaWEPrtMLklcn+uOpPvvti
cO10cBVz+QATEt5Uue6ixxcrcQXBu/aG8Hm2budwQ8l2UzPb0g4Fgki+Hextmbpa+ijbm/kwqTFe
s9/aeNhYgWupJFg+urXFJv+hJuEmsmMYjsoBcsdODR/K+b5qXxLnsZNTt9PRbq5Uty9eZC1zcerY
YOK8ycN0o83lRpkelWwbWNvU/qZ3slsRahtoIA6aG2A1h51A5ZrhDsJ30P/CyMo1EgvlJ9R43C6m
d3hos/sGdNDnd83ZVcN8ccYKwjlMpLMyBK4CmRTlbYulxatgQgmV4HzywBLQKkcbgnMuM7efj3ne
poRsTChBo54YCsbBYoWkktTFsYQcoKhQCrS/EF0CoeGW4DeplxXJe4yYyRR8C42VxOvC+9Kb4o3p
jaOh6SyGzrPEmZzC/hBHVLRAMP1154+k6a61oWfRJWtwJXFTLRbkyYCLBSnnNYl75DReQSQRwSA3
W+zQoAjn/BxIOFqwLbD0FiJ8K9N8dgaKaUYjVNR7iCLkxSXqpEHOPcq7lkbkWsExK0wXYdqNAGQL
bTlZ/ZMy+YaZesqACp8QnhqHbbUWz1yc87+eY5GC1PJYOoXGc/gzsF5MPDWk3sqh304y4kLSiK/p
7JUrR94Hdm058YBARALicHkuz7yp0eQqj8zW66tvbfNcO4c2efHTzaQ/S/be7n73hK9kX3Ebeca+
8V2/2irjLqn2wLQFQcxaK1Kd3+Z8EIoqAphLzYibcnE4OeXsoLZB0WjcKfXBsg7OdDRrZC6+lgdp
5pJ3k8CFCknFPGs9zb6rZa+IXPtLod0Ye2tAnGpT/TKGjeM/aenV5+vlIw09m7F/P95HBvJXFaao
8TDoI8o+cehV89bIdvis1Q9xuqnv6wldjt1YbWObfXmT3chgaBqdHXuci8OcX93kjZtoLmrurbwN
FRAAmwMAAGd4VKyV8+MDVnv2oJxV6AYCq4I/eTqPWRyn/qwwj8qkb21mLUQsCsbMG16Kv+IAzr09
ZleOjAWgpXj0J7fjoF6lTldAtam/InfnYm/idv6fOk72c/kFXa1t1RPpG9J9Yv4xZIgK1iGljWre
llFFD9+LZPtgD8XBSFGlRzGPTADLA9XZ5X5+AEB0ZRmPxAAbSX1v+5leyFe0FJvyNan0h0iWd8Dd
EqxNoy49tJLyHdNToW2vCpfCtzjxqsk8ht1rnL+Y5lUcEsYZt3q2R7vdTaSbUKq2Hbh3X34I5D+d
9hCxkMF3JFhpp+JFquuCxKSw5tewSHapVl9pKUAehJe5kD5fJualY0X5CJKBXlDRWByhhuMH41io
XBniKXfN9+BYPRrDrkQbitvxGHeHGawvVDr1oJjA2ujMbIdxowdIvGxgZFTqtdJsnO7hCvcTOU7c
UEHfKv/FAt8axi4i6K6v2H3ao3Lbvme7qeVs2jpcz3/MG/9Gku7g8MTjptbRQfEo9qjGvoyPZXvv
2zuU0dIn5a7aOQ9hCcq4e4Or3sf7lUk4i3jFVgbwTWQr8I3LvaJX0hBold56U1ds869d/mCjlfgj
uJe+NeySzsJS9btPZWlkUT1m9lGprxR9q6eHCixId2e1V4b5FhZfU2dXRS3ctk3TePpYuiXN62ov
5dspUDd1ThmjBcJx5YT3KlTtWfGIZ2Z9B2Mag4S30NhZjeYimBs8gy0x7q341zAc8+4ucDbZa1Z+
U51hkyjVrgruDB+7qoQjkFYQiJV7zd+PqP6pQeAV3S8AjDdRsNZuuDRRoDMAoiJFTPlgUWecZLXw
bXUgGoSMRUWOLRlshQmBmzfvYIhXLr1Lw9EGI9amH0XStMhEkkxTYsnKKV2H45bLvejMg7A4SKw/
WkxfLFkDvxsX7nfQTtDaaH/RlFxE906fhNIgp61XQuabynch1yKUbj9fb2ujLE68Ef+Ois4jVZCQ
00d3bubxfVLqtWDlLN1kVRMZwVOl0HJeeMjQ6AvKVEAVu9cS9r8D92fmGB0pTSvJeMzmFye47wUB
nWtcmSAtjcMdII+tXpPItWsd80uRIvVcIkRELmC1LBW9HSiysZEjnk0WzuEyqPa1hApqbv9I469h
r3oklYGveJWjbPz28fNJPy+5of3ANUNjQrBOOOtO7xmfoNkMY42aw1C5InYTKEVBzFf9Pz4giTRE
Vg04QVE/fz7yhYiJ+g9Qcow3EehZLqpucLI+jinU2hFhMCKDKvoyiZZvTMipxS/HM7q1Tu7Fl6XJ
xM7hK1NoXCyxZOoy4qi4gTqEnWv4Klhhwi9ExKpC61CUu9gC2K+1K4v70lemckDRngNVNmj1ns5z
ZBezjEMAr5t8KY1fqeROzauYZyt+kdt7O4TVJYGhxFlNStaKxxdy4w+QLsAQFALOHHDMyTBHCvSI
EDu+m/T3qagyoRBo9O+GVa296oV0ANotFSYcMj/En09ftUT52U5iCAAx0Hurzg5qtTOUGVvoe0Gw
axpUFC3Yqeivfr6kLn1fYfJD6IlrAd3SRRSeJpYzdI5VeyhNbcz+XajCWwIDHr5xmHwo5SjvQihn
ZVwRDiyCtZNxF+ECXsRqB2OSDByp+aH+1eo3yrB3jHesV11/xjOXeY+yjeDxBVhFfD78hYNTSFvR
f+I8o9++yIHaQamHgoooPWjzqp30Qzl888do7SXFCl2+JFpIJNO64BktiWB5EuWcIi0nhf42dU8G
FdGEDDaMc6/Xux3ePzsT+WS1vRfa4nkQ7NrRdk356fO3vVB7AYjBHqJ3S9ZJ5fR0eaUSxBRlQs/P
pKwQI8+joy5p1F8KonW7eRRFt95wa0d3R5s8zJC8YU069vzs4hFwiRCcDyKjZSve8IvCSm299AST
SkM0UZAAqgwyZETch+ZFV0bXc7pC/T3fxaejLsIMHIPrJBLypGmZHTAwQK4AXXX9AE75pirzh5V5
Pt/GguUNGIUyOJfDR/36r1RJsZMsCxOYnj628pgSu3WtbPoGhl9q46OwqRtcpHBHDgmvVobWzpYa
0abAqUBzplWxVEEyurHhtKJdODvXJqpaMcArdBM6NbvJS9SShfk1uDKdJRiDyBQ64ua85pp8Hmad
PMRyWyVlVIaxEdaeLAdYUaKEGxkHGTqPiu+6P4P/WvMyPO/MwKNAmgb7BERTqGOKnf7XlFd91eaa
MlVepRTbJAA0aMperLVXViVthfhVKYR5JWwuDN0tVMnrhvyhTdNDiIGktsZTvpDLC+YnKq+sdNHm
XBxrxD1DUodj5fVGSD+icNs+9n6koHtztM6CBpAh6XGAjLbR74Tzk7hHhV6wiZUdzj9elt0PwIo6
dIPtEe0HUwNoeV902LyVLkhWjzrR50vnQ8z99JTiUcFKI7WPqiP1vtMpzAbbnpSpRf10jLdw9FDY
gLBO4UEI0Ds25Ew9cGskaVS72wZz56byg/CLiK7y7rs+33VcGXb7MvZYKHbXcYASCNQGUb2pw/Da
THAFVKsrya7XjldxbJ09OM04gZYgj7AWAUKFo6TaW6ik5sm7TzRvonE3IASNRKsQrjCb/Yxy58Bz
pd1aTHxhq1M7t2WyPSGVtbw3UcPvTEmrWHecYyIIFPItyWxsynKvZig7aNgS5t3ObFaOtEuH+cnI
iyWGF2FHO7euvGjCQgdNASGIIoRjxOiWfm1nvD1RKD9FmPGoUPitX58vmfNGnOieCMAswP4LakWd
qdVSW/elpw1Qx0Q6AMgzd4Zd0SUHmWKiTi29TaZ9gnqF8bIy+vncMzr+YcBkBNR6SfLokyIvrFjl
VJfMXTMfjAdpFn6a8SZObjv/gK3evin73efDnh9up6MuVlvaQMw0J6Wkh8BX7m6b32wRxWiu0iLx
OmsFtn4h+j0dbnGwAQsetVLjJWc1dIHLuFOIOAqe8Ojh9kjyss6E/meQ8Jn9V4Fb+vx1L3/jj7AF
HrsJMur0WKjifMZEW0bqldy1iV/UYCcnmZem9gY+d2ikH/a0veLfyFSNVwYXk3m6tXn7vwZf5Fht
NMWwE2cWGN0WBTQF+gqZduv49LYziSoJp7n4zPgGXKeNfggzNMex5MyrtePxQoTMowAHsyCJQtRc
lmetAMfjvp2EXHayAR3eza/F3CONlx+GSFitv4RZw1G4BpE6z7qBc6jovMOZose7NI+l1wKocUYR
bA6qfT3/nkPHrQBlwhNaKfFeWNmkdiKdRtNQxKunXzq0CsRR4xYtMOyG1KjeTJWOTTldr3JPYfM6
mX+sfN7zk5sLEpkh+sIEK8iQnY5ollZQYVFQQCoYdwZxCATN/djfjfjhmlPtGiN1MBrp4a7o7dfP
B7/wtgJbS82JcPhcsj6rfSUDtJB7mP0cyrS7DX0XhaUQ3+qhiP6M9e/Px7uwlGkp8SFp18OEWvaW
Ml1NAy2zc08m+pUnpI2CeuUK//hCi+0CXBCaCzK6oAfPoCFcCbGdo2cn6eNu0lCDjo3bMDduIfXt
pvQLKigHJL2ht9qvQpzVzOznaGyoTRY/HL3/VSXBTOvJ1D0/Mb3AwR3Mvgvs5FtiIETQzbspdF78
of/RYQyzaar4YBh97dpIMnrgcHZRLAUIb6iPffjz89k7F0jQ6AiK2hOBHkKQS/KghlE1FDIk2iRA
RXObHUI/eK6r6Noc+mOd3k9D79oKqsFjdiMYMOJQhKayb8z2WJJfWGqzMtvnfiXikYC3sy/RdqWk
eLp6Y7S4AeahWjcFLFdK1+lIpD3lrjZwC6OOBukLPQe6WHEOxL9whWBiNqn7QF61dbtwF548yyK1
8/VQDRVYR2h4EOeOBGxF+K1B1cAM0xvTb48Bp2KEM7wdrMJxLq1swVhhB/NfgH2n80DYitRAGhVe
izzYlAU7PR92A0Y8pXQQHWPhpKR/KwKDKFf7OKLzsdzNcrD2QUTIs1z+NPSAUirUmkxjcVcWIxze
eZpykFGQGI0jLU5K5wnKVsaHilpp9u5sytQTsBBBtGgcDyur9NITcJbpqBkKLMUSPBzMqTKPTYFQ
nnxvkcsraD4J8fwJLVrkPTY+NgvGGGxTK9irBwO/h88f4MJlwckC00/Qy0FOik/1VxqkZHpkaInB
bgxpHmtw6vG+jMkV2rhcGeri8ifRRLVRKIOeiQKGUpx31pDlWASZyHj1W9W5KUsaa8TZdDJERtPo
7aaVIzphqTsaD2Bv3UH9/p++MiUc4Cs6Os8fNMvTVx5qqWxRVco9X5WvLDvcO4ixa03ALbayvs5r
FwjiUjkRmhXQSpc10LmUY6uN4c/4uuymk30HpezWsX6l/rFBnVLW4oehz/5zwAyjcv0bCjY+aA8u
7kiua9ptrYJWnQ23WB/3c1gdaSJl0nWXRddOXm9yp9/Hebb12+hWk4yrqBtWXv3C8ctqAoIvpGCg
cy3z6yIJrLyfoUpKo+J1+a+4Ma5Ih/A+l3a5UdNJZLdPT7aSXmlzskXuSVLkfWfPCIHNhyLKvnz+
1S+EY/CX2WFw9WgggR84/ew5mt9SLqMe4jTdNUGGhyYOnET9oyLd1DgmIZZmGSiETfL+87HPNxlD
C4tGIRzCTbQ4a6OpLqxyVoFJsLwHhSjFebCqEKm26OHzkS6tODYX/E7Ud/BAE8fNX9u5KbUAp0ta
Y1HYXKGH8CW3pj9YJntd00tua9nRdpiLtR7u5bn9a1jtdFg6daGcCA1I8DAVVYryOlOTu8GuE+AH
tdc7zY0vB8fB1llu4+7zdz6XzeLgop1CBCow+mfpfGyosWrU6LWV7VXVllfZVPwAuL+T/Pxn2E8H
g0Ue3yZq+E3BkY3C3rEu6pvZVNzJTcv3rsiePn+i80hRUOVtEXoglMN9fzodcdrUyhRxkodjfa1M
R6dDHijFDYXSdC8XXDHGytl68bv/NaL487++ezE0hlmVAHHU6g512BfJSt+k+ufgA7FO49ugJvKx
/qsd9e9Bl1W7bgLtVcy8ZmN6EXT4KJv2U0Lzdwr2klVu+ijatXF4azvByute/uQsdO5MmqVcX6fv
2yeJYfl9CP4nHfdmAe2iaW+qDJRJZOPzY14nWb5L1XrTlAWmpLZrWZOnlW9gNn7hXn9H1vKsFcbK
0fuhyXkaTwhlZLY5zUWO4OVGt40x8SUfjt1oSDdB1IduAjrVNx+C0ik3Zd7k+zkCKlKgbk/4F1XO
VeXf1HC9HDXw5jr4EgUm9uZ+0ZK+Fq/N3Jm4OaVXqH39mmNpM6nNPRSiz5frhYv5Q9CZVp0gA+DC
cDqbdpXoGMnTq3eASI/2a9m5rb0PwN1aGc2d4Uc5tneWgmbjMcHcMqZBm4bOj5WnOM/tTp9icW+F
SVtARSW/grm15Xu5X5tH3wCrnECrQlvWiuZtrKd3chCvnSCXDmhRqYCHS0cDPefTCUis0U6rAiuA
ym2Kep8Gxp9OnmhQBsV90KVXg+bsBtneykFD0WL84svOLlQOUvOqaFDY8pXz4+J5Kq5OjKeFpPey
GjwqeQNIHyXbOgVux2BpAsxZzcJ9FXB6OeVLWjsPQ2eHNF3C/5Q9J0pjqBAghWJj5brMCSc9csyw
IyQM5Glf27Lk6mVzPRvtzkmaO80uwpVY4dJxiRaBQhlZ2GYuZeNUebC02tbobY3aPUZdu8Lsnn3D
uMUz8CBN01MT5FefLzaRYSw36t9DLm5k8CKaNVHlR1+VvReHu07JNkFubVEy2aF6tDKlF4pyotwI
n1oY9DqkPKcLjMb3WDaOQhU+MK4Q9XZnBHzlXjmGBPagx2ovaQoXd5g/NRbHyZQCQguHtXRfP0/6
kGynwwB9lpV+1ldstWnIVJxLPAPNy1Tr9pYU3/YFIOrBjA6pRhLYZcRl6VvXRoe4DL9NWveFcir+
kXT/Qkn5WckUyyPaYX6tV15SpcDf7fnNSqudpbU2vgLR19j4Oqogicpu10/D11wb4SNnNlhQfbop
LYBoVhO+pGmsgVLK6fiM9U0c6/s0GzZamR6M0nhA1Xh0P//o52pWMHBEwZ+bmVvjTETOxw1wGMZU
JCDh+200W292nO3NxkECXbY71/KBt9nTt7hvj0owHJJO3fZqcNWE6QzuW2828VPZZojAEFX5SrU5
ZENwkMdhJV4Ux83J6gS9gAgI5xEIBgGhOF0tPYrGVVQhhqupb/oc4CbWulLRbD+fjvNTRgxDJRxh
J2FJ9fHnfwUNjTEoBg5RiTdZzXXStgD+QMZA59DS/inHgitWYa7MyW2jKM8rY5+duIxN44gXZMOT
qSxCpDps5SqbQCqGGga58XSM1eR6TK2vUa7cG0Z2a8NwIGg+ToW9kQSkWEtuq7G/J5k5hJZPIyzs
Vqb9PGcRD0VbiGobXgpc4qfzrvZZUEtNmHhpnF5Hzd1Ez13uEa3s7G3sQ9uZu6vcr24m3XEdaXBT
h4LZND6k8gwHYSoBOFkr2iZngR3ZGiwKriQBpDqTpkhr/kCurdgDgw7wenarUf2CK9BzG9peGcoP
WTa/9f6flc8jzqPlCpQFJ4uTgmNiGV/50VyqUqLE3qRN+0ZukDVLnuZQu0/zGv673HzNf0hKtQ2z
5E8wVT9MLfg+4fU1R2vuMmeXA98EFX04BSZJG1nU6TeJ0q7V7ZInsQbHq+ruqtXUe4S5XbmrNtWc
XDe+vxLGib/y7OWhFxNXkkYTFJ0Oqfp+2Pc5c+5DPiIh9Yt6l/XtLrHjg+msbfZLLwhESrCZ0dWE
7XE6Wqzacx71cuwlyntGB36sWtreb057338f2t8rH/YsyPpY4qIqIFJEbvnT0awmS0NTkvC9lptt
bNY3kjrubY1eRGg+zPBdLV/eUD3ALWA+onu1Vnc8P9qoZqOzBvmTMjpX8On4eakYJKhl7I20tYu5
3Er+gzHIK0fb+ekCU0Fw/wmhYHlqi1HGyTFKdaSDLpdvXflU2uS+8y02PLuV6Ty7UNmeoCc4+4Hq
AAhaHGNyLekhWogRBouFW9PbzqS3evBdGwMUiPbt1npo/XBl1PMVw6BCktkgkhD+WadzWCh9bBSy
FXm5CTS9aYT2pitL2QE9smOmW67sr0Ro5zuCEeHzgEeF2n9WuZtyLZKLIGITVvOVaBlLavmo+vMu
M6PbrPdXLuoLNxMQK6Id0iiuhzPefYOCYmGkfgzYXiRC6Nub8hFntodqsLYTJ3LrVFtHrwOQGcbb
yjcVW+B0+wtWBUB0togQHV3kljOal11SmzGqh76XAZXXffleTuiZV/NNaKsAp5udrs3HSE3cuerA
b3bJf3HsC40DWEWsrTOStBz1eZDLPEM4VW7NKTfZ3bOdmndWZG/xGPqROONjUq+EqRcvG4MACTdb
+9yks+hULWT3xl6T/zH8ehvl45uijo9xZuP3Oz5hh3wXrtIvLkw3mFg2KYHIOWUsBINq2D6v2tX2
Tkkdb+znN5tENJOYYr17teIfK19YbJDFFxalAyIeNhB6GeL4+CvwCZ2EsLsCxEPt9jrpnFt0nWMR
UKDsoF9pbf8yyc1+gOITJH96mStACYfHvF673M9b5YRA3O+cxrRpeaJFWoCUZRa2MRzBDE0nXR4f
69n8ZRbJraQNj2EvY2Ws37HsXkcl/j46ayZdl8c3BZKeMi210cU5qdoN19LA5Ton5cYw5o1RHJC+
2fVu5fv7ssRxEnlhE3cwkK5rm/w8xqBLTUeM/JYg8OxQyRwnrqHPcvERfg7J+FgmNw4mkJGZ3iqB
dq9E9i5TQ6/trC075Fb2Gxcdjp0UripqXFoQogfDsif1PbMLMiSjtMJiItyRpwOag3kZHig73amI
Dddac5V0MrA8exvm1U1QOG8zYOKSbPHzdXlOF2c5WIAt2QXobHOjnK7LJkQ9PgiF3vdcb7V0esAm
zyvRRBRevUk0HZpsfk5885tW2aCK+2pXm8fS3mhV4OkFNhvyTyOV33U1R6nf0DYJf0U3zyunxEeT
fbl9iI3gIAurBu6h08ecqihDu80PPbNy7qvIeIyy4aFRzbs+GO9CUIvJoAag2UPPyBUZo04DW3sa
IW7h1D/tRgaVUhzJCvD5LJv7Xirvhqh8irP8NneaHa4622nka987rf8kKcVvvfMtd5qyo2IiwWKD
fM1C/cXk9ttKXXKXqxWFKlpoduSsWepduGrp06JnT8sAOPfyVRXqqqXZYkUgcKDFAKw4qLYGnlZ1
DZU/cltAx58vggtXLRcenBPU4ByYJ4uIIsAxIM9tMvKu+D0VyaPJyVTV8RNp4sMwWyt1kAspD0sO
WjXeRpBnUfE6/ZapPiQJlFmMNwLtsU+b75Yzeu3cHQqtR6gfBlrc6fsWikaAhV0x5S9jq8JeqBQY
ykijJqzMGq+MzyfhwkVE1ZynESwYYoDFJESFX8S2hR1Iokisn/ckK6+lrN52Fepffb31IQ/WaySs
i9sPlgQSgFRIRPJzOheqFKb1iE2O10TDtVT6fxC+BnaZfe0zs+arT++dNrvqaF7XdrZr/XHThuY2
w2shaLuD+FdLdDjPlWoKSCG9TTrGBc5Xkvf59GjiSZY7kGIpJRwe9lzHYcjbJqRwGHn9dCdbw4NN
b9qJ/XrjT4p81NJ3KpivdtU2t23lw6KsndfJQhCzNmDfdA401UBCRzYpPct5Gecu3Iad5ANsifgd
GeZRYcETjzR4VhI687kthC7xYEh8Lbt25hh6ZDv/srJpN+Xqoai+fP5+l3adA61AyA0DtF8yjaso
qRW0kdkDvFvI1eAZyfxFz7K3pCuOML25LAdz9/mgl4JOeoP/HnWRiGHfXmlNMUYe1HbMtR4Qnr8G
qeeP5WZw0OXA2dEqV87SS3fg32MullwszTHqU4hGTHJ6GyUSCXSwEkqKHXy2VgyyWCGaRcSzuFTQ
k28qO+C1FDRWAlV5L9psY/v5k9/WaxfYhcNL9FjRAEA7D4HZxVh5U3eJNJHdzVN9M4Xj4+RLx3rI
E1i8qb2dy/nBVit7V9Xydz1w7jVUXzTDTdJk1xXjwdHKJw1zEvykVG2L8cZjaFXRpiqcfisX6r5u
irf6ukdLIfZwi9L0cOUFTheeYLFoyI0jK0Y1TLTsF+dOkU/TVLWkcxEXzXMkPeMMBcdd2RA6bOzY
WtnHxmnccT6eOAf/CkT73DfK0fYpv2YNFNT5FQT1zRCUlEtBlalSBYhzPspzlLuOD9g7L/ons4RY
7kMqj3CrCuTgqZfDR42cGqnbfRy8Dt3kjejNCLX+GM+0LgS2FYaAaiYPtzZr7re+1h/tEv+IGNz4
rAJ1sp+D8ctk1V/MMfwW37Wt7HXSsI+C9Nugt3eZ2Spe0aB+Ycr9Sz/oPnbkZF9NXn/vgOp3NfaT
mXmdkYD2DU/bd2uqhfrZt0EKm6gIo0EAeFzHi5tqRgYE7rYTeU7u7Moq3FnR4AHIR8Bok1v3TNR2
nHuYz/WxDJWbUNPvXlpwDd1Q3g8ypuK51b0a8oQTb/Y4BpiqkyZXMWldqEF9NZ/LYLqPMQuNalff
4di86RRKofQFpvHPxK2fScdQym/Dtj4qfn6rYSI2Tc4R7x1PqWSvKa19VVz1SNPD8jsMk7Kb1MOo
TZvPz6nT/cyaEQ7Pgj9IZgySY1lB0cdY7xyJNRPMgC0DJOimx0z+ZXe/Ph9nUS3/50D0Vz+6gkKn
aXEeaphO9YlK0j83kDCudcXahPjcWHmzK+XoyZluJtW+b/H8qG3n2ZSSdwfy8fto30m9l2YpBgza
deXbmltoiJcMChC7NQuGRevy/z0kwRLHJPIMy1pdlbS6OY8JiTK4bTluv5hN9Zyl1GNH9IJ1HzKC
mbp6dzchAAnMN092vlze+VK1AuxfRA//ehLhx4owDsii5TlbF2oGqD4XybNPaDTcZnn9PEv1lyoe
bodivlE763oMnGvJLh/6oXoyFPVeU4vNpD2DUnDVQd1h6XGV2eVtrKs36hheKwpcoM8/6+Ka+9dz
Oh82EpQWQImcnjmmkUoW/V7Sruk20q8V+0ddX1fWVWf87gAlEdaH/cvnY344Y/37Djofc5ExaGUg
jZ0YU86JZqPyLi+MvfMzLYqdLPW34JNx1CrV/JhypEdpBRaovAvnp1m5HQETqCkeN76ySwp4w9Ft
jXpNo/8xEhWdw/EBusbnj/tR4Vk8LnUugis0mSkPLCtAYMGCvPD5lFU1Pkh6tWvo9Rrl86CXvzPZ
OJaOfqfnwZUFe2CaNFdQOCB37bXBvso67bZr39P5rRhqtAasO21SvmAV003qRum7615vUdRSj8T+
ZBEt5PsObaCETuS7XBjfVK17kJNgYwbZRhsdyBnB3g6mg1qbd3qUujNheSV5hf2tHjaNBKlVkbZG
hzdCUl4bU+qJn0G1b5XsTbIlXKeVrTpQuQt2Wl0i59V5CnJnAIX2WpM8ynX9VHXVo2CXzYP1TZ37
h2AIvwVT+lzEiCZow7vTr2UdZ/ce5GfRYMZ1S1gzLlvMtp749WSyHqphxg79xpE2M7DXodtq1U0E
FbqYH+IMgYoXuUBEJ//nEfp/fo7/N/hdPPzzUzb/+B9+/lmUUx0FYbv48R+30c+6aIo/7f+I/+3/
/9rp//SP/e/i7nv2u/n0l16KjH+Wv3Ly1zL6v57O+95+P/lhm7dROz12v+vp6XfTpe3HI/Ae4jf/
l73z2I7bWtP2rXh5DjVyGHgCVK5iliiREyySkjbCRs64+v8B5WNL1bLYXv+kBz0561iUWChg44tv
+J/+8Lcvr7/l/VR++eP3l6LL2+W3ibjIf//zR/vPf/wOIHAJkP/1/Sf8+ePlW/7x+76RX34rvv52
8fSzf/flqWn/+F0x3yGuy8CK/RCsL2AKZOrhy58/cuE5LIMsCnfS0+Kmlhd1G/3xu2W+g9a20BzZ
hHuLscXvvzVF9+ePVHYfiNJhrcdIAZrpf67wh2f597P9Le+y6wIhqeaP33/Mj6zu6BdQxKGQWxQm
+a0/xrfa6BT2GUghAeZdDdZHV0lXQhS+1b3FnXxNLn/HidePWhzAF9kYPKrA/fz4UZ2utMyu+KhB
kUcDYJ8hWyKCZ16LqdjqcXaMi2RbD+3BG8V9Upl3spVIK/JWSuuoOdVuEPVnr1K/pBqKXen0cTaV
XYVKcZ2m8PaS65JNjWyKK1tRbr97sH/etu9vE0qxXN351WM1uUhBL2Ju9ll+n8tsGGOJLbVb9e3a
VbSrbkSa2ZwxoIy8rcyJWRkufVdlnLyYMNZiVrEyja+NGZFh/QgR46OKaZ4y1JdJGm3cR7MbFdSF
xZ4BOsi/Fkkq1S1Z1857CzyPPUw7qRxMqnzpINWhqf060ZWEMVALTxCLbnXKp8BWp6MQ0eOQV0gT
qpnJHjg6Dlq8cSi3EplcI7nsu7n9OIV64FbR7ZR5R9G7xyilzBstfc1clQq1smM/Jb2UA/6zrawP
k+HJQCqSsU0hfd2rglYaX6I8QntIjY5OpNx5tfalMR3WzsMFYrMgj7riSq8aQBngXhK8MFe15zzh
u8t6h8jNQWNEEzeBo40XopioLtilq8pWMcSDjeV6HXEprV0dy9S5Dmexb/NokzQaYgjDWu0B+iNf
vMqi5tD34c0AwDsPoU2Os0YlgD96iAuAo58UsMJRlNxoyO56+WK1F13KQa6Xw5FP5U4rXOih1rTi
OQMkiUE11+mxR4x4asKnVC13LXy+rIveh6MBAC3U10XzSOvgcAfVLy6Y0MJZMYy+raXcat64icW4
HiJziyfDfsz0u8ybLxPK7c5S3uug1cKsvZ6BG2pYUpUS3SM5cDX2sZrFGibqkztGN6UobqvGtxRt
nxvpNtHj6zLlG7WDaFmritvQqzbCHq7iKDY4Ocour/THcPROKaLKg6mdxKibPna4SKfO00U1PAyG
dZFJWoy8Hlda0kF7Fyhc4xsRYI8EfL+r1aA3Sbl9Fvu9zfij6OZnK4ruhG3fpuYw8BdrL6h6aQBz
iz+4U30ZGha+oouGGuFFbBZ7eGo8NqNtJ/1omBdV0sWEt2m3Vthpm27C5DNJynAbp04WhEkvUUGm
nLGyOVAylKtaYufeTopNHbZkt6p9mBrxUlifRTJ/rUtyvxjuGiU2t+bMQj+MOEqDHvTV9GC37k7z
msGPExDRcQrZ35Ye/DG5zpc31IsZQ1WVhrpfgjKgMhonXeYf29w6ei1L5L5SA0+Ul1mrT/6IOVN1
6ebxFmmkIzYXIFla5Ua6xaUz2Y+h8NazXQBU7EZA+bqbIbwLV61Ij+UQfioi7oQ6lJ9ss9qxH3xf
8KTbTF5QOAk8T3jNc9e9w/3wvmZd5+rlSzRtlbl5KNzwOnGyq25KjmY8rAsHgTasvMasvLTSXVFa
e6HmgZVaT2OZ3teRd+NG8b3Q0lXfVTsrwnXMbT554Osy/DWDTPJ5bbjLVOUmNMOvUle+YtW5dnt5
QALgfprdW8tJr53EerLN3PW19hT6lSpH+H7uU2t269hDXcwwnxQ9fplyeWD58aUeqt1YWk+OuRlm
6BaRfkqy9Fpty89T3QWlo9+EWb3ThLpnBXiUMJlLS36syhtp2TvZpxRZiDO5bXplKo+dLO8wrN/X
U7ulPWM61l3oOHw5obZveP/mvgqQ1NhK9h5Yx6fHohd7r5FXaVrt7LC57qardsA5Uuk4d4oebapW
7ItF36GJP5gFDT9aWNOQIISmXDtD+4nA/tS1CH7NgTY6K4akO1drDnmaXjfzhExYem1i1mnb9V6x
lVMWK2jfts0l+ijHfIYKmiWXpTE/alBuprDe4YwBM1l8gKNzcEFADhURq4xuFC/52DxLIzd9GMw1
OsHthdQ6NEfSrTAsyhNllc9oUeGasDbC1K8mwFyVZ29jpNu8eRww8LVv6s4dMQcvL+uKJixke9GL
TWePnT+WztOkq988e/9Vpffz8uyHou//rxj8X1jp6YvewT/XeXdxLp7KYmEkfiscl+rw9d98q/Go
at4BoECrCC8BMJkLh/dbiaepxjsY3KA3sCVT6SKpGv6s8LR3lPL8ZQ8sC5U9rfBfFZ72jlk+a0YI
74AyWPv9qwoPYMUPpQuXBZBy+XDkb+GMICX+Y+GVpbFVxcAttsM8L7E76CkevIbQU/bQx9ChCbya
1GLXJQWBhH0zuryZxXxsXFTeYNbNhrWrUA8Zmzwo0HzrPHlqBKTFPlaYKpkbNxzyraix4Cjk11wZ
+RVQhKO+gtBCTjFHe5M4CSB3W56Q0N7NiNGW8aD6osiDpHJceCz0uBD4jC5DtI2PioG8eIrf1PNG
G9LbSkkhYzj7rL5jBeOnZfboglkBhagHWaxVfqRYOy9z9039DJvuclLcOChV3c8WZwvxgoG54qdW
FgwOGmxxaftZKjZgRjateVu7+o0R6ijzQueSzkZ30CDnUpeLqSobexaKUKvFiiIPGtdCxjZjyWoF
FnLLiOiE7F6nLA9ifIX73LyxLFKALO5yD3/PEGVmc0lxKGIsv0vp0A9o5GNf2rtKfXKdbJ3ThKae
diPC/sKentsqWyvKkr4Q24ovMchlGvdhivfCuF2k4F3Gn2p729Yra0JeV3f26mK1F1m70bw1rPAg
o12lzUc9oiNEuGpb1eyfcGSS+yly4dOMAUskpADxJlyerttdtyLZFqG5y0J3RSsJuL5zYSbEpo+z
36e4nthh5acogY06DeVD0z0X6nPKnVI0iRolThrGrYoSt40DFVe5XLlaajiyVT4rkcBUzJ2VFNd9
m1+DUF7+aHk0yz+cehPCprnVGrleLkYxNFA6yAVV4rOdWDdYC3xa/n6viIvKVD6lShZYVQvtlr+b
VCVExCyY8Q91E91H34m1C7KqU4jYcffMonIHc3WFUnUQq7eyu82LW5WztzyICeGP5UCA1dlYjhLk
7z2MgAFdbO3RQeMgOi7viQ6yctAcRpz2xuQ4DE21ZXgRO9Z+OTGdovnRyBnOAsanPpFgU5UxCpT6
GjtG3/L2dv15+fg6t7aKnjPUkGubrW+U8g5y3hcL3FzlM2pOGIioWq7ZdwdOqTO8uBVdHmQpxpZj
dt1q9mWe9BdVlz/Sdpya0N51o/Nei6Mjc/gVdbiHePpyJtJKbJb9a+GM95WbrpfzMS11yEKZtDdd
m62BLK/rGpMXVxyF5MlH/BOH0mYqlIOqyC1QySC37I3dZqfZzQ3faMcLAtcmZmvHOg8pZb5r7ly2
qbW1ap4K39ILw3WXupvlqS1PNG7DdaUb2wGw10DwqBoSp95fLG9MiYfD8hyWBZsjVfDs656g0bvO
flGcKLTs5EXKeiyjzcIABqi8R4aj4+Xo9OX8uPvQze96UKdd7q1qtbuw7WxNan4Bli79uEQbjjzN
u19Rr+c2t4Wzw38Wcxak3a2BncNcREf8xDaRuJzSfp852amu3X3CFCsmuAfuDJYhtp2Cl8FGyjGd
qCzrzO/SikYscR7Druy2oPNOSbMjMn9u4NlsCMgn28tOglpsmxXItHQMCqXHzB+zzEesDYBQO9A6
I/Djhi5jiPmwcyyt3mhROPtlQ+NVdNGGBuoyGVzUNiNHD7yJtX0vSv4HWWyNjjMsyysd9A/CMOBt
q+G5n419qS0evsvfDbW4QbU+fh/n6TXGZ9FW9eoI6e3potG92zzTDN91K2tlDWhtCyzTC622gZHp
gQXPN2hDQahHd2YY0avpHfM6Jzb57P93fZNNtKSxtSodeAAQ/GEFM4Oq2LOg8O48vl5nazHSVuk3
Op1HXIEMyuwcqZj8q50zPZV4ZUr2eYwLowuhhg+GC9/ViBocwCzbTyyLdNN1B9cuy403I/Hftjne
wbG3iuvooerzbaLgA1AN4dehBwEfGbqyjWn62M0bODMMz7JRjU0n8hHmerhKGkhG3kQEVrr5RYNW
sM5nQfNDThMNqkbIHa5jN6/WkDVX7risTsxVGZm7os0DWcebIpUvWU23CRB7zsNPpRTrIhvhuTgr
hyk+C+WwSvaK/pbn1Tkp4lsWZ0YEclLFfu91AfHd9kuJEWsR5lBsQ8XBtJ2QSwRxioxkQqjI9Rs5
wcjsnwXmg6ET4m2ovTUMt35WSRjslRaerkmxfDYEMTK7d2SXFrS8tLoeU2jUCtAUczcRDhmv+Zj8
JWmhy89LHh0bZ8POtvCnWr/AWOPJtLT7JNNvlLIwfCUa7wd5Uw4Ckqc1RIHRYNfnFV/0rWKj6c7+
8aqZ9dUSoHltnaS6RpjWsVPESWbnMgZqsXwIiLBAzd7jeBYt1YL0l9SyBEUxK4eeRDBPcr2E8uVG
mTNiUI2JHUN+l+JPaJnPWVkF6sdWuvuIaDty7lmf7HMHgQ6G1n3+OBCVwNKsnJ5/T6ArdXszt84+
18RSkR+TIVzXoxnEuB67MguW/3ZScVTdp1jT0LhmtTgyKdCx2GSAgdo3mkL7Xj4PbODq7lkYpL85
p/POru3EZvdzu8gZLOnAybAs5ncASNuGoTwN+E+UQ3HnuelXpTSD11JBUw61cRCjfUkbfFlxaiXU
vrQ7sUfYjbW9GCV6l7lHEsqUdZPKr0CIZ8/YLZJ8CT6Rxbgla+xZGU0XLQOYzgJt1OGM4E3O+6Hl
aLnJ11jk7TrW4WWGHl34fL8UUhWk+yWbjZJsHKOwj+Xk8lVqqoNOrkPi93KnLOo/NJN6ZMgdO39u
suzUNvlDYc1r03wuZutSca2NwBH+uzr9J2O7sw376zsDTAdkLCBNSt/zjfEYNTKzmC4O4aSinMTY
pgeAAmZuzeVESvz86887W7B9K7VZAgK9RySBMecZGlZt4r4Ts1vAsnQuu7hhyIbQo2vuBhZ+jHVv
zBmMTlqvBGljSX55qmwn0hlV8s2vr8U6gwW9fvkF7gJABznT/7YC9hpBYx/bBYovOcrDlBtUolNa
Xg8IFkydQPqYlOhSJdgHJb6TkXKY05NqtPcmcnaQhElobmBhpclUo3D3XvF5yql5EZ/As+H1VEYv
tWVs7UFZyzLdhsOhlM5lZbv7UTPZGtYH1/jYQo2pRxuusZX4umtcCFsGvHaK7mxsiqqG3KBPZtBH
2RpB1m3DezIPQW17fg7r087FkTNijNVdyTaQ0L0Yqfd8haXa/vUt+8njgztCgF3oPaxHzwnhQ6WH
ylRb3DKiwMj5Xkq8DP24ioJWiGy9VIBac+tSZ53msri2KwHCxn6DYvqqFPn3sHk5Rj9ex9kGsNLF
mFUajy6d62DOmgBA6FZktAXubT0+D5bmF8nLEtNyPGiWF1AnqriKvWtu0r5ZG1DJU1wklufVYWBT
z49FesqYo+b2VTxe2HN4cJpnZPRW7XQo7WdA3Oi/0hKUzbZqo2BqnMuwztYFoXT5sv2wVODpY2d1
97++58bPjikMC/DFsGeWF/XH7jTXdB3sblFsl1JahoTTqGTSPzJSFH5ffiSUDPJ5NsRmCX7hthOf
1KhHrZvKPSQC1s8EV8fL1qMdvpbQrPx3Sy7shEJTQGWtm5vRDXrIa82nyhzRkEGTPpovh2YISmGC
3aCfVMCvGlmguOYWA+TVG1/yZ4EISykaeoDL6IacrVkGD00asyN5c/CXLm+czK2NJ92CLqoqUsoA
AbvED4F2uENqIvKyo249uymNYfTsu15+nWgYMoW3ai1Pkq4lHQmvvNCvr015u7wmS9cqEdN3s305
hYexx8LQutBxU0ZvdL/8NBopHcq3XpuzhfW3qOctml0YGgKxOAdZGCUuJoM18tok8rkpKB7NvWup
67ju0DeI7H1hhgd6CN+huSXn8D6zPzdS7crM6MUS0uikrMMSQn7X+L0hTxVBYUmUxbgEA+dYVtnm
14/kNRT/+I6B0mAeQj2z2HMsy7fv0USGrAy7Fg0XTa5d2uoRIAaeo8GQmbslVUw5Gv9Zv0L1HQAE
ZgvpydDyNeu0S8MhccnLwYz3iol3SfKpiwl6GBa4V7yf8YcwrIhPFD90twnymMSMLs3WS8Rd5idD
Gl2EdXS/vF4Ta/HeIwPka7slkMJoz2d0fBzGFvxVNbKCNHY2+Bb4QuPPCmszFc2nJQL++o6cYTL+
fIzwCjDmJAai3/7jHZFEhdTIZLFd7sLSgi2t0BJYWJT6S8Ru0yD2Y5qogXBQ17qfyBzYNCUYX1Et
HobkwxJxXKRIzR51TfrkNy7xxy3cfy7RfiV/UQqfa0VYZckqV+MSy9F+bQHJxAF3fInTS99fcheX
vnMa5SmJ82+1MX2+YR3H8bHiEb6OYCxSD1WSwtaExpRAv7aFXP/6Wl9P/Y8HjCCOlgscZrTKLfXs
ds7cuT6ceSuM6Di3xm2B/v7ijunUNLcUWLhD7nR1CGJnqwE9MFC0MsLuYklraXsJ1HhlVPm3guj/
Jrxv7fKXk/LPE97rp/rp5Yv8jY3+U/65+X7O+3rG/pzzavo7hrueDtkA/BTyv3/NeTVmtoinQYKE
F4KvM+f2P3Ne5x28GAfmLr63qAl5pIY/N/ma9Y65sIqcLnB0FuMs3//FJv+seFEQiUI7kTfj7Jwp
6OIUadg3B6tOWC1jh2ebL3biHlHvj3hde4ShnL1eG4wR83o7JdFTNInrYhhHXymN3Xc37icl9+si
/O9j//dlnJW+o9XqxeBMzSEp1YOrQLKIClTrWy/Lj27UAVmtXX+pKdDNak+uhZdNZUJvyObuc5Xo
99KML0OURpiQaU+mUwlfY1m0ommj1GMws9Fy+X7ozDFIouletlMRjDOarABjbnWkJ241E5PKMFMP
eGc9NNV8b4zxfmZjI5VoH8mMzehYD7tcNmKX1QoWw27RrhkhMkAy5y/QqvYMbBDaE6zMm41hF+tI
le+rDMOQDEJb1GD/kLss7QdLfahg98Ozw1+1PI1h2q71AuKdVO8mC+hpsYgNTwOuWr++u68giZ/c
3XMDUq0tbaWF0X3wEhT6+8oFb8mXn2L9NnRrLmOgMfQMpLejVRdrfhyWJ6DFD0XusBFLTUbwYtU3
zbZ3hie97JcZdseoqK39rr60+W+4/gWarlJs3HzI9uBq01VqMqQqm5OX6OAW0Z7zaVk7/niULGkn
6UvTfu9oORnM6W8qcHG//rpnlcVfh2l5075PzvbYqn2qeP1hCodrKaNjYjHeqaz0su1z1QdrKXGJ
Dp2PoWF3/uQMD6C9knU/sym3WpAidrKJS3GXDHKL0+dL57bhdm4g2jhCfjIKHc6WmVoHEX17GTpo
Y288qteBzM8e1VILfjeoScFfT4miVoca5Usv1g5GMlxBntyqZngbo/TDVu/e8eRDb6v3dtoGXhat
0npgkrbM/VJOsVZVyPVzdn1GmSfPwLDHKW7xCPOzfn4D8X5Gavn7Hi/QoO+uM4K2hctdVB+6rkPj
zA40t9mEXXRrRloftKOguePwuMV7aSR3c41+fRgJdbek9rooT0WB1KViF9+WkD+gzb6H2ix1189u
21k91pbaMLZ2BmI9A8QRp0CQXqL+rYnAPz6VZbT13bfNI89OBPi9gzmVp0pWp2ZR6Kxs3AqtXveC
Ht+aIFLt1K9NbQuiCgOBKEazVM/uRNZgUqlGV6Foj13TYPHKYh8tGdZPMn5QZXqn6c2uSJwvvz7/
yzH/2b1YyqDvLnYairyd46I+WNqXEfyKKb4snlUp+BfLErAAjDcO6xnO9e9DoP/4SRbRMMZmvTpg
jb3XbWxuq4xbJLa97vp1Zx0HVV93Zut71lvQ7H98FGcJK8xFk6MrUh0Gb74zJ/eYpGB3UEWTfjPY
X7FzCFf1NCofUtEFSBTvEtva1KpNCW0v+yS0N7oYgtzYs4GUQv2UVF3C6K9/9gpskTMgKgGEpSz4
9cP4x2B0ltlsa1LscHLLQzv0D2U86aj3eiUBpAOWYIknMPDMh4v3mfQ+RMSpwDWzjzWCob4rrDIg
36x1gaVcqw2rzAtXg0lJH9lHAGUvFQF8mEpoT7DOViWLwCZT31Bo0H/sPv96uOeGurOLlUpkGtXB
KQEOWcVlioZPkyM9b9jv60hczemMUOih0rttCPxLFnqACPOhc+iecWOr3WrXoSM6JtWDgtluqdDC
lMOamfsO/u1TVyDNU8enyUruDAGv8Nc3/FUP4CfH/1wJMsdvZsoAOx3S2ljnmYGcaKe7p7kt0RtE
JvrSA32yFizwgmjsJr8fsO6yRfGlZfbuy24Ad6SxY8kkZGSlsn3XYbKcChM2g14CJWkphcLMWBuN
3MpUZoifhR+UIbk3Qu3DVBiPngZRHaGALSLwT2qjRWvh1bd5pD7Fo1qsNGc6uhkNNSX+hxIEyq+/
+OvM42df/Cx1hAD03cLUyoOeRIGdx0fbDg+Z7X3pLW1X4CuW1p94nkdrNjZm3R7VnAki3vJvjCv+
qYZ7TRXfxZ3cbetO58wesBZQA4kgZUA0xjZBa/BbpejwzJQ8haPqqi7U29QwX0qlglzTOYzXPaPe
QsLzVaAwOEZZvNPd5zEbF5Shhkhak4jAzLROBGXNc8K/ARHCub1xplxsYr09OpmN7Fx9zGR/NJFY
8808GnCydS0M6Crc/jr95JZDuvUUsZOh/jTrCjwpt8eYMUvBMAKlWgmkoH2jMWCn1w3r90q9LWp9
2PRR/WiFiUEVgYjGFJm+USiXfd5+oIP9iLDOAzi5k+sWO1MWp0wYO4SF8C7EIrKKzIdfP+Ezg8y/
X8mzLOeozeDavd4d1JECGK/e902PMlTZmyQ9Qy39MdJbsOfGgmpqDV8ObKRsQia87yjduBQqKP6b
T15UilWMiOQGoWYIJ217qMmffj1SOP/6Ws2lEPjZaTxLmX3RiorNWH9QjeHUZrcohxu4uZiGPBZZ
d5VOCJGiiaJn8HlMJVrrVrrtHEhrLkwsi7pG3yMbcDkiS1tEwPgm68WZ21vme8cib3ZV1QeFqwYN
eJB6BuZlYiYRhodEX9wV0m1aPE74MVahPQWQrW5T2znqdXMdZvlaYSdhnzqqV36hVT4CggAZSfSK
3mrj//FJneXgkK1RHA09OVhh2WVUpX1XJZyIVqvjPZZKThC6yCcW6jgzQQfri0DuSpm9badZ81Os
1GKHtD7k3ywHi6BWDu28y35a79n5mqwUm2mc179+VGcjnL+P1VkaVyaw5Myn2wNwPEsPCrzb9rGd
sOdNC+deyGpYFcs7pxqdE0AtaVHXLE6whMRtk8fgSSIriq/dOOnuhsxd+AVmfeH1OYjhvAArOhjZ
RkXnm2XPGyWOvVzaz07XWRUwjaKIFcsrDo2ltqvZ7IAft6m9S5tY2/S4ta6NqGzXNdXzajKLYdVn
4BTtzkqB9FSnBFi1U4VX1jw/lcvmubQopfHNwzCvs1knqKHlx6gaB0aWtGspHYkTjK76us4uu3TQ
qK5QMgwaLX7oPHHdFpnAjBHASK6k6c7QKx3mSK8HMuIHlbYs4tQJ//m2xXBoSm6tkDpwKSTDRqKw
nza7fpIPbh1dx4O2LU2ZXSAbzvEVly6GkvY4F4ovDFCcWLk3+3BK03XdL3W+mo/bprc/tmlLie0U
GPu5PCFdghF2Btd4Y/L5jyf6rI7RqtTu6GjLQ6i03KqS9qJpBrR3hgx2dt/CoxGiAgiQF/O6VcoF
JNmUay/vAKQajbWuCu1jOtX3sWndYyiGs3ZU+b1I7T2oyWiF8I32RiY6G6L9daDP7SCKocxNAGPy
kKbuR+DKj+3IfbdU9d6sracC+29M3j7quvMR0YsrvOXbrSxqQiKSmGzDtcivgE83mfY0JfHtr9+y
f+qYzskS7KAEE/ScEUelxVfalKhLvaS3d6GR7yLFHu7hIVYrvZwsXHhNbRUn+bCTFftZs4icLTHF
Kv2ZCdKFCOd4W3fhW2bz/3jDzkoHvZ+ctmnVkpYWRrpqVJ5vQc3aGtK2EH7Qx30KhsdR7KsWrZwF
eKr6TMfVtZPR7Y1yNK+irlA3ytDpzBagIJYcwjdSiba81D952c9dTlgJx27Zaf0hN9N9lda+XjrB
UIhV03Sf6r5ANWVA99rcGIy1My26eeOJ/UMFfC5VmumZqulyGg5hrG3bNNyq2TITi2E/gHRDaHzb
eAilWc4qHeG4JuGHpgnhoqAjZOSWC7F4BARNSovaN7jsr0Xsz27FWVbl4VtDpWnjwen7D0bCAt1o
ITQW6XgdJkg/pg1zFSvNv2SKc8yJFEZU3IH3wnbHnC3GxEoCNBwUE2o/NEPJE8DGN/aPZ8q8f791
/z3nqWUH+fDQRXa0zHTEY0ix/FWbNO/AY2p2uqg0/FGMTRz3R9h21y2DtpTWuMYFKeg1Q931bl9u
pr6LUUJoh5tW2PHK0OSt1RuA55MHx6G/y9VpnVftW7TSJYT97Kae5b9QKpbjtW530Kr+g9V6LlY6
I6RWBYnNOnvQ0vZxEOQHczIPptk+odeUkUtM3MO6CMK2ctHgvgvz1TE2YubccxP0IB8ZLsWu/UbK
e+27fnaVZynPLpUZv1qrO+jakIH+Sy60amSnouafjaoTFKTiqvEG3F/RdDKLk1aQ7Fjxc2EZV1cZ
1vvZJV1V4UenphjrhpVS6u329WX5VzuC/xnE++dY8eWD/mII/u+g8sGt+y5gLFTBH4h8758S3IWa
9kce3+s/+jb5d6x37HCAaoPVRrwOPb7/TP5t5x1uPsY3mLa5aJj/Nfk3tXcqrD6UjzB1RSDhu8m/
Yb+j1tDQmcBfFjcZy/43k/+fBTfYgPySH6ZEigBrJ8Vkb43ceGorjdYnOwgii1KEL2n9Zs+yvP3n
x3b5HL7899OopIoMoHijt2XHVVwLU1WOTutOH2zN6sVJ0U37k2xbzFnKfo5AkICS1PxMraJTJQag
YaGq9theW9qHyJZii9/C+B7DmWozWPX4lJRVd1nWZncRJZ2+rVBuuuJRlLofysF7Y4bD7/pZvbl8
i7O4C7PMrRazoq2miS9m6arNUbSNYqzBpuX7Sg6RBde3hpTWTzNUfCcrPzaUZSt2+s51pbYiQ8m3
6j7WhshN9PTiJHmBGKKUWzIlvrVhVLeSbd6Y95dOPqEsOCnI400+AgSY0rOR0U8MeaLLuY8YHymK
4zW7sdDajsVvmm+yzIlAcpZGdDUUPaM4OFTqdaIDx1ArKb+UKixWgleJyyIWaR8A5jpruHa2vgGT
btJNUpNdKRaNNwTChWg5MQp77DKU3uk0R2daz7GnJLvIbqoLWGJNto6j2buuFc08IqwBJKgt5/Gu
rQcYQgZMrdrV5thXI826h17HEFRvF5h1CgjwfmrN4S5pOzEGUeLJ2F+gMzAJeuk8Rlah3ZhIBT8g
jEuT1ugNOOU6MS882QMnHqXtbF2nMrdzhgi8n8y9svKi2kzWjZvriT8LMV7XXoI0l9HXIdjLsIKX
oNRjchHaOKc20Gd8rJDEZdF42QWDgCL1w3RugALCtrSKOn7S8rTZSHCTV5McKsDEteJs49ETz0ar
5gANoHbNV0nWTsnBKAzrQWZ1s2uNfhGZx3cohdy2hzcrj3mpFBdCJOK+Zc/w1RZtVK1YIkBXyK34
ZbD46r6Y5um6KAtdBHkqGpSeK6Dnjqokj5U9us8KJ/AGpjeQaqbmV3buFleRSUYKQpv1MeMKczg2
iVZflEVVTsBfUcPIVGGekoH/pyCtdcG003yM41xL/DZKqhe9jMcbmxsLik9prINdeNGFGWfGQ9+2
6XsDa4XNTFmzbuWIv6XVmux7FIANs6eMn2hU42PGdPNk2bXxYiWR1WAxvYDHvcQ9GLUXgmpPpmcA
uDD4Ik75fiynCQ84S16JQvc+FWGSHVlAocbgNiCfVVEjSG63p1aUQNS9yEabjOPByLSbG+wSE/dW
SzT7iKOHxpQXpJnSZ9a1MVrmIsvpVrB4B+2lFlN5C5myyE9ak2ALN1gxOOikiybt1EWueaPNE8TU
oGuEe1f3XRFuvSZEitVuc+Wl0JjUI0JgnVRT0MQOy6xOjuGJf24/S1ErWPYkQO0bdVi7/CEUWR0W
nY90YPloZLi7xxGFgwrHNlqFUVW+1OA5yg1KHfVdX5lir2uw0JTGAXWqT6G46syOrjMeuHmVowWK
EuXXZebxOwGSL8uVlJyPGj+aKmPijExM3Pyz13XTtYK4wc4xp3RVzP+PuTNZblzZsuwXIQ19M2Xf
Uw2pJiYwheIGAEcPOBwOfH0u6j2zzCqrHOSsJrSgFCZRJOB+/Jy9107qez251s6uwu5Delm2Lq0Y
05ily6sXDfN26irnDHbMX1s56SCsOmQDIsRoRrJa2qY9+vHsrSpDig0a5Q51Te5sdVSLM4zi9pdd
dv6zHKknEZ6ojDRon2Po3KPtM1t9mQY9vCWGrf7EsTtuYmENbzrM9a/EysQvNRFAxJ1hcPnUMa6T
0HplNFrQlG8V/WNfWw9JP24GDSsxXwnZQrVrkE0HbYW8fyiL9qPOpLNN+fDWZhZ3H6Juqm0sVfSh
HCcHTpMMQq10nYidanAZWFaNy0ergaVgtv18FzJjfosoipeTG8fNsmqiGQ4XQ4xdMEJk7BitccYa
SIWtWO7WaSqZATYyu2dxJpm+lWV2q12cC+umthwk24CzsWXjd2WwOwGRcCYfg3kZaVyFsmzF2QiG
BtvqXPh/dJfJ7VDaJqO4wGMmo0saEQknib9j5XY7g/ADaH4+8p/JrVBTGiHegxLBKy6naFXG9I3c
yKgLCvl+vEVzKL9wATjXxgijPaaMjiXFrG9jHLSbWkfFrWHJprma4XHgzPI9GcL9p6jwugZkn63x
9bqHSXUh3sSi/5xDM8eeMtTbqa30d206dGmrietkthM2cNeuP6AUZk+JyLJDnPTZMeocFtwuTNE4
ebq1YOJacjdXHhRts3S4q4zkDSOJs+3UZO7jUnS/8izDuUALswLiFnp8FG0lzV2lupzmSDKZ2GTM
6HdGru5XEDvda++OSJaq0dmVUws5siJ3fNxQcrmnNKuCv7kq2+PjqLpHT9Ps46rJMH3UqOhnQySf
djIOpGn73i3qW3ZKxTK7GHwk26PsUhNHMXkLiCqDY1s3A2b6XgtoWEG/TfGJXAGOlwyyAnkA4s6E
qHOZxPadsCIMHtW0loGe/7Jt2MYim430qgKrZgtV4oEl8KptUWTqYOWRr+goBQCLY9NwXgcx1xsk
AFxS8awudV2X4JXK1AY04rer1EZUQN3Y7Aufay1oTVMsGgTw76Us62UumvJ97FT5YXskzJqJ4a7C
qph5Ra5Ep1wJ/Sk61jt0kCl2nIe2Il1aTupLUHPF+FbYjj52dtHHiBICvbHTfFymU50ekjqg/vJ8
fXJE2x7qaM53lR0nv3Xvq7c5NfFY6Hja45yPl3rE7d7PVfiPjYX5PGL5RtDrpad09vqvUoD2MqKk
/y362diNTaNPwjBqtbDoDL+0XSZeCuHGK4wIyDQY2itU/BmJiHOFIHhAxZ9mTfU9e4XA7GcQFVAp
kxfmBNla9F7ILzRJLPEY+Ww5+2PsMJtiTdTcwHtlt99SxNMHnjb39+Rk+VpIlV3I3TNRwfv9i5+E
8KQK20b0GFT12ugbHFa8JSdZE+yzaGo322TTNO4GYwheHPQeamjkqbMUccnVFG2TSFs7fxyqi3CH
4ckzgnoZ90O798nqeXH9PD9nMBQ/KmVNhKl36pCBiNhH2g0OWeHXTzJv/DffC+d4kYRxukPWh9nE
SxBMOINbMDgNLOubIJjolwq9eVvFI2mmth5OVdIyY8D8gMS46+TJgBaxbTBJP+ZzHZitEb7vxZfx
8GtAKLNUw+SsjKyL9NJvWk2g5qQ3VuxFm9xC/730h7mckPqHI/1NBkfwWN34mfkNaWoqybJFUzRq
Z9dzcHSVBddhbNpHF5oO8cK23PiDHDD3ZLSV+zUVSb1uROFs7TF4SLez+WBzBl1EaUXyRTiBKTA6
W74TzIujJonK/M0NrO4T8Uz90vk0lBGsBNspVejAu2k+hMMYsI/C5Se6kSQ7V9sAB5q8T7/Cqszz
jfLC5CB9r4rOKWo+j/QYL7NXpWe5V1eWuvlbdqH/m/yo/n1m9VoT+4LWqSbe9jNRc/WVt2kYcGao
6m0ijf6rETL9COh3r1KDSYWMooGiftAnq/HcjTmVDl5OraaV54/pTbvYtI28F3urSuTGshSm/ETk
2GiAn00orJb+lMGZlUmPQCaGz5GRNlQ++M8YDIJnSzomNy/qUDLZENicGI7VvwrDMbDIC28BGEku
RENvp/VFfB34yAMWt7y5aL91P5SQ1q5VaiAfVMw3XxfxMpi7ekPmiLMW0Sx3De3XdWcDEkEPjHfp
LOo5/mJQ5WJFst3s285r+8Ke2S/Dcp5fDG68YKm0L72Fa/RkEmEJJCexRCbWwz6s9wXmAXvT1bO+
+2WDDrW3Ffa12DHHu/ZKMEvCb4tLM7QJV4ulkksQF813IbtyWHiG0b8oXEIvdWwRhdg4tv9ZGmZ+
N+dOr9swiL8ao2JX8XHlHMo4CD/MLMUDyFYLgtbJqnXjqySkkg3lsLe90SXrjqTaPDK4jQUWILnW
blp+Bf/Kes/yPt8YeTGcgjip99IS9Q3+RrGCJxEdu2xkffYSYzyQnOpvtI7a18AYQXfmY5bsAuOh
p57UM4cim+QaomsUvDoOGHORZmscbPaHac00+40AX/+ew0NyShBY7cLWagit9cI9oeCxubC6AH8h
ODfPQoKGQ2gxRi68UEcTki7VyHZaW3VzjZH1QmWSISXfOMeoYq3CCG/Sd8p8ZefT6Cy7oIrcRQ3W
cELdoYN4x4eY5auMVRKPY6eYCBhtn2QgrGbiBQYZu9uOxpnetEmUvZTtYO4sq3fudlbIGxEh4mBQ
8d68oGkOM0FIOFhVWzER9YuK3nPjws4eKiowq14rrLDLMQ+qNerA4tgwbmW8NahjLHP1FeA8PGUG
yvysLP1L7hGMSHmI0Svt5XCePSc4uGFpbz1HTx8psZ07xRB+mXlpealQXJ2YTzrvY1v7z4FRKmcp
I2TpETgTpPscu3D6ufXOLwW13OC5clMbtnOsBnq1G2ee9GtV+cHGI2z3loRVeqp1OpzIak6Q0QbB
Z2C67R7lB+Q6g5zy5xnux3FU6bgUUNu/2sqrvdWM6OJcMd4/t43XE5ZlYdbFFmS8xnZtmgsQ7jbv
nawN8pri6pd0vKm85CIWxbnjENosIpxgtI8HsQ100q2czC79hRk9tCdp1mvHXQD3GJ4lh5z2zKy6
nbaaKhCorSmGAeW3iH4n5DThtAe9dRsSCM+o0HoBJX+kdnPN4drSJVqSJwG5uTXc5u+Q5sXd7FIj
wGej843F3gRkwsYp2QicPGGeyee08PC2Zal1ZrSNzkS1qf0RN7851N6dKir/6bpHfJ5ZlHpFqFxg
Lmfq3WfRSvdvn9CeWvieDZTWDAPqmj6hodhZ1/IB7vS8zvnDNTFYaM8Jwg7Ivv1kgTWe5gEc2SKd
4/qJEZ16HhKFO6VUgVhk0g7+kk7ZX3rfGZaOYabLHjrGtS7jfmV5WXGhxva/2roTZzwYOY0Ejsn3
NtXeRpuTX27LsXDey8QnYrTFodcvOJaiXSyzJHkRhWk9o3nMnsc50ay6RU9pLSDd+Qttyvizdbo+
XaTh5DsLiEjZuEhm9yEXpd7uFpY39b+6Mm7gbARDjtUCbh2u1E6GHx2noCcLYWVK5hKpKos+1rSs
ct7bT24F7KgZWgIasIZAPjLB8RE7XLve2nfn/Fq6ybHOs3KTDb1HFu2osGMkSXNwYifcsPlRaBO+
HVONgIfLjZEgCMaURzXLhJqoGWqsO3RxPsvWyO6pmjJMr8oiEZoJHfi62lXNMsiC+c6i5bzSMeqP
RhINx7k14nUVaXSgGV404gBy4xriToUbNYd3KqvxOSg5/i9qNyGVBo+deBG9EZOvOIcO/kZVmxw6
XQOns50G9MlZqnelZnSZFwZUB6fw3jl4FDQ3gJWiRmQM+A6Gh1c8J+g+WQpxF3tFErHDxJiOOoCb
F9wgjE7qOY1faiHYVvTYDAVGgaYYtyIs6r0Gd7dzUmznokkGViVdXWHoeQcOxck3xlP3yg44WbBR
HL2pWViLvZ+YEbbNNv1tVdHj0qD32q8bjph60eetL5eenKanvBrzc1LAzxlc29zppBxeyI2gY1RP
MTSgUAPv59rjxQ6FJy/TQy4CmIyNwOBe23PQqV+ARc8rygmut5Il3M9YCVk05n2qqurNU2mxIps6
WMP67M9lV/XWSjXjEC1mkGXnia7hg96pNrlJh4WPOJbXZjSSl1ko8PhuFBy8pKeGSufA5dUXSX5p
6izbDU0S/TM6cpDE5Fn1poxtViCWTfOXpH2xnh2j5SdjGmpMPW1Sz8Bo3iv5JzQ5pbPXg1bCFB5E
vwrLn3ZBTyNC+HiiDXbMG8M/R/2y8PZy69dVuISeGn0VIo+DDUHGCeTmPMBdHreBwgk1143YFBO2
9UVkz2g6GDihZu3akpxMzsL6EOJqkjApgzkAfm4XA1VWOxECXVn8BaJT/A5qdS9GloJLnKNZtB1N
ExOMxidb4TgfvDcrap2vvM7tVwkegm5pTbbiMnLouFkGksq17Lv03Q31gzgg4PdzAEvOIuqbaw0Q
buYE3quIBicSgmVhAitG7pWRisztNK4Y5akbOUs1C0pvX2atXSxTvty1YawWyggk94mLpWbG9LgM
+NXXrvXkryks5VWkGl6lzKLsQzqDt3GtQn+x90/bVtEzSDMOVjWSrY+HofDuulUAGSr4JDEZEVE1
eEyj7WE/TFmxhszfHAZv5mRnMp/F9yTPQR3YoH+MIm1WBeGgf6eRNsSWe6YdF3YbQd3oKSCDBa9l
Ppk+OdsY2XzjWpZjfMjRNly0E4OiLPrROs+m54VLv9X63c/qIdxx7plvbWEx6g+H8t57LbkkjQFR
oS/ilzHxyl1bRMUqyaTMFh5S7s0cRmJjRkN262tYGCiVxicvTs1N3RlIlrJA6aVbaYdOuNkq6BeT
Y2y11XWUh6XdrcB8GjkyQR8pNmplvchVhVwyTJOO1hqXxmMTtXz2ozjg7a7QtH+YcVkWm75gDtvh
CJ85DI2Kxsscs9Hw1hl715nifUTP9DDh1N/OXZfRuLPEXzgz4MbLoGrexTCbu8yUWBx1lbX7uEPe
zjptH6Tomt1EIXvsZ9NaDvyxfzzJtp0VdrslRFP/cYMh3lODFX9k2+W3ghCh1zmYxKuX2uU9LZLi
yHx9ekFr4m4syrRDHzTOn6RLrA+ZOCnZxGbi9Ozqg9p6hjJwdXliOhUu1vSxKj2qxTp7TNlN1t6p
LbxbWATBijM/mbue2axUUhkv/J0OqKrUv/sj7czeTfvdMIf0RdVku+eeGIl1ocekXdQ2U1gBNpK1
KbW674zFFi5DhaBuTG2nQGCEfpjfNIiNtsc8XjPwLJ55edE/0BOGQxHU9c2PVXFqorY+R9UouO4z
rZZuQs1VxK6xtXNbLTOhwV4kFbBtfwxu9eiS4+C3Mbvh1PXUNx2yg0uWiOB3HUTNOQkQuENh6e+p
SVPYtmN5dJMRDeHkmcmqBK5PSZNWx9LwepIsWgumBGGWszPZhyBrwm8rS+CkRVliP2ED6JZ2I0qH
+zjtSNkCxNdbRvltatVs677qV65o9TMFqGLxKoplmZK4ZnIsXQ3YIWBBzGa+bKRyNj1XFD3sPAmP
PjiL9RwEORydLGgf9QxnHStrwahHTbkfMhUfLK6FN6QDwZ8+0tEhAFSB7jTzt14Smzd4UPlVl8ra
eEOEYp/CuPvw5nb4AMWBBK92g3JvePm0VIRMLwMHmFvlFf5LLMB+AWnVJ9mF+SnrhffSR864moO8
2pPkLpZM3Oc3cHT1TmrYCaElzZe4zrBCMnaT5rKCD3Y2tMfET1lhjPRsjPV7SBIGedWys1nvWv9u
Vsb4zSFducyhEiJYQmyp1EFdCaW97oLwIqPawYRDFwbDvqH6X3pIqOZr0WWrWZswdTxGWvEiTTLU
iRACwzUlKKC9plTrXMv4i4qWRlzCmeHDYZjG3KpVLtjouP3snYIY1K4ttmzRNf/TcU59lQa3Noya
e+OFD1NclD+J0YSiREOzfGmyvN4ZugEYUijfe2873+0A/U2ph/CPm2epGmY4G5qvJoihYnIXvh0S
wvC/n3//vyfb/32w/T/Cbv+/HH8zBP2f3W+vMH+//rvnjZglnv7wa137Pxysuq6JM98m/eC/Jt+O
9x84fSMrdDA2R/4PwvvfnjeHobgVWQ4RSUCh7R8L3b89bw4/z2Iw8BNlyXicofj/wvOGnuv/HOeC
MMfhSWwdLwIDXhCE/5eorfRFL0zqJHo512ZunX07h8ehqPNN53TmURpTeq7GMeCQ3Z/dtkhenSp4
7nLr7CeO/xr5jwbNjLYsUu7a4558E5Y7bcpMM8iy3PCNcSo4nAEBPSf5beyI4M2u3W+Vi/CCmiN4
i3KxrFua+XDJ4hfWFtwj9RUpcvLMBe+cTbLNF6mdem/u3Ax7Px/grz+emiOIn7YHIJvlw7WIeucN
0uG07EsX6bvwnbepNP8hvW66/HzTkNEqMCz65pnhr7QQ/S3gdzc07N+oHtUVC/ZHmHTWW2m6zXEK
Mk4jjweYpQSBZGhTbaFZI3oSEzsk2+uaUdtWamG+mV5TL8MsCA92EXN0tbtblUOumqPpouNhemP/
xeabei+gbeZ7IsG4OdGF2JmvjNyDZ9upz24jx7dmsPtz5uGp/vfTKT8E0HaW/YACjmNORtthlltJ
avd64HO4ko305j9eFwWcsf35u6POjhbSrpxj3bB+c5Skf0/sQmtBapR6st+86MsilvdOurP7Irxm
68NXeSssaxlHc3aKg442hz2ab83U1ofGBZD683d2DMa2dj+4cFDkeG16613L3FwVqOZ2iQint7Yw
g4VL9/7483dPrv02Zt58rQan35EIYq8eR2mlxvhU5+Ov0LXS+xC9NlD737zESV5oF+1+ntESECvD
j5J1Xg/vckqqt1r04al5zI2GWVZv4HScg5nCHegfTwlz+MUgYF6NNWnWWvXFG+OlZlt0Rb9GMlS+
1ZaISG3P7Q3c7+ItLreRyAH1e8m8DWY+GMZ9TPW9Td4kWP3pjdznOJzWTjQ6K1P62yL2prvjMOqf
bA4YP/8jLCLmlb7/BI/MW7P86rsblWIbdW61JmRzvLuT427ThH3452lZMITwWzi+FarMVeN5wx2V
yLDP4HjRJy0fpghHHgrEu/966kf1HeaysaEjQR6hWcp7Twv9NA3Ui4Oc5d12x+Zi5/Lz59lcV1vD
7a2T2QQXK5P9vXC0/dyW4SZrk/7eEce7Igsu3Xbed9hV1b1v3hDXR68lm7E/NhPNo7S8R50+YK+b
n/71TPRfVhnLs8foWQ75vTKoFx0E5cefp6UugyWTb596McjvpJx169FI3fUEeF1ZQXaXcc6lBsR1
VXa1uPs6sfZRHHUo3/iuXdr9iWHSa6A8hmdcGElTOFfCvC6zUXOZ5Fq/Rs6ff30r0vK5m9zNAK02
11n/4nS2cROkDzm5I2nG8IzxgMM51TQOpSiy5xrStJXV7QqYqLENPBET7GVwEHw4WbNhjG9RzcdQ
ugbyYTmkz4nvEErnxyfHhZNmg/27xZzrnht+r0HFe2vtPLy51mdNstWTDQNVkC54Y0L42hC3eEkf
z9C54n7ttD78fFMmrENI7JibUcnHmefdmqLztxh5OZfyPZ2HxS0vhLgwBXlVj2c/X5JTs35oSxjd
t/nNn4sWvkqQ723Dzm9U+gFylGjLgNxAWVyqGxv8JoMOfQhYLMPZd+SS6EgxlOZrXKTDbZSMWmOS
sjkDd68lWuyLQo+xClhdt7TXsQwDgVvJTmXLolLPXSVuAOk+usrGV6YIjq2Fe+ds3aDI3EZagQZJ
I/eeqxcnjOebQX/uDlcjUHN4G+icPo8pvbB0Tbo3lzMqsbu99HWndxiQwvUoyOrpG2Ec0lSXZ1lU
PSp085DOlnN3m8e4o43Kvxk+zkq+aCPMaSp3GK8KgRPObE4/D2lhZisxjmKpPa88kDZeHX7+FRBf
nyByP1ikXB4n4N3Hn38xBiFi5fE1ugf23rSa5c+zsPVx9JEKFthFfioqzsKcNA9hrvITPeYzaVHz
vhrc6Gyr+AwU2DyMw5ieXPfTHLuVUQfls12J/ujq4D4wN31Kir3Ipuq5LGILcELmEovbMC9+PAyt
Z7ZAa2lM+KiNgqR9xig57jsXsmRrhvmdQd6vJCiI7PCKbutRLYopqN9z034gA3mbsXTrg8ricJG2
ldOA6zLk0Xs8jDXmIHfy+OLPcxgO4x5N1RZqWLNOrDDbMRKW702tkQpgbL/USZ1fB1v+M7aLSIz5
eyzM6KIKRJbU8cN7huaSxRwOYp7Fw/vQbDSoj6UFV22rsmJLD19cVVmcVJeZlKAqXRpxjf2s1u60
JhXYW8TjlJ3nLiRhIx+aXVXWt58vEc0OYxPR8aqOlXv4r4dQdeaqavCSuTOOQdtuDaCovnnVPmMZ
hlTokgsMZn4Tr2j0ZUeD5RtgZfqPUPb8hV4A6DbDtG2iiWBvBYM3Ys5bNN1DeXZIF4QP01j9ydTX
HAfiGRwXigcmerEVZdtRD/M6qn0IkFVQnEHmbSK76blo6gxDo5PXe7+17w4eOxbc3qHKxtagoiDZ
xbV3LLDhreYxMT8IlcXgKCCXToa5Skelj9oJ/BMxoUevawpATm10h6+Y81kuLAII7yN9r6VrYYzE
g3tLGYEupjwdf/WmfBPI6mjxG3/mTeijK25oT4MA6pmNxxErmZ+uq8lUi4A347OugSx3lZxOYR3B
8RpJtW7w49IJcuedcsUuI+93w35kPvk9G6ksppYMvjFfIlka3y28jen8jWgu/HrgKkO3h+eiyq/5
QYvkoD5dpT36+yx32q3F1O+1mqRamE3mfD9usByzZ+JYtOpptUzoAhdZ9buwyYQf8x3YZjJgXclx
bICwNKzDObl1YLiW6czAmonC0u1SJkleP68NM6ig/jRAOH0hV3hSGEUjAqvb2N7Ow1IoC6GWJ05G
VzdIT+ojMmqI0lO1YSSLD0eRdQP2vKdX7cGrlDTPe7xyygzWRoFSz2oPhYEcKi6KD7vQL/QiIHmJ
hQhwxslhBlEGU2dqjL9+K+Olp4oX13Z+YVb9m2T6PvnqKAf/3e/MCiRXScsKPPnUubxLxbV3u42R
DcjGnmFnM2Ky9euUBt+p4D8azZQ8ZIDncO7VgemuSwoSnxY96fdReeYV/hcKeGaw3uhtsLtQqeEi
pd86w3MkpiudimbnSjIdUBWsRgQegHvz8MkGndoB7cetYj+rzMX8SRM0HF3CvGCJ70dQ/XZvf40j
dQAFSLdH60M3Mgmz9ZAyCfBCW1BjpPnFfDz8/EtHWAJ9YeMiFZQOIjLyC7K5/BKaVn7pUUGtzJDZ
1Sy6/hAwSkE0Yx6ES/xuNsVPQTeNR5aQDb3XjWEk/TbwixWSYQDfU2OuWiGsZ3cc39kJrBXTOiIj
BHdXWvcSL5ErTv96oIXVAN/ZiMSmzdXLfz/8PE0qRiWswslKeHl90GXJONYtwuqQxLvJmt210wqU
SIiTF8Y8i7WY0osbzjumwPASE5P+3UivYCowNJjfczDHy0ZVH7ONVAYqR/fSyYvWHUwEewD8rvz5
0EyrYSjHnel7pxGh2dlrYaS2JYJ410rsdSghI7FWlMv0gQBGVNYNMHLd6QxZqwDSSOpQ0mAJ7qYo
3ajA5OfObLn92LnHPM5uzkjPLWAIGDaltZQZXS5BG5OVKDtEiTWstTDONuKgBerIaz3bp1g2kqAw
pzhAkyKPGg1rj4UJrSy2MImTxdUdeloZb+bM/U5LdBWGNspDPF0QNn4xiwwOUT5e+jBuX+j9HD3v
GFv5tE5ajeTC8N1rDvR/BPW5T8SAyoe2MrkM3XPOXr/XE1ERBhfqwkfmWSRqM+FV3UhFnkLQW9bJ
Ddk20XOKlR37aiOQpK3KMaPZMuNJKmTJFeqyaZmD3LvzaKyKcEkB0h1VjGINN1nyVLAUZySi7FnX
Gdky1XrzZLaU6N6ewl4f+Llsv3P1kpHCcbYUneS0S3u2f3aE1Jw2QFTHi+3h9DGQP216p6aTjOZy
PbV0WRybYYua63OgrOrakuKx8SwmCkVhH5IZvW8AbdMJ1HDKkuB7cJR1nEtEZlC+mVWUNgetsrtL
8DgHP6YxNFWgqTExuQf2JnHsYv2GHuQxvG1SwIFTta6Cpl5bj2Laoar2rBtZ0nJrzqR9eDmRgZ23
szISUudRumuIfOrYNDaRF91EREz2uPsnZqCd0XJenONzprR3ZAJ5IilRHsmgbFbSiIGhARE8NDXR
coxO1jGZE0hw+/hSp9PHY0S1m5o6ol+PJTDxTUyYk5Q7OkeXvPTZlSpEoKIBpz3jCtYFDv4sTNSe
gsssr3k5R8efh1irEeKqqTZNwtk3pVmybHL+SjqLnMHGUXEVEUPWFP45JgBkS7jj73DOP8JB5XsG
6dzFwzxskZJ7VzNKPzOC6Ug44Zq0U2cEA271SztXlyyyFT7IOj39PBjtuEtzJ94anbuafay+SQ0T
sLWI5IuM1MJUxfganMlFDo/mb+XE8hBlSEo5/eRFT0chdBUhF1DKuwEWTgVeSiTV3uf9P7szLhg2
e0hezC0I5+sQPebVS2nEt5KNeU0aj94DneXaTtoLY1SGWxjwdizzSPhtfTNSGAGiaYInNteL07on
PQ7MPRDALLMu/K3a8tKEUEMtiJuLkekVUtP8xTc06dV5dwiq4EyJOOMwF8cWxcEJht56iGRKSwWx
ceT3Z/ZFAIBmgMJOrVPHbZeAaPCjQ8qaKWC2butMR65SWbTpxTDNi2hVvmsn4gVJTzl62lYr6wEf
7rlnbCsaFxU3DnZltQ5t7e2RgxbLvnL/wsgvEeE/51YTnbCnQsTI6g3le3tm3kM1bCevHKMAorTd
ckT9+JT2mmn3TM+m5kRJH6Ox5b0cmXsEnNy2Mi0uNO1XDNYfL0Fgf6Mbrq1EYEkn79ZUdCQyTeZZ
PZEx6o4wt4NnkfnW1WvcV5ug5WNuhr+0MedLC2EISj+UGLPJfCzv/afCnKJTn+O1pmc9cPBF/UQh
qPPD1HSnZrKJFCoQEg2VTxMexKKa831NcvaiatgrwlecqEBccypDY0yrTSoqHLZNaZ4IJXmd87RZ
GxNHNd58sRcWAImcibI3kTJkOcgTyXV5YviXPAkK/nPZppQkTsJKSTL3mHbjpUEmuoiJOdWeMk+p
tzF9c15nPXp+iyyOMfTyk51GWMp6ci/6VDHdy/oNAR3tgbSkbRzO0w6DRLNLPNJLZNRdEtPJF9IN
hw0WgfzYl9eojejRD7G1rd3yuWN6/dQP+lz4hb00LcSqceIj7df2Gezf55TaX7KgrxcXyJaDZPwb
1ta4dlTzT2hoAsUd99gKcm0RgywTml4Nbg4OAMGyJ3y1N0lHUpN6f8RE7aC/fZOsgwknZWWrss9S
m09VCTVbYjxGiVBb2EGScylIfponLm47eKbkvxGG9FshTkZZpZNn4JAvtMN2BNU0K90A6tWu8dVl
FJodd1TrEasNvBatu3SaXT5NelGUhn8suzxaegwzlqUgjcToCQxojT86m8JLrat/P7zgMJl3fueD
jArL8MVNGuu5d5+0yZJDJ6Zd54EoL/hHuUP6ROydENi3ytephPYuEp8+Tp/eDbvY22V+sjq995uP
sA+/WHasJaOgFaPaJ7IG5dfUMUGWxVvrxMx6jKuo/pO589qNXNnS9BOxQW+AwVwkyXTKlDeluiFU
2ip67/n0/VGnZ0bFo8zsrqvBBja2QTGSwYgVK9b6jQVkSRqdotWfcAr8kOQrrjHJepA6EyfA+on2
JuoHJlyhpiA/MuqVjG/7XvFNY92a06YC9ykLPxp4/4MebmhSPtbhAL49FB+kNqxQpy1kWxbr31Eu
P3cpv7KQtlRErZVfWT64OpwGAUVv6XTj0kp/QTQk7EwV+CFawQ2jkqID6wgxQOpa1qy7nBlAqOuH
3BpEW2xr0aWWxZfSyZhMq30q5BHzi97/aXlKv4UwDp1H3CoawIhcl39OHlq3SSwBspeBe6JVI8gW
hlhdhh7m1F8FYJa6EoHkOkWtFVJRtPJLQN9NIxE7lUOhlDqC5UgiR8FTg+yPLXscTWDfajdU4DFy
EAFkLWyxQAirrZIPZJUfai8cGQOlY37nSk4Ned13Ki4a4aa2jJkO1L/iuoleZUdAtXaSrN7pFq2k
aLyiJNruLACMcvg0DSUl4DgH4wjezelValA6/HlY8yqa8mm2L0cV+6OJarFAuy9uYSCMArMNBOJQ
TJn+kgr35eQ9K1NnbIDx/fCtEbCbqmOPChVqkiV/M8gUVsfc8ZTuVQmi94nrl13L4s0kNkivaAdK
wJGHj6WQigAtsSdcKXL74eM6AP74ShM0easZ4kNpgggHxgtapfhZF9p9JGTSXpCsB5CsH71AqE+b
LrbVyEJeFPlv0+SSavKnQ0n+iHQq48hbBIEREg3McC1V416vEEzNW/+qVtAFg7gPbCFrMbuo4MmH
Ej3rJndp7kMfpecoKT43SYMgYWqr0SdhS/sUJAAN5nXsT42LVsfPfiz/aRuNhimI/dWsYWTgcqW2
egoaOFGdJmTT5SGqeSQESBNUyJpV5XEUcSqRB4zUJr21i0nxHkQ9uwskRGJiOCUrusR2Jm1BNCPc
n3kN1mr5C2pXHVDh6T32hmuxpfgdl9KIIW27boCrbDHWiPB8sbkohLZkedzjg+QWpyrjUOjpfjKK
fZ3J1o5gJHKbNgv2Ec1cveKUsQS7oo0hKea009WthWUUvkykjkBbNTmeXAOcouRV06EWR8xAqvRl
Ew2NM+rxlZX0AvBKGCxVF+zEsIS0lhFRcZ9pbVbmy6BSQiKvw8W0aR/EVO52epXr11QROmC1mNnr
Qp84oGPv4mBrBsGRVR4CSCQApymKMZ0ktaRCqIf5SuSWnXaPxAKkatBdNFJJryMh3gZKkz8A6pEd
uqH4jObKwUs6yZmEznc9Obkp/Oqtj1BIn29SbZldhUkR3bWC+dHAFd97nQEdCGhmk8BQ8YH8QSxe
DzgfOqM2TusEzssKwSiwI10wOWMIPAZImVsXrPcmy0xGuk8yPXBAPrOti3xy5ClZg+wp1jIlypVY
t7AKY86umSgvW/WbalTPg8z/byDzIyILzSDwcTbJ4WmgS1HTzzaxsUO71tSMN9SNZFRlC/S7lOol
8PSnJqdzYFA8t9W4u8N+zkQOEANmHexWqSHsFN7UcI7Ij4bgOhuN63zkO46FvzEy/JLjxiKTyjZt
oIFI5WIOBLLuNkYco1jnAY6e4CHESMOsSj6aO6QN8NoyuRWiMKcSJSe3gXAfWNZHPsbECDknEI4j
aPO6fg7/ieqRLZYJqaPrrYDadc+MIvdky5OebWFGlQ+hnGwB7oFFGPPXMW8VO6sa7WhyNk4BBUC8
y3KqB1p5RT2GMjPYzrBs043oo96ClF4BeA1QU2xaFDHnvdbgm1vI/pW57QRz2PuJCERFhMMWp49c
3vNR2Q5Vb60jTyk2PviUVQUUdmxwVbT6bFq1lYeW0ID+XSK0rpS3OmI9urduH4q+eqDeLNK3ioO9
Zeq7OtIHN/XEYxtTaIj64daUbyWFS3bpo2tkQp2zmzbV194khMTzNt3qA0WcMSv1LZWFDz/AjZZD
Z42KyHSt6zUawL25AoOX4OmB0QxIEizgtO2IXBvANcRNfL/awPUgm2m4YDXxkF/pU/yuhsaIAZtk
K76erUF9wslL2nvyxWoXqkAkM/HWyAThKRHAS/Wy9Vo2scC2MWTXVxVtX8LMEMT+Ict7fQOyYN2A
4lrV2Ig+JIk63FHPxhljfBmHKrAnQUmdshI/esmfs5oWkSOqA6ZsuJLianDOVhmVhGsrzN12lErK
9jRa80IF3YIFtkxWWKuev4ISA04uYtdm5kv4FtGWRAzE0LeUcKleqtWPHDqODa3okCsN1g9oSWca
KH2r9AoaZkaJmUPg283UHbyh2jRioG492j0rZDGVNnn1535ZGXp3RtmOx0y0uP7XAqBFc3oTusCJ
wl5BubSuuBp2WyNulbXR+0dJtdZqaJqrtpPvqQmMjuKhUo7qP72HcU+eObgK6N+1ko7/dJAH8e9F
S4mkzlT6YwnzByB4FbleDYkMlyh0+ct7DVKhq8QDmPqoeQly6apMa8RYQhw9AhTDqY/zPkCQDo0y
sq51LkJQJNmI6J4hR3KM47Rex15Ss4xpJIMSopckovha2KPwT1aor3k1HujdU5/Qs6uC2LQiB63Y
2Ci6JZX2UzKi35nVooiYy/foFE1r1HUOGkPZA6JG95nh1VuQTeqqlaoVF9rXGIo9iVZCEV2unRD1
YllBL9qoewpO3RPY1HaVoJcETDxfR3EcYjvFFcTfiiFSURBv8Wdo2FF9X7rzPtoC3z5knQ42NtT3
XRBuK6Q/SU5zfwdFKALtBPWiHBUFflKdQzOUnjrPi64QZKEuPh1Qb0IGdYb+RlnmZBx5rofGkNCM
06bTBKJVgEAcBViTvCPRXyuFwraP3lhR+9YhGvlBxDRy20FHyM9zgGbqV2qbGZgfBVuLlBjwuIHu
3NQobq3H4DRb8TfI2wIesozwij+Dr32EsxEJNw3IdXx5YMQJXRz0Gw32KL1jGhATbwVcwkF3uKJ1
W7WwSLLJTQEHg9esMBgv0RCvqcXX2W1MVBI0mowy1yxfPcamku4tIExNhakhh5OxLbEZnSxKqG3B
menn3t4VZQP5wUzEqrIS72nW9VsliV4rEkpbzkg1uEXA1Jwmc6WUXse2RU8HQ9nYblWVC4tUIuht
/BrEcosDDf3QKSipvk4iK90CkhVz4KaD9xhLV6pV6ncJLC1w//d9qcImU/lYZuI7EjGWXMy7RdQM
g9gEoyMhvxNpEl5DcahWhdXuzNgiIR4jzYHaHSQB0KDCx1dqkrsDOrC0b8bksSpk+bGGFqtKuQMB
qMBSadVbWexY3AmpmwOetig8daFsx/Ro8UgSJhjIfEjN8K/7XLG2ccvKiFkNm0ERdrh2GFujFGaz
p+kxrcvWpZ59M4i606r8NKNNTadK/Kd2wtg0N6CDVobiUm3b5U3kH+C1yGvq9YEzTMWxaIQfQcEJ
m04kZyF2dRC44CrJMIQHHxw3pNI1duNP0iw4HJTaG+Rh7DQb61GLVbb71FxhZ4NFGRYa/aTeZIkR
k9AXDsJGnqNT8fcrdr7SkcEAucURfLjxqQ/WmAffd+Ng96Mf31C4gJPW1XPB/JoqFuIhZNhen7yM
I3mdVPrijo7RsWx4J33UNhDl4JEb8cS1TRvcQqnWVln97CSKGibKla7S18cInSXXl9Nn0ety6tje
SqumbC/OqimlaMQO7JvHWMTUgNpUc4PNJlWYGnOK4lhO6W37kkHxggOMW11b/ARcabmBP9xbYLr3
I845fqTXqwou9n0wu9X5iALuVdrWurwfEtTLktHnTqC/KM3IbgaXaWtKqJCA4NuTyqi3jPBDtFx3
tEiAjWyElJICvH3kibPYp1QjlILkiMN6aKmQhmb0I1KVxx4kCpefASuyfpS4V0HLybTgVhYK77bl
vKWapMC3+iUhpk21JxOweEkxmwu4rQa9Rl8VaHKiSigoJcWVqWc7U8zHn5FAxcr/lcajfuxL8QZS
TQBp1BxWmCn1ByxZSBPEqCSTAMFpyYq0bWjeuSjCv+qWUa8tApw46aoj62gCthTfksrQDvT0t7LV
A8Elk1t1NSr9bS3sxlAb1w3y1YhOiO+GWT/7Gld6IcgHm7wTPCRGXxK93tkL8pWGg78fpOR3HLUK
NefiYTCAd3oiuI+xqF/asohRc5weVdTsKOXVP/w2figMf2+MPaqfFDUxmYYDBflRNht2iK59AAqD
BQLl3pP30uAdJQrbhyZqnyYxyrf+gHk2zPWDUbUKXmu+sNfVdOPrlW1BmnqqpLmQlD4kkv84gaF2
m0KlCVHGD6LVvwSqSPtHzbD87iIJ4xxo1nRpN9HcKOoiK5gbaUTwULB+zPqRpJRbytPi73ZU3Ql0
piMm/EPQlpD26ue8rlZWBctbUu5Ty+f26WYpLF1rNm6NZSZOqzSHQHHVe5OIn9RIU9BK12UZ70Ew
vnkZ36WPwSznE7B5y3ozNEopFOPvLPOoSuo/gmL9xIgrocjoQmYiJ1eUbemZv+usofcVj2/wVh/S
uIE0gCtAWv7CKpOGo9Srm+HJArYOKVp25UAoYIOVm6ASB4wauXzW5u+BYw7Itn+N7ClCmtXO03Oq
iNRd0WeefVti6yocuZJ2iL3dqx6ic7mevvpWv+bQIsnv9A02bSgvZvJrYaDIJCBbbkP//5kC+N+0
aIhBnaJHZIl3FSIU3C3D1EHHorbbKJLsEj+rXY91iQLMflVOE1SQGPIYmyz39WkdC6iGBrQ88xkj
VwbxQzrkCdaOWfgYFdaPUNRvKDx392Wo5etJNUXHrI2jTi+G3jBLymivCStgaBsP35/IN28h2nau
DrfY8hpx32I7cgjUBzWtAscA3Uqh1b/qxtK76lPEbC2hJ8UOxPcech1tVXUfGv46aCsM4CZB2xhR
7WYq5V+Ris3V599A5ur/+qdmCPUdRENuruE2gB+6geHtSF2sIAkp77QqUx9I1dbGDEYIsKS0HgBR
pTeSFqlHrhQU1fuH2vJT7tJT9S+Jrv+RSNN/A6T639Nx2nzk12/pR/2//sCu/u8///X/EyUnBfWj
01DWx7ewX6g4zX/gv/wbZPk/RNHgXvAvVKrxf1WcJKwYLKCk0DRlxVBElT/zX1hWWQcAi0XD/Jei
4/mAwNN/YVll8T80E1MfkjMTGCz+e/8TLOt3Kk4831horqWi0kh6iDlnf0frP9xAoxje0ocvs0C3
ES2E7Kuo+ndC4vPDZ/TsF0HfIfQsLwQCcBySdYAdKfXoFjO0VfgOluX8ELN+0lIdah5iIWqmZv0w
eoACjkJzJwgvTXdBvfpbafL5wQtkbwU0V40UfvsUOIJiY6yXgHgZXKNaU2vog5WZXVKb/E4+jqH0
2aPqyzQlZeirRcw74D2G9iXHJ6Te4JcibUIIoFRoLuqtz7PyzWzpC2ODgUgnmD0vRR95eOxu07lS
tUKU8Wd90/2sf/3VN9HntfblfWTIHiBCeJ8R5ICSXQvlBYVA6U/Y9b8UAueZWmiOpfRyZUSAWa2/
Y66kih3Shl0p97LqJqFd7YOPdnv+Hf70B/t/Iy1UxwazmgVVGAmj38nctdf6q/xYibvpTbsgxvyt
3Pb8MgtJsJhE0FQihvDfhvfsPf4NMfZOuA81u5E25ntzlC6MdOpdFntcAJLWg5xLjjFaWM/Vo3Av
3sDDFjb5BQHEE5vwU2T3ywdHbivPaNwlx0CDzRjd9eKFAHJyjhbb2+NurSd1nhx5cH4NwkbXHORL
Wnr0v8dHlD+4qnkv/oX3+E5yev4iiz2fi/BVEQOLjzOGG3foLq+o89E0nu7Pr6p59Xyz/z5NE79M
lKQKWueBszuKyKBs/C7PkRbzxb1Oucv+uyEWWzwNalCtmBkcudmuKusnKm0WIgR/9/DFzoasZYhi
wO83rJvYo+/bgeCpLoTyUyFXW+zuWuyRJtb56dk7tS8UUUEMJS/yu3Hn/Zj0C69w4sDTFhs7iBTB
qqaYuP7ePUq/it/eD3o056fnxD5YivwBOkcKAlHVYzPSzx674YV6wYUD6dSzlT+DqpiEMbhsnp1Y
7/F0LXuP53/ziTWvzaH2y5JUohZBHTiGx2gGe48WRm+iaVkrQMTNahouGd+dSAW0xUa2IKdnps/K
QbhZeiRoIwpl0DrFYrO68GVPDbHYvVk5CakADY9UwK7zq2wt3lqUF9+aC1/gW6srwsO/+bmCVQ3E
efdScU6v0Xi5Fe5rnMl/Krb/am5tz1XTCyvpRMheOjY2QpX5xmeg+K26wjUSeb+Lo+WMm/Mf/cQm
mBPOrx+98f7P41seP22jZzzI784/+sQ6VReb2EvVuNQGNjEYy/ei4KiuovX5R59Yqupi645+OPaz
kMOx4lDWhMdaTdamNV9/LylFn/rx83//shko5zcSBZ74SGMILQd1VUvu+d9+6iRTF/sXdQ15TIwp
PgYCkpMy+jZbQNMwFesMTs1YSutsBruBr0JSCuUmt6MyehW2Mij8BECmlE3epd9yIuH8XOBfXlNv
2zypgEUf59bstfgE5qgqbeFueCIC/N0S+5yHL2OUPboEQdIbh2xQXboMxgoVoRFUYe3GfvOgVBhm
nZ/aE4v5M1n8MpKFKGZRyaNx8CzE8cr4eoqLj2RINpM1bbGxvrCwT4SXpTsveqI52Jd5bdBppun7
w3/SqOFCTb20+uZ1/E128OnL++VFWj7xFOhWDHRZAPVc7croLQDAcX6aTv3+RXhsE7VC2IinD0W4
ybHPUW494TcYmmnQAdJfShGkOaJ/8xafjrtf3qIGP22W9JqORWsb1iqh6IzrvbFq370f8Lbxq+jM
C1/+RED4dPD5MpThBUWbCVJ6zKNA2qUJQGvsm5ys7O2plf9y4uYb/degkEV9rcg9o6hHXwMo5IKX
iW/F0lVz5/ynORF2lEXMVJu267qMEdrmOWgg5gwXXM1Ofox5qX2ZoUzvPa2lz3Mc71DORYlX/0hp
8vdIdqJAYOugKfILx++J1assYifQ2xojgpLESoYpZbyBDmvMC+9xaoIWwXOKSqGMDA6TBkbNlP42
xgs2dKdW0CL7MaQxqNI4TY9GSrtsOMpVv0LS0uoez3/ZU89fpD2tFEydXqJo01Zo6Uz7CtwPmL9a
vhQzTg2w2NWBxC0VLbj42MwV/EqqYKQIroBumpbJz+df4tS1e2n/qEBkq0w6rEe5ATlHzAvGe0nI
2nsDoSO7ydPUnsBYbWuEXt2Wo8VtvWbaoE0ibCW/6y+YF5xYBUt/qDIVElWt0uiohzC6uiagm85V
Z3f+LU+sX2mxVQpsGQq6vtFxAryA/HXjhU4pITYSETAvuRqdyOuWzpKZUPUR3cv4GMmOnjqi5gw+
tX7E22BnrOjn/tW7fFqyfdn2WtDlQT8nG4387JcHI9x16oWPcGKa5Hkhfnn0lHQoJPdCdMSWcCVY
d73yT94+nP/ZJ07yme3/9dlBYtIeV7P8SI+7h5grqRu16enPCNarGKE3VhiV+XfhSl6Eqyau0mLQ
0vwo1qP3KzMDkRjQ+Ddan6oXhjh1oZUXYQtbpAbaCwsWCd2qQijQri0b1EKj0yXeewgGlRc++Kl1
tYhjmhJ1oY9LxxFAZtZtqn+QYQSRAo1kCO3u4/znOfXpF8EMPk1QgKVi/6FyJyubFB1prb1Qezn1
BotAhqRcDGd03tymnSEpLcFUWpm1OyLfpK6CC69wYpSlJ2FvaI0gdYySPkM2z2YkOZhSx89sCgz4
Dv7VRC0dBJOsKdUkQ2fO9K6T9rZR9giRnn/0qTX16cDzZf95siolkd9ERy1B87G+S8JnY7gSRjRR
aJCakwOu2Fb+xhaVK+9nXvFltCD1/KlLwvGg4lkbKgWo43Zljr/Pv8yJBfX5jl+eXgCfkRNDmQ5y
X193pcSXlp/xnLrwGU5kvEsXJ9NAl7Aq5eHgS/s4c/FEVgWU+K7ywNUn569eYWnKVNW0/KgiD4eg
fmzqh9B4ny6ZKp36+Yu8U1fbwY8EHm2BUELzAdqbtMruTRUyxIUZOnGiLo2Rhs4wJzlnhrr4JxTG
eLgUj049eP7iX74sIg4I2WU8eIDC0sQPzfh4fr5P5DviPOCXB7dah4TCPCnwHEVlPUrgUVbZcGE+
Tj19EbBRqNMjcfBnZCgwto0MrNvahPXfHZ2i/Odvz1Jc5yw09Q6ecufVN367r6L389NyYieJi9Cs
ZKPSNQOa26OBB0U8XsV1ukUo6UKafOrxi+CcZl4OgaHj8e0BGLodC6/W8ONvfrpkzaH6yxftpD6G
WzQrI8c/RUqCZbP1++e/e/a8tb48u+48NR8UfrdZ1aDaISGY3OEq5/zTv09XJMSE/ng60vLAXrWB
3dMjea6K1s/GSDcwt7AFLNZw2l/Oj3Mi5kvWvFy/vIZSYWApTwiX62BOVi0ilgjq6je+qF3pRn4A
1XHthSUVZ69zQKMGF/KXU++32MTgHyp0CYPxIGIboCvI0KpO7APIwK0WcPiFl5v31r/XC5BR+vPl
wkrThxxjjQMmqOEGfTx8LOB/O1NFejEFsPO8yRQOegFn2hsD/5AZLRji0FNRZKtQakbX5MIy/6xR
fPdb5t/4ZaINIzVzPWhHkJK5sJviCjKOHg7Dr7I01WOf+ePPisqCO+iU6kTEjV4z2KQuDfTQUSs5
clRJLtdlA/azMOURG1p/gP+GJcaAiofToCP2OqMSIdFF2k0aIJ6DpEttF2ouOnqD8Puk9f4+IRu9
In4OawX5/KNfZuYrcvT6bLNSpC+homM1OFnGwUwpV6Jtlzb34wj8zPDU9N4oo/z3+Y/z/REkLdMl
vZOHDgNK+YCmcxj9qrs3NGXRiHc9HYWM7P78KCcK69IyX2oya7SmRMBr/gHZfND9tFvtGIrISv8h
OvnOv0VOY3t+sO8zQGmZP0FJyaJYZiyl7OwIOhcwbSRt0wGxcqjMYBT7TLpwnHwfNpHB/3M5KeKI
rUyCVqeRa5tJfENlEIOF9/MvcuJWjuLZn08XpjEWdYB0hxJtC7VXYYE8wegAe4eEovgqjuW69TYS
s5iAUm+HCzH1RE1JshaHwTjzQATBFA/leBMiqKWpP/BTty34Zm18V+i7ToCxka3U8UL151vnS12R
zMURUYhWYSEXJB7oxSLu/WjeEYW8g3WH3OwBttUGoagb4dG7lGPPM/hNGDAXxwZKxTJ4Ysbzr8fn
6DZ/VpxiiwnS9BbfFJvzn2+O3d+NsTg8PI4Kqx278TDSjLQ1FY04f9QK6AfoZcJiuTs/zLfevPPc
Lc4OSChj0LaleDAe/PuoWEWP/W/1ebgDg3iNK0MZuJDObsd9duyRgV2NTna8dFc5ET3MxfkxFQ28
DpGhh0N7n6z9nb6tby8lU6cORXNxbmie3ogocYuHETIaoht38dTZiVaivAyXrolcK2zvPGH4SMf+
4fxknnqhxfFg6WapWYKFGm5WyVdh8wuNem1TlLC79UCbrlAaBSlUD9bfxQ9zET98KLBVXqG+28gg
tj35BouiQzqoF5bgifA0Y8u+nnam2GZtVMecdgArsI2z0NfFLsc+P1mfbYvvVvgiTkiSbkkQL8YD
RDQnvrrp1sIBhijrLj7iEbeuV1AVd62T270rulzOVuJ6sK9Lx9pYd+X6IV1lu9F9qGzzeo9X1qq9
Etbnf9qJFzcW8SQTDJ3MBoncUUQTqe1+mZF/XY/pX+X5krEIH8iXiV5WJcgEwYoc5PR349XXaJVe
yFJO/fpF5MCXTkVrnHnt2wOSYKtEuFa99sKSO7HEjUW4qAezD/AZnw6z2Fs06x2VD6mOaS38WlG+
yS7ZOp56ifm/f8m06qbOOcAEblpRYQNTrv3etfrd+e97KugZi9hgmdhRtBNvAeb8SpNX4jG5krbx
VRva2S0Yd3d6M9+JS0/6S3PsH+RDvT0/8omovoRTDmOedZMWESHq90lqnBz3+Xb4kQfDhRB0Kuwt
MZUjKzeoZV6tRk6pxfTdgHNZmStV/+2Xj125i72naHg8/zonkqUluhJrFWMwLQJQNwk2/l/rroOZ
eqVbuxCN46L5Rws09/xQp2ZuES3CKkeQvIS3OyFX4GYmnF3di/RdERUD7lfZ6Jwf57Oe/01YWqIt
+5plN4XddPCq+z6/SkpEvNo3gaXeu5BDU2+HX0RloZmj7uUDSm3rQPUvxMRvTdA5jZcAzA4NiQAF
4umgb7xN+5ztqkNtY3a99R6sp2yLYNUavS03OHqusIsujHoqY1sCMglIeQZdhnNkSNSZ0lhvYN3T
m41SnAdbmGVdAIEUUXt/Y4WJ9wJFA+Ytrn735yf9s+L9zaQvWzdqi2ZJBjPqEF4jP7TXHJzlDuYe
Six/pY/ZKtyg07Un0d/5j4h1XaE1e+mDzyvou7EXoUb2K72r+jnjX8db0f0wNp1rbYSddmEA5UQs
W8IpvMqAqBozAL0x/zp8VtblfeHU+2wzbgun2uG48ZbcSlf6qnkWjvotljZPMPmfrT3q1te+jQrJ
2j8am3KXP1xqb5zYuUv4hZ52VlpN/CbJ7G3DuEHff8BBq2lv5fqXXv3Qk/HCxj319oskRWRpGUWj
SQefPpZEr9/A+8XQLpxHn32l777eIknxDG0mxejSoXw2sMO+bq+95/IY3cToPTrtY7WtD9M+3GHH
+ht/8G2xh4S1aZ3mKdiIF87zU3O5CE3D0CMCkPATchA8jlbVBd7e8g+UJqANmf4mg9mK/AmE2SF6
Pr9h1G/XLPLXfx6PiRCLiBEoLKnefIkDGDdJd+FG8K0P+ByDFkd8CH9cymYHCUQPtiJ7rXeLHSIW
bmrrXLaDN5jPq8pGX2h1YYecuqrqiy1Yt0La1C1Dmht/i4/gCm8G29og97X315eyulPXxCWgGgeF
lm44R8i476+tdW5r7hxeKs57yf0t/BOug312KaaeiCq68ucXgr0IdBLF5sO0xu1DeEODz00d+UUn
cJ9fA6eO+iWsWu+QsxU9YzzU8msfPXb6T4QzoBBfyZKGNthdUjx0vXphoynzfv1mo+mLjZYZmSUg
xj4eqjUOGW5kaysEHlaGg1Gc0zidg+mNLaw8B2sg298lK32nO5t4F9qTXew5tVZoT164mXx2Yb/7
MYstJ1s6QlidTlHwULvNob+vj+Wmj1bZFe6dW+uo/yhvoy0WbjZSMxuaeQ6uS9xjz8/8qblY4rSt
vgMSm/FxU7f8Kbrm63u9650dxjXP63RvXOFMsyIIuOY2W92iMmjLzjsyghvDaX/FvyLb+Of8D5lT
+m+mQVuEgajDphv5XX5H+zbluzzS7U67waKWzvElSMKJxEtbXCfiqDRiP1DGg04aMHzk2Y0UHgvv
4/wbnHr6ItiMmSmomkYpqFEQEEbNuYm4Id/OPPXzA5xKbpaA7lxC8mC2ADyk0bRHifPG13QnwWtr
xeXZ1ToMokUgNxjEPGP7+64L2t/dw5Zob03H9WSYNwzOUngQowe16nL5VQhgAp5/txNHq7aMMVaH
v4YlMXnhIQ3uZMQSa9m78PATp9oS+I3IRI2qkkA3Suy8dalwunatiU1GJaKJWnvdcI2gOrxwjQpi
14XZhb39/YqA+/9n4EwRp2JFkC+U7YDGSN7uGowVEfNclykFqfMz9+3GQVh8MXOa5+EfaUzSQd/T
+LGnu+GYX7jifaKe/m1T8mz5zxfAG8YakcKSDshW/kTIdj+tMVEfbesBsWJnfI0347E9divdKTv6
tcLdhAjECoD9FRzbLeK65UU4w+yQ8e8Bgt+yCNpeZHSqVMy/ZVwFt/7DaCc38V53jB/pW/ci/6Cf
ZjqBjVSIjc47Yhmxg3pra1yY5s8K/XdzsYjTlaTGJqo30iG9tnCpRXXK7g6M+Ow5CHtelQdvrbnq
GttKbJovlf5OfNxlOTiUioSiDS8dR72N0nDYHSeU20rzvogupHynMhZtMbFI72C+m9P58I7CQ7b7
FTm34zvqInbm+peyom/fQ5G0xeSFE52raR6jt9VN41gsVDSZbJR8qIzV62JFwvJ0fj+cOtGW3AV0
OmsDMXvpoFFVw0Nz8yyt/W3r0jC0A3otwTp1p9WHROmNi71rropN6TbOEzoMG8mud8Hq4fwv+X7J
KHiY/Ll9ijKMUDeabyY306F39Y1qFzelLTlQlne149v9zrgrb4tjdIm3MT/53xYpIy4iDh2Moqnm
ESsnvR9/TxTzCzdwbvUVJHKndVIHZZKV71SXBpwXyXcDLg69sPSCroPed7CkVfOIIcO2exE+dGsl
HWOBcub5mTxVTFjyIYxKQDWnY5hoh37xcKCYsRnW3U5x8EBBSWeNR6hlc6vejbeSmwx2+uvCyKdm
dL62fKnemRDZ9HRg5M6JXRRg1rKbb5J1sc4cczM5uoMe8P24QzbfKQ/I+BzRprzSbsfNTzB8F5b0
ifNrSaiQdbklCPMbJuUjbJGxP6ByCOINkYtNN25zobXPv+2JU3gJ/M8tjKCGuWNYhE+zAmPeI48y
XYqgp9bKItD4sW7Eg+qxVqw3sf4w0YDrUZNGj9bTjqn1S0KkusN/W1OES0PO8eW75bmIO2gWJ708
F2OUG++pcNo3aYu4vbzChdw9P2WfxbRvhliSAGTEtPKpIrRNa2utbOM9GmAH8qMV/s4bYfVockjg
Gb7neCb0WLi7rAQ7c4q1vg9YPibnlLfCtnUbb/E+Wc1hEZ9jR7JDG2WU1ZtC5t9sEptT96ZnRyUb
jrYDqlk+oc10rV2yabftVeDSrnYv0fu+P20VNAb/XPYYGlcI5DBxFbGzO7Ruu5kIJfFGpIGBbcKx
ug5v1R+VDRN2o29MO1yfn89TV9slBwHOEEWGuZzjP+dv/f20638PB2OrP4jv+SNkkfX03D4kH+dH
O7G7l3QErInR5lYZjAo6Emb3bZPbWbH28l+pEthVO15aiKcGmnfclzASCiWGDzoDlcM2VXbg+z3p
zqgeImkd4zpLDbICFS1iB5ok1yPeRlzqlZ3U7ERtW0aXPuupe/aSuSCLYi7mc7hGHUuoHPSe7otn
lOMkNzqGFw7777NeSVkkpAV6YGY0bwgjxTK7CH+GwJnrPHaUzvpx/rOdSCc+j/4vsylZw+Cr82v0
6UMxPOvCw4hVau1dYRtzfoRTpSNlEayU1Ms01MskSkfaOrnBpWJN0dxtn3z3hWvwZtjgq7CW9vXV
pbX4uei+iyTLYDXWOCLN1dsGq/iVusGog9s2CoNutUvd9D5xattf165u4+m7BkLqRpxCnO3Vm+zk
a8Qsb7TjcEVrEaVQR7zwOT/hIt/8rCUloscF8F+nT7OmEMmZV28IW4840KxEwhRVUEdY/xNciKcn
Pu2yHBhZsjlZFZMQr9S5TLdCxuhCFnFq9S/vY0EbTrpUzM/+T86+ZElSnWn2iTATo2DLnORYWXNv
sOqqbkDM8/D0v1P3LurwJYlZb3MhJZIiFIrwcNdOOeSuMhsikUba7UAaBX5XQFqvcbP1ol25tJfd
Ax1XJFM2hyyKJx+mPcqjFnOnI91Cisye49a2LDxKCtEAPJkxvupAMMYMXHBsIdUoeoASnWMz80Jr
M+2/9i2LIEgSo6lh/y8IIlZmA+TwAk1fj9enQ7GLXDSOWJIDeqfYql94XGLD3/zgn1s7PQxW47ho
x9oJJnUEGyVcCxz7u8CmG4a69tcW3gbKc60ioJX7oD7w5tOgS2cfc2zVFtZy8t/34w9PE/j1qFbz
BQE4E96/T1dwXyKle4V8AXKFvH0GI+sZrMQ6KB7N2noJTN/Y6vlbA4t913x/TE7EAqmJ2QflKNil
p9jLjZ38YAlmYj1urZ+4EiJ9h9w/JlHUwK+U+WkGVSMkQiHa55CHwYxABa5Xbm9GBrUU5ANLfDHY
k3HE/rw/Bya4hPV6D1Ll0r3vcVeujSWEXRsg2hppKlZaeUzqUwMchP8FRegNv7JiLkv0OtRasmgQ
MfzEJMjoqNDVeu75rd60tdEX7y55aOoGirz8gZOvavUrIpcSvDn3F+Z2FmYW9fxv7BDQDM3+HQaX
P6OrcOJ30IzCRoFeV4cs/ZMo6MqTfFTPkh48Ix+IYLLAc+iElAys75jbUCX32EYmcC08Iwu3I0Zs
mrgW69j/BR/JEa8x8Y1dIDwwOQOYJf+KXnGtTuGDcr3/9WuP6CUMnnZBArn4eeM+uTcQnwFkj5rN
F7MLSETB3EFAG076uBMf+530u3y9P+1aGZcs/ArAuMkUqVj0c/eYX5u5CFc/J+feTHfTX80LHjOn
A2H4PgevqK6gAFqei+etxNtapneJn284FtPqe8t50M7qwjG4FnZ8lB7JG9rX+Zf7H7l2ahcxjtzl
qOs0En+g9DdfxkZMP9G2t3Fs1wZfRDM5m4JhpBgcsBQrfoo2NuY7VP3fe48sQfTJWEsgQ8S4LYRo
5rMgQI88QnN/iLadvXbt9q3D7wVwGHHH6MKZ0kP1We/DX8UDLiE0syvgWbfJW+Olx+o8WD5Usze+
WLrtSkEH/V9DBdF4ACYU/DUcmEPIDpBKC33AOKOXYC9c0l8lyA53yPqcyav/Sr0G7V/FS7STr33v
ggcLGtFTpyO9pxjRcfgrviS1Xnjqb0gr9q8KVBT34cMWcGvF7ZMlol8Gk2XDRJE/ZDvtLbE7pC0F
ffKdGLp1sjsVLocXKDIrLsfpcnHNEMKDnP496EFsZo17MPGWZtmg7D+iO4Ua1IzO4uX+sVyJOMmy
CWACn6lU1qhCj1bkKsakhwYxElt2oJZg/hGN+jxDObcunhUIFdEWLo0bwfE4FJgOKnNWhPftZIe2
ooO80byA+9XoLDBVmuBGNuFuj1s50ZWc1res888nYdlrZTPkmFZxBK/ZRRbSxvpceZxQdQw/Pj6I
O1mTNQdMxUYsf9smybJWUIENXu7BnXpo0vcMlENRGdrJZrhy+waHMPt/jz+FLmfhQ3DuUEIZ04bo
3w4XOAQ7rtop22sPgtkdOyeFIOzG1/CzL77lChb+C4IiUJzpkR3nPyVJLwqT+w2Rw+qx8QSoFHxC
tWnqrc3WlNuRJlmCwYc+TyHxhNkquzNHK3YZPHLjdr85S9p9suucOU4cYc89NZvv9ZUNW+b/E9CK
TAXFkvbC+BQEAlSfxT8lBZCoKx/LMDvJfe3wKlTowOYdJNM1rZkVVM2RxeOVUWmjY3VlZ5cocYVr
2ryNGuRkJhEkwuhcksHwDBEOBf29G0a/9qmLEEpKoWGUBS3k3ZzRqk/Dnt+zxwA5Mmig2Y3DAmPc
bxXm1kx+CRWPpLxBNyMm62zo/LnVOfVKj5mAHp+6fbdvrNzsz6rLrNAD0VG/RyFr4zNXzuz/IMUb
TmF+jh1FA8g5/yi9/jl4oFbyob5NL92veOOaXFvNxYttCoOsF9UMzyJh1jtDvA4hCDQfbXzGvCk3
LE9dREdDJ3BQVS0Q7wLfBVghxx5V7UUTvI5tseqsoBfJEhLeQYIohUYT7O0Col2Qzc9Pz+AXvWbu
4Amf4ofa6L60CR1cW7GFM1HaJJGHMof3Ch4grwIKz8gU+S1Lntf91oItoiEFtOqcEs6GzJ1UpG67
bgvNshIgkyXEm6+igYGaHUMb3BmKNtZkohPLhniLPtqFE5nvoNs3IJm64XZvpzLJEvNd9KyOSg4L
penigTtFO1XnLv71vn2sDb7wAloL4it/xMeIKN5p+hOozg9bLcAr+R+oVvz3gpJUrpUTgsEbJEzG
EzjudeYOloDb/f6/X51hPlw/HtNS4ENsZf77pYX3gh44zBZ2wPI46sb6rCTmyRLvDYBHXabzbksO
kPaHZBcaiQmdG0NDnKIAuYSnGAryOtkXz4kbm+R1K2BZ/biF0Y8IvWOeJ/PHQRXInR1lhHzTcOw3
nNba5gv/XT2QQgGcM/DYH14AnL1PUh3o/1LPqVjbvpLV515O5TeiSJq7sWGzdd+wy2UmWYK4NT/m
HYKwh/gqvqJmoxdHYiJa0b/uT7HiV5aJ5LHJaEcg1nmYzRL1i41/vvJAJd+B/Y+jJtBSU4sO4/L2
S2fjA47NE/QrrtFR/g2kyy4/hG6+S23cX5UD2cgTv5kVW4EMkGVKuE5KIU9CxAPg4mdgzRdOrAme
RVl0mkGyex/HzxdNmUNiskZBZaoOPq6i++u5egwXjppGFNIlPgAvsgid7afcAYYnk/ViPzAv3Icb
iY6VbVuSIg+ZOOUFh1nEvrCgJ+/lhborwNhx/yvW7HiJzS9jYYh9AcaU7JA47R+aXeqJr4PbmvGh
shq3cEezMmQv+cjwACAOfdrK+K09r5bI/LICxRE0TfFMfZkO8S8RkmiooNPj5PiPRaKjoogn6Klx
oLBo3//alXwGURZuPSaFGkK7FfHWUEJqNoBUVwHlylrn+QehPOQxJKte85RB8OH5/pQrvmQJ/Y2h
VRPQARFeO0LHJ4RUn8hZMbvyZWZ2QBRqkAi6P9PKSVkifn1oDffpPBOnYSO5Wk+UXzxqevdHXwkc
lkhfIW1Y3EJn90AhYtm9QFV8Y+DVY7Bw50nZJ7EKvepDbk211b3Rs+DF1wb46Hg3PQDX9Nic6kgv
PvKtU7DyglqifIdgoCxoMeNgk5f2pT0FnnhC3tKUrfzAPM4UPxWAcLIrMbe4ZFdy6GSJ9c3lCSIS
PZvX78j/lo89uusgArkLH/xUr23V1g7ouN7AUq0dukWUN8odKkkEk41WCRpLXbZkoFX+bOVCV87C
EqsL4c9a5ViClJrm21FF7FBLNl54K4d4Cb8Fi3Lc5nWAoSF+kmitrsWv4vBw/wyv7PsSd+srwUDU
mCOHroX4iN4gQvHyHeQb88vWyq/9/0Vop/llr4L8GZ3aELVuxpeRA7Is3YreV547S+AtL0wd9KKw
OuireZYu1bHcfIquXWdLbC3V4ojjpnnsA736h+41P+Q2+R383epNXknZkyW2lg/IGBaQXDpM5+Hs
f3S7HlzcF+W5vwboJtZ5Z4DmUa6DREv5fX/D19ZrEciRLpZIyeObUKfo/yaPnecnxpZewdrgi/sf
KlFkCGMMrjy0p/AFeTru/f7fXjHfJUqRBmxqCcHIzW6OOp95J3Hb35tUdSvmuwQm+jKfF0mqkYOQ
PfriZ5JvUSivHP4lzpCpfALdGvzv2hp+J/tw82m5Eh1Li2tbAf8dGBEj/kBewifRbRCdQFwTbOXH
WN9s2ZtN9EYIvqRRHuupDCuQHQFhhxQ+AP9gCfG/II5Y65M3gQjkE60g9Wvv9R7Ukf9pp5d4wrxW
WlqDde8gQU8Osl3MjLvyONX9o1jU1wrqrkoHfoz7k60ZoDQfiB+hulJrmkLnbNMMRAUpl0dtsEfs
I+SzG4N7J/vmoXE2KY9X7GOJFkwqjWdyhlsi3ElW+Uz39G3YxZ4ABb0S1UFwzYX78pz0roo0xFZv
woqLXyIHw0KYJJDmIAhSOUNpG7urYqvrn3zowUE+VB9mOb/u6f6Crp2YhQdIM6mU2hG1C6k4tZHd
1e8FEfW6G8z7469U/cl3gefHhqF0pfboPUfwCLAN2NU9wYmR5PWfin17QG3VGK3QbrzwpLi927qc
GZmaKQEFt6WYseIqlqDCLA20FFRE8HFNZXTQT98k1/9+d94wtyWyL0+7SutjDC14BZDQMrp8Iq95
yi50D5CTJz8Am3iGiJ6S68ClodtJsSMzBBwH6JUXdV9bIO/cbdUM1r5z4WAohD61IhnxCkpyXcVp
jOWNgGalr4osoX0NB9KqnA6ADB/QDWyDqSK/UlsDeBEqY/agF08IdpA1US7D3+B9+IAsLzOql3qj
iLViheLsq38coaJsfVrXPX/wexNFCai3Ne01YJCt3nh2rC3d/PuPCVpSNnKTYuni5rmRcr0ePu+f
/rV/vngXjJzCVdA5ROq4+gSCXS+rJ1Vy+2mnJVu5ixUD/ra7H/89LYJmEioZDtGUnqed8Ewga+n4
F/F1JrlBiQg9yyOwZZLLsFEem/MXzq8M8clWAnvlylzyr/Y+kk1sLtWKUQol+UOTvHLZ1n28Ekcs
CVfjsZtyJcPglFOtkeYfoLIy+0RwMlU1lajaTxr/bwB88p0e+rGUXQABQzLgMV+gywDsb5fUFS5o
T1b2zfNmu+kct93wGUsUVJupctjMyQol0x7kSAGNQOVSbfhDqvgEsVBBj4MUQtNxdebH0Sm5yE4H
7d8saYmCAtMbG0iPyUGxXj0S2fA1Xfrd0g07WjsJizdbBJIygVPBgMSxX2IH4SsUZNp/QxySb3Tp
j92ZFCbIGeT2Dj3byb6ZPnee6PEWQvEBSfP79rpiTN91gR9zcBmlAfqlyCGFIGcjx18llWwwx+0G
TdrCIK0s0ncO4cccLONJSqQYgWCMFpr0nVahTvqtjN7sWW4cr++46cfoflWX8sRQUQAEzaqv7TE9
/ml09Gab0Aw/hlumsjbNwiW3QwJxbZDPo+jX2VSP9WLHu+mO2b6NPId2SYz7G7JWkVmyJAhq1YRS
HiKzAj4yAzeP9JLt1UOEFuI5y6YZkTNZoQVdZO2dbrxdVq6D7xr5jzWkJe2jWkDqoRED9OyfVHq9
/zVrWz/7hB8Dt+Ds8kH0SKBukVm1BqVN9FTJGway9q8XkVwvFJwCBRjkcodXjnvLwsf7f3oNGvD9
2v7xr8eR4L2eoVjfe8NZ9eKjD5Y2iNhAgtQgr9pl3Fidlbh3iVpM6kmTi7krkRjVo+L96bzM6xzm
3P+MlbVfgharUOEiApncQwAF0TSVLVVtD2G/VUNYWyWyCL+ysuMaTcG/B6jcKQ7oP9mLp84Agnzu
K8Gde/8zvm/VGwa+RDCCdxeUojN+INtBxNqJPc4KLHDsv0smADYOlGCrvbCjTvAIidlneuF2oaaP
eBRpu/v/YMVHLlGLaZJo0STgQwWS7Bs2GvWArGerPUL0eGOKtaLIEqjYS+C2QHVuBmRLHrwkPlLS
D5CeAzZf3ppkxWCWsMRqkmOVDlhJzq11/3ui1Og8QK/BTTCa8XkLIrGWl1pCEAE7AU5h/pwWDYu1
AQFg1BVBUGls3VsrceaSyLebJDkcmwmmE0WQYT4NJNUFiBD0mtUC2Xl/49fsc3G7T9wEmTIBkzS1
Nb8X9QkF6+hSPaSv9ye4aaK4ZueJfzgaOc87Lh4xQZ54CRKOXfknLJ/vj33bPjH4HGD+GDzUUkhM
8xi8LPZNes554NO4TyY9+4AYKcFJyL1CeEpHl6JLr47f7k97uzaFaRduQcuDmsCzYWcqnT/zrY4C
kYSHU+pWO6Dj9qhMWS2CMTd7AfjWa14qJ37aQhivLehswj++OReHcOwDhHtJcWymLy0fdYU93f+y
tbHn33+MXVaCFEU5PqwT/srK35YC8T5smeZ8If6Pk8OqzSb7Y/DRj4K06DH49NiZ3D4/CVb04PCO
LOsARFv/9AVLJFYWqWlH58prQV2JA+CMu0AbaMNYbr5bBE1d7HsCwcA+jGYviVaH8gSTN1Sk6zfC
opumiNEXG8tpitCkKkbv7PZDAspxBqmTwxbL6O2oC+MvNredwikHTTL+fW+qsh25PDpj9QTy1kwf
kMUQ3IqZCmj+nPjCzXsyuvf35HZ+DzMvdj6PWYgXEmZOdh2aPmunO7CnaJ9aqik7qs0nuvo5HuhG
vH+7cIfp5vj2x0Grp+D/B01qrIeC3r9ktvqomOikhZKIOXmNQZ/QFYxWka0H++0qGqacz/yPKQfK
EX+cyQ+at/SlBCgPZNGfiima/q6xyD62twiobiPzMNMiIhSyhkS5gLUcPkHTkVQmj2J0aAhW4Ejn
xOYM9oIua3yZdoyfYnQ84Vqyti69m7crJl/cFtmUkCGbIWfQhdSbftLLYiunuDL0EqXFaqmumDIP
nX8pgQDVrq0s/e1Ml6AtAVkxZAcHJuH5lB2ED+SacPZfm0/RToleHLpLeYyesXAWpNAu+UGoXOgH
J578LhzGjbLnzZscf2DhN7hSKqJWhVPqFEVPx6eWSgaXPEZoPKHU3DCym7UITLJwH0GI16wACW/A
3KB7Znf76aG2RaNwam+r2f9mlIgpFh5kBKYmzBVMoZ1DUKvVB3HDZFcc6xK0xclK2bEmlw7hlBld
HpyKpDAYQIZCFhxlWTyo03VjmWYncOMWWtJyCtlUEzZMILeRUN0rNScbJpsToX0JsVlwaObyoEP5
0R3pnwxX61hNrhQMzv3Z1xZw4SYgPSAEPAUNci6KNvh8DBUdF0PY6EnDb+By+NtxNnZp4SH6XqbI
HtZ4kCaV7ya+AhpLVAScPOgyU5P7AmDXMFQ8ocObr82jT6oG1C1zv3aTJsjMqqWVMQ1IxyXiGJ+U
cDqEqqxYpVgSveW7Us/4sDODVs2sLuLR5cd1oV0XsaIXdZwZAQ01E7lqNE3IoeYlQ1gaTRyB7Sbh
qCMpcuuwPqduFYuIa6exsKOYFx9A4++/xp0v7EKY6y8W+pMBBIb/PIxlqfcZPOr0MHEas6dKAydm
NARGWrLEDJoEFOACUXeE+JLL5VAZbfpMdsDWMOppXzAU1VvZIKMQOAXrK8MPm3TX+0Ngq3lXHdMc
NXFBqMfnZOjjvSLR4lFLO1GPhip/C4upcfA3B/DWtPWfFmkEy2dS6lQIBwDyDgGWAZpYdDk1qyFa
MAgW4WgBDq28t6QCNy1Rcs7wpyq1elaFtlChix2LAlLjWEttkjWBGxVdCk0ADTR1QdTvhyTp9lwm
qzqVwW8+NDExJr9VrFwNVF0r8N+SMYf2PCf2RyighXYZt+xMQiFxpaYSdorE5VYzFIPLinZ4klDi
NrSSRQY/IcZvwPvgNWkP+BljdOPgzU7glmEt7oamTYZYnuv0Ai2MoPoz9iCCZ1sEASuWs4SDsTHD
0ZpLuG3zyQJFlzI31pyO+7xvmLdfc+CUmz3Tjwu8K0R+Kod5/CsksrHuzoBnfnbEkRc28msrC/Q/
GC+JgYlsBkm02ilh7031qbF/859LMFcr5bRtoVZ7kI5oCDJJj6SBYMb/BgzG6iwcP9S4QNrK4wYN
PkAqw1mdMch6YDzzW+XRlQtgieKijFbBKGACVp4HySDDE3gi9ZDLjMo/Kezh/i6vRNjKIjDk/bbz
qwFRWiFAsaA25PJcSYURF++JyOsi3WdNt/FUWD1QC1cfqKSoMzjiwxC1Os+9j+Nuqi9CdSrkyCBc
bQ+BalLhX/KE2KCFz/f7NKrqZACLUh9bmn8Q+U2KmDXLW9h1RMSoHGKQJHN73xP+Zk8oC3rUGO3k
VLn8Q/6Uxfoje76/QytR4BLBNaWcojYBvkMpkNzGIWvQC3B/6BXzWyK4+orTVC2up0OigFCrlcws
eEiTt/uDr2UilhAuLqJl3MigiSTIE/Imd+XdDEw13Uu5C1ED5zZKAWsfMW/SDzcVZEnCixWmUZtr
2p/HPDAS9KFvfMSKfSxhXKMianlSzx/xoHjsXXWQbTzyO96MvW6fnNMjHhMcaMHSL2m/FRuv7fj8
+48v6vhaHhMUGw9SwxOzT6loVgxdVPc/aW29FhavihrJkhHnKQrUpzHFva4SM0qlje1Y+/MLI1dp
3ExU7KHqIordSYaShz34ve/+059foov8HllZGmv5MZ7ETu9rYS+LzRdH2tf74689jOSF14ghy1DU
WglNn7ySvsShiqwCx8tsull2sdI6O5LqxoGcmKrjDSV4NBR5zwcTzy7sAJIriVLpEmrgBl+nvK5O
MWjqxD62o7RGU2g+CTraRhsrkpXECis1u0r9QCDVqqKzduPQrrinJSZNAw1NmHOJeEjFvjeCcMaC
NEF1RDTCuXknbTVTrrzhluA0KYUeEPFLEanGgvulqGNvJAML7CCrmsc64VKnSLWt22Pl2C4Ba606
dvwUNeJBKcvUTcHApJNYojr0Kst/e4osUWUtLzBGMi47Kq3Sugo43BwW9ZwhRKNkFSrZEtJa8SlL
JFnViMqkUCofJAZhcSrRcocXSvpGGohtdmGuZnpZ8/J1iAOAhpqEfd0/3GvzLvxKlmX9SFsK7FhQ
KI+0iuvzGEkMAp+hEj90tRY8R6VWH1RtHFHrbJrNMupsPTcC4SW+rJRCMiYQ0NwT0qMDn4hCdRyh
8hXokZyHF76Hrhi0wzWkqOUK7CV6KErlH3UCEN8oeVyAxv0VuN1ALWhLzBnhJjCkQA5w32B6vSny
x0KBmEFei19a1e3aGXOKPcnrzMsrsNm1KQjM4uArShM7xUOwzbUU8ReCyWx66UvyKYYkdZlWb0GQ
Zi98a6UW/qcP4SaCsBT3KNlxvtlOGumsugpoo4NYVXEVQWLUquWQqPhBgdZlEosNmiJI1RwUUSLP
qIv3Dz3kCXZhju3UJSqJu5aLm4801nwVkrcBYNQK5Zp3KRrHGMIGCbRd805hVtaq9RaD7ooXWgLi
hkpNhHgqxkM7pUqrDzEbLUEeikc/jLhzK1Zbyaxvmrcba7ZEvnVFDFwspOYAVg4PZzP1/FlEQP9t
vtRu3OjEAaM60V85A3ixL1rpXq8/tmDRi5zICJy/gfGJkOGIUtIWRG0t9FkC5uIgm1Kq9WBd1onx
e3odwMo388Y/9DrIEMz7h/n7Trr13Qt7DlVOqDkaiId8Kjg08aXKXorqGKI0WnzNJw5KWQOOUFyK
BipCcJwIglPNzNvyMOWyGWjyL44w0UzCEXp1jQoiATbzHCsxNVlePvPiXL5v8FLnK9mDih84DUiO
DiqlBu6bCY9+1j3ItGsgeheBzigO93EXv2kpg4y7aIrB6AxtYBV++zdNaKRX2ljCs3WxKUd9pAdp
hd7zJnU5ZZR1sQuYMRXaUQSND1dO7FhMyt/QL6lRZsIWcoeXvzPst1Ztvs1+RFe1KgVq0whg9Ibu
hzGhuWenyawjOp1K7XcmV0qmB8gYmErcMRT/wkCtDJEJ7DqFEMfM2gHK7tOYXopYU/UStQ8JqRgm
d17XCMPkjFHmA8BKWyW12hCcW8hQhMi5Z9rQGRFrtUYXxRgtl7xQ4yv9TOsKq1X6/pNLSwjYjn5j
p3UAtmKKi24MQ8hRcNlwaUsmDGYsIK+iU24QBORncIFc/WTkXA1DvUO5bxbaDLW3Lp6Ik0+y4FBo
tgY64oHqj5wEJVSEBPIZVBpQ2QUOAKID0EqbmQivaHNTXxCrSvjhGsYQkITOCZo1GTjVhzHWqBOF
dfsKDKEkWAwS6m6D/8IZhZi1f3B1crFVTEEEnU3UyF4hZ9AdGgly3qUsVRe/5vcDl+OsRbymq1od
u/kgyG46ZYkug5cMmMFeysDFrNaFWUIG/kR4Sh+CCoKPXIY/DvsWHkLCVak+8Xl+qIQscQpeIg5I
skEvVyXou0emEpqfWQl/mGoQGwEEyQ6qLL0WedBeR7ycWl3u/fYkcQnQYCBgQuqul7PwVGkSklZi
NrQ6g47Fe5kkw75lfGBxY9lD33NozZ5Rda9BuvddFH00SE9UAbG5L6OrvAAup8cZkqB0ZuAwvRMf
qPQ+10qk/cB4Lo3VJaqks1YPkLZXE0kfY6kyAkk8dBLU3KesAZVjogCSTFlmcIqg6mKvHZPc7w0x
6uSDEvcCaPVZrH7OnBIgE+NItW87AtIohUuld6pxAbhAIfp51Sr6JcnFr0hI0beUVZruc9loDH6s
6WlWfnC1UnVo14E8VtSjBqQV+UXS6nE/KGFmgl8k1DshBRKp1LJdiySEO0AtpdRpFw22RJlqMFZ/
xRmneZEia1BHA9W0GISiw+OOsUo07+hDW6cOwU6++20sXQhHwJ/Fx6ke+MAEhuKpbyggPP1jXbaJ
wcnaseiTr1qmJ4EN4yWsC6ihxankdS15z7JJMKS5/iFHbHDHRv4axQDBHy3PPOmgYwHdN52TGX+t
ypA3OtbNbpD7JSpysStHQs1K0R74CGZXpzQ22pH9TuLiEkQlMcdGJLu8B+Q8U5LalhK+sKUZhS4q
9akooSQO3kh0ftf8Z1my1vJz3JeJNh5zor2RMh+w97m061r+ATonXxkTvSiBqyvC6a+s9qDzaflf
daR8kcLPXK5QXoAxEHdDU4KkJmmIPgVokGiqENTnlMZWghVDkUp8qSc0NHR1GJld0F4CPz/xXFTA
S8KdsML/KPty1EWSVrbGSGGEzC/xhJ/es2ooTI0r3IDvHsSGqjbyzAASl1LTOaLWnwq/euTC7kUS
pcFQ+/jiKwlI+FrGPkDthuZVLb5QhX8Zqf8Yc9GjwsbC6H0xtBJspjF24ujEkRQeCzlNLU7u1F2S
Dx7CElEvgCbbjQIPAluh8rSpkezEl6XdiDenq8Q5Z01i0BupCvrNKhjaTwo86nnkYrAw8TwaW1Nc
na8Z3xHDF4KPxC/LPR3F8NjG6kcSoY28DUUPquvxKY+pfMyimjPigMa2LJLQLgT5SpUgeuz8EI68
iH0zjtR9GLa/Qz95SSb/TYOclck34YVKtX8atLDcS30HIVCsz75k8/EgZeeUrUygLVgF52kI6GuV
1ZcmS49ZCJcuRdz4DPUrZJl5Ds+eintSkuJd8EfUqP3oV6+S1yjNpxeen+LfbRoNLl8Vh4arC+iB
jCosTGpw1pKqEC2mROjFV5NrrgVEz6eOeoNP0H469biNI8i/6qLQhvo4qXZTQRsrRTQaiX1zUXs1
3jEug3x7K7wGXJXvp5GXP6IsoJxeQb1CjxgQnYSm+7gVKe52MIcI0K4LR7OcwMKZKx9Bl3RGSUGA
z8bHVm7cqiYgR40NvwQUOfYNceBHO0PBRJd9DV6AsumRZ35r1q02WoSogZ2Ww+OMWzWyTvKkqdsz
qbOFXmRG3+eFlVCcU6l+BoFK42S0roxCy3AUM2oNDIwQtD8GUuDmCTHlcgo8paqVTzXpB6CGBbjs
ikGOyy+NNMrbQs+zBpdTwzlKn1b4yuFvJucVBN6mwqpG+Uxp8kAUleGGHU0WKmbflWZdo+iX1UYW
jYZYN+doUlHhUSZQM6KA40kVILbKZEgxOydhfgia4RDBQiiPlwmV+reoRRpx4Eo37iFdEAUSekL7
Eo0kVfFWcaMPrdAItaABvPRFpeeJcAJavX7pOjpTCgWNW/u++Bqr3FEoRlAjiorVgsJ3GtGwxAAx
hIC4HebUitNB7wdYJS7gOGRHfPK+SkRIAom9HiXBCSfjPR8IWPv8woVfeIo50IYxiETECr/Py2zP
BbXXlXCYavYyx3KJEti+Jg1W2JPMSYmP9qiIR2RIfasaaI7KS2yXyCzmVedUYgPDUiXlwoZ+shAe
7bEuopOwyo64whISzeO6xIXYpgXAqqW20QUlHC/HwYnqzBoV2ZMDUDxPwanK+tMYgVc2ICYZItEK
wtZlFRrwQQ2qVxHfmyIRjoXYDyAtDhU9b7hB72hNdL9mMTgd/PJUDD7ooKBLZyCNtEtUgGE1/iwg
raFzweR0ZQS+HQWy7qGb1qDSLioIKtQ7v1B1UBc7dVl9F59stdNOoxY3JqO+napwQX0SoZIZDueg
D2pLbNOLpEyXElolk56LcaGPg/yCPmDZKNv69ziV2SnuenRAtUoR6IxwgaEBZN7pqqQeSMtKA0FE
iNIUuqSiJKn0tuXHvRw3AHMIHKoz6viY1Xmlh32joYYrSyYwQeRNGyQw44oqrvz8/zj7suXIcSzL
X2nLd1aTAEGAY131wM03ucu1R8QLTSEpwBXcAILk18/x6JqpruyZ7rExS/NMpUsulxME7j33LFW1
c5f84JRFOot12C3WbxPXIyfl1HuEFKwJr+sGHw8FOxyD51v3NiRF6GCPxC1fbRPd8SF48DR55GGe
9K2CCw7bjgPviszcNK75bL7xYf2OXrxEcuVoYmXLcwvX5W5uUswQyxecKfCaq/CL5Dhtkd/bGuaX
80Mp66fNUTWitG3OI6QJ7LcAUlCQIKbMrXGrch3Cra5fUckhYu3sVobu5tCb3kgThFmhEGhQYj8g
Etb7JCex49WoWqp2ekFW+/IybNuuyZdMOm7z3fEds2PAleJicL0YiW1wDZp9sDdm7Ia0G4dr7YHJ
JAn7mCbkqtFgx+f5MFn1lvv8XDpyP64b/ogZgn4WVsW+4JhFYrmlbT9lQ547x1KpA3oYb1cLb7nk
2nsqbHGhKgCvv6uGQ+/nOfrtyo+FM+JO4ZiNoFMio06biXjHyjH8kxFI5Qyh097k22FWAiWZ3Htt
e92Wao7avgV5CMd0sCJSMNcFdu819YvgtcvpvQiWNg5BLq1F/7oGQbz0/gdt2Ye0GPf3xapi46EM
HK0CCCDyKgp48VAV27OvmmwlVYo4qOnA9AT9lQxnFNSofkSpfmxYg7WSzq5gE2xdqGvThUxLOgZW
Jox6bdrZliZqLau08jhmp2+g0X3M23Z2Z3sZZ5Oous2acAAxpDYfblEdmzW/OHl/2pru7OGPDScv
narlMfcQI4S24Yk5YRkXK86ErcBBOsauZr/Wjg5nGfhJXuRrskqqEacMm4+lPMC00jm4edgcgID6
BwoRiKqQzj2Z1k0kKugzNY1MtDd+sgVCS0OSqmJZV0mSOi6MEJs52zqSmAFrm4+qf+rExK5O2Cd5
wC5Fj+pQArGHyASBu1BRKBtXIRbo1DTiUOtpiDqIUOCkDZmqTvlSo5oayogEFgVe5yfrCKXlFBzF
yJ6hvN4ir6qK2M76UvnT2WuwIAeGq73JIsZH90Y1anldgmkXcolcWLAn4FcYe3W12zR+Oa7MI+Bj
bArujPLO/hx7xfclRuURn3J65MD+wICAnq6FV9oFJfS93/XxWE4n2tYPo2PvQkV13G1qt3nhR0n0
r9mZdrwkETP8iCb0l1DtF7YVxAlXw7eta/SuWJ2rt/AX44LJLm2XhXpOEDyZtIbGSsoYgoqETYhD
DJ14015KZwQPy+JThvkZhNi4VjWNArNE7cRhOT9tl77of9ZtA1y8WpFiDBIDm8cHUes6ktQ3SU7g
ItPDnLLu/a+uaJEJBnLWiNS9EzrivU9FG4VGP3ZTs4cZzNPMm4tXtDHf5ohNY9I41UfNLZqq4UzC
8YdvhvsKbdW6tQ1IsxxvApoSEWKDqyAhDYO8hLmnmq9qmnFjQB6SeetAo5E2z/NmfgpEbt+LIvhJ
F7KABgdiRECAcnThoz92BDELvp8sRXGt3e3CBTt7gXe2Gv7+UgWZT5VOcw89U8i8Yw9+CHXGPuob
/0pqibllhZoSZ19HfvTMnp2lPre0f7CzwkzNjdX6c8SSaDV9KOavloJ+DSImpT90+QHRwYPy3ln+
5eTzFvVohkLXOZAB4kP1ZWZxr5z8tRvbz6rpgerXyLirynsZeA2YgiuMMIoOO4WLoNaJPM7DsCak
z3OsDob+VdSYqgpnBTON77Fvx2UzNfHYVYlPOVy+bNHHHQlP0Hgiqs/fyHFTmPFPm0+vi9i2ewMg
5NG/HdlD+6NGH6i8IR2Ul26uuysc4BmN+wDGDBp1RDppgaD7wItQy1548wl08rXs3bNYl2Sh5SfZ
poeyBebST4leMBoc189egavc6bQtgyurOaYjS72r0YXlISKoV08fLXWPsGkAk7wN9mp2kyVvEq6H
DOsiXrRMAWQDnEXz5tb3/kD3yzTsfMVhfLuGu6Au0J+gWitd7Fy0qdluWbUFBRpLnNjjNldRXW3R
JiYdz+O469Qrt6D9yEe7SXWuBO5dF5AZlsl96Xbnoq5T6eYZhVNThETeeBVoRju4jXpLF+WD2qke
tY3zguJ0rz1WJz19hG8u2PZendZm/fTyBeVTkM6s/LGO+buVaHwXmIvQbceaT45/KYfGrKHfcW6h
M5XtD5qbz9aw7+NmXoOQvoJsH1OHPCvwrpNqNMcgBxTVDQ/wrLGyj/28uJfVeu10HjmBcWNPo4oq
CkDtClvK8Brg6O3or9GvXkghnty2iCqtkqp/neVj1c6//PHbZF6mnoAx/GbDK6tKdHvf1vmzZjpa
RmTxkudxRESrgAQY5Ip+fTBwnCxfKllEQyfiHm38WoS4G8Fm1ear2OiHLMXZqndYJR1X9Mpi/oSc
9+L1Y8LW4sxJ896hRUNAHb+rV3VZIPOC6lz83KCLzKS1Jx/Xy66wD/QvtSRtwtGdD4B2pvFUBnzv
+QQ5k/5PSX9twb6Z9XNXv5SKfBt5h4EDgC4y4AVJogVsz6YwYfh5132k4cOtz2fmfvTqGPv2IdAw
xOsgvcJuRb6c4MgpS5EqDgaXQXBeBzDdu+/GjHo75c6X0gTqsGxrImdN07kGyRY2inMh0267dOvj
RM4W3gEjZOC4CLIAsVgfkbQeDzDpnn45+XNHHvJeJXBWSSRsdavuNFn/0M14jw1oZNMzL/2Ytjqt
yVdQb3tpnQivL7H4iigfUYmx6+2vnMOzg858dZ+QZprMjdiP4y8+j7BuRckokAjLZj+2y3wv0OAZ
ok8CjNmif/erYYzgSHwgIjjIYE0s1ztaI1MCAEvbfwxTHTPCfo1BsIOF+b4MyY7RNx9hdUWuUW4u
yebbFD0o6yHRqZq4WWGSaeuHUMzHsWU4Fb0VnDCAytWhxCyybbuMcCzgAL432MZAjkOb2iAmkgEg
q+huEvY0jdOTWadoLBYY+i7OPif6QDh/nwHjYUvJFssvM8NybrbIQRPWL4i8BLRi/e9eA5diC2oL
/1aWH52fpy5lzx1cffrxEy0Gbl4b501wnMb8LYCmWG9QXQOnX5y73PG+eRqd4/i6tO8dL88EySTF
GiSavuQ9llGOD98tUE2X3dPAkbnThigwsX02+k4O5HUt1x99nVFkrvZDBh/EVPtHZ+i+VTkxGUUP
LnUOWJlh4TGax8CKdq0ERTV/mDWs0t1FuDh2i1cHPH400e1DGdzTpX+cjYHc3mfxKjEBb9tLVzU8
Vg7DwNILUjVrLIkimO82fKJHzAQw71rmaFzHxLgrHHXMURdfxEDCzGTxqrB4cjhwR+Gi4XJPkXBR
+akWedzkH76LrttF4BK2DzHF25ZHBhgfCAQBIKe5xYXB4GBoQFPKGwQ1eBfb3lKaytS3DSDzIaIT
rHvKLlXWTxGZmBAEUJGtSxZc7QLyQxFcAwLWICrezdyMozPWCpgVCYrFoLIA78N29sFxeugX7gAf
VqpL1xxW8qYFkmGijqEop+6urvleyXcEze9QyqUdu/K2x9/gxq73tdDqHITlblD9HvGRL4HaIV7x
bMslBbCc+PUdc+c4N7tJkrOTY82MOvbnjyoIr2FzrMvXhb2jiQVMoM7MGVHgFqqBIKSNSzslxYD8
VcRQsjbos6qFSRXHlohtcSrBv5TusCN5ee7Isag/+/xcQWuwqVLuJ33lwgNz/dDzKVHlZYVj+1Tc
59gCJnA4YYXcmwguDJHoNnDYcJrZ6SMsq49FrS84Gr5zhjJWIUNtDYe3uSvvQny2tGSxJlvcueib
FtRGFfoM6StAje4LmqU2ATsHiWu0PXHAfricpUmI1wOzl99Dn8ZlN77WflbdQJeq+HRUCQgCrIZq
eHXMvVHjZ+61WIC6uYBodV5AJ4oLjTZPHsqwganfp8fQnXrDa+96qW6cIJLSSbWzHqW/4A277Sk0
CpMYtcOEBTsi1A+4joVL5Y7qx6DHNPNZOO/ewA/IlElLf71UvMNcxZxZWaDLCavTMFa/Rj2e3DJ4
73UbAuHt8n1LxOtc/prz+VtHXMBtzbd8Qu/kgc/mSOcZrpsvI4HDg/GecquObjg+Ltb6j8QNofq4
zsNx9nGMGLHj9WFFqzw0xxxge36LawCyOOxJv8Q8eCbb04bb2iWpgILaydVOapg+SeVGqw0yLN8X
R3CU+qaax8ebUmmnEYiNRt5zszqcyLe+WmuG4j7ouqTeNsYOM0EXGofIToU3XFmKX21vAn2H2nq+
HyZur2s5g2jCC9a8iXoo3kvfAWpSKk0jMtEwy2unz8Smyfdwca+DdJw3Tgv6otzV1ZHgZd4BYgYu
LidF/v+YRX+2z0CPp/sQI967ZXwe5rM7PpTi4b+edd5Gmv+nod2NFfIfhnau3mqXBRO9k0weld6e
wT15/a9f+v9CLPlz9pSZZNUgKRTSBoAvSE5Aw7BVWxi3nav+fVL7rx/L/5BfUEI0q+zU9Ld/w9cf
Xb+OpSz0n77823PX4p9/u/3M//6ef/6Jv+2+ust7+zX9+Zv+6Wfwun//vcm7fv+nL1KlS41C62tc
H78m0+jfr493ePvO/9cn/+Xr96s8r/3XX//46IzSt1eTmIn+8fenDp9//YPcRtv/+h9f/+9P3v6A
v/7xbMa6/QICr9//8499vU/6r38EwV8C4YPGHTA8BuKmoLBft2cY+Yvvo1YLESXnCcpu6jjVQQf/
1z988hceAh/jvmCUeexmCzh15vYUZX/xfA9W6zSkbhD4EA7/r7f3TxfoHxfsXxSQvQ63xvTXP367
LfxjwaGc8z0R8NBneClP+H9e07CIs9YF7J2uqHiSaUV1tJESPWpVOPd5pTIU8meiPGe/CgdTIUxV
77xxxkgA5HTYVjrZRPs142MrEncO4NNPwP1vTPE5EOL8N6y430lXf363IcHnGXAm4NX/J/JdLzZl
EPsapgHLxc6BjUSC/QXDUW9K2oF4O9LK7zOzILYQJKAsmIfdeThegpzV8TgBoULZt8TMtTWQs/Jl
WBuALENb3Xmm7DPw15+rsA9eKr9uY19H25Kg2Wz3cxdeqxAWIkijk/8NN/w3s+uf/qhAUEg5XJd6
N833n60eauGuwvQWhbcxSJqwetZImWx+SMT/7IA8jHeYTqEwQTJF3JMSE0MgqLeipnxbMJcG1jaj
TugnYg9LjwLI5tPJz+v3im4IZJItuRQNCO69qtfI1kbtoUBB3SXW8BqUzhvMV8yxIgTV8rKcmN5i
J9R9FhYFKAywAe7wlnyyR7uQrUs3n8BxXmOjSiTkbUu4d9vgGFZ1ykuPPY/bOidzPqAV7nl/Qinl
8dVcCIGpQ+N3/77d/NNu8x8XL+N/kuNiuM9d3CDMZx5hgfufg/Vad/bGkCABccHMmU7FhIk1AEGJ
wmRyUSqBbiYvLQIRUsr74ikfwz5eeSu+EUW/N7ZbvyqGU3tuRnT6zNyJALU443de2xgMFvCJwaEu
8uXapq6wmfRAGeDEeZLoSeM8nf06TEKq0EKZ6eYe5hv/dcLoK+EzoO4hlGhHnPykCXiSDCPCqDby
6HpiOlI7v9RmSUFZga8PgfCjc9Fcu3P/vRS3373vBIQrpuFgQhW2TWXe80N7+3/M9NgGtT1W0zFo
4G1hlL06vOuzWbEmMYV0jyEK7huxOlW1GSM92Nd12EDLXJcUAbUq6+iUVqbZTnNDoGkdAqTXN784
UnYinFgEdcoCx5xZTnvH3NaRNsBQ2VdQ1GOkBgxbWcHHxF3PzIYoFspTPjy6PdAsr9wGDHO6r57i
haXhQIPDzU0DMp+DgMHLpLA/BtojMELgM1wnyo9Vi4w5p+wydKzgG4vhlr6iQFNjJ1WYX34xPTCw
xbqwwzBe+Dvilvehwj0sNnRxij9uGuU9dEZ+CsIa3AW8YYpJ7fepD7PTfbf5SPqF1CtTPvA9lts7
iyk69QYDaut0xFrPtpkssdPlV+YSALczMHAxuCF0RNxN/LLb5bl5YtAlHRyJibmun8NKIrtNx1Pv
VjEUSVOEqfAeh2Zcge7BxgHFba1oqsvhu6zQ9AE9TmngmMi6k5/4VecDR/ZkDCBgeeClww5Axo5i
kUewgsoHUoMo2Hur3QvtzJe62LBJb24EY13Ysztumc4ue2ICsLBsnNd1WWksPeAijG9v06qA/4zt
FdzOE2iYmM8CZsxUOT+OnTzxHlnd2EHGO0cdJm2nqLY3Khmb7a7gNoiYy5zjBDycsh1ZxvGuFOg4
wVF5nCaOqZgQKtNtedgWrwTTiu5aqufY3IgbyKoJjk1R1DFBKFFctDPgxAW2T6ExP3LmYm3KyT1a
XlRQnw0HcP/4Wbnye7tBvDTosrpsXZtjKlglM0Qiu3xZpsiF6/lFl7IH8rZW2JfHqgbjY4uNkE1G
BtCl0XuXaI+gINxo5s8dEOPK4EgQ4Dbi9XemLGCm7PN0ZHmQ9CEMwYXsTlW71Me6RypL6Rtwfa13
GN1xr39DPGPT7SVUSBTP1v6lW/iQArd85jR/60cqLpZhf8BIu83qDcRWv83nWJeQuYUCy8NzhvJA
ZPcBJfZymfoAHEwrngydzD7X9C20dDsR9Tpw0yWNhrqsGTAh6Qimu8T2DBg69ZASimnLisRBSO7K
K5nRk3QtsMCgLRCSBA4M/KZ2LgnOrTddx47+MDp4gVquSceiaPblgLdYMSDW7Qw9GCZx3xrj6rt6
QLx5fYepZrUzcyN3csU0dcJMj+d5iVEGZRl6GSSrOG7m9GxNaGdQOIZhKvQIM1mv4ZHbrzLewg1E
bBOOGXq0KuqQIYmuYgMG5JzAuZzRKHrfV9LoKOjKPTRdCAr1l5dugYvCoFtc5o1l4TZ8iBCtTO/4
+C1OFfucr9/Rlb2DHwFipyjWvQDpIOrwfly/0lfMjfyjOzZok3lvT7xZ71BvjZnXNxLQ4fQLzQ5G
A/20X+G2vlf5aOOQ49W9LigvvgJ/oNtahFoEyr0orvo4LCGQREf9vgCTGgp8AwED7tWZvagLDSqk
0VvP/aJ/1Q0MkpxCLTgqmN31NUYYoAOpG6+4OeJiAJO0bb9b/TqtyvwlmHN7oD5UwC3YgLfs7rQt
NiSHOq0Co2pVd8XtYSoozD9qinGLtXcLfBiPAemB5MmPwPPyM50kfDgpi/LNjqd8Mxg4cydISk5e
arCYHrpm8a60KX7yLcBUqa3Riw4Fz5xS0qxSTvmtZENKhX92KWXXhdLunngC4GIYlpEYt+5hHoHv
rKyGNy427Yu88Xh8WUMjolgP35MgD52rP0HjxMhyN61SnE3of9OATPbM4iU7df+PhxUQcqWGICt8
XOkcM6o4NP6vNXT8Zw+9YOqPRZUV4+Y/b+BsH7ZxxkYMFsJBL1gDepXzxVbsIWBj/9x4041YyPLT
AHwGOJSKoW71dqs6la1EhoXjtmnjYaRTw0olZaD8xRPcYeDni9tkaYbmIsSwHv1gPEiUh+dxEneq
9z4khVO5XOUrIwoSQAx+O4xsktkFajfKd6wzdaoOroM7qQ6XIuZu8DF1DjzshumHGXblFFDMANiH
CxQgq00zHCUlw/H3f/1+mEuwabANvjAm+iNvx8BNSeFhE3erfe1XMVjk5X6pRLjvNcMOL4oStd1Q
pzQs6ZuQ+sEil+ut9chL2HXHcQuLY9P3Niua8jX08+/MtvNeoEBhQgfH3w9tAdyvK2YWl0CXUzMM
WxK6U455VNG9zQMixx0t71U1Ty9eeORDg+yMwqwJxKkURIt06VEUAWTQoA326WJYkXRWDeBVeird
hhuGRTJEY0euGqozCJEwXTGrnyFUa4hB0yru5pssxLCXoXXP/Ca2Bc+KJEMbVInj6Djvq+YuDNJt
XsVpuT204aLifliQpNvI9jxN6wFFRH7CiAvE+dt9OeF/6w18JYq2H1XrivCu7a6aunfX3/pstH2I
2zA4bcGEnFUP+X2bZTC4lOX3opRlXJXFmo284rGPegmw4bplucFVLcYKBAQ2XCG/tbHn1XArn5vE
mcM7kjd1DA232JceXMocsDj2DotbjM2iniDaIXDNmEz1Bk0FNjNPlGXUNgHCtqqWxNWETw/Wh/Ym
tggjO4qkQ6pH7GzshuotKcq+Z98zh9HIdh94oj21A2BD3nxnYAqiurc/60lSZBblJhVqQx5ekX9u
9fpLWl7tJzrDUHNeP5fS7VPaFTzK60DGviuPBp3lWY0OBjeoamLwMWFVw7tTjpC3C/eWFZReeqP0
NOLEbYGddZIYgQEL4yF4j9bFiRrMPizEHb2DsV7Wru1wDXKnyxo2txe1tN7OSqXulqZvD85U6iO2
MGcHrdFObZ0br6qSe6kx5iCLScFsveIjHCN30Kg5NvcJnY49tp6JqbDswPrgiKlrDfPRr7ECCUX7
GNuu6HsWRpDiJcpzRbACFzqAp2lfuqJBX+ctYyyQWXcJqzyeBX9fXOk/bOX43QcNrVnEyw+5NXKP
mJ5XTph/ASYPBoz2EZKh5EcLtnnaSsjOG47wJjTreVKUM4goqzqsDZgmQoCK0Ytu+tTiYcN8s4Cn
8LnnCzqw/HU0kMKPkHtCG7733Bsnrq4zyxnu1WGMOb9t3XCJzEd2Drlb7OuAmJNaAmwAiwVkR1mB
U2nVmQX1KpwwQhK9/6uWgF1VaO4xxu/hMYfTTJXIGVNgwAjRPEz+pe1xbZbZImctsC/YGWcIIlJ0
qww3mRNxxKQl3izKnd77XuZOGPtYqse9K7sHZDPufK7Q4RchpjGjPq/WuMcWDBPctK4BrkzuA3j3
pUM1g9kRkk930zzFtorSpJ6XVMybSIscFNexRzWSF7aJVn9t70wN2WW/4kMNx4tdOPwwQSJJbsOj
Tc4x3r2P/QEUhL47DFVQYziTgsYhIq9P7c2lsVfCHm2B9qYq/Oc+HJudksUVavgaQ60gjBczYjjk
k1Olrcm80WCPWkZ6DzLabqvY28RM87Lm9FpqgqrU4PYMyp11HbQMfIkm1FjY5pQPyTo6srA9FM4I
2ohpf8i1/xbiSrDh59qJM+uGPCEWvOV+ukrPNjHBx5uQuhV3LEDLM+pcZdan/nm9PWxQAKBpcvAX
dx520JAnC8GsgLeAIty2A5Exl3tbYwbIGztcfz/kDgQEOInub0VSe/PopSChoBN/kJ0znKfNnFpM
HwLYEjfAIFa2fqFRfZy2Rd+Di+a9dEP1Yt22vG8EgsGKTrNT7fr32nf0dWkNgk1KaBbK+7XwxTMs
DbxTOFK0eD5mjq3j/VzQ7Piwaf2ubSHSpnffugC3uBCduFA0kokNVfhjGE3Ke49/Vrr9xXVVvHjO
ir54pdhMm1sTOw/e1a1B8cBQp/rwS5aSee/Pw7LTOCfi2sfmPY7ViYt5xkkXVrGCowWsqjcfiXZt
kWpJ0XEtN8uMYTwNvF2Ps5jfcwIzCB72LC00rOi3FtbLw4yoUIyisQ3P+f3sN++wMi4DWC/o0dxV
5jq0GP6jEg4PQvHy5FVgFjvBJpKZwRlCT+H6TN3J7HJMiRpUM8m8KRhoOOOSTNusUk0JzZbVD57r
jVX7SjZfWnjfJCCjtxamImlpseOz1UwZIVbuHQWSSMXEm53nMLMYpWYYkO2KLtdPvgct7RSoGXwi
shxxchfRNOXr/cLLZDFQyRkILPYcfI3MhGgFMN+uwFZf82/U5ve4KgvSKeFq1iwcnxcLwv1ku2/r
di26Tj+HSxleBooGsjUyq9jywnuJIoeUe4Qi7QJwU2KwCFTiWPtk5205tRj0DEU9vQbz3pZduCtE
3WSdsnxvghVmgOxHUHnBWzPD31LALCFTcE6JPArifpuHX+40nvXobY/W586198zrWl1wbZy3TgDu
8New2PO2hP5uE+4hAGsz1FP/tA41LKFKWyT47O4ccJxf6AheJFhCTuaHg8RI2nffigDMxrrtTvM8
uUnA7wbAGVm+DTAel8yNdMBgvTcHl3Kg5Oo7oCIp13mHzwl9XG1/HxjbJhUmzVmJwsCBsgIiskhO
U/kKvusRwWce7EVy8oPlGFORuv9oBYF/Rd9vwBZMHWu28nhpe51VgP2e/ZkD12iQCRzK2k/AAazj
lnpVoqtBxfWNJr3lI3mt6u1lmzS/B9v8NbccKbyT+xMHipNIH0NugRn8C/QQUzzhZD8gtoGmq8M8
VOg3ppIG17ytg+0Fcsx14VCDyMBevHztHlvpHky1U5MIXwIktz05OKNbM+Mri5DtOZSpD6WTaQv1
ogdtzrzF5NJDzvebyWm9z0tRpYCk6reywVY88HU4/H6Wuu5nsQnn8vvJlUO/4FSvCje+8am+8x12
BzLo8joPTJ/t6iKXl2/2Ncf9fOy5twHlw5fLEAw7F0zJVL+hxVvf8twDOYIQgVp03lC4unuwyZsn
6nbFo+fZ8+/vonlfgtXaYjmYcnurG7GCzGybw+8fmmj3DA8Zhi2ltc8ClLnf3xWaQUCMxap4Dvwb
KZG+WrH8VAPihee+f/Xt9GpB0hHIBoxtNZNUrdu+V7aKKw3uAtgMCWE9iA4lAaW/H14WrvNd6GMO
uc6oanuDm9kHSFKSe1SZAP0KB9RICC8i5GEsiRvkJOVg8Uc0R6kAdlQdASLLD6sAC7MDSlvxexdx
4EtJrpsL2x3EtuHgJjqMnAaElRxswWwWoJXRDkyWwclEA26DwgyzRNcV2ZxkmjEdw8EADIat22Jh
/GM3uagywSDGdy0guAWdFzPPblmPNU1qEUSoWsDlWbHVlNw76S2MtrGuL70Yzi0PXuGKJXfzfKO/
96MDYdad1hVidnkIvghSpIH8lPS6jjepFROo8/0SXAAQ+IIBBQ0Z67NBbmOE/qe/Iv3uxwaDhdjK
7qVQKA9rXFJQdEKYmN8uYbfR7TyBfhzn3Z1bTd8LX4LTNLk/DMfSFqAAJXocEcO55PCowZ23rhTz
USguMgqYGeRdJ5OTOTTV5kX10UOWVMxHkp+C4svRUJwMwxyPZstvUqP3bbypJzD3FVt3qHKZA3Ia
92sl3RMt6vaIDOX0pgPd91s7JJWBa5pCmR4akBHGEJKBLBQjUpTH5oEsoNl6UHjrYIjW8lyIAKb1
xkGgvKnlyYGBXrWWIH9uIY4KMqJ48P4nUWfW5CbSbdFfRASZQAKvEmgeqlSD7XohbLfNPJNMv/4u
OW7E96LodrvtKpXIPGefvdf5WTLe3tr6iVNV1Ad+j8GJJNnWS3xiVxa3bZQUWIbwcRjr+p4R9Ah1
F3+ig7w6SVezODr64/bYO2YUOY9POnenYZAYwYRW1qWx0yZs9rTIb7ktUCTWTmEf41xaHMIi8Rc5
rR99MW0bfuoGFSZiqbpXTGi2VMzrpqq8/rLmWCm8as+6V/F48oEqJ8ouuo0HvO3p8J5K48Ubfog2
tc75vITDWEu0y8w6r7C7g6pkhlsW5W6I1Hc5c45UEYtoVzX6+1x2BMmxzYSV1x4aw/mJ0MkumlgE
dSObfV0mWIq6vKZiypswVumfuGgMvF3DNUH+CfGwMrRYiEJxT9WVOFk5JcNsoRNz4gxXK1l3uMy6
M9ZkvN/khrfdUpobgqLDkbzTtK27juUUQ9C1Cu+Bei7fyLJdY9LdMwU7FQQbA1llQeoYchcP8o38
iRcYmXXt8oEfl5MTVpvMiFAjAbEZW3EXeyszIsxMRanILQkMAmkj3mtm3k+d+z4k07wBo83RopoV
Sdw628P8B7XqZlSy3Qnf2zdIsqnqHrWFYbhZenXG8HVmzwupOLf4BT/uIxai2cf++jVQmKFoOczQ
d0J8ZFIkB0y9wzb3KyOgauQimdKCYtBmzSg3GMsgL7FXtRtzQKOtI8M/TJVLaKpmEocdPIoCxFMu
tIxMeJ42l4nFfZvCon3FZr8p7AJnB19om8JQSPnzPJmkJ4O2L7OOwpCnDBuTZ/DUL0ix2yaKv/vj
4oSzVTHwcGcKFzEfLNI7q7Tng1oHPtUGazgtgyQWa5Smbj55zHQ3NqQPTtXzJjfn6eIVlNRcH2NQ
iPEw2F15aBbFNAC0BjdZnW6q3h0uusL74U+8d+gR0h2b09RNrHfEc0Xgbjgxo707vp/vcVvF5yhb
lxMKZWsV1dk1VtzvnJhFj8N10eOH0eYmnnvjs0BIvKwSz1G6ZCbdjvdpVYURmktyMKy7g+JwrAWN
Q4Lo8g7IAstudPcjXd78qXyA7cR50+Ce4av9ajgewsmd6+PYvc3munw0BNrwcvabWsTdrnTkTurc
DJPnLzmZflonsi2XuR+70eNfDSQqfkJRNL2xVfppBxxfsxxLasl04VRTZkxpUzzmQS3bqvfPJvtz
aN1og5xG/BTuWGwrMZR7flQnIWqM9NawSyLmYbHNdNBU1i+BVLvtEmESv6yjY7uSku9WGmapnlwy
Tx6tvHuZq/qi4Knu5kY3R9UqhGBr6jbp0I/bgvJ4A5P3T0nlMo35FHY+FeH04UWwQeZslVe90AGq
CB2oXXBTNrb7ZZAmvRkj37lZAb9r5k+Kp+6u2PsUeC7VxJQ7xhXO6rdR2xd78sfAEhjkZuLJbYz/
TFdLd+js8s9siFtMPhW2nLlLK3Tl2nUwzrKdsevYflwFkTu19wif2TIPTWBN7e+ka/eTnWH6aVCb
PY7hbUseZOxJ6/pVd13JxMAVYLsL3pqwJC8uqoodQRrmcqR/O05cEwnT/dbsGUPoQVunxbGujqnK
U19N+6otqF2LIgpBJe5MY36kDr62bFj3cb6+MUPiMqwbdV5K7tRZTW+pSLwzMvUUjs16cLR9TDsS
ex0X79m2R4oAb7p6DpMcerU1tG3GQMykRNK6F+kTR0mL8m0GABaO5fdRCvM+VcW5qERAHp4AlLbB
rBJO75tKB0L0REtmk1UUovH2WYlhaY0wzwiLyz4GeBi2AO1D8onjG9ZGCLf29AQUgtPVGF8zNNjV
u8mSOIMhcYa7JTfJ2jP+JR9GuwxLMapNKDvq1EVE43Vsb+NIu4E7ryzNGSnTzJw6ZFZhSbhhU9cO
ziMOIvDTFSN30whKWXlHPGSbuZnHA4yaW+wPBI2EjoM4KiroZuZLUcqJ8KXkmKVJdNKa0shJiEZ2
MW691f5Duvy/UXnv7K9FZhP174FEVCMnKgiFMWxhXOkTygU2iUhvDcu+tI33zko+43hqdv2MzmXY
yTYtGwR5osrYZnO0jNoICFdPe2XfVGeQd1b4AHwHpUi9txC4LlRAYteM6DPG1NYbCxnuLL2WqinZ
F2m5/PDbfjelXlAsln6L4YFFdd9uJ7f6Y7trdlKCloeKQaD590fDQKzlCe72mfDenalbQv9k+bZ6
aw2+HNUwn3OeQai53rp5/5VCq+cLG/czs7KtKWd42ytQf2V9ml76aeTZjwS5CAPi+EpD2OwdbepT
GSFHFowrfSc/GEnywMXVbdvZxezpOOVJzQ6uitY4TNZvbbMBdVyXw0QFv10yYzOMdn3sluHAXuf2
wGCpOleqfslaF2F0aV6ZVuxtVge5jV+GA3mQje1P/c5Zx595bbk7MgPNxk9lv23o5w/2km2JqhHk
A+fTWra3x4a0BlHmhGWd77qxqHaVR4zLKdiFIXGTSqdPDwYb1jOXhcgkU/OD9iT/s84+MPf67y2L
UWxVN/tu0vFmcoW11cwG936UE2rLOQIySrlucNJLYX2AubM2eqx/4hWJX6lhv0+rHz/wbapN9/SZ
TRV+4xkxywFd7FwT4+n8dHs/lKU4GcBeN5ZD+MHJ+qtjKXJo/uIEiee9DKPxPOOqNjB8c8cO9WGr
45UgII4OrACvi1PqQEulQ1MTjOyZjGySNem2+MgrioquOEep+ugNtcXkjKWUWD/yLxm73orI22h0
0yTdIsszvTPWrxrl5dOi0eCAPGJrVCHFYnXoZm0FxlxTUTcuawYIO6Av20zZwfR8ONP8NdvzfNVJ
PYb1nzYtQ/85IFaNl9/Qot3NYljF3uwFi8zWvt+va7Ics9ptXoRN+Q9VoA9dushj4sp72mZ4sdth
u2LCOVBm1mc+p21Lzdi5zDD1FNkBUR3MnuK9Zzi513H1jmXvgdHqlVJsk1K2B7rXfRBplouVv9VM
lG62mpoaqPxlYPsh19nvGDfkm1ran6CouOgIbBNvEZRuJomRvj9UxXrzZ6yNc42wSKXys2XYi9nR
+17nIgm9jKSF1Q3sStb3ZG6aYxnXLx039mH0X+K4mC/EoOSBZPfdthnTOJZ5wZoKXGWkGRos6+pH
rjoiL5OGR3A4OHJ6i+uUaXHnV8GkIvNaVIcxd7MrEr0TQs+S+GDj5Qhw4uiMROU82wHy7yv9wsbO
PV6X9Z7F3ICoxqVOp9e1wKkBPWQIlir6mwoEeDmUaJksIGwlBWEH2cXo9H8keP39pMhudRBVuVNh
0VXcH3GhQrc2xn06JiM1PnnHzK0e7pGJR3u1+/Xce5Y6TXxMSvuslYsLyH7h0Lh6Rcq+iRyuaC+I
i5bU6megw7tZrxRvpXky7Aj53QiKNsaCndf+1ihceRbgKAjAF/wApuVLAvwGkXqu18JFmAW5YSRh
uwDYsGTzQjh2CLPSBfrTYVAiVHedtCLn4RrTrlRswUprVT/3EDphl46nZuEI95qZOqSM3KvuudTL
HGzDwoUwi4LMcLHR6jc67S8rthx+7fmJIhHhJ524ZSn3v6XNkvePrMXqXFr3WZKXKqUsyLAPiTlc
G4mPo8K7n7iPOvWTXaGSZyg1fZs89alVPDFBQezUpa137I4+eI7isLfIGKcE0nwR8TOcVCjTzGE0
TLWfZ2pbsu+ViKq7M8UiIPdQXPZVQ4no9vl+SNfuZhL6vGGT/SvnZNwnijerBVASAPe9AulvL0Uf
mQ8l5MHOp99chny2suinFwEdWUyUkqSYUbCY6attj6l48+9vUmN+9Q2iB2wb3sMtM4668vk49d6v
yXnqjD1O/R5Eg0EEpjcYKvh6Pxv9papKFLAOHoZe6OLWb50bf8XT/MceC/zaVrITc8s4TdZ+YNGY
nDNjeV9XCFjDVFznbiGvMDz/Jk4z0DDqoi1Lb583LWxc+4PoaLnNo02idXof2v64xs544BpTgZum
aLpzsVNZNBy1lq+ODuwll3t70IRaxi0DYnaCT0zCfZW/JMrr94mQjxXb9L7xSCimvvqv7BpzCyjh
OzsvYFmWJZRa8vGsbkL+ycxNa6iWS8PlHS76t9yPUyxVvFutsYZZDjA6Tc4LumpQNNGMEwDvd1Et
w8ad0z/RssinYJ2FXeUf5h511nUTiiSMSDYploLDfLNYBdMUw6TNq9V6bLKSYUdbBy0JsqCqXXc3
rrD0ZNMC65XNexqRa29aesmYENtxFBY6hrQJ6KyHvDcZuvAw7EfCDe+JfY+5FlJya6cJje9Eu7Fr
EQDPrsJ7l5kxRYngoc58N3Rl+5Xw1mzyxHmoHv3JLrKb66ZqP5rRtDej9IVK7l51ijCoZApfxvGL
047n2i3GK0ji7t73SYj1Ru1ZD8aoICrGz56kQBJoUux2Uu/sBpshwv0PyeRlo9FPzsu/X8ouuT/F
H3WV8uhK9SYqix0wjD9iW7FOobFeXE7EmAZno4alDyfxn1exEtnrtbHpKV653btwXrLjNLATZ0JX
iSwB82RlYJOP4lvsNPkbBfGriuidZlEf2fuEyyLpk5e9uxhcywUYmWy0aEi9fQ/s8GQsOCa8eto5
7e9x8eNN3nvXGd17a5dpTk3bvy8Svk0+emwktYCTKBxOjHvyDSauOZyr7J5PTCaFxLvDEg0LV0X2
X9yM0caFscwFtq/rdry0WLTwo27r4WoXq7clJ1Bs1xV3E7046kZhNSEKt9D+fypZ+tMg1SekIfsy
OcneR8l2Y/btMn+4ZKiwW9V7TTgafru1DT4rZVXuZ9V/WC5sbr2aD4M1mfuS0VXMxZgTk0SMISPv
pTgjcKk514GWC0oBG4bcNcUKsnq/kV+R+vJ7Ttrj06YU3VTynKclK0yG9o1QR0ii1jos5KZTssbp
On43os4+O8xmSAQKwrvZcbCG94Vh4p58wqaaYUF7ZrZbbFJ/oDIPsWObd8eTBO/L9Zcrol3ReFhi
+oHjhUT7QEjSB3BNqy036QqGJV7Tk4wLMGZlnXFApXvLoSdalyIso5KcLJgW5n7FR576LvTHvt+0
lLxuhWYkKuyrbpkDeY/7IsgnK9mW0zKf27ktmOMT6yHmivPg+dL4LL8YTJGFsMa7IGr4sZg5uC+/
cOOzWfiXOU9nUpNLfJ6mZjjMsd4PrQKv5UWsLmvlpe1LZosR0y5bN198qd7z0Zej9g5RWwRePtln
w+V+jWv5beDm2mXKMs9TYfx1G2vcKYGkgc/sL8Gu+kwqsznr54tXl7vl6RBp0to9js3+f0/4KnHZ
IJcYSBdVlEa7rGnFWRJv6YXOj5ONrzday/8W4ALh3KXXRfyXmTXTcSLoIwaQ8/9eljl7ZZEWgH+G
1Ed/KAk3Mkqo5vozB3hK/eekZ4YM6XlUiQwWFS0YBmxcCmn2t7EWMxyjBVHDstywsPvQmNwVk9jz
4rTbkxnj6hyJbwW1C5BnFXOxKcYmSLK8C+qOc8Vl+DiQrWCHTjSGEQB0jbnoKPr41PLZCsc2gfdS
udOFQ+wFRhnpFBc3RdvNduAJKqjYqtArl+jH4NT/TQLhIwGHBCrDFJuOvfNGHu9SPbxBbEBwsJGc
y2ygYfbY6YUjB2YKJuLGzYk9Vvg/KRrZ9PQXWOHvVlswfVz5EDQ5QWU2pzZZYMs3eGF0+8XXX25r
tiQcx2z9cBbIUwNj+239hDXZCsKCLLHQpXC/jCVJr+4gm9vEUBA9gqRqzQL4nrDXfV6RlHeVNTa/
2toMMmH8dEvX+ZN5GNnj1AyivnCJSvIXeTJWAdyyt67T8yO3ucGtNyGoypZeEsVO+m6jGlX+BmZE
YGu7mPP8Rxb1bUx/+PV4R2tFXras6WAzy9jB1s92Vll+YyzAHvdOPAyj8DYVu66+2WlybQsois1o
GpelE883To8klAz2kLikkLuiYmlukZ3Wdn0YZtzdLKu6r4ykX9qt27rNyVwQ6ZvWIA6alBN6aF7g
aSLJ45iFEyD/r5s0diZ8nSK9TjRDfD8RjqXa2ncVLUTBhERGSdA7Ql3F8JycVTHMPwxT59SnytET
YZ8ef3kt/J/OoF78PlFHLAMXCSj/wAh7HwsrD7ySdCVw6wrEGkZgJfppVyVeEcZzixwdx3mQeV15
jaPstQNMAjGurE9Gz0xAR/W8zaYuAdkw+U9iSXEAU1ZiQDBShgo0VAjDP2c5ybORti+Nb0VvdsKH
E3cn0rZ1awcjOXowiLa8fcJG6FuR2yHEafKwS3rz0ix7OIu/PBIHTwNW+nub+99bv8XXAKWJ41JM
bJiE3/Dc9R6K9J6lxXQznfzLS2r1kUxGchsrmJ2+sbHm0vqMCrgRvPFbOQwEzivtXyJlYZ8Qc0lt
vS4hqj1WWRjDIRKlv+cLdoOJsCvBXs/k4mBo2WQg7LRkDKEVv6WLHSMYF9s5QEJh0iLsejv2mYkN
20sunT2xz3cqyj14gmBVXbTxa4wmbv7dU2/4WGd6+4/OXO69J6bDiJjbTX169lzXONkBOkYcWA25
Q6ePL220SiYeCO8ijgPDRCaw4h5b0oyBzHeqTTSV0YkEpmBItizbmLPzhIpPIlAhAdUwQU/08Qy6
WuvasI6bpQ2tEThD/s2KRLvnEVGXLsndiz2+dTaiPAwbkHjbftQ0YHHnYcLoWRCuPZYlqXy+lDN1
NXHcU+GK5pI9X5bF3SedwyBitcTGtVBX+YRcfDl/rDw8xxo4cjB79RJEYwF2IGnV3nP4ukvDvvR5
rU8J78pVi8+xyqtjaXffIplJaDMuWf3SmF/ajuNY4xk/VZShmG0mrmOkXTose1tpl7w3PI9tDcdj
5wztQi5mHVgZR9MzJrdk8IK8KdLH2pjTTWLDSCXAbY8qiv0nIjREYtx8n6x6kstHPgP5Ga35/u/F
ff7T5B5nGLJhz/nMM0mhij/Q3/U1fuB4dse9O7ifZZdOd2exwd6OBBDxMsm2SwgG44ZOxrZkoEVd
PHNWbkjGxl9wPY64TCMsfl60I+tnXVrZhaNX8fA3q/XL11FgRWMZ4nM4Mdt/HjF1sZtrN9sBeLq7
w0RkOTuOqdoUjHh+WDjWseZNY7gKuhZN/vOMX+mFTEh6qGywEHbq1aeeEVmY+h+FZybvkG6uLKvj
A9KoH+5UVEimKRr6lMTBzEj7bCfQJATGfAGDfSslHVgP3w5VEJbiiK9V6+Vbxde5GWVh3aKyW16a
wn9O8c+Lg6BPU5QGzC7zF8oc1sOV6umf9NeQoNhHVHXJbUL+xWQxvqHnpIHsaoUV0d6DNOk+zARH
QDKBPHXwat+I8uyxezdXjCS7gamfXr8VXaZvqeeVH2ikHfPFPr1ka1N9xLauaaFKCirbOcqin5Fn
ow9p9EgDJIkY/nPYJt0Tf9PXQdwo+9wvetpwdI6hY3X2DmLkBM1Hru8Dv5Ip/zQzKg5cmq3ANjFa
RnJFnu6ST+FNnxpW5Vvnlr/XCc9Wq6vingj/e0nPBoduegASg1m4xA5Z2k2s1PCDg7UNrHWAhzFl
zd4mBE7eBymW1arQEbT1EIbNqsXFMeB6eq+gfuS2jOSy60cju8UdAW+q+TZmirbOjJU8rqI9VxFL
hGCyX1URMUNhGpYI7tYu19u8Ro4dYnwSejlrpuSBZZKP6M2BaJUTTz9cBF6ohNVZjL28FEPThREG
o1D07RhAiOKoGKImSNNYHrY5d86jNjLnEeN33IFdpgqRxiYpV/Oa4rF7rl7pjpxtmGFGLzmS3MCn
EMf72hWkeEbw13UHqgWZYqWxZFwCMmMbmdiKu9RxdmPvldfUgTBMJjmP059MKFaerEmw92VMT6VV
rrtqDZ2mxnMic6ZOq/5dxZilinV+d+rU3UOn5c1LrKBeVfPOfXrWvGmHJhFes4mzFrmYx7AB6hbS
nAwv/16EDZo1WTERGHNfbIyMPTQw4K1zbDX8aGaCzh78jK052On3WucCDN4n8FH36DXTh86K/tpn
7X5k/cYpFlTivQCa5C5NfE+j/qtMB+O0YoW4QqInde4Xj/L5ggMrMKXMvxqK0JW7kqdt/IU0Fp0A
PmM8ontiV4G6VYP4JNJJ/SyWYwohHeRSLsI0R7WvZcvTMTfyXjcrbIjp0M9pc6sRmLe139jH1U+J
gCwelcucfEw2NgG4n59FPpfHfvbKQ4o/89XIGyJEHdGSYvbPvh3Lzza/x35vHtYR34tIo9uqpuIe
Edt7ncplooMR7O+bcQwOrZnu7QjgdK7mb87Uv/GHYZVK3xITcOJi1YGHkw6Ikw2VLnY4vsB0CYQB
2jTjlkTR+Kr1Or429feaxuSgLLJlOCKW06Div9ShaVgYptgXJbmnLnFZP+kzGUnnyLuURWqcMyZt
F9i31ypangBVL34dxRy/xp6Fi2kdpvvkp0T7Vg/jDaTE8TpYr07NrtEY97LJMY/ZAhAI4k8f5ob7
3tSJw1OxiehbTtrSzW6SLSEVBnAv/15ymzZG069u1DKdlsJhTYjO8lej1uHSDEyQ2zYiU9XCNZhi
7zUqeKSiqLnYDpqWbwJKiCi9b+Zo2p86msKsmbITMEZ+8INZYp8d97GTLy8YzNAZCUGeK0ZGadKZ
IRNcdVC2LDf9cxboRtVrI6F58seQxLJMeW5BSQbC4ZvpsAMCK5i5N6KmPjfIZExUhRNUtiuvVb3L
O++mnpU324f2A13ETyctzs1SrtSXAuVjZcSItXNbkuz6LHssQjWohWddRJUKzKySc8iTK49F7CrM
nP4PM4/t+2gNCosr01gjN8YDcwoTRmDMrl94sme3XT+tQhvXbOnsjaePKUaH2zpZy22R3s9+EdZJ
IpQf8wUT2bTy4JY1EdXUYCkI0+jxXq22h65giL2ZTuU1icwvi/Qi2b9ccbqwNgrEods2JPHzxXsh
FQBCeazDtGYJRIE1A+e/KY85nex5FEzq+hR+oOpTvdcQLzhWq6/WdK/SXPW9n0AWZIQyN3ppnV2r
wPgBHfSBNpEWTIbm3DW00iNALZTL+b8ISA9wNrb7mC3ZVCTAbymwZ2SXGIto4FUL60GLZTevET2u
VdFa1YRZV10ne7uIvxFe5Ts0xNWqHOaB5bq+9Em+biPbMr/SJTqgr40/ywK2wOK1YYPHkAdd8TRE
mnU/QVsbDAPZBj9bGL2zpecXtfNN1dnBX8B09NP7OPrLTUJDeVm096GXCk28LeewairnpHJ7wj7s
t0e7AyPETiF1xXXH3wSjfu/0jg2qaU4OaWGaBLqePL7F7B9zzReLFPwbE8KbRRm4mdekptWovbBG
CbMtTeU2Df1F5l17TFmLto0WvbNrydyrKl+a5pbp/O8UG0BTC3W1pYbOmVkfE0zysNM/+xh5WVbt
jYyrdxujrCa5FvV7++ntFaStXO4fBopAuAdbxSFKntgAhRrBIhOZhX03fHkV1K+SnvluGdq8S88G
dOhN32BX+L9iArWbVhnNm+X1+THR09PHUX1ajIc3NbG2uyfN0JkdDKMFZLNcDur+tJ5UwFvfhin/
q6E9XJpBz1nw7x8Hz0jYkVQzzqIuwV5Q7FibNJxSgizX+PnSW/oVUAYVjt31QeyN19pbzVuyWKxU
Wp52hXFL87g+ZO5kVwzRpCsNmKlL5712FgqvDdNrOzv8TlUtPstOhg8fhTpYJqJLuX9pgUWCQf2R
mRDo3LFjoW4J+DNqDILCrflWdkJue5X7r/9e4pHEXLdVZVp/d0ZZ76bSjo6cGsarSOYOx1tm/Brg
8AiIQpXBMHpq5JF2xHst/Qi+DXErVSn5Q5SjzQOn7UOZRO8jizUvSRI9Wm99z6UdvUmzZlGcMc84
c0Axub0eXscZV7XHPetE3ctIhj0mhXAkaYMXA0MP4BkoAXyPU8la0CjLP9CxRaicrNu0EW9fs5r2
daCh3AxD9JJXpEyQynSQ+w4LQKJ4l4OjvZtdZ7/aw8ecADDdlEb0pRKfpzhOsw+dcrHJTECi8sCr
dJaZXzAiwjRy5PfC1y+LbWSPYuzyR2wUX1Xu2HskubtV1sB/vzGT7EnUAKPxsLG+82yCwcW3sGsB
rNNAj/JDczgeOEicd0U78jxGd7HVMWNoZfVR969jyoIz2IrX2jF1oCxEyEWYyXcKuiNWYv2WYJ3f
uUXR3yzt/OzcyLiW1Tjf1cykSPijgqrxlMCghAba7KIvw78T/nhTkHIck3SuI/vxtmat8YmjFMcf
WjRyEEsC56qBG7hyJHNbpJFD5D1Z08+MHqhIDKTIomyPsm/KWzqj/pVNuzFMQB4R2nZdyfJs9jVU
xnoEQW4h+GQPz9v1hGB++FixWkv88VfXu/BNXFA9imsjDGa5vGwsGZk3k52cN9U6+EPtFgc6TZhQ
Wf3WoNAM7WQeZAdQmFAEe00NZR2xQww7HAL+y78XcyzhSRZHIss2mcRLb6JJaDNJyJFgjAOmDJ/W
IxUmcKDQ2pY31gMdxsUqrw753t3U5epgpsvngjdn3ztFHLZ0pRSqnOcNaMYjmbIXMuYH3bj2lW0u
znW1GZalkn5MlLa/Fz3aTs5PKhz1kJ4Wl5VlfurvHZ7FU2GAheQ03GWR+ND0VEdjlOV747l7txnh
yU0Miht2R54628IKaj2Fzaq/+fkKK12PezBHQH3lsm7bqHdBEfxdR+EcLYEDBdw/qQolpQhcny2K
/aTakG3aBPlal7kT1fI+iitnu7ZwC5ZZzb9a6D4t0yqrhxPouZY6lPaEeyVWJ5w3A5siSgJQNdNE
x7vH3XRnK0R/ZApUP2w333OGQglNrea++HLZVIgv7KnE3tjEMnkf4/Ks8WtuGR0lO1L28mIVNqRL
Plt0sgQaHXt4W2pHM9ysNdXB6N26XLSPWqk3p9LJS2Yun2AF1b1qR36DxyClekqXkcmEvHPq8tFn
5e8FJzB3iJ0dOj2iQuM5wSvS3Yy2BRKXWYfGavIbqgG4SGdFtSDtYqppeB8GOwmT1EyCRBrtuYQ7
fe4yFAAGOXsDouMJhpJxUs+X1m+o5J4RcSzhlxXC+iVCnBxSqU5mhM9ndJ87K3Pj5gxjdOO/sS0E
zGzKEoki8qzb6ubtwcdr2st5OP97EfSFZ1g4+mQ2PNx5ne7IKRVcONiMGiYT15mZ0XUCK0gyBeWz
9QZFub3WB6fGgVFUengMWU9AeiqBI6+RWTC8BFcCTe7mMJAkYjq8yz597jC1mmdmangv8UTjP3oi
7YUfxqMdMaRmR1nAaLDd1atnIY47EO3l8sK+0D6cE24MUbvLuVO42p3WfVvZSHXJxPQJ/7/bFwkf
rUo4H+CI6oubdv//Ip//2hn6sLaaXVWly+XxL/RoJOiLXlXde8b/4BK2Zb94X76n93XzMoKwQkXg
Iqmb5pvpiEPU4MntGPqh+vhbgnlMNg14aX4c/1c4dr3RzFXd50LTqEQbQjFBRPbJWrvQFBMMICnf
62KLbb/gIhGQXdJudDgiQFDCzfk2SHmgr9nOefSX3dp6O/RVHtCch/9+CyoV5sy2/JN/tgDnKytp
meE0mgvkkVuevhosPXgGbSZwjE6zsZ6B1rl5z6YS5j7B7lh6wKSBndUadwZJ841XYZNdpDpEsbdr
jej3049m5/mlKqMfXh3f1TOmY8wlkCzyl7Xyv7GINiQ8SX5pWTqwCOsPzeqXBUv4MUUxQq4twiLh
cQPNDWaND80tRSqouKzwpmz7IflOCPBuyfYHlTSFTkwl2YbD4Bxkqr7G1v/Qnboi7J36qQky9Ftq
wf3SoWKZrvibeMMbwaof7EOhbVJP3APcLbd5zKY8RCM7awRIy30hMGVPwgn/j7ozWY4cSZP0u8wd
JQYY1qvvG+lO0rleIFyCAAz7bsDT9+dRI9XT3SIt0n2bS2ZkViUZ4QRs0V/104FpEnbSZ48lgrWV
wLx8sUPzDmTWFb0WCdH78etQ7yMH3HKVj9z1q4ScJPbDtV3AwxJDgVPf/uiHB290P+WAFtLU0bCw
mPzjbiPElsDu0/bJTHvkHOcxN7N9l94GbygggT4ZUfw1AMzFHE3CsCnK3YgIsHBqC5fKW9u01EZk
w3p0iF+b4Z43NFqEbvJtgQiydfU6VYHeOrbNwSr2ns2Yk5f2o7OMjPM4zpTkhBVGB+tTeeN7jHbN
lYhVgF3kMPn2azIweMeLwTe4qW0NmtGmDKfvQvty7zHCWbk23ZKFbjnr6+EyIlJvWLrPbtZjPU8r
cRjS6cadU2+dIqUuVML5sBnLVa8YITnMXEn7mY9pWv0JXKinbRFcTHjSDLQ51aRcVdSNZDiLGEDM
Gnpu9MCFkQEVc9d3EyjBSuo+XBazeGEmCrK/JICdztEqyfrspszxSCU5V+ja6WEi+KdME1cfmrZk
dB2tk8L8qLqDZ3OCjiJaUzTqN3MfExkearYzxEzAk/7ViPqVYHdYVFwHzRlkSe/Zl7yINoGZ/aD1
ECp2p18Zt5+EBtkO+LfcrxljAWOdg+GsYg5/t38hbB9rp401KuTFoqydy8mA2wUewZ88yd8cmAik
To48hctUBBhlLY5qDQ6ocnrWafY0IQ3UDGP6miYArlVWEr1aE+JQkxEZlgtiHfu0Lp8AajwBV6DB
ZrwbBYYnXJGvbOrMLxAkpl/RyxP8iGfb1nusWlsHe+nfLxFX3LWTIntU2Ocn/l4bTGAIXf/SN3QA
CL7yZXTF6X2d5PCbWd6WaSk3cHpH3J54Zp62jIagFFcxcf9W0CGQhNzrSnthOWyC80/Y1o/MWAAV
um28KN7MevpIZozDlvTeLdM4ZrYBm33c6zp8r2oL0EkBDCHILxbZ4gV0jz/AEF6tTm1z3yS4P325
nDM5mlp7e8i3qcuAKTc1FfWdXOGF+1KZ9Wn040+V2I+chrmx1lefyzxi2sAKavg76fQfma+Psknv
WwfUYuYY72Pr7QMZ+UvLccjXRMmVRBLXLNCwlFZu2sj85Ov1wR/ue3+A2zxK5Hb0+nVQ35ZoFQE5
jINnyAAXduW1P4r7OvJYNn3Ap7yp4BgQ7p+gP0H+sFdemB4zw3l2TeMnrIqP3irvQUYh+5nQjtID
DUUMQZyvoiyuMv4gUHDEQAr30/4J4+HVjo1NlndkPtv7CIkdEXTPhXUPb5p7rAVcr/X0expSYwWs
gAtvs5tHtUPeFqs4nhRTtu7o6ODF7m4JZy6aZQMMI+NeN9MkvqR5CitzcOa1/qFwghSLPW6H0T/7
97Mk4FCQ7FvEvMFLKM1LJjakEHWKLYSXy/ayi6ObXT9XJ58T4+Lvl42VtReyxqvtdlgeivJnrh6G
vPQAw9S/pZ6+y2QfZCbVBQGB59Br73oALzDFQBxDKKYe/WD7T13jwGjs6ptt9Zeo8ZmjzmOoJgMf
tninOkul5UbnxT0ooTeoG3gS+rXyJwSfmLl+s+1NWkETj+umwDnL+bvYq6o75qVB1r7bqjY6zpSv
1I68GM6hqIsTFy44HQhi8VvTvBvhvMLJuxbcyZTrnqH870I/2zepf7KzYaWYG1YWs/7p2epYQQJZ
vrUvxtjfu4I5i3LJ8njZkQFXvPQbaMLsZ2CdrH3psyuBEu0Wjp+90+TyMOdMB+r5h0QdgoGj4jXU
n29/tp5RKb+aMoQ/fbtbU1d/MzWiE7SkAQCJYG4KLjFe9UWaxxp/cXylJH4hKxASqtsazGb9CeQt
4m3twV6hjgtDD7l5t2JD6PODaeefKmdZpxBttsTVaew7hIHSpP83qEFK4MN/TLAx8SkVwtgBIHoh
bzQtVOB/zsPObFS3lJRqLRqG4hDp50+1ZvNKF/Eon35SMR48DeZETe+RkPewZgBDMn/WI1NCW5D9
0iTmoPh2mBQrk6X8L8RhSdPHtsjELnO6D1k0z0mjvtwJy4LEqdVayZOhePyD9jf0gk8x47xvvBU9
R8/MDS5BXp0bVb56yT3kNmrmUv6evUH9v75g/Do3HvHf0rvvRPdUkRzpmpBlUH3E1QDtIT5mCSg3
M31MeWT6ntuL3bVPPpmZlVM9O/F4cXFzkim8arqrRT6cLZtga9TJR449XxZwlbyrebGnp0qtGhlj
etMfBChp7Ki3dUZnQp43ywQP3tIrmr0CGUABlM8bFjxxZnpGJ2N/kQHbj8edNxRPnT2RJzOvLUYb
SqO+nTi9pPm8hU3zESjz2TIhgqEAuS1XqgBW0kKK4WGauSY5+r2xHJ6NLHwbH1RgX+vA+ZGYuRbJ
IFlf062u5bfrnGWs9jIqvkWEPXNsGzpEoumAeZ+QTIlGPhWck0VAB1bSRUv6hoh8WX98RwM/Q19b
BIX+FPGyEsM7MgkGQd/+AQA+R80D69TVyc27zuFF9Iprr72XORxekGo+zEkcWnPaVajcC9tFsyw5
KLbJryNzDlVx9jD4OQeW2xvUyPeoXSQJKiMnkoWc9WdMw1swAJYpreghjkCbCH6HqXE2++5jMsBH
CKP+CI3TIHGjhRZ4Py+pzjnjA7cz3shPD0Aj+MSyBCywRzGfvj3JnmUfTUH7W558ExDgTGh8Mwp/
6LaW337oOCCdFDxWPC0GG8wsIiIRDZ5j3Dm9l72aCJLjX7ivh7k0GqJzoNuL26gbj2XvCf/dyj00
q2C4xtJdWX+rAsHqxLn10rp89A1sgQrWbskayppPbwbgHLQeXslIzGv0YYYWBPpBjChiJBbD7vYZ
AeTTcLrPhsIxNNmvGRPZXFe/vcFRe5xxiTP62GKoZLVqKF5BYVkkOn8tAvtbFc6Pabh3gsVET+N9
w3Wah8a41MqhHY4CiiCt7ghALpuhOpINOdh9/TzW+ity6k2vyNdRRMwBrOQH1HHgd5jN5jZqC06B
x6wYKL+cH5OM8LIbZYtihuSBtGPPXcT/DadplP82tU9EUGKq5HLRspNHefFGrwWnUYfMJfUgp2zI
tk1ncvSlYEUQWV8iowIPNGlwRPfPG0jWQlZfjlNsa4pYF1xA+ImnzX4MoMPVmLEZZVRL4ibfKcym
EbASPXnEX6eOK03nDd+mt+1bySHNCH4z7DU3ZPVeCroJ2/5PUAH/rZRxVqO5igufVxjEwkL0P7HA
JDIk5SfTPkguQb1rCXYVPREn04pwbrseyS8S6obJT97tf8ybDx0dxwAlkj5OBX8MgtwTOXhxnfzh
N7b4/w2kgyBU+JT0wIkvVFxR2cUnM2buMc6+ohoPzXxbJm7fWQc9sVrjaYyJi4az89OFv/7A2jRj
8CAvTsyr6R1mgEQUI3s8YJC46pS0Za7JXFe5/DHaDBUSUjU+tIVsyregnEpcZoyv1CwWlJHYfOH4
IezrRwz1mg+cbzXiTUJtTzsx3X7aX6Gs7ufQ/wy8F2YK710Z8A7A90ICHxfSyGKsmoIsuoJzmdw7
kO+lJc4ZmaKVFXlMb3ZiYFhl+7gGHaNHx+cfcH6EebaMS8bRvo/hB8+Qb5nHpBNfZhE9hlODY46b
Qh3neywEalHEYrjxpB5KloTYHR+Nqn2xbr1oWntYOl6lEWA2WtNe+RTWGu9wHpwMdiaSPwernF5A
1G1GTvWFAvMAkNJ2+ud65lub0/DS4fwQzkjMw+xcmpryd1reNt0A5mEo3iqjpJ5b2HIxmd2OBDdv
qkUDRWB9xQ4pzrwP4aFxmhq67COLvTvX+1MpfeqD/LfW8pGY+FvfD9c0rS+RQ+48DLazsRsMrENw
bl8AzlyaJL9OI16coiLaN/FQTM5LgSYXdi+qiu8tTviRuyWUWkfuxcVXS8THRjTJ7T/FjIs1Ha7Y
Sv4IF2Kgn/j3fh/yppE/JM5SBQwamWySaDUsXL4FWGtDHdWcPFge3sDqTcY8mqWjSG92YJJgv1sY
txYkyxOOK9oEvr/A9sr1qJ1fUnrxyCtP0dXgd99ZwSNYLFDIkulo5K8qvKL4qlf9xHIw+R2z9Z5h
3U8CvMVTw0ZYvJD5hHW4LM9Uj0N46A/2tIcFiBMceB4ZTc7Q3kvr++/aSp/IHOEedPq9Z7kXXzH0
wUcG9GkMvhKWncHp8NzDEwDbV3x6dvcxDCMPTHbqPH03j8F97007U4wA0OQDH+YxhT2Dkta9pXFN
D193idJ9K6/IvWeOCN9WAAmfRC77SGif0uzXnbmNxO2H40PBrngygrpYTAxqM4gxYB/OTl9+ljQi
UiYJFUo2W5N6TJYCNeGaJGueSeeudei88Vw0eKvdAzRMUY90iFmQJO4gAQpGXrJrymcCJ6+UrRS3
BNPRtvgptB3soVwZm8kBjuN0TbUaZLLFUPNoFe5dUBFAqMdt1rTLKSUJg0Wmp+EeAuVLaDpn1YwL
EmRHBhUnrWsSd2H6B+uoSMx1UPpIGd7eBXOa4C2a4upCJPYD++DJIcrYDoqmMvFU+9PWvsWR1E5o
SR1weQjNcksyaJHeuCl8y8TnUt/NJwEDCQrExbI2flo+a+KanFB2nqbqgtQ4RNsT6v57WrPhtT1r
lf+YVPxyyI8+pxlP0hvYMykCLUJHT0jQUsrZgB3oHlwNcB6y/xASxR9z50k3+gtzy9GxCCF0Dn3D
NkZav0ruA1aoyW0k6pbEIhJTkYEFtbs9wlEHw24kiymwuy/n20oFM5hVz7tmXtItJ8laqN3yUI7+
r8CExZrN1iQULu5JwIxpHRre6E4EFLFxJdCkRiL2o+YyNBsoMovfmZwby7//thzZZd3wGDXkagAr
vMkpILPWMU2sSJ0at2gtJkESr276Zol2H+DJmdzsswnYSNs6/6Wg8QV5CAzA15j69ynsecdrHmAj
bMfsGmfTzqpvg2SoIWZ4kJ165iOkOGiyr73HIp7Fcp/4xn03vY0ie5W5/4ix72Sb0QvYp42KSroR
KPuOGOwYQ/9hhqQPwzpc+i7qwT6mkdsMofb1Uv2JG+PBzsYPenE25XAbiDWyXoUJDuEBq0mCHJJI
TgRx4n/35c4tOvwS7aNJbow2t5t1eTZ6XOndKy2jNOnSlpH28660KBbMk3fas65+bnw5lv1HFeLi
lvVDV92oVcxPW3NLv4i/Zk5HIYu34Yi7nX3dLTpuunFs5js/aYmat4fkrzREv2lKLxo/VX8ev2zT
f4wLk+JS557W2kuT/pRtdAb9RPdywCs62/YbVsIxwr6AiWmEajAu6iGKNhqI27LKtjR1rJCqNpWv
2Q5qhHDiKQzTm2sWuqwVsKXAFZP8Eercj/1zQ+aIi117KYZ+XXB0n7rzqIjH6vqQR9kaWluynBFd
yQkBCqi6VxfnNMlxICka4xhsSYkMcTJ1CvAuN7ZMp2K0EOPSifYHQ8hy4i7QFtkhKPyN60VPyp6u
a06617QvT0kkNrmk2aL3F4Pv70P/venblzRmxllF4AsML3xRcJqqTPxWNw6GzJmMOn39FJhHwivv
hct+nxdf9hywOZTxYQQ+gUUJ/rOLkwawfq0v5QX6Cu2N5gPIkdemFfdBZ1/69D008mPUdkddluiG
TJsTUz8odiTXZcvsGHZPMz5ybsTPAQJ+VujvlDHKIuSrYjuRqDH5Y65mQrgi/dVjtXM92jRDjrYi
fA06dTe04TFnvG7A4Z8R0CxpfwexQddBvLWy7I5Xl2O0fE5IIyjHOM1K/XrjiJ76xdDij+gg/ea3
jwMFmyXSuVCGolD665fEWk8ZWxroLCLqjf4td+zrr3BnXhMIqVNvbod2QCqe1oODFuE+Ypg5ZNaf
No73Tt4cA1M9SCasGqqjHepLocmFcWty0FWXdgUIqSxZ+tpS/94mKtLPv2t4JSCvOFRlcbNxmrYD
FUI+F57kSarv3vCelSo/e1vexeNw+xl81oRC6ZgBGw+vzTVC1jdWEtyraKAZVUDDsPIUSMBINL+O
Z7zOhFeySm802CFAF08IDY9gk98BVYs6P3Wp+ZpEqJaGId+C+B7u8OvYuGer658BNdHv7Ao4keHB
s3p327s3DpvPkx/oJrsUyU/VkhsGDjWdEirvyBPHmyLNKIRBD2GgJqldrQmFTXpL4XTzjB3uTx/i
XTcIdJ0qauHLuiw/lDczY//DfsCUr7YxmLsuHvx5GI8G06ENh/UWVkGVIBymKed2R13ngQB4NsJB
M+NHpgfVxsi/4j4ydmoYmGp7HvcgEEJlml+1H9Y7LaNlVeK7FI3Z3Jso5csINCbX/qGJm22TgDnK
8t5ah3KnbB6bwMQWwAN7+PsXCnWtf/7K7IJsXYYYpxpzbA7sBvVhjDhzdvxWlpSEzMsx523nxKg9
okpYyXW9so3YOFq3v+BtCI8te+FSTqm7xJLWHxudDse/v0LfBFNnzaSaNJ2GRtl5B/vDBlZzbKub
whdZatoQTPk0LZYhERibQE81mQuvPkZDVR/DLCNI/+//XEMnWvkxdKDW1Bd3ci5xAgg8G05+n55H
M3wVoHawcy8Gxm0Yj1vIzuXsLWS6LVuyD7OiQsqaWahcbFlCYbAyU/zBnvczGtFJJfpd2nkP+Jde
5Kmf8G/P3dmBYk5OBpdQgFcLyaqjrQbSjyPT9IjASLjZxbSYabksszTciKA+pVq8RlH8SVYWJbYR
L70VvHgdsKjAecKDlWEdIqprieI1B+nI0JmgpBXcvN6xeafarxDAxCpokpR7nfunsg94JcUOJ26K
JAAyFZ6Zn7pfjuHpZYktcaHqX/I0Yk3J5UPhz08CSmpiwnnq4aAU5tLu7H1qqnY1UXUEYp3yQ8Oh
qoxeOZnz0tqz8YOl7osHp+XoUm7wjPS7Lq6AdwwmktFwO7ZXsNs8Zo+FdO+p+1xysvvCA/8EZf5t
lFAXoVt9uDlEmam/krvGoD0KqFMFG2EWYJDCfGtrrmrKxD7P6BH5KNkzAvxu6/7id4yQ5Kj75bpz
/aPAihCDXYUU8lDbJfMX4ryKyC9k8/eq5b29sWuSFlAdv6WgsJCSCvGIrTknSbS3ZPQFgTtbuQYS
6Iz/h3x5eAx1sHIJaW/+/lxNQZ2S52cnsyqeynRGVjjAzPAhhMAo6eKfOKAPauqMXY1Pf5YU7hrc
RGGI4nilwAlDFoX306nyVy2zmUbXr6jo93ZNpZLjkZA3TzWbJ7kizjbEPfFX3gaEnr92wuiqW1qq
TC88CEe/AF6sF6pFJEyCl6J1r9U4vptZ+AywJVtbRrmNOz6+uecMKDWQb9RchCrG0zGKiBH2H030
x5+hGpqBeq3bwlu5GqvtyMlwkfQubCrQR4yc9uRWUeZi6z2TNicYaNWpXSxD2A8ro2neMsEfriI0
3L9n6QQGVB3jkqJnsqK/pTHS/TiITWfVHCLzuSJKF91VJfERa+HBs1uPQUChWGes0Da7lVf9UXAA
uWkTOKlyPktU+yQ01zbCOZc1tsW6TnY90shSkK4giBgRPuo4RwvjLozni1s8qxj83Kw34YDhLM0q
gux8Cis2eAqD4ePg3xs2XUf9vJ/BGKLy/buK0vVYR0dgSO4hrddcXF/VOHD9BeuLCSjdY+O7mhiZ
lmOy0YrZakpkG/bPTmUEvWxyHqXLMEWE+ca2lFp5s5xovvaQVHEF78s4Pvm2OpJ6fmpzGOmQFOBD
C+5vXsZkLvEYvuIZ8gFaFkH5jn3zlt0PVxzQvqug+/arHoGxLiA+6SMjQQNmE9KP79k7ZZX7kVwW
mE7m8OjiHRPt2xSAhZssDFYGMlTym6i9ZtQH9Co2WiwuOpg3Qyc2CCbUOFA9dje1RYMWcGdMBQwY
TJXv2C+WrjSTZ9m/E+lud/PtBI8Naqs0nMc4g7aFBrQGLpwerGD+9kolNkoX9IXnXJVsXBnDop1k
tPHbC+AcptOKMrSSo8bKwC3DoZmyrR7bREB1yhKjE411GHlp562tDe6E6B5tD0uWF1GbEJSYuyPI
hrKft1Yyq71nxM/tXNp3maLkCensiEGN9TN3tzk5k7WuKX6wbwwQjci2nvq/4oUPlFGkKzOavow4
Hd6nctfQ9qQWjGVl6bIH0L+wM9JJ33IrLzTV50tV2NMR+j1N4kXxMTHiPbq9861UjSPW4E43eLiu
o93sle2ytyySpH4YbQNJx1uesamy68lVJegAFEmfceo2i1s/TnFXKStHEc0xgt7+0aVYe0W/7T8L
ov5v1dF/aPD5V33S/6Ji6S75bsq2/O3+c8fSf6hl+v+piMn2/s9/U8T0PH/9SZP/UsN0+4/+WcPk
yX+gRFue8E0r8H2Utn/VMDn/gJXlStKlJv9z4P8/NUzOP1zcNIGwPAKogSuCf69h8v5xq0uiv9x3
b7007v+ohonpMd+fHpVbodatZwojmetJz3VMcJgB38r/Tw1gblbi6CTwRJiMDpXMGA8p/JjS1h4L
SMqsZCBzmkS02dd+LfEWseASQ8o2McE4ptTFrkx1tIyGvl9wN6NKjx41jA0BnkF3Qj5C77jHoUqH
bbQoEwz4yG/wk3VChigu4D/pQyYAJVHaUdFzU7/Gjq23xDgRecOpWwU+myKNS6AqCmCUlvVZD7dp
+K2xuKDSMBwtuXYYcYJViS8ZESjuyxMx0kQ+yAhLRT/f/LHIZdKDI5R1MJ+DMAfDFKXhOUfb8VPn
BNcF01+x67p3C5smMZOEk61svW1hFPGyC3S4KiQEnawM/wRsQ7yQwUS7boQhoftOGp09cllMt6Pk
2mY6cXXXO+OH35nRNom7/ijxi3CnOhJL19xfhkOihH3kMhJsythnHKEGkDtwHYU4hKGvD+HBcvJT
IYPovi4r8vVO6+K3pAR6iL4KKeRzVZM2Nl3GiwI8HFl4wE9tmvoLgLL1h9nIB4y3R2V78tQ0sMK9
gT0H/dJ1ivjPbHpnhybrbxPBw+PhZRs1s3tapRVMHsRMTBhJLsKdC9BsTV5DbVVZxQTB2iVdAeWb
P6Cmd4KyB1qAyjerISJEup5kQyn9k8jp6JDNrT3BeJqDCv4WdLKjZMDScI/roQqEuaXumKG3azMg
O+lOVnUSGLkCg+rrDFIUxeUuAnsTH8cPTnT9OmvybtUNs8ssyPDZ9Rj2VRW/oWSKL2Fd59fRKLNj
3xnIEmKAw19Xl1GDksMZ8VHCkiH2yrbsTFa9bh+r2ufj4TDcBL6xSxuHIRpq5mNlN80Gn1xG8jci
iFpPT77MfmWlvyxBnXrUxpSC0i9JBbqsfLGLGnqMBz1DUCMtjGVvUVMRPqaReup7/riK5K0exfjg
zGwlY1peZrafjTPIjI1uNB+7mmnfhEyG6XBYxBVTq7ZHbGlLhjxY9ogblw7VoAkmbAYhRjU/qiw3
H9uS7ldyPBuiPP5Kxe7P6JCubRlDPoRIeJ5g/hPmreAajgo1zaFL4iKkrbp5b4RhHkD7MABkylhp
52BZjbXJR48jI1x+OTk8KiMtK5Yfn/sc9zbQLFo54pv8iZ5cNpXz4nT+uo8IVhZF+T1N012Sfhej
lutOY/jSwbDtopALOTDjAR73jVRr9syt01T8gP3cNCYrCFLOLf9Tb+VUmK+WS1Cig3EahVQE+16W
btxSsqEyj6ul3AckYo5jTYqoirJs6+Tipeymq2WAKlKTc03wb95DY52RSBgORk52nomvH3GuthsA
PGFPqnOUCSNIsvEyDu2t50FprKR1CAZ7wxl5OGXpc+4E6M+ROk6Emzc3nxQFUGXtr02T7FuX5s+k
7AP8m+jJG6g6yckiLzK6xgqT8IwV1dk3JVFMz+8/hpK7jz+mqODWt7AKQL4+DwY5EV1HztsctvMq
eWbmVL4ITuMhVoSxH53tWDJkbZ0OtdSNP2Xfzhuzow6mdDOMUoNZQ3mYPnEAzzvfTrCyzWdWkHbt
lL4PUS0i3xWXd2FZ3zUjOPDmb8wVDL6PdLcNM952UQjmu7KZ8LVSn1b3m7xFNcYeS/N2NR8zwaUc
5x5xelu1e5Ps0SJX9HfNUlnrJhum5dwgHWC/XPRO+KTKH/x6fNk6WYRmgmPRMuiGhaGnl+MgPyYz
f0DC/9O4t0JdFE7DCaZtz8ATiWZJ5I4Zn+M2K51k9qrm0OUU9s3W4zGfL0KGmDPOO8uwn2QrzvaI
IjrMxp5E8UuQBTBUApcACH5hOwaqbZWcLsmCYaMeuJY04XP+gWx/a2yjUGOO0YsD5qlbIzE+IsZn
mBKdx6pkypVWBjnyhHMYr7G30zkzC+YAoXY8HsIK2MgtHz9VWb+PJ3KTGAJv43hmuW40uU+BcbTd
NvzKmAQxM2TZobEZLLMDjYKRVXZ1OnH0FKyjgY+n8gt7PUq9p/iHpdoIz1F3u2vNXrhuvRppjezS
klnujwBTjQyKNge47oNQ8aWL/Q+AKdwSBbtwbVawPSgtDi38l7l7CTtpXiPJYhXETDRBM35baTq8
sZ/1HNaTalt41fwEd+40RNYWHg2KlYZiF0ZEzojAatihxlPc7LQPrwpMLSUe0NrGgFmBqhjtTlk+
Uc3uvtUO9Fjm9/QIGBdujkdXR1dl+TdoIJnNUA68cQ3DQQeIdOfaa4zzvAI9V+JF0XTN2m4DIlyq
3dq2rRnU2i+Ghem5uZUTD5UVAJYDsIq5gJ1J2gCApUvGoIo3jZNAN0uyA8Iae2q+NkOG1JyGgWYz
pFrYtEMctNkp5rhWsbXN7gJo/pCmmXdIWmTgJPP4b4B8z+CW5kaqp/jZJ8RKpYH9mMYlkj2fexMx
UZqH8DoOBj4rUIujQltSWv0yTTePohPmQ8hc2Kt5943yIzUSdexC60fH4Kk11ijqjP1rMPlir4z8
m72j5o6MySFj5uQouzj0mGJdl6D2IJB4er5rrixgSYbklhpjbvJYzMPO8de1cE+Fy5R4bImbOiEB
+9Ezb3/0ekmB828Qe+xQ3vQA1iHZ5SkP1JjHA6JQEp1K+qOmKhxgh0DWbPhtqLwxOOJF+OQkdPUc
bZT5wIFk2DfZl9sNh9HRLWnT9t7SIlF7pLBuPg2Qy0/uR+N25l0P621Mk5JAiHwoPSJshHiNFUmz
2upfK37Qm6HUN5WpuBOG0a9Ht63WsypPDv6Cggy7qRlAtbiJGz8D9Bfm/cbq2YtSr4AKIXB7l1i5
0MZsG45B9UZ7Cmg3TWUcie32CA3AWwF229HXVmCotT5bCQ5Ih/YeqyG9cElvr6HlrsrfjNaZtY/D
ZhNPM7XATInCHriV03xlqqFxfvA2fK4/Mg9fm7EKd0X/JGttrqCM/YoREEQ20KMCfXGZ9VGwHqJk
PwXS3kIEPkwy1Cuvw70GlwbmY6lJvObc/qsb1bwG47Znxv3t479rqzBfOySMl7HR04zW3qXUsC48
/C29g6XRZqqm4l3g2hUJt7pd9w5ST9TTGuIZ7roDZmVlnIUCCAJo8ZI1Ow+uiXfhQprT+MICFjo3
IbdUaI0xDsa/X3+cwmkV4PkyCkyJbgCGCzreKsvk3hKd9ebHc7EcCu+dk423dsf0tgGRdG5sc1rP
Avq2odku5AiCJmTmqXkfwTdn+ZKOaPbETF7zTxBjLN8dy4YfwhMoHLGZ07pY+QhKFgSsB1IPTBF9
2NWDn55bL3fg0PSwN1yMMoAmBex2gv+2h7c1NutnNYXhYuJmQB6sVTiemHfbk3lkjr00eh+Ls6xD
mAMzbtOvufKbJRsEK8PIiuEBprDR2+m4wQcaq8Jk0TLe6Lruo9F46XW+InSwGqm1OzbUqK0GHIIM
H2V6rusmIFJT7epaMoxr7G/UGRqkEg0PssV00Tmx3tXlaG771HkbWhTtApjVskCjXUxT0m9Kxx0P
gtOQiGoLWLBO1kmeIZl707IWhO9HGN53Ku539uwP9yK1VgBeHj1CSQuGt9NSDt0j5WRsWBjxqt3c
gnC2Jo4cnmeQlphiiBYMJESnoHKA4eDold83dj8fE43XXSmTxCAwWTi7buszopL+BDwN96FTwaUS
+FVd7N0T5ulgaIYdNRntXeCy91CDXhBUz8NlacdYSyvWCYZpOe0HlMLUpnf0O1hCltHhN7CY2JCV
bte5cOS2L36sSTn3f//SjZi2Cn30o9ADUPadDI2+UyLGZ1mM11IFD4U06zPaXHP++6vGNONtnHSk
4sApRrhuzlH5U8YtPKHOpD1KQ7BHaeeW6dJjNHSLipMIg/PA2YCGw8HnONnO72BVlmbmbDXOPXxq
6pRHXAgJ8B55/aHL56QSKEZx12abP9cxzq7SroBHGSwOrEDvwZDl57opzqIuKFzDrgtr1tp2yJM8
UX287mkttqDFINjsffehBRt/gD9P4RmeSbcKzjpxdxAPCKvK+mhKY+/r2MfrGfSMiIIFvr5qm/o4
tELIERMQmY1AA1vxKr+a2H32hQgfyir4QfG31y11UlyWewH1kJbV2o/hakcbGOLGNq4ri+eyfIj9
0lmRunoPgax3PT7vsp/jJS1/IOCsKFk5s/dGhAmgwwTB0ZK0EnjN2vs3ms5jOW6kXaJPhIiCKaCw
7Ub7bnq/QYiiCO8L9unvwfxxNwpKodFIbKDqM5knM0asPX4C3NfrZT18ZPiYgfeQ+9AMhDmwZKN0
T6E7KZIWnZCApuYPVC7oNmXxk7J825aRBGXWMwYbEDqZftbxYpEI2eghiEdyMsrC3GdsVQC6m0EB
gzxAmoQtwTjqqcou5AifpDSGU0hhRQ3B5D8T5hNKInRNjLC7iRbYr1+QgXV3Rb7JDMSYGmQz+53F
ZK4bZlc7c35ZPUUHV1jnPGV2DpjOX3nex3IxO5RL0Spe7QjvS91AJiMDz5IXHtKjAWmI8jP0FhbJ
4LPmv7kbDYcsgYvr8lLvtBfKYwvIb3DKXdOLEShr8iwcYW5zs9lrky2AVyTJfVETFNZ3xUdaR/JC
eBnTdxbRzihoYab4gsB6D8MZ+JvDErSZXlLRj3chkhJWwDQA5myX2DLe0zwldQxZ0n4mnza8+4+W
0me2dbcmDe+joQgaIiW5OB1vi2JXcn59YLR6DXUYv/dtERgoJ0nxsJ9KB6C7WvqnNkFdkTimu2Wz
2BCwpV4Ug1KkNvhsZwTOgeOLP1G+BK5J/V+bdbuHFnOREfDhJB0PGrv9nYl9h3EwFZ+fKNzdKPlu
C/RQ3n7getoHU9+G1kNqo0VT5ZsWGMTAaGApNVoeBlF/kanwrtQ7tjrcPl38WbgfVeeA0gU0WdSo
iiv8ZOM04ydLBkY1+I8WW72Q9rkhh+iujbry3lCHviebO2kKuWpXX9E22Efd5+3VTKmyp+Ktjzhr
Wcgx4eEYQJ7X5c+VZ8Njibo2AOvGBaq9CEJgg93IIA0t8/WTaNT0WJ6Y4TIAaqajykx1NMQDwEE4
yG4Osghj0GQO2ba3BevjyP2RCLSDclZm0IbrU+UBflLOUr9+jEON/LYyj6rKH+CqXQu3Ty6+EDDp
jPkhJYCl900KBbP563C2M5eK/xAbbe0iZOy6V8y1dG7vFSLkohZzkNxFcS+DbDEQ5ivrebaxN47q
5PTI3+ORPVrUer9sBrc2to4DQ5q9Zw0+45+MrMoGM5FjfcJZnxihNQwHLAo7CYdvv7jDGEzRd5vk
uPeghwSmpq6Ka//qiPpqNcV9ZNcEAmWUI9whQajoNrWPx82za5ttLtkCijt9q4eIUX89n/C9n3wX
bm6O6WzTwYPFqQf0fsZXb7F46HMqjMI322clWwzwHSteOTWPVIUei8PRp6o3vhMGUueumR9Vat55
nT08pKAnpKLJW30bHtOB+yUenpPyZng6OTLDaXa9EeqDMzmn3osYktnFfT+VF9YvWeutwYC0mJF3
dRf72ciW7h4POYjBgbgrjsUDQQdHNZR32aQIoZkX7lqGBtvF7i594hBMkEcco3de5H/0kQulWKh9
mIWKFbqpzv99FcJ3N2c2HV4z8MK35XeOx2b9WBY2x1tdht8ZIh+y3VAikin55oV62YNED4SGPLUw
beDMc/+6LlUQlDEQrTMeYpYhO1rFg3IgBkQRIk9WKyMgvYBdmkDGxcsDBm3aAyNFATK/DAtjGzNh
uIMEqQiXe5P4tjMJiS7C+5xsK9jH42gF04hAwDvH/dB/5GyqjDr0mZSY04kcAQf4JU/7Is1gTqbL
NOLAMFdikDDig4cINc/pM+KFGpVIMijmK42sWMMWuxkTC5GIowQX5cQx6lqH3NvGGt+zxXb2Hrwf
V0toR2wTdzZ1Pmen0MhO7w1ym4LZzuqDwG/pzaWE7T+8Fk437ThNre0gp2Tt9DAzI9m3kne0Dqt3
q9+RLnTnwyzaaspVAN0b7mX2VtE07Y7o830//obpNGHTlc1FQCJ12mcQoOE2S7jFyGp4cSRnd1zr
awNKtUzHH6yB7b4GJeA7iNxqA0ijsxTz1bLvq8kaA7M1XXS6w/JoZvaIP7n+qIaSpPtp2BM+q1id
Lb+WvUY7sWo8gvrkCvu0Oic6ANAjqkmRExg6GLcsJCtVnCApNyLEoaN9IMpmAYgdU89hSCTXsnbK
bwKinlGGFTtirEoyUVOw3La8iS5d9prwWsQn0O8yMs50cZk0okXDZB4Zx8Uee8iIYqnS1xC3rs/Z
Wc4OTnTkybs8ZEFKnGp/Lg2Ajco5x9Xsokzt6o3nDtMjmUDZgTQyTp+EUWEUNUSUpASLogb7JSfM
3KZuRBalz9qbA4jCs3F4VBu9nMcu6g64kK4MV5iHpP2/QcsucEHJEaaGqlZ2jJ+zWH2G2bBcshUc
25fyluAI9QkjpL6w3moSOa9L6J34vfUt+VPKFWk92O8xtP0LuK5gSqO/9UKTQAEf79GXPGkrHk6x
a9ao92syleoEXJ0RiSDrVtliTPCg0TE4kjbBuDU+zGShooYL/xNby79GkqLlGvWJpClGp6joS6HI
LLRpP7puuG/j8Le2qhE4EKOoqF417+bYb+zm2Boa6NeMDVOswAOHOeR6BwfpCI0deL9Bzs9CGJ1b
Azwe8nEvW8bIsSN/LWn/rak16SX7GzXDyOoS1WdC/CgFyfBmO5uaYICbZ57wp8yBgy4ANW26PIar
/LyZl10uE3mglD2MM0kJZccLVro44mFpHiew05Vli7uClaYXet++/zpmLowHa++UugF9uDjwU+OP
yM27E6Dw90RP29hGUjIAqXWZHkf5aJ5ku4PZ8c25/wcdHG8aNIE6UpByO9vHXrcieDZpmMJ91D7S
VeX111g+EhbxUTL6dZyEItJuPy8u6PydIGTM5YG8ZqiA5xZHsKDAz/HArjPYnGAhwptnJk9YfNmU
Y4Pa2CYIxVJ63Ys9g1dOPec1bEBv57m8Kit0SWw2URUt4A5aIwkWNb4sY/zq1Ps5Z37fSnLqwTMd
Ib5sWxN1RuSCbvTSr3mq/yw1rRw28imwKoeaAHp95k2P8VxNJ92MmLTC5NDBpNvmkSaZXrxOdYZX
LI0vVoN90nOfJNqSu4iGPgFMenStwmJmO371JUMOcGcELcwrYwP9PwcRt43P4+PD8ua1/pfWJkOS
8afL62ovluMwJO+u4Iw0jRhKbamro0qZqLTGQGSqwAcSUiqEUPgARxBiZZCqlM8KUpSvv4lZ6Ntl
vpkTFjfeDuzEWzlNJIfFDvgcNnxbi4SlRpNCVTK651ymsiRF9RfJy3Lw/PJlqRPvVJhzfDDDlkqy
I8LGbfstxeRvmXCLdExmkMlkcxATOLMt6XDCttSXfmy/vKE9N4PFMooZ7zYDJBIYmMxTRACTismp
ZpeNnOg6j7B5cvEeiuq543MjBnPPCv25yOJ9jPgJNsQ1ZDHFiBnsteeaz7YVK4r7lmt14hp3uBY6
QOXMVuwRd29xUqsi3a+RIgiULT514cms11xy0l62DCdaInPQTpNjREioImodeprSQRR9Vr7TBgsq
I2QXIWqG6DAmxgevWGD7j1VlEiKqj03cTntF8wKbXKyJbCmknyBE1bi31h5qyPCragAds4LQpf0v
Py9HIMRUdBO7za5O39nIiM0a1FezGaKhJ48o1RJNFR82TfhPMfDXKXM3MJKQN29IT5kzYz6ojGcv
Ht/VbGMrbb4WmHgJSb80w9l1aptz6ud/emjCIH2ITHIZ8mwncp2rdJ4AaAagEp9jlhAWEbsbxnHR
oBi6rmkh3QBfVPEPJujCd9mtRgTAxE7KVx2B6QsfYW+DNgLcirYQsWbYx8ilsDPZ82jvhUdkR+JH
bzOgja3dItcS8uCFfnmssac4CMQ3BpDiuzxCb+YPNCiOwAzmteVuIp9hH7X9q6k0/N9QWpcF//Y1
bljZdf9yAxBIHj8Jwb1iY63e2pZdHSYUp/WcWCh7i2AQ1b2ZD3jQWpOis0vdDdfWGe0Q9vgepI+v
zFuzbnydFGBX7E9H/u+gezI+2UUAvCSO9WS5+Uff4MYzYw0E1ckh9TfZkSW2e+kW93UgdI2TqLcY
IqbfTnb2CvXl+eq3zCX0BO0Y2JiKDVie+0G3INnFyYHNyzLVfXHt+d4V5F9HvROkIT5NEdrzVjmW
JOGAOdNcFC5Xk/1vRAq0SblUD4br/p0S/sGl3dxp5hoxakw6U3lnWBG3oGQtzEgxlYmxX/h77LG/
gKxL2y+kacNLzrioLgqmVAnMhShan5/WqK/wIx6EUfeX4WOwWsJFq9qEpz9w4WMwOvqsBFlLvWpS
vHdS8dTgQn0BHfMhBd0EzmxUewXGnZwY7U3pFS8cHI+cuqdMT8tqjlvjJ60/jH0xvIv5S+RDRZ6f
8cbeCl4OqVtO2bK0JvSxxsE2N76J8BgMaZaRogDE6V669adXN++KnCAnnfsNK1zjPHSdvXETgHxl
TJxg4Vrnsr+3fOeIS5Xb31+wHRKE3hANxhPfp7vIZAzdVD8+Oi6cyhiKRjc+GW0N4Q8ENM88EqRA
dQRUmNJ/J8/ExsNGPBNzZZYC/ZPyGL4n4N7n7j5317DApN6VhJCA4duXkiT5ZSTirAMc6rYCrlKX
3sVWzbclIbN3AA/Y9apCDPRpkPMHJgvMjKzM20kgxtiZjsRubGbvqEeq88LE7FQU6rv8z2ShQHG5
4KklnkgIHfKaO+H3RCDOrrX9FCUUNAaqVeWj+cWQZev4WZdY20QjFOtuRFhYLCYbQJS04dTSvBut
eYyW9qY8krXJQWJTCYs8dz5K6aMttl5bJ9zr1l4ODhnBYxSI0ECrDrvCWeKVv/Xqrmt+OPh2mK0W
EoZfTkTUV95hfVBLG9ST8cGopGKEeqKBzY+93z4YCP8pOeLHtMNqa1Cxi11fqG05Vwy7Y4+en+9Q
hdt6DDMe77QRO2iTTqAz/972mvee8lLV8jbHyuGf13iBz2lkogG8Qhamt+bM9GazfGKvgTCd1a1V
Ma71hQ8GrdCPmceEMZqXOsgJrIWSRCxIXQDtyzGKjZk+hR5ydP7wI9C7l3QZ/9pMuJdkjQR2bk3Z
PuMqpPOI85w0BqsMMns+ijfhApzs+Z6tUeUl2DzwDJbj3Ic1LqaClKaBtspBqcnaizfBcsEN2LV/
thSW3Km03C2i33FMd1DLUBqSNKUF4/peuJ9pK+tzlLY3yJqKlZqV7IgdBzCr0ycjKiBVTTjLYm2j
IrDBZEJDs0n3W5Kj28Iz6MfBP3p9c/bGvrmkjfeFA9Q5oMzcGMW6G1ZGyDK0gLU8mr88kKul9Qcv
FLE1MwsgXCDigSDIpxEQxcZ2outCO0lEYHJZxS2IFl6gt1CVtNl2ifw9PEh5B5esKsmJqTmW0gFC
Af03JvtxAt/IDFwbjIlq5FNMCiCvVYZXwMpCWWJNb9jPxwre+OTus1m+uqBJ2ZNidWrwLh56RSkt
pHepQC0wWwaHJsI7pAM0Wk33WRAYr1WVBEVHdDv+sYeoNglOYhdRLHzKTrjCI5CWbjiCbx4XRsrV
fMaokGzyzsjZcFfbdNYSMiccZTS5HHqVtTVqVi0jI7FLiLicPwZJTSwI+ku75p5/4ENMgXvx5Etc
/7OG9lvHeIS7HidJX1+LziRiKsLwlgw1WS1Y+cq8b4AvFriwFwx6rPNwukb3MQFOoyCId6A32Wbu
8DZn8pCZzJfsysEW6ZUfBCszbEIQghmBrodHuxIW0daAk8q+o2ckksPLhgMYIVJviGFknOpvMhl+
LRa/24CJCRfzybWn8NLYE9Fg/ygE0cwyj9lY7m6oIKQZfYjaRJ3NTH0i3KnOtTHcGqdB6M4v75oC
0sTgcRZYBf2O0Ykdb8GMgZmolgaj5vzJSPRWJhPZosBzt7U1PNj56JwanzQBP7swCITMUCM0TWev
5uYrz67h3stWPPheR9RnlxNjyekeIWA71yaosyzbxgShvJsg45NGHhBC0fYAT29C5zYRPNO38hT7
YxLkiV/um6p8BBT5QP60SZCu2Kaoufimy4paa3GRq44xHYFIsBN0lziy2UMPFuON+TLMnR3wuPzL
0ElhcEUZ1r75qfFHJUh1EquB56OQr8xu/9t0jdoSUvVSEj24wYaUIwlY4bpM3fIaxJXhDV8AW3cQ
Dr8LTbO5uEx35MgWSohVxm2/D4wIrnkn2RPE3OCEFWuGNqNtIi2LvDPAqHUjn62I0hYW4fKZ++oo
ExfxVYGIFSF9ggidwft0M5lfk2ayirVqD6IZOkA3iKOSK65rLhoaVYZ36gN4zoOZRH+McDhHEqpQ
2kOpWEYmox07AzYzVC/4djeANV/LhnGR66P8GjRaOqzRsPurAGA1R0SY+QEBKUdpuJT8qEe2C++x
4+6ylGvBY1ZkIRA7Yk/7oHwiXarpTwBmUfvBAYrUtBanRkk6pvWlffPYjiQAlPeOEY7XQvTZiq59
i6e5uKS9eO8S71PUHSiuz5iUi51dmv94vF4sp78aApd/26zxM9Qtpeg+BwKXt9qeHpBVbX1ZsVXU
fh940fRrjtkfof1XSbzBhoyQVUhFURpVchtO4G8KYVs3mNaEkVgPWTqbu24k+EOin6byLO5mVfy0
w2+kipmtaB7vMxIvrAZHlGduoSbkRG2+JRXjnyheLFodPryYVW4AV/05GsLkrYVKsxkTqMn1snDR
dT5JtsaGPyzd0/pDbV+HR1UDICq3kltltvFBrgpyUQ6Ac3X2oJP+IQ7RwZNK96Vci8eaxOVyYYgx
SmvrG6tnG1n/tmtVse+QzE1h2J0VtL3NlPsHd9V9iz7eJGMFJ8Y1D3YEuLWVxakfFjMYwu65hLZ4
cHZm17rPtmPxOyqWBuJOqoUNwUSEGcOmCxfDkWBJtS9HuHbjZI7UYh8+7dKqF4wTd6XYZzHvcs3S
SfX+g1Zfacj4qqjDLCBxZ8ZO5oi7TpN3kbtAidNibFazD97BVu8sFB8Pnt2dtCJFo/BuIUlUd9I6
RnX5K3LilfNofqV76ncKrv+2NsByk9YK4YwWjRIU/zV7XbQC98iDLn1R13uMWaySQjRKfCHMoTk1
FsiZYXHHDUNL9si0AxfFJqFgv7Rpqp608Tizz6y9H0abwWyi4bnPeMhCoJN1ht6xQcdVWaur1yep
PsqdR33E0xFvY0mCJWw5TSB4gmZHocaX65YlFv1fBaMiIMXsrWhFS1dGT8JSatrNgjLICX99ED3b
qUkvdaSzHUYd82Clq1kaHDADavPHBhyKLIs+a0wAiderAZmyPYrMS7jMv1N7MbCFXAixDIRYisso
lr1lQW5oJxNyRJLe7L4FuGCF5JyW4d8FgjgUd4u3AAnQzRrECXpYOxUHj4Cz7Yj7cENXSzZ1NFp3
7HMRgbIXiAes9CuQpao6PDkmOrx6vKOQRdmQlPqYY5g70PH8OP782s8LxzryKFWkn2GcmAdDvRZq
WE/OpP3uYThobnhu9uQ+Wg3sc7unLYESNpn+GWJL/QzC2dCxz+YtxknVMejQZGLnJjMYw6UXMxBj
AKBkNViR4za5mH8s3aCuccnMbaPpb0K8ErGcbJJbDd0ziW6t9n5cgWCp8hURjM+Lp/uXGd9FZPvH
KHHjp7X7GoZp2DpeyewlIbBNi+wenwfU9Sn/a/VsWiQ3UW+0ySEbPXISPYzAol8rzRLt2px1YhNl
dABFR4p9l6/+bOgZS88zNfTztMmH6AcwxSvFDsDcVayKERJDTUQcNTrrFcc61U24R6/ByJ8M6So8
JCCwN31tHpK8nS+h7f9tG5XtOpxdbjteo5SZCYAK0APD3Acyje4XhfttKsLnuXGmvccm30lhh7J/
mFeTixCrqLnoL2Ht8+nzC4nPEhf/x8byYLdrBFYgyOAfuGRyHhPvsZ7retur+s0vsb9Asu1ZZqaY
aNgSFmXQpu3ZFNHnQsQWo0avQ9abdmc/dLYdLi0WTuNPT5u6DdM2/xoWO4g7yDRzYrR0WcwWZqyI
x0FKGCZRGH1PWDf4E3ZKZvJuHqoDfhB369mgl7vyrekLjCqp996RxosSckMy4SuQ4JolU7zF+Vgc
CSmjNEcMoAz+n6yZEyN/ieJkQT1CmWjiO9lQW++ysfpUPlr3biEfqfPfiEuOqHZAP89E7CBvGpFH
K1yPKu13ECtslr19xbkhDv4c99eixC8TInA7ZGwP6R0YC+WaYkT2P8Z/lDFe15PToSnCC2hs/PQZ
7H4P3tT+RGh4W1o3O2OjwfF0TyJ69CWH8GMwUUdPsXEtmsEGUrDQ8TjXyIdx6zjc6G02wrRIlod0
6eVTF3HqMxZHW4jinOm7dYQstMV1iFQvGlDO+fPZycPLqIzu3Sz/1Yscd6NgIF279aXIVL9b1oyO
McQnLB+sF5KS0Gi1/1JifjZ1T4VdNe1rHUpCYXzeBW2Ky8w7sAMyQ+1lksscTY+Y1gR5PQDbSqUQ
gJvm38aAlF+PSciWssRlk5Or0SdJoJObiMBXjLpk29vJt4HLmD+y+mLmWj7HZI7ksepercsaZq2r
BZBs6T/WkPzzhkUtsVA4xvTy6ZYF0uh8ofIfwLaGc3ccauMbZc2fclkeofeVl2H6lyb4pSBWYftf
N+tLER/9qpAozz4MN3+dHcZ7JLN1WWTfDVH2HFcJG9/eEmcfSjax5Kw31ACPFRskLSj0x6Z+Gjqe
G+hX866FTdTU83NUzjtDOM3BnDOC8BgkkP9GG9uTrZmbN4eedjdWk9q3uvkFQLlXqLNesmWKN5xl
jHHHB4scCLaYyaq21TdCCZ9HiSRk6n06xiw8CDW6TBdteHE5AFmnfnEnBC+Gql5TewHSi/OyHtLm
CPGaOJl0oa0q472r5mX1MXX0It78mq+4oeKfJCADNIH+dgz0x8Ta/WHr2O2qpXMPvjC/NOTJpdH5
OTb9e+q//Io3c8OKFf10BphmcNRD6Gv5qNYfQgJf1nRRkodRWqsk3CnQSQJW9s6SsdiPi3yJ0oW8
3QzUVzkS/JWisiDPHFyIdN572zhGMyQRaRjb2PNwcxs6PITSsDfZdaCcOYSjV2z14t2RZAZQJs3b
N4vR8MGFrULQQ4Q0LYPb5ExGv4Hz18Cbqf5lpJ+gMEBEi4WQ2tLfQEF8sF2nC0wyA5i7fbPc7HZD
h5rfZ8m6MRqroG8JqcOc4lh1ntoa6crAk8Obzxkd4PWZr6KUpIcVpK8Jq/hjxT0qcOoM4Lompyf3
T+lx28ANSbfCCEkAyhnaTQI1FkVbeezC5pt8cEniOvMbt3s0IoCwrkym4zi10c0koGDqEV6oGsMM
WP3n3jWvzoCDoUKJojCE3CTitYw3yywLwZSLxIU2hjE59fVDapTgtXQpTkOJSIslAErzeIfz5Q1Z
maBZnNEaUlwsKnE+bXN+cQeeKN3lxSkzkOhG1DNtUlx0BhZGlwiesRY9Aaol0QHcKN4esjgWfrbE
+q5F+BKY6w3WriBa9sU0/21QMBC51IQRgNtsd1aOWVrHuzSsXuFSL4em39ZR/NXbnTwYxAPmi/9t
8+QgjxFIS1QLzNCUv11nvgn/n7LY1phutStQc2wcQk/Y6Rd/+tkgpMIQpwhMjqWJKnBq+VI17OCz
dY45xz7EDM/g/Ynz+z4RW9eJxc5SY3igZuDuhUwnO7SeqeuF+wLz5aEYUC279XNVjIFnW/XZQMIT
REZ6EzX/SGlxvuVL7WzbMnlJVFvup4Ebl4jB79EC0dXUz2bHOp7fXe1gW2d3HIEtCLKNT354IEfv
tyiyLxMWDSWXdrdI0NgXxLA3ayj5eBSROiumQcvi2WflQlgezATx7Ae6SZRIJiW+R/zrkLwOrv5J
UnoVx65+U+13Z+kCeC5mzBH151hDpMvaMSPqsrVXOPhDr51lW3Z7w7Hi18wpyCSLEWMXoX7OC+cY
gijcGqxVlSI5LI8slpr9UvLfo2OJSqRo8KkY9zWPbrVICrRAkzr9jlLyNV+sLXNXhFYNRRlOMHND
t8mWxkIxzx4NqYn+Wu0OOTSGBz5VNjrtE9q/v/BJ4yMLqvgeCSrDzgRHlBrPfeMdC2/+JDfE3cA9
e65Lv3xotfyEKLgNNftkFbnBQ+QtJm5Mj/O8m05lH+IDEBmzUl/m0JTnF2OwM0zJXridQIqHvX5f
2oSDylMHMm+xPGQacAdMfDkxIs8NNOdZ3z0Bv1jNX7hwEWmdl0lRJ0TjG/AM69K65IPM2v6wVs46
plC86PBa3AVOCz38AzENExsCgPncUVePQaktM+teyOy9DXveiJQAwtGtv2GaJYfJlYzQM3QT2Hxx
2qk+sJOC350+mVjdQVAgEnFg0WwstrQ6MZqj1BWZ73Xgaq33xYImNk2ZPJmS/Y6NCJRt3LsN5uZQ
sGzuY5QTFmtuZNxP6FhacnC6v6ytxWZJs51dX7vO/1fOLgJuK8VqxCLnU2YKzDLjxW7N5Jqa9tb1
WJkwUbM+TNCHTnKxsU9A5u5q96ehTt+6+QgYlgT2zfij0eE/VPKaoR1gYv4vG+OTEuEpYyRqxFgL
PQwrbQwNv0db4lSVvGVl/owiI6gNClIGizmEgWze6wQGtywsb+MUNoIiTc3c4D9PBSpLs8FXZsDb
LvfhbD+AC91kBaqGTDsKKdy597Ajdipa03LrSzZ57zjC2FgLx1/VJzzkfvxiVAStexPugjwxn2Vu
i2AO+TtKL0Pr3MfZUdZTvEX825z9ZXxoR6Vuyo8D3yZqIB8exyFyXqbVsgVxH4ime5Y6LZ8RYBQn
06ZPHdEqPTvY5+n7rIXi2f1D4FL4NbM0xAzCbIR9YEsTFeTAlm+RyMognFT9pwZ3YrRz/rMMINiI
8LBoPMPvXvskfcvhwTMc59Qa492Mye7Ibm7gexNRaZAEFtA3s+Lo10nkIqldRCY3uVf+Tia3ruUZ
r4g81X3qsIi34+HqEoS6Xaa8CBYwJ8NQ+ScGGaTzeLJ7ddccPVY6O5+UicCNS3TMxDUgJyRc13FS
BlBmMx5NG5dHYVM1NssYFKA519GH+XSCjEGy7b8EGDNezYbh6cPo9y9JGzFfd7IPXVnibkx+ko5a
/ItNAlU0ha704+oe0XJX6Ls0xuRWxKCaYtdHpDy/g0JCtVJZh7YYKCWLQ2P22Nsoidr41GX6zh/n
a1hFr3rwL/klM+w1aZxPviJHgN7rvu5If17toUNCKCTzgwCF/Udp4WXNSRgwWF7kA+NPMTJviH/N
KXlqcQbtfFGwimRaW5NwxopFLFcvnJ4Qlikz8hi3ut+ZNf9WanhjrbPDaPKnajXGQLBnrLEZ61Jc
e6vkPi+qOtBzY1z4Nn2zO88Og8PESrQQnpVHqT+VP0kftpe8iX+9Ov+m6y0OIi3OtS0x+1hXXpA/
akTWZ68MYuItnqzZZ+g0ngakDQr6+Lbuh6ekgm7uk6WjvHbaNGknHuuaSIURYxLcq5vxWsqhuYVF
8t51rveIIhGwm8RAA2iIItVqzKOvlwtOYrI4DI/Sd0zUEfIdrraIDDY9W+c4TFANcj1a5zVvfKaC
PixdYZ6TYjApN+3//2r9tf9+qvgu7MtSvVWLj11WwvFvNLIgDopiX9kZuqy8tq4VC95J6vmAxQmV
5WTX7MYdFE+w+yCsTc47aDNzT7qme+lz7V1qL/Uusi3dY1Z2R5tB/Jiqc6vxG3cN+joZxpxiZijS
iwrb9MLIyNlHZfiqaj+8mGZhoL3t+hMBeDvI9enlvx/ssMj+99V/P1WL+ZIY9ARR1ZRo0AtWsJRS
G5oMfkrWe/W/L4dQoVzI8UgIB+yfa6C1rYx6r0e+jVO8ODsqOQbVvdVesvYqzfEy2ot99EdFMUg+
fOSkCaYDGFeDdqpr7TWJ3rQG0RKJzSDbj4Vz9me6A1BSgCb5oSSKdo89AECXU51k7BEb75MVhDur
RsmWPKARzo+d4TaEpHrnMpoZFi5FUONfxP6t05lDJBOsyUOyv1qUdRdOrQGM9s7us4NZuPI09igS
SD9xEZnYxxJANscKOmBCSPBqdKFvBGjdjIu9fjf/+77+99WaMIWsacQot35S//0QT/ZtabBXSOTE
LILIoaQa3kWhMPk10HKTZ0VH/E/baez9CyGuX3WOHWLuT2kJswbSvqbYGIPOMIxTU/5V+CCwD1Ly
IbJnsp2Ks8CmcPb3YOeWfWaZj1a4YgD7v06KpIypwF8H/e9BNePN0qaJ+UEA+VimR79jIEfLQK7s
BNa4XMZ7J1xJfX366K8xJn2/2tFQPeINc7ZjNW6dsmh22cCjmTJDFIDDvJFN5tjExHLOITS8sliR
F6hENUAIyzyPJIhu/Hxu9nHdjnBHRucRwgcZS1Zo7CZiTJg2tt0RgXkTkqY+LL29nyeAKJnWR1Fm
49nqIvJvx5GPvOoYyoStoIFY3RMK7NzWimhJ8h4XQWeGy/r2/XqGR9B2O7yBkSRNxrQgOVWiOkWs
amTU+6x9GwJ5Qqa9apjO//tq/alVPMTCXE6yBv5krz8U63/cWvG4JXmCDmoJ9bkuybmlGohFRjjd
8JY4JPGCDcp3nmlmO0xCQ0KmKlSCweiDcWGvP3cacUWW+SjgXJNvPZWUlXCce6I3H3WHM8rt/LvK
b188JBEXL5L0DD41z8DuVNXXuh2cl5bMhFV96JGySxRzfwEfje6yMxvW3HIFqvsYFQ3GeZWfqmcg
xAdi2hgF1vOeSfHedyHWYXOK30g4eaFo1kdjyOxnD5IWoS3Nj3AYedcoxTn2GELFvWs/wBgFbxO/
L/9H2Jkst65s2/VXHG4bEagTaLgj1rVq7a0OYpeo60Qiga/3APXinePrhjsMUaQoigKQK9eac8x4
1pcQzuu60PmwDR2MHNRwAu0hEKyVyElZxE6brVE0cKQ4QbfPDGF8m8L3u8E4cFssib4OdhAdIroD
dXYl0JH9+neYlmo/o66hBRbrLS3BbF/hGDHTanzPC8vewgG40tHXa4S77bOXz89VBGsoIsb1RS3q
85gyZJfadvw26fmbjCy96UjxORpZTz+9o8nNO68YF0UIQzwu/I1RZbc+Iicwcbj6u+LCILbblUuC
kYlaCu8mWNxc5bgKGL1HbJiJIUYSbWVcR72bl0vjO5phbwcgyN7mT5J+yMHMVbBmhHcoRdKsmowU
CC5PiD7pzgTauC2l5CwgFcFfVM9gwji+gqOfkZYnm18WQWcs0UgNzK5yjz2ZE5UguMOq65+JrOad
b6XtNtLgY9KYlGeZZPHBgWH+5HWIqWPewUpyzDhhdE2d3wKPGx96cQZ+RBJUOtUrTsK1MQK7K2P0
u6bIwER4yZxQwNKJa9w6fwKKCeQy6xEakzScckiskjgkSaHO8lVJwPveqejdh14m9rOpjQcYtbS5
cQqiutxG9QQQW6wxmU4b2/9J38x+ErZTnqfYfK5nwm/8QGVHki2dSxDbW1+oX7zqBucojNnB/gGI
ai2spjkJag9O7GSgqXIxwrw+pgxPv27aKYiOTaL/BjjOV3jlzg6TonXrDBOROhTnXVMzH3aTLU62
BxWN1yIlhFOVo3v8ugkS75jaDC5TFL5bUlMmZusHBy3SQzxWpGg7nxFDipVZ4m9vbKIDXYtMLh9m
bTHKYs+hfqws7N6MIAyG3yjZJLZJCszEe7DjGuJ4aicnWp7JqQ/ELxZ/jpKoMRn9cV22PdZTNO4s
1mwH3I2tvL9fa7ed0KBtFJEaHVXDyU8653T/yv3vr5I4ekqIENqFZf6dAaFLtIKD22q5keYPAwz1
sUvoY9TmBG/VNwRDYmhAiXMu2IpwWIMAKBr8Qt7YAXJz5DYQN4ecqlM3DPrsWMl0vn+le/IWUo7G
lTkyyUe9xtzVoqouJ5IupslEzo3Fmu55aUWb0gL31NsMc6JY/6hnCrImIUTcb4gTv98oW9sHo7D2
aTV5qEAgcLkZYiCllhDSZBEJaLgn0uov2ZJugoiz2spp/K8fd5cXKlUbs/IXl5o9z8lDDBDRk2Hn
0gZ7ZrDMzJLg/M9NF6ma6KNDNVXJRSJ3SkuR7SJyFO/xnw3ExkVBFp3/uZGFF51dDRTGYl7p298m
U56ylLhE7bP7LLzpZ9jM6GEruCVDOHPNlWiq87AayE8oYGTMqLLm6Rf+IhIoeoNP1L7Q5oz2xZJD
mywvFWPVbYn3OSqlFjhdzEY8zc+u89xEc3zJuTyi3ksOiWbiFSx/IZPT9HK/G+0BB4a7JNHf/ALy
Nm7QepfSnEfGw4CPTJwNTLfyjGu3p+mkk3f2dc2aABDrERMr4SWkLC0ok+EYgmrckwDoXK1S1huV
F/5LVNZLfE6/NgSMrFnO76TxZp/0qk9k3UD9wnCGXdU91CRo/KRbqUnzsdM3U8P4aDvD2fitMa1s
4tJ2eZRaJ5c25hipBF4KxOyspNRIXNeG+9h15wYZGXltjIkWGSAy9B9A7pGchqt6tobfWSs3yCPF
r8rglG6Nxrzptv8WdhY6LgI/n6yetjPH/lsKp4+1vNxk88S/dGRN8xa5mfLcfWfr/BbIgJaZ1+xR
XJUnJyApQHymgw2PHNZmb3yHnHhtDcP7OzdcQjJl/jKWi3Xv6em11OiRY12uWGX517Sg0QASmoe8
j5F1dv20RhoAy4H68NVoi+4BWdTw26FSldNifUjq/kIg1SegFsHEpUFLYrIl7+ugvDXWgKoTn4by
SmTAsyNWwka6bITOe40q6Z1fl7NIsbMSqXDfc4fOveJz3Agi/d4J8hiY2lfB/v4ocgxa2pEXX+4/
a0b1UU118pxP0nors8f7k4CspI+OM7/CWvTerajAL2QCKr6/oFXGE6ovR26+nmvY89rrhLm/v6AP
Xha6rOWc7z87u/apRoHwlGYcaLbe3b87MZCHSDk/31/BB02BoykzHu53RSsIcgei//X+4Zq5XAwY
Ot8fRQhLD4fu+Pn+68TcXNwx6rAHd/KdidT9SdnoOo9eYD3+13tgK0xxI74ejFUS7zsJE/7ruVCW
1jFt4P39r5tJjcOIFNPDWj7MUSQ3P6wTDKx8EvdvibBNn4DfXe/3ajmXZ2TxbOGWZ8CVLPfZaDHK
XX7cA2S4acfJ2N3vUocISHVhcLr/Lk94j62w7a8PHTRHEYz9exLE8klkJZouXgHUgTpPCp3O/S5Q
YwaUy0dyv8twvN6Ec+9+fa62yzA+DRS2weVnI7jlfVP3X69vVLh12vi9KTPnyeL/cn+ODTH1PDmY
ge/vvywzC0gvUuqhHhBAiN45W3bhrRsEN2zS8t9ph0iReXT7TIJISUTn8H6/R9wCaEeDXXgw8IRE
3bxei20tacOQMG+/+W38mDpeeDPD2HmD8HKIk9+5TMXt/rDjJ08laapf9/zYfErpehJxYtpvTKKf
nWKevh7r+bMITRu+7gnVv0BlIYR3eWY5ixebNefrsXbUrxglyq972VS8WeSOfL0BAwSVZ+r46zG/
6d/TcQqvfokuqnTqZpvECTGZjr5hRojXbdS0GDi569KNB/Eid2at/xi57B8zAm/R4h8Lp0FrMof7
WdrG1TJSpvSJMvedF8sbU1fJvmOxlpkAEykcvY2Ou/Y24Pg/+bFxMN2Fo8JlaNWRHXUj3iyAA2Mc
7CW1fbDIgF/IeUvh5S/sjowI3opJufSjdJ+0mKJBpZ3rMnwzYsbysM5DZKAtkvHGy5pjFM7Pbk1w
dcDmmMt0cMBspG/M492DA4bfmwb3WhBCu5/L7Of93v0mG/1s67WohQvT0Se3hutbhuyVXEb1cVOb
RyP2jrguzGvcC/PqZColRPZWjog8HEyubH03IVArNgQhzp2RPz61kaE0jaCL6XvLkCYNVtbdap96
7tVC/jlak30O6wKPekwCrmL4OuPgZRTBqpuEklYgDZyHbnDTXZzl7nVOJn/n4Aslpou73ew5Vze4
MTUaL0kOeCivY1LZMChR4GCnAMDmX+3c9Zek0F2INvM0Rm24NxL/01neCmGd3vX+1f3G4yMq6YYe
JFUs/bMaEpPCwQX7cX3/nDpfRceEwtFc/ob7t2LJzLc3O5JlyRfc5R1yrL5kSFjoOUbcnRJHEQAW
Nlws7A+1i6mgnnC0hLafbNMJbJIaUolh2RxXquvHWy7KaNubGTr2+Lmn23MJlnd5PxbuX+UBrTWP
pvz6ftcmQpu5lb3XViquzMPP9WiSoklRG7oxMl1M5jficvG1DvMx83JYmrJmDprhSgshf4QuZnZE
uBRudnTVOiE+RMw7MpsDgpAaIu9jAAe66YLzRKVvPRl5LQ+OEN8N1UJsmtFVJfD3b183i/mCwiLf
mvimqGaGHfNXSGiqKZGkBn/8EBLFMLDZzcgggLWO3nvsknMJs3qdJsaelKznSRrJxrZqA3GvJjYX
Ho8yzhUV7E6GaD+ECXuGqo/9TBBCgisgFcGxiTuoofiMC9n+UKVLKnZWbMPyHfrEQzn40F6GkFhb
85iV8ZGuCCznuj2J+QnLRspk2b3G9FuYyOnrXDJMQfIUcBGOyqNpldXRTIKJJeS/78Psqo7/3I1d
UOtMmquQHI5M638/1V5+/uub95fqYQ2ih1xeCm0YBjglbSTAX8/4j9e9/8D9BVhzKav+4+F//9qv
r92q4LX+edq/f4PNEdKd/v3b/nn5+1cW8pzu9O+/4v6r74/db77e43++n3//ZvP+Of3zE/c/8+tX
3r/5rz/+6/f8P5/D16v955O/XtEEJzIpCzGQAfIKCsQBfFm8g8LwNNDNPv3rRoePqVkvY+o/IxHX
ujUx6M/lb1rRw7GzhhxrFWa3prVOVEMRm9fgHTqiOE72zfdFc2rcqTkNzY59DWalEpGVqMlLmePm
pJabWjv1qWziv7Q21dZvli1mYfxNl40YFFyxNSr7IxKlexL56J7IbltbaonQmJziiOCKWcPnmLBK
NERHwcawz+xrw1XfYosc4wFP4jJzRz99glqECLUIzwFRqeQA58kpbBqmD2GGCNa0sk0dAscPPKs4
328qJ2oxNbTFqkAFccpGh1EPNdDaX7abZpVgZ6lwhTRB+p7rHuIESvyL2SEdQXOytfsOiF5PqGc2
MZmfs900DRk2QN41jYBj2zAqrqYOnSK0eoyJJ+JdP3AZIy/WuT4YgUGzx/pJtqM4jlzXb3Om9/hr
+23u5dvZXQIrWaTSTCGTd+Rrn2YHW9fos8oJK3KKVrGQ33rXMQ9TAye/dvYYGDe5bF+wWOYIF08e
KtAlKaZ4T/JbR6t05c7Br2BO6VF2Jvx/opX299ztMEU9lS3vNphyY5PY7nvloVWoBnNn2/azK4Jq
6cC9tTCUd57B0NcI25Xog2aTmwau9lacgxikYETdob2EFKvYPQ+2/455rD/aQ/hbMl6jOlhmOiQy
TG22bjqICa7hBKvauahlPx+Qk1i36swsPsjokowEbi3ssd9emjob2x7geMFOwyBS3DIAU5tpSe+i
C4afjakGE79hhZgAfb4aXt25zrchjfKFKHLpBjRnoffLHNW4FThLAzZAR8kC3i7rZEE4gqMbeTll
iZM89gophbDgDafIX8Y2fBp9K3/pBfLuEftMxM5orRDl4OpzCG8sDlHYb8zYM/d9T9pj34/ErxR/
ps7tYVfTI3bUfKAqdR7jWdBenmmrRcYO1ORLHFdilcNte8PFjZHVWIHesU7ocmhgx/K7u3xrhPSP
pfzqQnJHpJbO6h2gZog2ligPk/6oM0LdwcqhLlY0nqqiix9t7JIkegw7m8qJzOtHBDZ6V9X8hGuw
kes0H27iPRcLeAgH6mfVkSsVIrffL+GJ/5zhUenTHyUzOuFSeTQw4sbujV728CpqNtbMlLB6Mfdx
moXEmHsHt4KyWQzo0/2Jf2xD2zbyBy7NdkmAcpYGLO0GkOMSgWhBXM4MMeeAYwOfuebMz/uQEFws
WysmBk5W1pxpgSYAJNznMWMRgxT0XaDTP2WFBSeK5qW7j39vyutwnVvpyfDds59Ym7THG52FcXrs
i/6lGXC6+HxiiOpNVJigChbJ9wrnPXj7gclPl3+rugZzQchsO5ADNnyAqdJ1n1M/6HeRnz8mrSCu
WcY9+DY6iugMvSm3d/6wVgOdvCySh8rVxTZArT6KzscK7KGnd+XBSrz0RuQJrZFyFQX+m9lSCUtM
4TTo/DPzINyAEkf52JE23tTVBT88Os7Ceu26ej5VzYAhzATGVjjJ1lEFB2Zt/lFd9plJ6wP0VlHU
wSqDGbKyoNGZOO930niKxvCx69HyLl44hVH9gYLjp6z4TR3IocMIyyNYegceH9ZsTcj2LTaKiU9f
PT/nCZFA2qxfEQ8iA7bjn2EcUaT50682daGStdYzqID2rHv3ksYNn6mfYavDGbYr/PovFpzuSmh6
d61En+/ILORSKm0XRTG/SdIf5/BexGWZDyrGP9Eh90A0jRAYrOiWZO233EEnLzyfi0rT7WXpgj0U
HrgS2okbFfjvYZ++5D5mete26RyG7nMlEgnniixt+ty0ZXrMGwglpxI0SVyF3hmQmT3g4Oey4qyC
pLOw9rUPRJU7D50rYFU180+7+T3DnKfxvPemWq6qXG9Vj/MOU7Ygi4rGWjtJsepTdTQxFGwyTgZk
ZxhHtDDGrR58coaFcc4BSqJPEBAKLVtuyOF47Og37BkLECtBaNlciF0otX1yPOZEZIpWQbG3yZ1B
FSXsU89hTWc5TujoGuvYi97CAozKNMznJAm3VdEYJwkaF4a4wVa4SOUu9eCIu4/KBxbfs7xquMiB
g0CB0bDSSXsJDvSnq+fZn3F0JWoTgDDf0bdi+ufOzJ089BORfdBkdOEmGUM27/q3OaAUDiNh8Ll9
DHPXrdM4pUxPaU0Lu5BrlXEVRB44PnVZvzJCWIVzZt4A/O7spFSPsBZKtAhzAg0+PORdPB1mn1Wn
c5S3GXKRoQbZK59qPOoQZxgQoPmnji+1P4z7nJYduaLCJ8HMuQiFwz4f+wEVlHkG6prtfS5zbmuR
Pz/TpBU1SKa62xdx/RjrpjmU3nCDzMJU3zTXo+8nGz+KvvndoMFSmj/CfEQ7osnOqsHP5Unf75vA
PENc2dQxqo9eE/gcJ+wS3YY+mxY9F2ScJmH5E9FivUqrzCFf9BeeZNavoecR5HBxzq4m7Znppc+k
Ir4Gua53gXJeNYmVuB+9dSsACTdtUW6z/rOSY32iy59QCshV0mbd31hQbDmmeSg1ikXTRY6T1qJ5
nNjuHby575m0WwxKDadAKloiVWuC/Mqpy4EFJ6D6I5OF9ulqTZdIfw5CINtq6cJmrswo3kQME7UG
YqcHNNoF/4BqaPxNlpoHO4eoYebWO5aFTxB58a4gY28axmPnRNlOVHUHcHzAq1Wgo+wMnywU/w2F
d3GKZ7rn8Zx0qy4cONkHWmLS9tE4eyXJZvMTqpjFJjJjos+wD2Y5IWqxbEGdsM8BPwT31PXWMktS
kqHkJXMWfazRug9gGI+OAGIVG3O6Mb0LbtdIT8ZGjFWIqxsEuRP7y6wvfkYf+s00q/hJqvqHWWOP
yJ23FpMATVUDohVCHyLiiIVNEQy6SyZLOy4Rkn7d7BomHRoI32szZG+SGfPKK5bUH4GbE/Psi+X1
KW1TcD2lV4ybkk+gVUW1LZaqI/M2RgUArsGLu8upWPJ0RqkxZasaBDP5XTbdcYVZNKsdQZqK+hET
+LDVkPpwUYflxsEx6GXpLpqap7SF+SHclrw6pzpNlUbqSy+wV0z4NS1DVUJFn415L92Gi2D5e+om
Y79EIMyQGMBsBjHIbjwwWZ4xGyz3tPvocEXNxh3M4eg3cbODB/PEyMwnx734Pi81r++8oyF6nsmR
oBkoIMd2XCFk6F/9vP9UwqpRzmIs85kKTpgHZnjhL/osJz1tUit4Ncmj3EWG8iCi9wds+9bew1YE
w51CAuvjn7Amysiwums+OcOLSoM14Pltjnf1ew8H3YLOak8K98OIwbNexJZTmFvbpuuLs/caeC3W
RD+3HzAut2v6DVU8jDvt1sbapWGeFqQtpEZeoYpDxrsIVV2FUciQxps9hgjeUZWM9PGjkWu419sA
9tJyFbqNsQWtd7Xj8lekZnR0fvBatNVvORPVtuiWhJcYjK9ZEdIy2dSSuW5e2uPDPOKsRdW1Hq2B
BKMAlTDtmuvYaOS/sIULuwoOejSNNae67FkuGHzaDiN0GGwaT9YmGLr8ZE7y5Jj6VvcNY8JiqQmM
dO+13pEskpdlD701s7FdTwRn+GULI9v2LCrsJfGzuqEAWzDMZP6BHz0nSGWIRscnCW6J+mfON0ZJ
2KHpQImcIs4VGJbt2jDR64AfZrJr9ctssFp8ddMO1UC5aXRU7fKKrl4FmN22TKRW30a3FpuEWD8r
ZKhiUhSda7teOYBPdcICIjBVrAinGy+Oqx7bRdKfdHh93cE9DM28t0CKbBIrCU6jP75ouFQP9Bv9
U2MyiQZ/+UK+IhJvVNVmoJ6NMt62RRFtUGTrBZUPFdAvj9TtFyUH1LLJgHdNtf3K92LCSSNcWEO4
sauqfeOqDMgVuInrousw/fkxqroLPFFnjZDpEmYUAF2z+OldDMBph4BcVL9aSRMJAz5+z7G9sRT1
nfPDjzOCFeXksbvDdCPFvEVR9l3m5uIg+BMhl9w3cQz4OyPJxYL74RCVvB4G9xyNyYfKPeNCXART
xTI016qZOnhT73Nlc2VT5AeRkCiutSs+mylLSfyBf85ob6ErzfZFREA/1FsbajRNCsLA4I8HFuw/
umWrMUWVWtFdxb670N7CvGwObW6R36nLc1aiDfdm+9DMrN/+slNqMRh0fRyhnB3NlWliLJ595+do
CUKW5wighy23nMHyIXUlR6hEeyYUw8jG+oEJNQQ4FqKZ7sPTKHHOQKEunivAH0Q+Zcc0z8iIaQL1
JJEr9VE0viBU4Rhk5WGTGD3LbKfJ54bXgXWq5C+n1WDCOLK3tLDITFq+VcfDIwI7rGXdixK6PjC1
9DdYgJxPn/WiLwPvkbb2cxAN5dXto1uLAzM2ppQseapLUlKjQwRMDpWxDVkTm0LwTr/L3Cifvgg6
i/lMpfSRmbAdUke/5X3lb10ce04WVAcfMcSpybdlICa6HTYCXPLbdnZV3lD0yWOiyyfV0dOwhGqO
lQPH0wuebaXgmkQEPo/0Ux5S4TgbiFviiMWl3DON3BuRq4BSVGzuKzGe1y20x5ODNs0DfxRj2qkj
zFqxQ4hlZxS4g4eNUjHBl3OwlZbeO0K3h9GB7QOKzSNOIfumI63ZviimHq5ke2wfrcyBe0BFlqTH
PI1oQaSkLoqAECtK3p5KP1FIK9SSh5Wl6IAzNr86RzBoRxHCI4rBltmt6LaM7pdOvkbOKQjkrQS0
Hl5vpvDhfAPYl4ESoNCpDLbqIxdE20r2pvXmllm01cDvHvqTEcyfhmk15ACIt1zVP/WiNOsipJkB
PMoRTNvKD+RzLeYPr8Lh6fFGcRNd69L8k0OKMyCxrY00xjA+gX4y5/ZGIxN/1+i8onMCobZ0FOeC
7DQjhVdMy3ztJqwZFHrRBlYiEB64rWzq3AsnR7iuJxfsA6iFKMvJ8HXAa6LdDbniPyDYA0pV4bpo
W9ZCua5AyWzzvBlXkd3LQzshn0ZlRcejt1F/oHo72cm85ZSQFwu28srOaRpVFTXKDDHQniH/MrGP
w7ndpJ28GGDp14aX/iETs9mAvqoxemCAqRobvlIMnRq+3bY2vB9l0O5rT8tNZncuzRcV7soIpael
YTf3kf8tK6kZ0eOsSSvLcDpkDjmIiBrol27MliuukN9xBz+SniFfZbtgVbwoo/JJWVJG65mU492U
l9eyCvozNvj5oewd6LGBf5vJL6L1HDzkvcKXgzY2jz81eaIW0tQKA9satYf1QLV4lUueZlEvM/OS
vAtLkQwOmyLdjCPWll7ThyyiP2gz6j0nxVOZRm8Qd51NNM+vdeMpRIww1R1SYukioKoXBIWVde2g
ll/i+YbihPa8X8WG9aOzu8M8k6WXTmRLRMQ1GTKPT6zoLmgsa1yz64f6wyk4WuUO3GHaZU9YStLt
CpHRtA6GPnpCqM6ZORAnOZftmvjybB8l6EuSvDxCmzNPLML7NIqjjZjrQzb45XrqoifDcX60A4CD
GaE3PgQ4ockfti7RyYSitMqOeTZbCJCHw9ANBkFOE2/ZU1vApz1S+fk2Ehr60HdEtovKcNZSCGiy
vfkZo9vezln/PazPXYzcqJqdGan+WByQYltrSliABwgodiqu36iAUONP/ScLYPMobc56SB0Xj9ya
bc8Ia2/E8Mkdjy5jx5rqsvA+9oh2Hzo4iuteZvVK+ucQAvRmUCQSpG5NUS/894JQOCfzs2vDf930
tUWenmK18+QOaoTPZGZkIgB5UQJAXSU+cLdOYHysmO2sxeAe5Qz+SoR5hCx4QV5E9jbxUQ6oxCi4
WjuPuK2NbaLnGl3iAyEF7jZaIFmuDZGvn9hpTKQBkrBJoDImE0aiaITcBSe275fMEd/OECxFbrRW
Hk2X3HaJrEQGBKcM9bsitGslAgGovrtFLnufeogh45WQcFyIVqPAVlY37VueMmayvGY6liZOB3TB
mzCj1i4nkGyZstFVEIipaJwiaX+PqRjfqbH2KtA/gbBQEvvkrallnju0wYnZ1PwhSlIH8nJ8RR3t
PXYOxMlAzR8Mq0iaKVBU3J/VNEtOfNSkRxJhpg/TQm4KFfO5sYzipbDM/f2HtI3cLWSkvbo/q/+Y
C7JAxtZvWX/n8b0WONFDrnVHe7mrEBg9DEANL7MR63fH8M7SdeS5ZDRPlZq9awbSYZx/xDO5yLZp
/jZp4300Ar1PUnAduT/I6DHbyMjJ9/dH/RI9X9/K4ULAYvXmkP43hKxvo0GrcFDhW5SOjD4D4wUs
S/jGYl7E5gG+Tf08xf7IiIxDeyYTKvfnt1IqAnnxYrJBJR0nxm656Xp4srgwQPtA8QL2ixvCRSSJ
BMH8GY6Ci0qWQRuT4pbm89sUdfZ7ZiGa7LO2ovlFnUHxlK+COIe3VbBuOYrrUmoq4oPKRm57D4h5
UA08peHUKwJ4kJOdN7/cCKM+K9gn7T4LfOl4NJiQvJsmtgCjewBM/iMtEG96A4mZmlZ2liTOc2ka
P1jhw4ekBbdkDP619z2uDXR7KZZae9ewfm09cR5Ub65pV55iv+02unbNDydky1NXgktCBxzyXgOp
nNoDPDtZLbnaBrJvXqAyH4m8Ii+zxIZKcnayrwLQZX3eGh86u9bW8I4G03js4Ro+zz3reRT+Makv
mTNTEXJYtLi5MfF67Dk+Ju+TsqzeVNUo9nFA5KVK63BHIxK9WY/sd2D3OWu2VhTfKeuUp5HyiUbt
4pRJeuUkB6QE6JWWNnBjcGGU4TVcnKt+9EhiKXOHNGJ0AJMwaQHtqoT2rD1GtwrT0jcnSmBRhDQa
fQfalJQ2/sZBULiAQ+16IGB1MyYPXWbrY+cv6F8rh2pbY0fT6bRTY4IcV6lw61ILfETVsLPsMd67
E9ytZMxxaJiZ3hiIOD76wPqW0mfPcLrsx8n1X3s0eNsO5NsmN8gYxMeGGMxDGRsSAG0j7d9he5pe
Bw+2eOTP5OJmCcbiSqSEd+nwwGnarGBxMF8fzm3qo/deI57+UbgqusG7ZdTAhfFAgtE7/AaiPtjP
w7Ty56chUD8awXSmarsTgk/zjPLJpEXGLrFTs7srAULiXEByhcRT7VvsB5kbE8bL+cwhDA/JUnsn
9TYei/mvOSeVtlIo0pyCbqehET2ZxjRufZoib6ks//qNJX43HSViWIWfdgDZXQSc+ZUPlyZvAKyM
SQDKR83fiVVdGYVh/USysA06Vls5LoqjxA1e7fQ2pc56xOf53ruGfMxMl4uvhNFLthdQgDK9VW32
FpPo9tbNWt461Cfam/5QgMQXEqnka7Hq5uFkVEZ7mUgHf0qd5uSV2jrD02irxrqFUNwwirWP9xuV
k3qBQZa0xLL+8EuzOo023ZyxwYJEnCUxPYt/CVLxWruOe8GED61LRtXW9QUhd3lJWDjgIdp4JtRo
/Wg7lNRWQF5mmkaXWsqfFdxk3XzDzPOJpAjmvVdUB90fLSDrq57lfh0X8CWTWhy8dDcN9OqSpS2t
I+ex8wbGfJn3oWJaqbpzbmZHWm0qx2E7oBoaBwbpXs82KKfDQC2bPjITLIiJc19VUiwnfDAeVeji
E242sdcHcGo3DQXNqmrqQ6vHC51QFEITQU4TUgqbS7HC6kDNRTukoZkluUZodyrPYcIOsOWo3CNo
529VcwDkH8pbNI8e3RoQWWFo/24ySgEvgK6SR/YN088AmmoEwDgO5nEpPK0k9Oi9VPpiaEU4X/2k
gKATQ+Hpg2Nt+72JlGPnj0B3m5K9REhrksQsh1Dvk+WPb6Mai10BDoEGOcKToHhyK59yjuLECyUn
Ff2ZMkSQVFr9Os/FX48pw8W1+ESFi/oDSxeX+xlhEWNPNvLogQNhIvvuvIvNlHqFExeJedutFNtE
WVLQkIb+M27jfd3N/WOLXzCJWAB1hg85AxnnsLsInuqg7n+LgLgRKDjROuyn6hCnRN2GlAqNLpdh
D5bgCNHMJpzCn2mnGFmbLGpGqdwrsqn3MWMSdwVpFrwxvXbm+juGQOdpbrwfms57MFUNNCDJ6AB5
zNbxJfubGaxu2KxYh9KLGJR98dUxabCAqFTESCP/0K6ARd0gNB5r74BsYuV6IwdF/WK2PkRWDw0d
46Xi0dIDueCQoKFhxcRM1ezH/XA3pwQZRLBPiUJuygO94+pc6tLa5Z4qr17EKV5MJeeTiLdMHCnT
fP43buQ/OIOhVl3JDskMG/ZEPbkKvhAn352x6Eg0KVHldlc0rEjIRQuOB6m7QDbzUMpIXtzcOJS5
Ha8Evb6HsByajVbTb1r0UKkVSVgo1//OS14T7Lpo01aLojzDzwhNdeuTLvXQIrxj95d9UMfDX8aZ
+VDmkGDY5LJQEdHcNNO6s+gIs3e4cKLbOyMC/9Db/T5cIkxasKZLNMw2C8A0hbMNcptFZ/bUhund
u1WHJeAGGl1Z4yVrqpd0n1LplHMBWrk2fkOPbRoMjb3JCBXh7a2VVk3toQeamONE1LmpaJK19a1z
F0U2Em3gCFBpAkIcVkUWBpskUw81ffFjSY+74BBnG6aA5fSmfXPpZzLa9tBB9YTjAUfKpb81J+DU
AK1v2OCYJLF6AP3eECkiGYQMMEVE85ctMz5ar8QFaLJpQDP0KMvukFczAdlAVRwHWgiZPilU2g3c
lE0n8+cgbEYyCraOCUIxhz7H3IFopbYElOjkkFZyfUuWuQVuc3uPpeQ7uFLF/xwIs1ti70A7b+z+
lZH6X1my/6MayscalE//v/+n5fzP/zt0NBChY1kWAlLLM13LsXn814/ntIqXZ/+vPlk+tKhit9+S
vKUFrVPpnmG2FGs2VsEWXsu0GlSwd0e8veyxt1xHl9Ycnv8uUOf/z9txl5DTf4eg8n4Q7bm2ZXuu
93/YO4/uONIzS/8VHe2DE9706e5F2Iw0ABKOIDZxQIAI7338+nmCKklFjbp6NLOZxZySWGQR6SK/
+Mz73vtcSdbNX99Po8u5VUoVCwpoUiAl+xeMhtuF/nFhTN1HlqzdNWKes+zc0lDkWJo1zAg7HHmE
ca+PwjOY/OwYLcKzmB7VtmaZqKTbATavjXaMAoegHaJu+V5E1Ajoobl91l+NKLtAtSyYJjG9ThER
bpbQv3aUgdvhk8HxNtRQXgutfDLG+bZcOF1IY3VbmdzxZQYnLhLvo25e/EwgLzUavyHmH0HGCdWx
EtXHQqvEUxF3X5VBWUFt9idVoYIstbeUtFtGC4VnA8qBo5UxAFeEvZdcexAkzqQplTe3i7VvYvk8
xb2E9YFdl1Ktd1aVUVrsNMWTZCpCcqPe6/Tr5gJ1gTWXkN/K6qUVxiNCNwIWcHV42FTu17ryDHY7
bbaK7F4oWhTFXbltKqa9jTLETkzvga0YhOAApdFu8qqi5LvAEMyxjNKeEQ/AXp16Tp+VaKu9FPcb
ipNaZ//Ve2Y2cms27GI0vTxou5sjFpLXCAkhGY/9O0Ss28Igwb5HveJPyuxFWgF5pmV51VfliqY+
VOOeQ0iJiqfRLFcprTt51b9OCDD9QonDRMk12jhS7nOmeKhyNVTFAVRwlL8aNI/gqsKu2826mHEo
oGkQtXW9/aSiNOHYqdyh0m60eqElpM7nbikIhCWfIi+1PFz2lRGivE1bJ3b+eHir4j+ObhMpp6Tq
liaJssjZ6tfRjUYxkiozYe41sX3S/uNddOs9OLBgifomHHPNCFsm4QLzYdCRugn0ZfQ7I3GasvuG
f/d+Eq2TIOC2FpvpxhDj84gyip6iNDjGHAGggX3DDqq0VXq6jkTFFSckhEA1RpRNcxp7HiW1dSvS
m/xxiSXJbSZNd8fd+a0LKsZT02DXACmVLVmGPij63mKY8X9eif8fYv24Nj/+48/v4A0HvrgfcVpX
BFBXFMjXPeVZ0mTxD2Osw4G6UvMnctneqo9/8si/ZFlLqvnFtGRDYpJUJVHS9D//af7RD7yAqn9B
wKHquqYB/MJ++Oc/0b4dkv/4s6p90TTNMExNpH9j0NT785/6evz5V+oXVdZV1gK4GlT8ibn+z39/
X/4t/lH/Ekj+9z//sqhIMp/p99O4pWh0D3gxEfWrqUKt+3WgNzBUu1oo9KdOkz4glV60THvURZSs
BSpBN0r53dwqDEszuch69pm0VRRyLPL3G3YsjhJoJD9KyvMg1oqdLvExBrYlksdST9a112XBXaXa
G4V6u3TbjRHBWIsXebfosyQM8lVHU2zLA9J8AYqMWyL/6jRAkhQnk2DdhKBUTdOeupKQsWo7EF+P
r3QFlWfSopeDVl4oWCXGTaU0wRL365nPe27yHDlaeUaORCe3WHrWDsQIKmF+ZnQHFHU9FQJnIGZk
FOZXo8mIS8EJLDb3ZcJsJdf5dy1STtlaBQoJemZq3a0QPymqRLstqHko15geqwmoFWPDSOTlyB0K
sb6hyzYeupLiuErE8jg3d2w/rnGRfR/r4nWDNTPV291qprtFgWM/Nb2uNmjJSCi14yx61+BqgNsS
4V4nlzmnXEq6mAgGMxPwKiJMz5DnkpDwBIApU7IXxBKLbTRmKJfCWyIZpBkVn1n/AnLUG6PqgdPl
DZAuXxaULhTmHhlxqMj917UDPYXlB7C5qh9pg1zqGlZT2ebf93YyJiaQzyKq6PVBlHm3S6/fRCq5
kbHG+jFo35QKCK2Un0m6CVoK6C1mcYg3wJSV9NNakk9Ena/ka9wa9W0qbVWQyDP7THCdY8LHy5jz
8GWLz+lK/qe0veIAehzJ6oP0YrnsoD+j2PyWpMpLWxWfkdxwtDeLR2SgfZa81hlY1XXqe6fUh/dS
uiTsQ+yyIVzMotQ0q9lHnKr04fOnQuTKUqBvbiWG7WLdDnn5PTIw+HVadddvi2ivO+2kA4qZqK3o
D5zpMzD4jgqagZKCiG6ixR5EpTvf/ZbZTvzJiF459npz30Y3YzpF4UqkiAuZkvzeHFqzZUJO34Ba
tFFJRaNF+yfO6Xs1W5qD/eIqJtXM/le+Wot6rZeCULQtfe0n86YFV3No0CqxjHShFcNpEtjegPCn
fJp7EqsWPXa+x3Ug5Uedla81GtE+o5KjcrLpNHsQyfUQeiP3Jjk9lt2MigJ5N4UD0UZe5ShK8tBu
HfExYvqBvxe1jHCM13tVsUjATthbCnXyWQnJZ9emPzD/NDOiQi13R51t3grvVSm52lDx7nc1YWyg
1DGj/ZtLJnRieLpRwd7hRkMwOmzfZ01CZyggCMPvz+VJ2zMRrp9UyK+ab7BpoRUBuTcWrVsyuMJ1
w0A/dhkQsedassihpW9kC3TzSknzmbISbNDTZShSoGZVpWLHBdysnTKajbG8PhMtoAZTLZjcFetL
8qj0DQWhSiB1HDwE/FXSsSFQIGG9RxJB2ZEfJ0hkFxsVr+VkPGLNT0Abz8+RAF2SHt9Gcq/QVtf0
0KsRSO6leqTzE9Ra+lGk5C2I+s2koUtNeiKS0dgmTaLfGSYNbEZDJbBJacyO6IlGRdYKYb1p5FA0
pCueSrTfIZnz16yNxcPc6/eUnekqcLhhenBBbD3LXHxv3cQzx8ZgGHYFyB462AKc3apHXaeG3q3t
qcrAyhk6L9Ok9V2CjGPsL6m2Wj6D587MEs4BjQRFa2cst116A0HCa1YJKyW+gyqOHgmAhOqH2Rk1
cDVyz9QZX4RRm53NMnr8OWBEkYNZpz6z1F2FPS0Y1WZmZ22CILy5Q+t7YcVxlBxFZCoBOV60b/Ru
LlGGdVqaK1S7MmaYipmnH5gDNEIJ2BzfK6tExu14VOGa2BoRMG49jD8INXOMrmzgTJqhaNZ3Ws27
Ao1+Ny317LVU6dYVBnhSn1t1etky3DUMXLaFzctBAQnL+VlfEDpoh3qoH3CdcSAaKno1W/3a9tsz
XUQ/X8Qbcsueo4GlYp1BunMOB3fZWRBqq7Om8Qom2lb8C9VOQAWDgG5BwkvlCICxLHU3O/XE/yD3
7tK6dRO1fBJKKmAN55Bp1kR3GROicb4S77MeB0DCpqCPjr67Yymh2KpJXxlIZy9e5G1k9RPHC875
89aYGiBE67GXmzuJswq79KcyHj/gLdwApBWZT4it03A5xeQg2nJLiV6ud2XHUiGmABwmD5OTIwjK
u/pOaMZLWzDeFfquiM/kyckIJeBYQq5WbNSYU2D41xP2J/ZGtasUiBs6oyb+oYdOJJeQ8+bRdFdV
ul1huTqdyB1Gy6urnwWdHJ40bdwVx7Q7ddtT2qNSbansUjXwtXi5aYvFclSRqYsdhTE337q9pDij
JEi8fhleySVmmE3GQ0vnVyKgkSOR6mCBGOHDYW9CpqV1d7Uk4IAXREDRSveJtSYs6QE5Umc8tjPF
8SZNUMeM63yIZeSCrWgh2HoY5G4JmyZBxtYwo/DoHuKDL0Y4tIZjFTFkSno8ttF2L4T7vkjz8E6Q
EW023muKMXvWKbosa/VgdM3OXiyonqvTrZHsTIyJmkdVfK3AwdnpaqBO0+n7L7JHKoDp9hMqM5F6
3KQ+ADV3zZys+omtkrix/IG2fKHx4yLGhTwRval68gkClFx01ezcTLom9O9pEwxeQkEPb4F2grwT
yvuwFjctnEbjMcq32Fu16rbvyU7Pt/z7ovQXuI+iXe7SWtl662MMhhTDA+rvlF1nBvJANlqVrM9R
mn2SAfs61euTZrwgPlq8olqfrWnGn7Kh/KeuNVNSt2eKwKAIfFK0zgy1c7u7Ftmp3rCZhflEkAUP
3Toc9EIk40J1KXq9jJbcI7U1T3FTHoY8fxaF7bnpcfY1E5ddLPrKSVF/SuLjqrXRAXRAJMX9rT6a
4CipFdOwIieW6mVAphFJnCuu/1bkvGVmQ+b1oC7ZJ0OF5Ixml6IO2D1PDw1u2JDANOIhOay11KyW
BYWvSr+lQFBBxA982ihePRV9hw157WYnIKx171T6gtEr0TwSp0R0PzI5LyzJSsMmMdNQwwtHMW4e
rLLCN63SgvCylsMcyjpqgdA48taiKTDSaotVuvB7uN3MuqeRkOfiZL8RI4mUWWM4sIjSQEtMh3VG
IdiNiUQHUIE205EFwRNl9laVrD2AFogtBEuJrnyidPicxyaMuy4ACIb9dySTyIJQiRBjhXSHuA1s
5GvzqcxR7MayunhpIxzqdO3wb2YunJLSlQxicnTrSUowwSOyu+baB86XBFpJhKcFd2fR34/MERgC
uCACLzErg7tE+mOueFM33qqs6wulaTRX7AppB7J5RAtZh3SBHja1vlu0/BWdh8oW9iebyiVW53u8
8nQdDXFRh3fYrs/CoLPNmi7Z0lKSp3mMrmZWiHdgm4d6XpVzVzS+d/pLVBRHao1MyBnL22AKP8SW
hCya8FQKjbCyile4ES9Tdp3r/ruhGo+4Rd8jIfng0PMRK+R15yRao+Ar3md5ONXpzHebwb7W654W
OIYrhMjVXZGvz6u8p2RAmKFFNODqQ2Axbl6/KgaVnBbzQU8Z3NKFH1qdheas3Ea3xOZ+CKIwkM2B
nL0oy1duXmcm1adViFGqH+ck/hBiJly+3cdIMF61BgVKWsEUnpf+hb4n0TDly1BGrxLfPa21xhHJ
jkMMt+IVJPuUl3DrejzWUsnBR85eMCp8mJkIibEn5Br5LUIuMOUsYarWvU+MkkDXpjs5HQgXFC3A
FeB7tfyjWOLPdYnpEcYfW0ddVCptQoWvcsGc0A7ZZ5lEpINBuB0Srkqri5oTflWX6G6/ryJOGhG9
NHtOE4vFgTJuTxKdfaiN6Dv9TQzdGjhHpWXwFuuxmavvYjyr7vQjslLoCEL2+fNiozAK8Q4hZp7Z
ljboY0bjaayJFRHVb5D4s73RUyAgZ/qySuFx1PbtuYhdGowYwB2+Bppy9pgxLUlNmiPbn5maWCSq
lcOiqKP6iJvlcV6rp4Yp1O1aSB6TrgHBU8SM0jH0o+q5kOEbNiMOMpnomEw8TBVAUTWZOHRK2Wt7
nrd8dmuBLRfBL+TzLbSs2W4vRMCwHQD9bzR5gLqmPOSZAD9BAIkDjB0UlWU9RKSl9Tgbz+1Sxu4g
FHdsCFRXhMfbKUAcLGRctiIszzkWX3uTAbQY0k1TQWLqLOMxLmDKJq9DSkYj99oFBuaBi/JRDOq7
2tIDUSBKG0rAlqlkJceDbPamGw9ssDU1vxLvnHiNSD7BEqvvPTwAb1/9nbFfnrWU8b1yGKpBsrl1
Dq1s0k0UXf1LWbUvRsLG2MyeY0q1iMXYMrbt5wqwyORIN9I4YFPAlSa6PX5rZNY4tsu6jWficR4h
iNMLYzr29/Bg1G7TS2vsA1mMYdMWZ73dnjVobwSzuNlUv2ZL9LgiCKG5Q1JLrhBqzV6bit5Hmvcv
1R4mYcJC4DpBSGqX+3aXTbUxh/AqRY9Ua+S8aWuXe3J/TWOSElgzFF9Lm+c1WmAq6uze0omNDa63
CucFv7RoUm3OBtRJbcrnBsiHpoRs8dAsFmW8tiHJThOvYmb4kW68LHSRgtTIX+d6fdFg2etVRKWd
c/00o59ZRbxcRfcwW+Yb6PMtBbVV9qwqKZodW1TS75tRvMRCBemmxxo8aMQjRQuRSMzaVJ0p4Uqo
LwsjeSjN7hM0biCpwre1YyIY1BbqeP+BHLJ0dCX+qJv8deylyzooP0BIya6o55NXdgQYwZy+GoB+
ByVtnLpUcZGoCl/pBag39PSFXVQSmY8Q+QmNaqxnHO41pUclrGKUCBodyu9sGruU+Clakhk3WEZe
HWYcj6733vgb3M1YewSpNPeEeWCMk3VYRCo7q30lr2LcM5hsnuJIPpaJ9qlLyzEj0sChztnaar+A
dlyfVaCz7ODZUM4LO4MC3bRqxgKGTkF1AOlgwOu+EWg0OJzkyCRc469WYnHEqthsrkQ6NoLoGSNL
fFJct7h74DwEkc94lApaB1t+UCU2cnnkoiRQ3RQDJ/Mm+imDicCIl5PS45YEcjV6rcV+KBXhapvH
ScBY8q8XTi/pe1f39efw73u99b1GYJzGyfCzYvf3Pz3WJf/7wx/5L5/ol+ft//Pnk1D7c9+Gt1/+
4P0sbF7HH3utswfM+Neq4f6T/7t/+Vt59L+pnBqyZSki7av/8fvX+O2xN28lVddHIgo64Uwd9Mfv
K6d/e+RvtVPZ+EL9U5IohJqmqRu0vH6rncrqF1G2TFnhhbDD6lRVf6udCuYXRZYsw4J8aIiaaJjS
34qngvWFCHZ6uYppUXCVdcn4l6qnsvpL8ZR5x9ANFdmvznOZ5v/Sk1sM+rpD02K+Gcr5CGxJg28t
OEhbhPsKTR7o0umrYdITHlq6cyA/YcsusGonPLbYS7bsTUPv2aA+v50JhXfnufmxxT39IAzXJ9Du
vYsxHDnKeQESaORZibqX3IEkku+iAqmZMcenaqCYU2dQEjh0cdwbViSS99vU6LdrBCw7eWlTDrMQ
zHxRK0pYvRPhWgCudpUZp5Sa7KgxRJufhE3NopEi53MmmhVotCSOVpXyNG0Hohyxh8tUZyQ8jyRA
US/V62Mfd+RhiR1eEsw19bRsl16QHgZo/alYFPeItwQSG9h/aipmc6EiCgZUpT+PomoPY9odUGHd
iVHfsZqRAQd/8xmN36fUmCZoBY47qkWdOF6gFeTdSho9MmGtLTj8Tl8JmH3Du6CG09qFQ3GXd3tU
nJqRCayug2cO0pu50i+qgiF/b6D/0uyJriQC3sK7rC+iXKU+l4sd/gTTbUrOLYkZIVXZjRauzK42
zen+6YdeVCSXmgFEFkuCCJaIVAM5soSNaZxyEtPtcc7bi1pMT0JXt/6CPSgSta9tD2dpMKNHQzMW
L5u+/e6m+Sc9YeOfDUBuNl3WRUlVNM4pv1bva/posINA0wlR1mLp3FqCCdiP4f7sfXpo23Gl64fb
ZCD4rlhOKL3ZdU/E16XWE3a2+SBTCMpb8Exi19Zerw6aK21xfG9M8bs0zI/YFQDwx53o1kvkJhNK
UdMUr9NYfaYN61aT7SkpEsKFhoCWIU4BJdVd8lW4JYDd3VgAHleJlotcJkHBzp0gVs+SBPEBM/1h
hYPPcGetFfSngljyQFiwgSRZ0+BjLIm3y2rEDoRP4ndTXpLK2DF4nMt1EnxNuY5cAzUgBeDWCtI9
eKhGqXWolqgMGJtgcZMYcy8SMtcQXjUGai9njL8MQZg1FmVgwvi5buwVLWGoDrBYL4Iob2Gl85l1
gsVGagsnSDwiEMO9hAiUMjNat7Q0AhUL/UDMAytXXIsH6JYk1kvCHahKZxTo7GUimjydOs+67cVR
iW4JXP4R8x2VIeArhU8LFeXJkr4vVY0SlMr+bbzEQMI7lexxeXKraFFdVSD6Q0i05y4V7zfKCtfN
Qp/HNHIoswrWtqaP/qrJJVWfeXI2ulBsHfFCVxKUFPLl1zCfscLXOIP7SD5Ar5lvoWnre26yb0jt
itxt6sJR1fykX34sXWJdCsLOigxEUFwR1phzIPezCFJgsv/S1qSGyRv6Z6p9zdj3ZwNZ7P2opw9Z
R7Q5OobEsSoDE3GdKGS5oqdxrIW+ebytadgV2mukpIj3x+Vk6tuD2DF6cva9x60TDiZ6VNIDSpx2
tKUcEdvFYSqy2YkRjPHy0fccL/8yzsWLPJMlsZFLPSeScO2SRSB7+dyV5NT2JIi6dUX0IGcEsHN+
R4oYJvZnaC2cYVtx9orsbPLoI5tGsjqW4ZxZykL9i8dsAvb7eM0eFRi27LFq9tXtQ5RhfJlzVUPp
vkt0+6W+ip0QuYNo3OpxZ3qTJDd+U1urp5BBQPgNllc1g63OCRdvupUd1N6M8NyYZwFc/u2MR2FD
i0bBJXpiT5eeZ5ijrobSxI5lCakqcGeESxCtE6HcwpycSEIp23DL9eUcqxCR6HEQA0BE80M5kZ6R
VVF6jgD2cuAVFxdLJ+4UoyzhTKV+qxHnOfQUEGY5iTnTijRzTJKeFGnwqp4y4NrPracvSOzQwSIk
U6jgdqA65VxBa9LABShG7YzjSnTJKc89cyXpI4l0jpMKljkJD9naWeZ51tRj14INzTd5gOUF8kTU
jYyoBWwqY4fuTh9BrnaRqd4zphS/EFCzEXFP7GtMVdSMtIcxMl8HGL6UNqillRVx1xxDQR2gVch2
Qkqx/2LhBalnWb9Q82Pfh2IBklt5qhTlqTKq6axF6Le1goQ4TB+nVK8ydPag6TJiz/vuCn6fjL+q
C7nc723eL/R2ROMwIQl0E5MJphAoP5FcgssX0QepfBGECgVFIxpzNPd5fDBVptEJCT4fFvFU02d5
QFLqwaQzplY0ZQaooKO83qicj2Feqn5XDyTfNIOE9WCYbzFpUuDeV7TcSEKcZhYiJlFyRzmeYL02
6LotUqMHvhoobqbHFeY2tsa3xpou+dbgHp+5CiagjhtZuzcgnNqt+lUjuuUSYRn01TH+juAP6XBf
nanZj+wPlLdVh/Wu3JtjBVtaaElFiLmR+57t/BR7kqbkYZU9Eq/dttCjfkbQGOTYAJigINRvHMhz
I39gullPJj0QvaZeYfTlK4fcPkzF9jpYs3IykaeQujigKPxaqOodqMvN3aS+8KYd/5YkBOXIJjOP
ul7EKaEuCcEsHM3u0Upz8UhRtYJvSH0kVckX7rvsQsDsa6QqtxNEI9sw5xdq9y0xn7pECL2QlLIj
ywhPZRn0IXFOLi4I+h3ZxtyYsERgr2VkUDuTSJKmfaD1QPkTvGBCfAFjW43cgKamCh7s5u5EO4vW
IT5caEEFRgjoKOxiH1DrWXYZGyKh6mQb9oSoZOK3oVw4Z2p5S9u8LE9tzlqQ1kLvE57gETBrerpF
/Wq2SKjORx2tUK2gm9xovMstWAPRUNwRr5bfUNDxqEqXBBqsHKAUWkZy/9KAK8nrJVxHIj/pb7FC
jGwfYXiPSpxfhNm4n6lsnUYg5PaaJTSqs+h2LPw8Y2A3sC+IiRl8AUn2rNJUHPiOXQFBmo0ZXvVi
2h0B4jqwEGA78KRq9liTvM13940NDAVgtrO8j9lVJ/krC+J2xISBR8RgKymUZWoDFZWZ4r6Zxagf
8U4/JrImeJ1RHqcOscpeD9ZNdHNZ3vrVRjbOMgI+TSgHVjPlto3YgHpeqTs3WI6Y6EIKTE9rnm9u
peu1Yw71LUjz4tJU8H7BkdPtTCUPCjJq7uim6mdIwFRc9YQGflufe1NoQyMa8Yam8na0SI9wJcWg
a54R2L1lrYAokn1eHkEToBKt4xa0+qCPUSFRsqceoxLZZOGkZ7GIyclRNJm9LNySaFzGQFxMwkzA
Z9i1tEbB0pIh0kKrcgajFmywzROUVXwmyyif8hlPvtwBLSGjNHarZpnpeSGVnNnhgjoFq0TbZiWJ
lYAxmrn7lKRPNVXb1LqvpQxDonxntXLuaUMvM2WpDw2UctJpgordplsn7HukyNeT5LYt10uzyk8R
QFyR8FhR+YFf71qM4Fkk/UFc24uGiMLp6VXkg5Y7q0qIcCLoOCD4znVxHoMG9t3SRUSojMOJkvZ6
VFNMCxUll4YkDp8F6IyodsOIrZ+2aLwsUKRukRxzBaQ7sRI+hE296NimPUXXj5sykkFRRoUzIyik
cAjjLZ/isMEa65Iz9lAhaLN7PeL2kYaDnMdYxoroo6q0OShRgm/Isc5yAYKEmm+cXIX0TVFpAU6J
8SHNwJCTzJFQcDea2Dp137+AdQjFEpPTaLKCZtXixvE4efTQFfSRToxiGdWbLMEWqR6HvFqOsQl5
XV6tYw7ZgXlgswilTK2zCn8/ruWwQxNuT1t/xtcQ+0vZ3JNJcSz3GA76+RRl2TWTysWpaelWYL30
NciwrZS9mQp5YZwoAqKaBgxdoRPosydDXjn0lCkF2jj2OZXdqFIb7Ppbo0Fq3FSeRLSNE6NrOBXp
RE7QGQZ/e1wGSlUtWEnKNE7jCaBjOnJYXSaSfUnF0ipIhBljDfIMaaBtwqY7wx2uZ2rnobLE+z7L
hIkQn630S8Y1UQKZ3UG8+/TqHmLdxFUgziJiszrQe0k+yhnOAp5SprJSeC+1GA7KIW3BO0i9HlbY
hZBnkF6MyRptvpc35ZsAP0qTdk/4SOFmbCtv1ozXPI6dUm5VIJHC+7wkIfCGzzXS6EqK2w8RR6UF
XySmXdomlcYedpdYb+6c8xcoUpmBgQv/8SlK3pWzf1eycoo3JYNCgYLSihOUJP7DIWoTNbDa1JRh
jGcPGSw0mjHpsjenm+LcdeMrNp/eXlumsj5+SNgVxqrow/iDULNvAvrBXiWTHNaV/liHBZ1g+4Sz
MHlje8c//z8oLP3flIx+qUQFP+q9JNP/Y/Xp/8G6ksUaIxt/WFd6+FHlb/n4myiv/31t6W+P/mtt
Sf2y396Ujww0ej/Vd3+tLSlfVKiliq7KGtUjGeHzb7UlWftiyRZ2RBHBHPJQhTfzmy6PvzIkyzJF
WbFMHRu1+q9UllR1l939fUwKsqQaqi4xHn890GvbrBrplCmXLExPhELdCLfCQbHxDZKifZGP+x/V
G/OGW7uxJ59O+mE9Sg/INKTb6JreTH7kVZf163qIvMUHMXdL7foI6c3tj9k5fytCqr5kaxBM1IRq
MJ6IPHEXn8OgHzm5K7u6px+nEN3QQXVGfk8cXNC4+X10lL02WE4w+xxoKCcgaw506BMEm1A4ADNw
QagfiNf2wBgE6rEN8iBzV0/w6wMB5A/xUXElN7/psffY4wUxa8hRydf88ia+AeGN2t4dDqorXGZA
sXR3z/nFOLQ38pGzVdDerJfE1UPV3Y7FTRpiq/PLA+Vjny3AYTyax/oa3Qk3xUN+JLTiUh7a43Do
PHS1fM7EiT3hogWGE9Gxsw0axZcEkyIkElun8/YU3XEotpfvsC9DImK8jKdV/N7+EXq9G/mP0FEd
KdDd1MMC+0lGAj/RHPSfb4N05wPP4LYBEbQH1a7D3vfEu+i8HAETBvA/HJJaD2PATtSffc5unhJ0
JzYCQXfQv3WnHjoJ5QZXOeZnwwOVF0CBDOY7uEw8ar4vr4m/BcB+U7sP2SlfqWY4eUAdj0NeMDnM
kgGWV4civw0w7pgdOdJ8Ssf8Lv+Q363X4YBQKaCQaI+PTuzM7mAbzuRpx/6Mte22Dum425OXB81B
9DloHsazcY1u1/PqErvriy5AFLt19dvsXjyXH9sz8BQa/zFbQRKb2Z3eiG7nga29sS59mD80T5XX
hssnMjpHC5FD8CTpXXLiFHnIAi3E+epJHikWF/WiuQXg+5BEhR17+WDcGWHHq9HoDRQHKGN+Vx1h
DLtZkLriV/XQHPGCfcUu466uzJvlOPue8vvVxc57D0E9HCnFMB075o16z0YkUIPIA2jktdwnIv/t
Yzyxct6liCrYHdvZ1QiJ6cA4f1QDwQcX94C94Cwf6VRd6pN5n10M7oDunIXJsTqqp/70x6sPK8yv
VeS/3+vMJr93dODNzClwm+KFI/dl4x4kajxAj+O2hxKVEx+ucze/c00MkWgK3NExzslZDSpussWl
uegK7kPOnTN6SArc1J/tZ5K8fLI07I/KqRxkCTZxwMHkoq90m6A4rofxNCJoG/zJJ4OLn6Cv776a
gR5AC/UMm46dT2WA27n3Oh8pUHsY/P3u5i/c2OMdMivAFPX1gJpKaB4jrnDnm4zByCsctDev45ES
Kk/YH3SPIACnvFn8lt8lfNut1/MPuc9UfoLRU2zT2f/T6OVvWA7s/qC5FCE9FLFhfq/yRK1XH6wD
4aa8TBaysvJh9ydvPSnMQt6c+5cPkjHDsaHzcy9xyTtxQYl74DsD9WI6GEgREo58Otlh48GHWZiI
uGjMPoq/+AOffODf9Vv2yPNzXdmhOoAsPDEY/I3rKbmll/KP7jAdHnk+Lnec2MJd8UQAq9fyltZP
vhancTNn/Y7wJn6IYjt56k8UZF012FydK0f529HDku85tYkvYoKu+DotG6usnyBiclVHdqh6892S
jcyfYae45Gbaq0OyPe/+L9dstC2+zNiPGfSFt9/RiKVt0h5sJBHcLAgiuHcEvl7YdDyOxi0vUvEZ
ytLWzhBK3ciNwv3j7HP84I+n9ZD6PIgXigIuED9B35GhB0KCiwcu8sW8zEdKGT55uL7Jd89EGERB
cyb/7djuA9XVA+F2/6YNdz1UASx6BnDsk+frdc4DTmA+A21Tu3I+0XLaFm838fbXxADBtUBUyZvm
fPDzIg+8+Zz/i47siUzFZMODbNvfzkE+DYF+0A8D00nqRp51EE4YJ0/C3XzoD0hg/f21VJan/R4h
dc5Lfg5MyTf8mTfKljnoyEYMC4ehwYRO6eLnkKjO63E8FPtIdlBnMcSSUOMFumDgEjNhOo0DWMHb
XraXJKw9nQpRADHkQIZT5+OiDQzGtxpANioYeSLTSfvdCrWw82XuWTlIgvkgcBfvIzW9MQP5OPnC
ofMPeHdOVtgfkmC/HQZ+pHLwDTkb0/TK/JmwRiMcc4RDEg7v6kU4WWdieZg7Ry6pzJDeP+popy6o
c977zEsYjCqZa7l6XNGAW+pqPs1X9cZghkyZOaVL6e7XGxsswy4/sG67PJuNw5dvRLEjh8nd73gf
VUB+j012Mz+z8vlR+jACZr6X+QZGFXMJlmcegymGOyFiLsLN40znjbFgsv6LgXnR3nVuX/G6BqaH
I91Z3eZNCGqmtZrHjF79zAhgu0LqGBMP1j2+G4ChXG/8ebbho0DyipCF12G9OURu5Ta+xeeMeW0p
ND0QMy6rkFNwkQefC+uKR+Xn3Cb+HOGLLzFjjfvz8nqrI+3TECyNgDvVAdxtgzrjI3T/k7nzWI4c
y7LtF6EMWkyhHHBBulMFGRMYgwxCa42v7wXWK+vM7Kps69mztPAMqiAc4t4j9ln73GvcJDToOacQ
eezIZRrLk3wMdWd+bOaJGjmU6QzgzJ1spGN2/pB81nf7qW6PGgdacBpYPfk6slViCfOQPUXEBs09
tonsqImrsD4BvTpt+gVi/W39vQSGh2OzZ3iYlAZdwMrBox4dsGM5QAEg6zwRTnmogQ/5JT4i8st8
cHJufaz88pgf4yMWMOtZ4Oful1N76S/974RtfvWxsLXxSDqgcC+fC59YMOBYfMFG2m6LPjeYnbjz
oXWQK1wI5+zCHt2YcAFOWbDZmIbxJ3IzYqHULp2OYAb3Uxe4E/9P9v988I6fCFAJdiyS0ckx7cbj
AvnrZbxbzrqT+aY7eJtnHWjIuUsAAqnnn5c9YHFeFCqRY901gXLYvJZYI3doqp20u+hJo2nKX8RH
47nVn8mU9TMuBl7iM8VK54YYiJIfpukhh8hpMV3L05+YmEVNfYrC+pnzy42iuvL9SPhUneTrzLhp
Y6fPaiiHxUn5qX6aT+o1PXB6+N7sESxjqL+lv7EPOOnX8sAsqV/CtaPg4JG2xjfBo5gVlAe2yGN5
QDfiSNQWvPggeC3vE6atE/Np2mT8HXtqZ3Qj+2MIcoeW5YFP2K3T29fFGd6rd0Cz6K/zc3oGoGY4
o68cZr/xKq4/I0dqG1SdnYbWT02D+OD0r/JjJLoa9wl/qZ/4Zldy9ssr7NEq04hoqbiTTc5hHe4B
pPV93Sz+QXo37+pyogN20bkBhf4cBb2LlJNE1pZh9oTbAVM6p3KzNxBD7sfCRYw+Znf2F+8dTTSL
AkaytsmTyDEajuGptm7j3kZU2XDvDny0urMLkdcZbIYTeajQgvArEPWXkN8JFomLRdc6yL4kQeh3
mJ+2h6+eZXVoUY2gJ+Nw5I8ypD/kJXeb5i9fq995Eb+OUBlPU3shbmz5DTDybexvOcbvo7CtQ2wG
wg3jLr/198MYvNkFQBt/Fg/F3RofVL9mc0OHx9aEuJIfR3waEEFf4Gi6Mct67GcebD+eB+RHPkgp
G0vDA3sOF45713kfHIWNloN39ocG327+7BeAsrTPxv19c+P05zx/ZQd0385+urjMNjA2DmckPt13
D/EHBUf+yemIiMhGZ8Oe972g2FTVeE+rnbEgNVzI/RAy/s8sC7tPzu5iuVQL3YL1HUbyCZNLryCK
rljsXCYy2UbN/X1w0omfD5U3cLCju3EgjROxyO/hoOXCfWI/NP32qWbxt8LisBw6Dn/zhMP+nWy/
znKP74qjBlSAwvypDTlfbEqz178glrZRpzsme2/mTQczaBygEvwre+I4HJJ9Gfb2s1wcLBZlwoIz
RKP6C9t3X/AxEfYyb2ZvIXCx+QEOmEDKT0J4CXdZSMvX3Scafdl+x6nYXXgz2Hd6zW9yBHaYmcMT
iCr+Pv5W5T3M/nep9l8Gqk1hAXxZN9KFIJVIs8Swm4yYfd37JE7xaKat7CFI+OlKcwEMIitgAySx
pLysaTkroOpYbHWUyQlUNjcOiuseby2htO8LBwbl2RUkkmAiU3u7j56jC1j0s3XfhbI3hfNBIjWz
iFhRv7kSQfV81Eh2wcU8rV4cDGFEjDw7WIz4wPr2DDMoj/0FtsypCyr+6C6LkJdehpMe7ivi6JuP
EzfYvgJNP5Yfi30FVuExu/+MJdg9FmaP/e99G5Ce9v0NTZlLQTmQ7JotoL8Zp8X+mHi4S/aDfamy
bI3/xH2dZ7dDr8HqgFVLYiPBY+tA1syqhvjQTWiQE2fu+wpDVSeB1VBysRH8AjnOusKE2cCinfkM
3PMb2WiCfUuB1nqeCVH5/Q4pn7P6FHjJM0BLktXsm9LC84bVKL+c8QvC9ui2+Ht0A556j5pt+WVz
99hgrzvIXuP3LGT7iWAvPQgH3a/d7fvtJASfstOyTHFF4CR7KrszcmVAgvuIIs9cTQ4+saIP9kwk
zUq+0Es9jGS2va8/8tZZBiJ786YX4Ub5mPVg8ZRjGmL8xq49BWzMh5X1UvF4OMiz0D8SK5mHhfin
8/c40nIrIsQ9xiZb4D2gkHU0LHquzUX8kd1KbKVFQr3sMvN474uIbMP5d0qCMPg4qBi5BTt3vydn
/t6Rap3WU+w/Z0SKyHdshqJYI4rbojvJsdsXkKDjeW9YpBAjcx0JzG0ewPs9RByJf/YQT/EYd4Oa
QpPREzmgPTBcOHFjyNbKWkLjnkNnRSAsK0IMbf1GOe9JCWoGllRWsH0dO0cfxV18nd2FNSkLpkPJ
MsNsNPHs3z+tmLb8h6cVVdefkuV6lIF9t0gf9/groWY1cFAoOgLmdeyGjL1zv76Ax/Co6vuhhpuL
qwRB2+AKT0pIcumV78l1X0VEkuuBOE/msc3tl5TUGWAZgbTswWJLA5qzIfUoPw+kwOCG/MC1i1sD
HKK7Rz8KmQRxHVupQk1owEuOaCDnhtlX/JQHgIAiqG/aSQoETyecig/pAXR+i8jzqPVO/3v7VT5P
wXDKD/mzmdlLAA/nvgkswqsc5ujpQeAGFF5Ut+NzQxC9Jb5OyELPhE29fjbf4oscSndxejapvFz0
e8o33Iny0/ZA/5c7djoalxIQVTgd43Nx2u5w8PHVe+2g1FeT7953aPYXLjW7F/c97kiM2uzB276n
feFL7Ly/FfYH0QibacfOpHEDiMc9Sf/8yvj5fbffvzciUifntUt2OMnrQ+04n/c7gOt/YZKRXGEh
LZ9CGmmSyzwq30yqqdprwGrvCaf4B/UZblKWfDFMSXlYvTi4Tyqe5MZcFLKditsOqitLIbvlybry
3PBRfgcbj/jfxCzDZsfhdpAP8oH8101dlKlskBVrcxUK9yR2/N7isv6KEWoA92ML4rnwcOfzKBhR
R6hJ3OJApK6C540ju90drVv2S52MEe9YRzrl5AvMN/s5ZZaZhG89jBRme5IF3Brtr5j66UTGBRLC
rcgbKdngfhFmfFcbiA9tgC/8k/EW80zhlfq6P5kkSqFAvXbP1PdAAHcjN3ogQWOLZM+hcID7wLF5
jkkI//4xoln/Hx6jv/Q6yrzR8iIxjUv0G3Q7Xos2J3ZPm54RFz0yrCpfaO65ez5ocgL3DE3yq6tw
P1NlHt60MH3UrvWJqtpt+yjOfP4rvzN8JSBU9syjSWSPwxP14z0IZ9D6WD1Op+YkHZTj9lVT34xJ
HZhepsq5+mmok18NZ+pQZANUmEIULwdqIX4XrPcFIbt+7U7GMyo2srs+JPb08mPNSpueGe2mUnN5
I8bkpnLFO1q+LM8e3fpQvspvMHTPBHPkhTIhIaITipw41XqI+ULrZsbu/DGtdhu2vnpqT9Y9fiJ7
YYCyD33Go3Iv3/UnI6SC5e2rTHawgu9L8H/iKvxHVe+fWjT/vtfz/2GDRrK4y/6z6PcK3ICBgOKP
XZnvH/lnR0bQ/yGZyGgtHZsT1RTVnXrwz5YMbvX/oE0Dud3SFFk1RDaFf6ES5H9I6G/3r+gIgk0Z
isL/a8ko4j9ERaRho+maKlsIdP8vLRnpzxsPEl+Jw2OgcFc3W/r/6BICLi/wCMpI8QAGgdT+XBR2
vnpT73t5YMdRrScz6YHijz0pe93conrUwrGkRN83TxXIgaOk1yHTv4vf6Mb6v8Wxf+bxcHwqUi2m
b/Vd8yzL3/ygP/CB5iZOq0SRqGwteu7HY9b50Ji46U/DKDOINRX0Diwz2EEKtpbW2a2LJdXThPTW
NANtFjyXYSHWzwAVnE7KGVCFAObJ1viU7zhHnA7ae41SYLwkp60vd/zzeoeg5b2tFd0FlJuEZacO
3hSvtICYQHDFqh2PcZu+iysGZpVSxC9tkd1iRWcZTABU1Yr0DrlRDRF1xoxTKMpdVxke7sgPSgoQ
8g+327+Ry6p/XvT2U2Qik5W4xWj4IixHNf7HGKIF0GhoMs4LGRfbh3Vnnr5fCp35xHaux1CbGSjS
QT46uRoVP0SdHromz+2BWX+0gU1qnvKMFC+W6IQh9wQFVcSnZUT0mKbCrVmEV5hbK5pgdMYgL+H6
zsVTrbNXN4J66JeYuKlpIoYyqn0IBbedDlDuWUoH15STg1F25o+ZowCCrxinrJiNHxuqpG2ELL0q
JtEEknhXiJXmYdWwf/j7M2TsZ+C/c6HvM0SDE0WxCp1JVrT9IfjDTdSuMO7jhA52z2T9soxhXvSU
yJJ5fsgKJDbTQJNr1LLTFAFst5stoUMgDrorjAjr1BE/XksZLsOk3TWLmvsSU/xelC/xpehQo8tq
ftGHnpmUUv5ZZIuMiTefGtI8dxmjhe2vLeJNHuEMFiqs/K21xNuyv5R0ZBkWE+Hn4ebDgNOU3yym
VOQs1r/Wor9q1dTcOobk5w0btGa3Qft+0ZC9//NvOvYLgBFVqJP/8moUszoNZqB8OSS5C6bw9UWI
BoLCWIGiqRAjmXX+Uys0w1cBejicMSlYxGbBeBClnpn24bR/9P0pPFmWczOm9OCMwlPmnJo0bkkn
BgSQ8kcOKOjVWfNYvWuMqDtHdf+/rQHfsJY/XT6dBrmsf3etLcPYxyL+ePmE3OoLHt/FaU1BdBkF
L+6SxLhyWlZkTEp3ACUxuLVoZs+zMuCqZLbFU9mLfpsAvY005gK7pdMe8RM/VsNgPrRbQaUwXfHo
VABZKw0N3Hzlxr0rpql9aXYabv5twiOjNlPijRrn7kHQqHN2+Pt70/xzm4x7kykLi41BUVnweYv7
0/2He3PaslyXUE87yzz/UqE0ekuVLBfQbGRhMY+UiK+6tGiPyRy9qWv10ktSehP06CNJzfYoClFy
+/7UNhn0H/RROXx/7vulhHLpIrjCaGwVD4WgpC9RPyYQipnbxbEke4EYqPuChbgFSwVHhYn88P2C
9jlshGm6m/FjfhjrST+28pbZ319MumJ9UAzorwM7wIF6m65b/bWMN/GqdxFpiDXr7veH3y9Gx9BZ
bZjxCSdL4S6ae+Jyzsw7yI9rvprJs7zPMKOwxElKZ3bDMtM3HOTesCBrb6I01ldJaYIFamKs6kKG
hsvaB/51i1/SeOVW1c9FXTA3HStyWEmiHkpFQW4tbuVpU0xya3YrXzTGB72S1fsuVeKXWJePIzYP
uBnuTr5J7YGRwA1XbT7//hJr/+YSs0gjy5DB3MEl2r/+h0tsWqmeMpQPK9fUKCV2xi0uVZz11nph
DO4V2zbtjXlRoU8ym/XaOP7zRRkoQpvxXS5rsELUrjlN8NZ8YdkgYG7JTTMn8/z9Iu8cU6VQ66Ds
rId0MGMqioX8E8HTcLAyQ8XLvauOqzGc0g6chpQqbaj3ivSabPe4gcnnUdcLl/ki7YSnaBTExvgS
F8v0mqzmr7LW1E/sTPEuD4bdTizWsHpyWpBAOLYdcdUVMqk75oWl7nODG9atSvuvF6PV3b8/nYAB
OV9/Xg8MqIhYc6nMOfPM/IVitghIxLoam5B58RJdHbEZnQ3sLeZkOoKm1+FjrNMApE1HTakBm95f
TAnghCLessmI70azDUb+5dN/v7QzmfcSTX6LCbCjE9Q8t/mMB6Mu/dDaCp1KOa9owhhwFhPtuBY1
9YA8Pk7guGuFwhaD01fTqreHUkooAOLKRz94My6S2pxRp6m3Lh9b5NkmZEhF/WFJPCKCNa8OMy5M
HyifGDzQATRWilRISm/9/qLJEy2w3mpcqCBeO5jVnSSBaDK37iZaeXsaRxWFtRSJPmdqwySyoVq5
lC9yQmkcFds1m5PhXjfGI7o27fT9sm2RBicq+aktlnVool64jLkiwA9WcmCcgTAU0XVd1fTWrSjf
pUG8aCA3zR6jNUto5auxv7T9Ijmo+/O7pd7Ih6dKuy+TBXmy1Yw3UZwojDcCnhp4LIRRjC0b6LHi
fZCKey1BXdowdHquJ3U+bUZVuEAe6p9zuryOzdI9LHFTXRJLbB08IqqfTTE8lXI9n3usN27fLzXM
Oog7DGV2W8X4NiMt86polzkTPkyxrj7+/q5T/sdDbEgG43eWISumbMjiXx5iY8N2B4Vy4SSdu2gT
QC3020HXRDvxKTEu2ihXJ1x2qZbIOLcl5TgRVObMcPUNFOeiD8qh+uqAGYt2Ulu0T1IDJrXF1t7h
3Z1awiERVOysbnUe4z5Y9UyiAHV/QIc/B6hjD2m6Wufvl5JZMz/avZ+kRJ+em916ZoYg//dvmbv/
r9mBQeBN5MXqBc2N4cK/PGktDmwjgwAU5fa9fq2fvl+wDcTvUZcfZlmVLvFivvUF09zxgNVfp5sM
AmJotLsApi/aLFZn5MfMME1L+mJWqX6cJwNPqv2reqRTQtlhHv2sJC9LlNAdhK26pbXPUGxBFSmJ
bQMlRdTGkAeL4UFQUOjHQ70cvz/sW4TxA+51bJKi9rXsfOcFWqy7Dua1w0OdQf5e9YjpD1U0LE7V
U+qalhkLm/Ylm7qnNmMQQkrbzyxqaYAk7c86vwv7JP008xm2L0iILbd+Rthd2Yxo99rwtirWa09E
64y/B8H8qiYy9IYC1yLoODTn689FYUNTaqZKanbMcpupUsfre8soIqrlGo8sPEjwp0SPoiOUqGMg
MwVy7rboiDtn894MdYzSrAGS1lqld1LLzHRZXbNuess6xuWN/N1E3Wq1TG5J2lQ4qFoxosg21nCl
pOQ+m3edWQ4H8L7vW9Xe0hl/NOIKuqHlLg8y6KkKSLObOsd/rPHHySKK0qKXLM1eOwH6Uvs4rYYa
ZqoGDxZLzwH0mzvpqJQqcgcBgnTW7sTLRcBAVaLUgaOtrZbLc6YK9JJ1P+1h6E4UXyzJzoTnxKJw
xMz2ZTciy40BGHA8HcTdF5howGUzpseS4kDULrCTy44J8U6KDp1c/WiVXnFlMd0cpZDBbGntGhTq
VgTwH3JnZH8Hem63CrwDpLu+lAv4SyZM1wmthmwqzuxptFpfaeIPEUMiwTA/4T/shqz47ILa9nEl
isIYtCumuWohLHfaFEML0UbRk2o85SNWJ0RZRmY+QzHwMF3yGCuj6T5WWlgAbluElNm1DtZZp5mQ
aUYR27QJjOuUwsoXzmqE5yKTs7Y81nTYEjEjn2aMlhEkFPe4URjw9huG5ISGyUxcHBmRR+UeyfQH
W0TYatsJtMLFe7GRvhKhEU+THKd+kuSdI2zVQzeKT5lwGKeJDp2JhA8MuLyPpC5MyMmNdkwsCpXZ
ol/NhvEEzif+uC2DRRm6bm2VJdzbt5etA3bfq9rIFAefZ0NEQ8KqF2gyXd0lg01LshtgFL540+QI
afViDeZ7WVuzSwMe711dAaE2DOKAS3TXPZWi8VV00YmxKTr4lA0Y8WGVVrmcra5fwJIhAZUT4Spt
j61W/epj5BQJQpONJaSHmBXFlhqsW+aPkCRg9l5AGVxHOUNMNcqHAXjVuGG8vGT5iyCK74KKaUQd
/yiY218TsBe42udPaSLBIRhai7EP435Y0vtFMgFW/RgtfJ2XxnrbOv1glSvaIMb8oKs7gwLAYfxI
jDf4t6ObzitNyFY6TsvvfCzqt5IDnxcs3ATITreSCYpOvC9313acgig2tjzMq1Y/wBJ+1/MNI9S5
pU+SKJmtxzVDcDjpuYUJXJmRaon5nOWrqhfGGpYKWlGaob2BOtBZbIQK83huzQzpUeziZAc1fzZ5
oh7nCjMfnGcWe4bm4M1re7PquXL1fgpSNfuFaQhExQwywErvCO8Db8PMO1jiAhmUVf1U0pXibVO8
bA2igGN0nBk89boZGF3Lk1ZB8PMkKhb2BFAgaGNfT/PfpuDNhdLi4TtUXlSV4kHTH3DS7vxBY6hx
XfU12Nx6SkHYtrN8bKrosb6V+VY4MZbRDlbdP0d4OiO0IkZi9L1trr0QeggXa5aEy2JogT5BJGHf
BwGLn4sYqcfIbF8jowOcFK93XPCvrOC4+iYV7FZm5gDf7HoQoFktqAx1rbXFEo7QWk0XQ2egMZYb
LoI1BtqIi9hkHMZW6456cZhwL7FHyPt2iTNRDL4nxIPbL0ENOU0i0l0Wa4ra7fDcR5ke5HIDfUXG
iFdpfo84vkkP6ap/YXwc41xa0Unvxs2WWon9JCovXbNtvhqtP4amJ8yXZ7TB0Zw7vT4jJut4ciVB
RmafDkhy5+gTtPVvE3zga5kjOVwp5hfpVl4r5ar11bMgtA+djHtLnN91/XhLofJgW8UkKGKxBokp
0OxZQzSYZVs4yVt/oCD+G3o4oqiF+TxBX+L7yADNNvbqb5CGAEN7vNQs83E05zUwZdAjZVOkDxUK
0oKxv8MoL6d2SIH2ZoxMFOsANIlZtc7y5ULixCnSg2AS7tULARHuVGIrMaWoPklqi+RiEkp3s4ob
iGcpTDPmffP80vQtVflcAv+MO2iJ9R8FIJzBBXrK6adsbrubDAvivKVlqLbtuR7xiC6XGjMuCEs+
j0LTTh/QDRe3mDC7bRbxV9KY3f0QxV7GXf7EZvvSTguFgclQLl2KQHrG0ZcB29skG3DZKrxMxyz/
3STJ5FswZuZiJ7epGqymlARMXJdnk5TLL5X6QxljuI8Z5jWzfIuUxyzaYge40oumtPQcTZQXOOFe
RpnWa7RGXiJUI3AuTOVbCDRtEbuKVqEXVvGtSVA8ZfhcM9aKz24vNK/zDDuu6q1fYgtaNStXbF2g
DQB7+pjS8TxR6bC7zqQLtUy0GFIKWDixlraZRH5TcVG2LMNvY8otRoUXYIAg5GRvmxiUGsmeHblQ
50AfYviW6ozqb5EuohY9bGAec3E9SNxjkY5dZDsnjLTGu4ugYDprmv3KNloUmWAEFib1XqnjEKFV
6snq2+1kle9FKcvA+RDv15gNA6vf/vkirSNbE5tfUxoojY1uu0LKJgMdy3PbPFKFrE5xPjHHCiH8
RF7BWNZifhki27qluLqqmb7B0I89JMwg6iYzbZWgo6iggEcfbGXNswHmw0x7lyeUqNpE0aaaLNDr
yvSaFesrE5DIdksDf9VoeR6HmZlKgC/qhPMBk5yu0sPSTwWtgtjFtF5aoEYaaC/D7O8taXC6xXzt
G8qEpXLsjEI/USQkfvhMKUTYijZssJQwdoWOiKHJ2IhHDLU122pvel0hHrHMivyejU9nrzdSPJoH
wSs5ZHtqMA7ts+0X1T7dVVXWzG410NfnDBaV1YTWJQez3psYYchR/kN5VbfcYOpQKlyIIIcWkyFP
F2TYpgIS76iZr00GRWrqjk0/0qvTxNzR6uQtXvs7XLyoRG+zDwHoIhZIybv4Z6Jz/2GtkzHyaMjE
QzPfsM7EMatmnCwxCRO6wnk/fqaxHgi9SnUYxteWP+XDsrgQ8Z6tFYjhgrdYMZrerAtf8rDFgCHx
OJOZI8X1EQechq5t2u4V+DNzwJASh0qy0/goWxl+ncvwES3mOSHuAkQxvi6iicphOw4jxQPghk7R
I67BoC/UwE5saCksJhoy5FSNqgx+0Y40beFkMdXmGrRImL22XAkCP6gI6lddhgokormtFmDKUhkE
6zaomNiQ6htYs7bDVnn6l1lyPwio6tRTtmTpKdlf4rIN5hEA+toDX5jr2m93zlTUSLlD+NRkCt1Z
ELf0DBo7eZIX+LN5NQE2g2Jidwou9VUl+5ZkMXiwQccTa3iAVrGDK7qYCUJ+tI8mfAFN7Z70lSi1
Ijhah+u2cA9OsbrY5mT4Qp4hN9jaH2k0nefCCrI0ujKHKnvZqCC56q0UrJPCzG+53eeC/INx+7of
u0Cbkvu64rqZc48TO6STWKRUMGbTUWeXgsSJ1aYBub4FFMSK3P6cIYDaS0Mgr8D9d1pA0g4WmZmg
YiqXc7fjM0mbXEw+kkZ5KOqmgvag77Sk+p3clAUnbRHklgS0MrynI4Rgf1MYDd4y0oRi7T6VpMZC
lqOz89OgT2gqMuVukwwRE+E0cuWllS+Yhzt11Rm2ztZAFgQWcBJb0jdQi2BOhBb7UIXn2FYlbFjm
JGHiZltumVZtuCNCPjLjOaxFdJew75xuxXRt1JgzWrf3UpqBmsYgQjUEBFav22aXwH7qDdb8ltwm
2bajvtvWSiDa1nV0y8k6W6UOCgSTvigzmV9oOtUtxxQHJw3sGdOz4Tr1ANgKD5tQ5GNxqzhNB+lV
TUe3z0Vod3OBIxgYOjNtf/YYs1KingFoyRDrSku9j9Y3o87vGdUFOrUlqCLIC5j0fi9EgGKdLPtb
vOGluKTwKtiK5IbnbUjuurhdHX3bkKQwrgUezti8Mr4oafeZrriRloBfIV/HXrMYiK7xXKfpkr6U
IoBf7T7XlPgaD8uzyqKC7XwJPZifMnHg1ZEgwZnIxeShRP+UrcoDXqzMP+tAhEs9x+W3IwM2cmt+
0CohxL1tVvL+LEnyO/P8oaSVzIILkycNVRaIOIEZrC9BJ6UTuewAPKTFYARcxITrOw+QduuE5I0I
3G1M9WdE08fRFO05h4qRTz1zH616Py0/zJX0fnuNRljqPBao7fQRh2h1ryesFpaS8jnPBelQR/rz
iDttrMnbZxHPDFZDER8E+ZoMHEaVxJem6abjGunBKkLIGdGyysIaGrap8eaWonTwjWKcrNKNcMLj
Ty8xuko3XJey5qVv1HeesNQdLbLZQuxQx4ll7yZb8o4tPKH5zJS3HaUwuvomN/xijI5agc6ttdig
JAnpdTx0zpi85k0RNIy/O8JI/j0IQ0IgzHMAltaJte0zi5vXWMGcwZjH88hENzbFJEI6FPZ+Ux/3
oeFOEOcQLDXYSpRVWXJSc31lUBduWaKBKY/i7cdaK0/LEzUrhAJsyEdBz8OUfhcMkLn1MTznAk0z
u6v4JrXaHd1dFC8Ry9U2lr9jQtKu8LWYke1hnj5qpn5DzErDeGbmKa+GO/lqjiI2lAqjszQ2Ntow
mOQVtExDAd9Oa5iUA8Rixsoxp3ZErCyoj17bTcT/I4454MWxata8LtNNb0xVBr5JseoYVm6OAxdU
XoUx445xiMk4E9SgDaYHs8I+6GcDy2JKPRJjVykNG2iZ/jxHj9EG6XeHlK9pe2rmYqdmIGWSpOw+
7+bPad4QyC3M0S1YFufgvMl9pROx9cBu9tWb83O7MCzbmak/TN1XUi3loRJYySPxra/Tk1AOEJL3
pSgeRORhkoni0wI30GBb5S26h93cifuVigAGaa6cXrKImL9IlXdlrd6FpqLRMGEMbvCcWajyNnrR
NDsi3wRrYnbqVV9U/MA1LhIUEYe3ALAdz5vS3GRbruMHcdwNC7vi2VAGpgiSZvHyNiK3TSad6AFU
ZErEsDbg+tKN2xGcMLvWlTiYHpZqMKYU0dcaZMzPIMHu38ivm/KHTkDXMkr+LJdvnXo0jNLwmF3e
3EhAxGTGxGbxYnjwZDQhEU7jSoUaUwQUmliP6eNY+40FpyXqEF4yDg6drnzbasrf+oywWCB+7WaF
gb4UsxhrFM5pJOkhzxAIebQHZ4FpAKFRSbBzfMvi/tTQcHNasJvgh/vJm+kyGwIUn3S5Yrp6VMdx
cScR1XhOiaChFeV0afm1EEtP+qugF6ccj94oT4/Y6t0rZvE6w60nHomvQ6RlvtZJvwvZumZbx922
jo9iz/i8mbQYZ5fFz15YfKucuXUo1XGt85+wB4a5YfYiN8me2vlgrSqGLeJLrsaQgeOJkdVCOS8D
M9FiSjAqbYy151iT49AD9maLftG9QcheJaC4ErzFJDAwxZZeH5pJBAA2Ng9N2l8EucpPSzxcil9V
4hTRYvGwwUIu1tpJ9B45epeZvg7ioIqf6k56AgCSjswLQu/AfwWJ31i9p1YbVuMQNKqcUbjI2f3q
/ti0fW5PZXkPr5fxLEklLyGb/f4ox1DW6w3hAiLjICt9HPTgB5xZsjCkluSXqosVd28dyZhveXWc
vjSdEpO5ZU+xoQB9R2BCcoLsSEywjYM5otQtJe9h9WG4/16GVDjO0XaYsXRdcTc6CBoSE/BeIrMc
soKuTOvyoDZXr8gL1U5kQmt9t4peOn4II82ZshDHBXx/kWa7KC0y0hb0rv6uJHSAG2XU8BZiAL+N
5Vs890Tg1DboieGoUNEdzIhsQAM8q3r3o16oFkgW8vmyyR7iUiOSq8TffWmxCagxgLRNZv5hqvx5
E1uX8vdzte5O1ZN+nytA3afa10jMA9AGQ3/rRDAxHXBkb0hK7AzAZYmT/sbkZf2ai/Ev3QQlr4BI
HY2Fab0iWZ0ykm9iMnwVskjkncWv0QB6viiv0tAC25vzFgPMKQrKWD+Pff+ZS1+tEZdE0Cwiivxi
GuAQYLntRvUsERnKi7xaPVUkFWra1OvGobwNaXKA+hkxuJuN8VFcVjPUeqQrk2LY+SIj6tu6n8Wy
Ju5ZFFVq+CDkef47F+8rzjzWlk6iPldlqwEzMZKgkXRGT5eaIT1JJxPCY9fOjy3dRfD1Ko0QReAi
acKjlGKOtqTATGZyry6jPjAK3oq9qZOa+iNIknOp0X2PTOuFjZRVKslfjDkrQkEBB7+JxNgRJX5j
ae+FlVWsWqgmUTzQqP5OSF/r5VRKxIJiruJ8toc4uAk7etO/Z7MonuY9GcwGhmgWyY2puDAXDW5+
TC7LNhT+xtC810XMQ1Vdg3nDrKASoDqhKKTyMwKVWcrvBGhIsOWhoVv0HQIjbT9q/LXCuGcumJg4
lh6VDamj3klgv5B8t4UFOK3oCGcR17J52bU8Ydzcbr9F7GPB9lkBhYDGy2e1CzPsdOxSaCbe2/Ke
JlOIJdz2X9Sd13LcSpRlvwgdQAKJTLyWdySLVqJeELLw3uPrZ4G3Z0biVUvd8zYvFSHLKhSQefKc
vddez/SAgaHepcBmuqllnXSSD6kI1x2c10cTIOkwzvjnHWi/kPpeSUYaj+2jXUPNRThMvwy+mIF/
YRDlvvOm2xBkCTDVbsWd+L3auB5fRmJ2zGhiihwUW98ZYqx4Ti4djxfbBXRqkWq45sTikXnmUNd8
Zi3jBzOYn5U4QYK4Iy7mFPvRY0RFMmpuIOmzcg4tD2BaIx2qYZDq3CsOc95jaUrQuPfRWdTESFSj
fDWW73xmLnqQs7HXTf2F7YDoB3REayj466bRl7ro8Id09Y/WmL+X9AA3HL0+WxY1chbF0JCa64Re
5tQk2SH1qJVyGaDhV8zLR0ejf4j0TQqnepe2/UdFUFxQxDezN+BVnI9zzMErDm7Q3b3QuqbFUciz
WEhCQ60+j4rTcuQFFKspxLSR8ccJhD7A1oQ2gBc0+wB7uNAhMYAxI4YqtOJd4oMD8KGlibbZCAtc
c2psSwYWj77XXcuZMw2g2ofUuo+DIb0qzECKUoisu2il6iBHRUXmSfM9IUlhq1NaWVzIfa+b+zae
yU73WsHB2XjODMISG98pV3ZX/WACEawAYW0COeIC0zOGOkf9yBIMbdq6AwHWrboaSGdDYg5Ae4nu
BzDVeqClFYz1QnrzP1Dw+1ufeqUjA+1GldFXnUwAFBKf/s1yWDGaacenwD+wuEtb23oadGU9WXGx
F1TMq9wcGS9pzuiB4RRoV8zpqsiDyN08eGD7aCHdk95tOaG39ZsRrqAw/VtJ4XKrSYneBvmM4r4s
OMZM3hkBCfAuH8lwFRSXyFL1raGHcJ9ALiyNl3wof8B8iUhulO2FhRsrOGSY/UTltlOO912G8VlU
Gl87djpyrphNW2V4BSuT06csKdtpqm8Du/9iDMWZkGEMrGFEuy6x6tucGBZwom37NR5XcVHhDrVz
yG3MRnetx6ST/KaCllFeb2ptDjdD1WUPniKgj6rwoSz2WVs1DwwKt/1cDPTAAHH5KobuL/h9IgDd
uo2ObeD2d5FMhjvduvUBdmTDgvW5y1p5jeHAP0T2LM+zDD9q0HUPby9xr9Nd6HBotz3vGLpReutT
MD9wPkD24Pg92Us+E+kIGb4s8nxHxNK4961yuh90aV+7lKOE9UoauXsKCz+6B68W3xsUskRV+d1h
+cMBVtbJMBqmMX2PfbaKGZuWjnGl14WLtUvczViFuA6GBr6ilzQP3vJSNw7PYDjcmomsyZ2Z/DMf
/mPWZgS6JiZekkzoR199DUrOzAzJybRkO7tY0sAHYDvVhRRXwx0wz4OdvhFqvDFn0T9mBOfqsnrg
TD08hqaNRaSco/3bL0mIKFbCibLd5KlvRceDvzY36aBzYg6d+slJih+Jl5sXXTX1k84FPrMo83Zv
fxi0Fat2MD9NNuSHKvQ+DAJOoMqr7ODNvf0kB+apfWTufE0JCrtn3Dc2zGuDfOtHEfAVchZhVSai
8FGJzljbk+HcZg63C/E17sdi1MUPEKvBCmEjRA4JBsQEvbhxY/JCvDAKtmETXucgbhigq89277if
aiZc66rWhzpx9H3uMOQYe/ebz4l62XQcHprPYxp+IhGlfyaf00IboO5jbVgbq2gr9FMd1oW6wYtD
//QSyio+OYtWL6vEpYxx4fS16H7UtXhShms+aOMsIvoXfTC8kjxEWG1eXRybTrljDKc51k9hYENr
MCTaoY7HeqxvVcxYuWXouuYdT/sB3oVR1M81IVKPCSclC89ZNPUfwLcWKClvTSVTtgMQwlMA3Neq
RHBuqZvcnNRAoGyMwOSTjm0o6gUHZLuJD66hHjwjKW6l4TcMzIaQ9O0EswRg/SDl0nNR/FU+ZO1L
BiG9UrPk3gqibe8ylnKKBW9X+h8k5dbJlAB9I/mjjB18jXFhPCRx/TQNBjr4Wic03XK8l3YZXmiv
3A9xJDY+HNK1hst4g9wWu0yMJI4xOb45GPNIsPJ9LYnFKWRd7YfKkPeTmxLBScL4WEGvyrv8IU9K
de4d7yT7PN1pmkgrQrXNi+iCS2dn1Tab2od6ehukiCVztqgu9pzJU9Wx7IcyRUBKRIXp6HPmMffI
Rd/v7MgIUWk6OUrl+RPrr39QiTKOXUS6rNu6+8DwsgeL3KxDvcwwC/ej3QzuUUIZJRhrdHgSoltE
oh9jyoXboob+B+5L72fO/Pumqa5Ji0AlqMMfQ2Pp27eXfHRhRmVQcJAIbn39vWG3aueYiXulCFSq
KIRLUo1yzSh2FM4lYi/yjI7gaXJvJ+EFp8klhBwMKuHMNKqSBgKbdrlRS0OpjeW7RzsIhjWnaeQv
7jUx8vHIXuehxTUuZYgKZgqMjJw4+qDzGJfwZYHAQ4CezspQCaTXiLMAcONV4I/NLuc5PkaZ2gdl
ZX8ls2JTTsREW435IbWm6cJ8EBFEPCaPssChYcf6/PZSROikjeBD3Wf5vcoC5yEXAZyS7mOAkGVn
MkY5RcIKD6JoPsHhx1CVxd8cmGorHUzuvUZRuSq8pbEz06htVHvJRQZYuUHqSPK4m5CWSbZ2samI
ut3MBINdXRNdl5JtuDFTBvwcturPwmu/eXfWPJQPCbuyM6RUXAWgWsdy4e1OKkXDApE6nDK1i4MO
CV9eP2bZ9zzID1MyT3cicctnfzC+GRVadSOebqORQ4VOkmMZifCSQsULhIxvTANfbG/Ll6nN5aUi
YeE2NgjFqabyZg6jZ7tlwjckgXWftC6juNkCbmFrkKEkdu7zrPRu8j7OWPE6etGdTQNESByZXkna
dTLfB2iRH3o9nglhFEexHFASKwpvcuUENwplIijFrSt6uU3swL8Ayc3p4QnsfKE5bBJWqL1nT9P9
PDrHcC7VbTA2JPQ0KTjbWFJ3psMuXn5/tPMaHcTKaRLnmhYMEr3GnunNt/2qjBRLVNyJbTNVBGpw
qHwOyqW3HjvDZcodBaNQWIxmegYUJNYf9OTPL6kD4yIU0ed1K63hxvKneRMF8JgtU8WMigD1592U
HIeCJIu3F4J8aTbkwPKaAQGs16H81/EX7T93VqbydaYYl7OeO9u0sv2HPPI9Kg4aTZaX7ODnEYXl
Nt5TUb0KpmzEQuuHmZgxWJJALvuxxO2PF2E1aVOeYju45TTP2bCqovvmMDPPD1LbuqcvZtxY5rDr
Oss+GYVvM9KvX2am3PtQ853bSoNKiTq6TlWeXbSZHULkPYCcs6cssPJzTots48O4PLiOA5Iy6co7
2cXlXWBlB9E8hdkI1inx0c+awYehldMtD+l9jxnkh+YgWjUQIPNm5Gwp5eb/1jnFgL8KXf2yJxAx
KT6ZJKLljNQ3rp/JjUuBdSp1gMDY7Pb8b3JVu/jou1qXz2ow++1M7vVmtMmprgRBvcwWRph8pXll
H2pZ3/LxyRspUmoVlzvXcE+qpdvIc5Vs2qoadxHpHvsMqvW2cKZmxz8IzlHYqHXcturJ7f09ooYM
uY2MX4J5Z7qNe7IL93vqTfuMFLYHK2wFUlyCJIZRZZxRDDzrnYkrXbkZQ7a0vyEjyu31IznQq7xw
5aPt0Y+qg+hzGqZ0AYO8vlQ+opfOJMzdCg5TbT5mlhtcBgqkdf2xVpHclaqznvzcYkH0DXqwc+Sd
GHquYY7iIO8VnTuyJwPInh7oBlpHqCrqi0ozenWESUOCTfD+uYyeMgtFnFfFzEW0XynA9qW4I7sy
X81taB+cLOgPfjmShNMbyRXZG7P+ur19+5XwK3gJnqn3TZ7HpyIiv0v2HfIzkkfEEHYHuLxYq72W
RDzLKh8qrywfnP4b2tD8zqNuuElDjjfNLC+BKHlhzLSerRL8bh8Q3oPQ6KoT3ZIEIK+B05ENWFu3
np8OT0P8JEJTPL/9IrcfS88Qd2kgniT18U0piUQW8ey9Toq4qJG0GcIH0n1DxNZ9I6fs/s8KSGY8
76TGihxZR+DXRbclsGq9y5EleKhveh8BUYTwBfVMY967sQsxwo5GGNhle/YWM0REYjhQ0oB4t2nk
IQqno+uRIGP7ZrdjSylWSZVLuqrzQBsNzUpov2RxkNKUsNR6qgXKwqKUdF4Kn/YiidU0pBfBxg7d
vdKo7VXS3nA+Ka7lGN/hWepv3l6MkWEYZPh5/fZLM/5SRgzqM+C1Z2JGN03fNIei1+4ZUU54rKMw
OnvKsY9THldQPj/Jnu2qI5ZhWKCq4c6J248ZXq421tm1X17CZsk/sy3MtAydkLKESbqzbTqbtkjR
K7v5c9q3klAfiVqmwDMe+e7L2NXkkhfzivZ1coCdr1ezi36VQzOAmZx6nv/HebUVoCNVLiM484yE
z1oVOtb7tC/aD/kI96RI0vy2HOaeplwBLjrxi4eODvFGp6Pavd15dnTVqjVuqmD8KPwxfmEkg39j
TINTa38YEdY8vL1oh2IMZ43YFeciTNPbwm+rSxLClFFG8Vi2lVr9+f75l2hYuaiuHaVcoYUkz+Cd
vbvKI1WY/dIfIVRj7ZOjyFDaLrZf+mQ2Xju3lXA2c/QZJn+HCPnhlHksbkLQpSqx2fCFxeRjjCTY
MAe8CXVJdiFA0+ukavzuYU9zx6n9O8N2vhRdOnI0QTgRLsl/pfXRw1K4yVv2ryZrHvo0KQmhK2hN
V0zILcu+hvgGjn/+yL8SHiWaeVMIpT1HWRbWvcU7+bPXISiFCAk/yygXiOOga/LdzYwfkUVRWxlL
N9piFN5LMua5paK/XG9nuZ4/OwO43uTa8JMxWngS1OSvP92s9NCWVbsEexZwJ2YXIIg3bWzo91uf
MOtdPqKwbARne8sX5kXlcmM2fnTXUhjcRSaqu8Ks21OEGK/03ObDCOgaZqyZbAKKm9cuWOYt/W3W
JajxYXhTv/PvgpCYw/pzb/qf5rxsby1RMwStGjSsxXhnU7V+CJ3OPPlV9kEn5snKmKNggPHPVoZ8
lJFZfKYh8YHjWPb45+/jzT/0yyXhC7E11wJ5t23Z5rtL4uReM0SRyfY2OZ9TI/o0ugSLZLG3qeYY
uIJlnAAQz6DkGcKSZeCMn51Ut+u+7Zp/zMG/5HT/nMv9u3uDBoUwQYBqnop3aBKWQSMuAibOvsi/
jQ3EK050SR9KBm3d2Q1NtN7O3B2KSvxzY/yPbMm/Nxz/4kn+7zmX/z+Cy1omiv3/2rtMAvfnNvr8
i3V5+Rf/CZMlVwgLFTmTAFvl4r/9385lC5Ysrlx8a2qBw755mv+3c9n9D0lfw/ZMlj4T4yBmvf90
LjviP2xgxtoznWVlcKT9P3Iu/2rqVLBkPYlrmh/m4Ht1xTvPfx+okeIWK7DTZNuiJ58TW2O5KzAP
YPsZ+jVVSXbMKwFHThLPmOihPM0cyA5xG330ShPmmgiZXOTDfRF61uWnK3n95wn7+Wa3uDo/rUW8
P2nbHmshYF3BevQ+gj6fZT7lRg3IsCOYsmip4seQCh0Ll5zVkeVaHUE3Q11R45d57uCIEQrKhkdc
BtHoyDIi9kiMmqSW7JuWsBE/6O/+8ib/dRF5k66r8R7ybbm4W35dMPuiS4Le7AxWh20tp2k/NyU4
FTP4mvgcOhuCNzi5kV3vUzQTVxN+QRC+otly7Okqb5xMHIo4umcA/Zc3Zv66WLxdPodBiI2j2ZFk
Bb9bLCjGzdnM3WDtMJbbEa1GpCgZjqSqLgHDOOSRJDjGc9MFz3RNvD0K1xDZfHxXG8p56EYjOFYe
CJi2Sb6Nw1x8CBL/1o3Nj3GAk0HSe0XRT5NJpU65MTvZbcIoo5mH3fw0RtbEUXdgF3WsmtmkDwqK
tevQdFO4jhqJfXfzfR4pJdKoYUQfd3Dl7Tw4NvQ/1qZSzQ0n/D0zBLWZbTu9DiMiuCRDylPR4eyU
ceVBof+hEpJdO9oovsFwXBpArihtkQPM/m4iEXxt6+iMg9U6c48dgr5LzhM26RUS3wXh1rh7GRhg
IEbKe3zDlZHOu7gcofEFEcU9vUHaLt2BtOH8bBtFt9ZlccoUCjrSIOvbkr966uxiHc/UctXgJMTL
Igu0kNkRfgLujZHjxe3bDd7e+Fx7cbaLnIFolqSsD31Wn7zEfLFScpUNjdo1bFXMpxY1YUOE6gWD
dwpk4u3ZtOOT0OWXLrNTHHHTd50qjl3IuHB0opqaqnYbpFb+EsrikixZtqpL5e4vN9Vyz/zfvfCf
e0q4rm1KG+QBRdmvd3tNLkOYuSZBY91a5H1NQ6Rl2OGoExF3RFyOcc5FIJOUUjNCUTh+K/Bdk8o+
WB///Fbs370VzyX6yvYwWan32zLIB44FGtlpOLdHk2V4lWXenmWA2BeLEBiFnCgf7V034K3jxn/B
buFsBo8Ed8tF+iu8GURaRAipPZXj7VS8aoyNp4y4B+zp6ocxCPB+S8DyVDbbrIifqnlATDEEqwHh
25a4hAZfQQjDK7YfIzcGzTLUf6UA//uCS3Nx3ntsFiY2518vOAtkbSKppQcaeOlN12XV2XggqMDe
6NBZBjF4t44uxCBFOI2oALYwyN+Bn894bvU/RcB/WX68Y128ff3SMi3BfiVNl5vg13ejimF0fAO9
v1N9sSzrmx0q+76z0zvWccZowm32fhEwbU41AJmobFCv4MChC7NJy+emKsDWhDkM3rLHPf23wwIL
2G+uFnM4qjTXZeXTy5L4k084L8JOJ0ZJ0OzwwS1qe293SHdcPd+o8a3vYZ/jcn51bRzcih7Hyipt
+ok4UPF/qPKVwfLXzs+aO8cYiYAxABt1KcDLKQdeMwLuWkSiQ5b6aDyH4oXn42tXG6hDdEzQhQ/0
zkcGxhSSM1/fIX9TDPXOFWP/129lkbGw9cF5TmXwQuz0veSPk6JIP2oV3kcCMUo9FEhOw/THxBCR
cASInKKcbtz5IOu5paNLJ0RD+KoRwzSoZZisK2vb0anwq5FpueGfqqVdR2fvtWiRRWi/8PZjEmn2
9zE4lGP/xWLQvU/nR34UzJypAuYzyfE4RgAlUxr2q3giEN0xZ6hFJMeuReteyj4QN+ZUT8cYswun
k68x5/UT95vEc2bB4/MHCgeJDotg08NQieasu+pJlZiYfNKIAk6pZY2UOg/VQYBtQWA1IrcK+lMc
ph980mk5S4f9ikS5mZv56rQxyaNzBa25lOYLuRTgu1LnWhoDnTHU88/I3ACe2wQCuxoYT9cDpnYU
fGSkFSufWeUui8j6oh2nOa/lu7DC/g/AYCP7el94HXNrr9jalnccqPC3rSrb44SvsTUejVL2d6Tb
fEm56rvU9O6iKieUSWDSmsuvuhuMZ1cxKKXJuDWC8sPAzYT2thsPNGkOktvrkVXwGd32nTZb69yR
35KULT+XodvOa/lUQe/uy8VOAmahOYi5zPeoo6x5W8e2TzhG760K+l1HdkEi7wB1lsgb6rHMNkPH
ZDCSlVrCtYhLDb95btY8j4X9QDg8YCsfTMBIEPYase94rYPeR7N33ywXTVfyg2P1HwKJOZYhK9Ez
6nvqm80x4PS+8uumvUHudEUnBLEvoUklyplLSnOvJTQBw94QbDXOLTydOB2SIEU9QgrNyjSH73bG
aDUxzB2UBECOMDcQzcFMjsITz+W5naYdDQ8OryGO0VENPwJTMM0x+SGZyjB2Rd+xvcOVVDP746gx
C/VGcKL5tSow/68Kd53GR8y8/ZpBYHFyoAFsijaa0IMJuZl9VaEjy+AXG6o+qsow1+UMtYM02Pox
5ANzaa2HviYUMOfAeZA+GdYaQTiWd7Wv6upH0tDhGdHhx0X/wEShZbKmj4nRjdc+9x1kU2l7FAaG
BpSe/Xfp3Eo/vMuzseWI8H9OEf/N2hdFqkXnTFBYCuedWbonxJfGPyvZ0Jj2rhhjqmAcKqgmw9c6
J6OmLtFe2/iC2aPyYi1UuSfMBAREBkainOMNJ/l9bcUQSkNBnCDZWDHDnL+8zd9swlKzP0nODyb1
1vLnPy24vks6+iRaYxW4CFJxu6Go9nBXFNGV8ZX97HL5afE+JXHrb6IJUixhUrTawjLa/PmtiOUY
/q404RxDD/4N+fSv0kTquo4GO8PBlmEmmHkmmNT0UHtsIrxD9Mz2jcUmS+vPM46mT2LVVD4Lp54/
ZnRH57ag5Krb7wU+4nWUW92rxkeGhczpD5X0HuOhnI5/ecu/OeAwCLDEkhbLjvr+OI8GwmrbqMc+
l9XdMeqYD87EkG2YZTeLe6rB5lIdAI+QOugFn1ujZBpNLUJLYm8GxWcMGy1tIgyLGEXv3g5kLvfi
NrddAKk9A3UjA5vK47BRjYG4qg+fExeNVq/zGzKka6IC/5++B9dcPpO0lEBE/+stkbkF7nNHL30g
zaBy9MdDlwq0vCms50E1u9HknKFEbKDWCqFHAi/KKwuZUr4xUmoug/+bCXWDzzCyO6yF1eegxx1e
+XiTiZUOL47bffnzV2H95kamrLXxUgvNZHoJB/75RnZlWDdjBdnHwWaE7ZxATNLYblBXVAImVzg5
rHYyMTZNQJaVFdpHnnxkSTpIr39+K+o3RQxHXtOkbSAp+d6KsJ+eqTHNDSaVHX36LjX3yUjj19D7
vp9AkswVpNGJQ27XRuV50AAkTDQ914jB94HzLgjKUG5yL20R5eqvbJvtU+SNH8D1MHqkqfaIsOGh
keWltAZ/j1+cgbxot6KNmyNoksUpM2+1wkGWeOYSep6ci4wk3CAhbaGz8k2tnfSAZ4fu3tB+HsPA
wOAJuyhHZXBEQ/UjZei5m5x851p4w7pgPBK8XN+6eLJzr702kUlGSIcFCy2kf+pGhu1lV58C+GHH
wekRk4+Z2IUL2gLZWNamBb6i8utQsaY3SSHvm/GSMOhaMzBOnlXgHVN7fKppvlxGLzQw+E6Ez0MT
//PXYv/KTHmrfYlylhIODTk+pPz8eodkQ1nYopmxuS0bqg1svRut5pz1CbkpIMRwuhsXYp2wrKkG
bWM+/HDI2C0Yp65SsbhMjDdGVnEecAY3bPDsOwpZNXR77DuO77yqbsQsT0Bx4s4tyoqiWNGO5c7P
qAuYMxPfWE7lrhfnuRxRbbZq05OPCnsEhwO4lL8sqe+a7/98ZE9oT1i0qGDILZfkpzvRr9OU3N4o
WKte47mOHZx1gXk1A3S7HMzuwtEk1K5nNNyTjrQdHUYaRegmN5A5wFWQKJT4cc5k2yIGUVAp9p+C
JO4fk3A8pDMTwbywbw1Ux1ti6sDST1lxikcyZKaeIXMPFWVN28bZDjInTqKaSDTITXq8ufVaDS9N
IKqbP3/Jlvh3O4c+rym00vTE4Ha8+5ZRUYLC6WjnRKNDyEQKg8JX/gsp9WQKx9lVpBOY0kKhV4wg
v0Z62k0WPjGyPFEuW3l0TcZvKt7MVld9EmICfxNYfJUY4iwzQ37pFts2QeTylKu235omCb9536x4
qLvrd9e2Vrhemo9pifXDGDCROW6A0y4x5YNwOdR5y/h6bJnbFaNsD9PU70NaAqs2EYu7ICKPKL5L
sxShML3w9SwbyNSmV2zcrtSXvJpf+8S41H6LTKFBRdAX9aMKrccpWLzrXvWo/CHesBDUWJBu3Xns
L2ON80HN1IKjMxHRICjTaNloEu/ykOKtC8nXbFLz1VCDt4LYcBGqRhQsJYcV44iZLdkWpgkBbO+T
klZePW+Adm6Y5nooSrV2gL0oZHjoOCfU0DZsppYy1s1R5s8qmXcNJrFNUrU0suh9SAbhqNE4WzrV
rG+jBiyhEUzpxmG4thHYbz5BqNikuaOPiKXjYwuJxLCAnLfFcMeWtaNdRgO9cj65CsfwhO9jlzc0
A6KwNreGo6tr7idoFIJabvqwJFaEu27CH/raJIw1qrR67kzmdRGtR4zv8aXJqmctOU6OEu/fn29J
/e91x3FBW2qyyBTMJvfdQ6gy7Q4NgdVrZY0A1hYTlVF38qwcrMtdorDhcDBZWfq+beZDWIr0qZwN
AnjwoHHwmTa60uaTM3MDp8Qr78zAPDqKQ4vK+m+DDoFVZlF5FHZdc8Bsuw0h2O3gTZ9w5O9DgtEf
UCFyPCggNI0mNNyU2VRiZt45oim1zj36Psi3vV05jj+CvI3vcfDDf+4YT6N9qlXoH52RO8PM7L0D
WGWd9pggkxHhIopofPcGEMAxvQuchGpt6rADmvkXFyqdP1pg7/2+vLbMRtciVD2yN2z0Rm8YB39s
T/RRP3SFV99IdxmOE+y7LaPgaZ4d+6Hqlus1tycnbIzXsUJOIKOh3teDMWHcKJ2TiHKcA5FKPk7h
6+wT5J320yfX8quVQmqwCts6RhfgpedRzve+zqyLTXftz1/wb5ccabLEAqG0kMAsS9JPqyzT4Thv
hKBpUU5yZTOKIpIy8lhgaJoiXefGbtRrhbN+UOE56lO4xU1JOAmevW2GfetgLSDCeiqOaU8ZLgol
r9QX8yq25bAbIgOnZtqUG/y1pBLEZI5+F6OEL9whF/nzh/lNB8bBVc6eYdtMA+GN/vph6sxg5kyH
edU0abSNSU6PXAbRcfGxdXwSjeyY1OVokGu/qiPOxDxsc9MBo0j9T5NtwGRrWr1SGKq8JGvOwlPF
XQ0FQaOCapZvB2gBJaJMPwcWqsGpnZOtGEswY124IRCa2q3OX/vW/iLyiorHgic9R3iQO/XRCPL+
SAgyjgzaO6Ak8gcbP1mbSb0nQbtgK54lss16V+UiWedYaA70oC4cvbN7REmg2bU+YjofcQunw/bP
l+6NMvrrAQawnSbumnOUsrR6N0lAhiGFCTgH/AFOXpT19Q63Q7yhH4fkbbQuRkg3fjDUU0qQKM+o
+BQpehnox4mgXZrE3kyHRxHru5QPf3l3/y6QGcKjkl0akQ7t1HfDIgs0TJZrh0bk4FuXhanopYqo
gEC/+rZLfYqhZdNnFdgbHAVHYkuq4Hky5dOf38fb1OLdVdLMqhakLaHBrIq/3mDuZMYSui5PS1e9
+gAyEH4gnp6GGl8Js/+9aCwODVJjo+vDeOc6cU5QSkffZB7om5iWvW1k+4DVnm6BY4LA8PWum8t0
K5MRdY8hvX3iVd0qoGOyN60X2Itsf/l55DZbMeaDq19JjK4YWLddNXxg+My5RI6k92FiQ4dVnE3c
0ZxDm3k3Z+jN88x57EVyPy27mTUEt3mi/Y22dbk2fFJQjbyECyZNIuIR3MU+TjXPl2SyGGVIf8g2
Tr0/i7/18pcr9a8r6Zn2m+LA0+97+Uxs/CjMaDG4eZ4f9YuvxHiShE83VNpU6MXGqTGR2vnJHExn
HQ/F1WcX3lZN6J99J6n/UmG/9TTevSGPczCAUsvkVrffPwBFhO/eVHjN4p52FfIYMCWc5Dubd8JB
VQksJGmQABXDzMPwZioOfVqTKQBQZpWJLvrkuA1OQPdbUOXDkXomuLdna1sbTnKOAWNuFLUK/eDU
P2Pe9tdhP8J4NUB1zPIm6ZKT1U7i4BYIt7GINoxrHgga1vdTCLfBiY2LrX17OxkqfI7wo2KoKj47
npltHJAX9xljwrUt+mAvQ5d0Q8xqf6nIvX8/hYs6xCOc1BZLl/vd3R9HozXFdUkESQ5mgShl/9xC
Mz2b0lqQGyVrBmnWy9acPc6TSztocOgMAuxNEXVsjXBkZIZ5qlHlQwA4ZV/UiNirGYixnTdrT3zW
fUqS4EIfbSf9wyLb92im+ouNSPlEg9e8N2PMnmGEcxoc42uHmuqmT1R841WWu/ObpUZd9N9mqsQN
3u2wdlqwRA3sghq95MIueQtB783J5Xgz4rGsM/HQu/zEWAzNHY6dF5CuQN6CJt2EevrWODMsne7a
NLa7C2prYzt4ndN48jeu1ZJq0bavSbst0wX75QoSx+gpnnHOvCB325QJyAJTQ5FfG954siu3vFcR
eC8dvMxCkkiaYkSuRyZnUU4wnpsQ0RHKkXQzr7TjR9HC2fCRV8gBD4CAe1mquD6J5GMwf4nr5ZBT
1MXuTaP+zwsglj8ver8pETRDcI9EYsQCpvN+lFs4ZeyVAmxIj4k5pCGg8292YdxFvVWtZU7iWToY
2EbCdV23uOGi/BIVU3TS7KUa07CMuunM1HHdViQlNONjNMarcGFRIzCDPjuVx2Fpi2rUrYsPHl+g
Tv42kP73PHo5PgsgkGyaNhKGX1duZisiqaRPYyj0ij3nkR7vX7NXo8hvooM565Py9UM3GVu/jcdb
uol4SMVi6rsJIme88DahOgYSNcJcvDLOzi55rL/++VK/kax/XYQctitTK3pkHIze6xU9kuWTuCAS
bDZgWLeJ3RzqrH6YI4Lj+jK61qjFNW897nPCaOfcXfc0o4+OMaUvAY5hEFavlRV619DIzHNkgLsa
EvxbQ2SHZ7wrT0bAND4Fb3IaGtdd+7Mcr1NPe1tNgdgnnTnssXeS4VX6NAdCyCSZb14nGsI3IHu2
YpjVvolsJO9uC6EIbMZd6wTWatBEjGTdc9EI/zRRjtfRY4CpdF3YWJxqH6QDyoNtm7Vn30K03RVk
l82mPhp1evHMVF6SwV+5c+5BvQYjU6ve/Ns0838Rdl5LjuPYFv0iRNCB5lWUSUnpfeYLI00VPQnQ
k19/F+u+dFdNdL1MxPRMdEoiCBycs/faf25fXGIMcpXZ56l1f/34/yh1/QTlo04nksSXAZcgu8s+
Vj4RXxKcFnv3QXDn3TGoWMXyVELCzxu+cftgzzQ//vtJ/6brWrsbfBiLh8wsmxCB3/fScm4Mq9E8
6RlL9p32kz0rF04NaOVRxAyB2xErqnXdSaatKkpgQ0QrAvpHGcT93y4B/+OWR+saLQ49JgPVz2+X
gF4sQ1f03PJ+vYdzu6qg6bXsi7WUq7gjnJY22CRF0uxqa3JhO+BLGVYyllstD4a5DtNEFLMO+1M5
sQnLJGn3RmZiMVjrQ6UNGixu+1G1Ebl0mcvgKgPHkDMf/O/f1VqP6d/eoF+6Rc7x9UH/arX+4yEH
BptlDcBxE+DOCaqLDjTCZexSjiOTumUX1W+SBM8O+TyKNdIrTe8yW5ULtUt3EDBXnXUXg0DOE8CS
2MS2FCdslxRM2UxGQGs9DzSiBHaBvTBJjMGK8XNiD3+z44u/fJX/0Q1aNVKQKAIqwV9asH9ezSxn
MnMKW7EpGgrI2QjGfe5noH/t/I3uL6ab+AaizHOgRou7TbeN+354HF3oAyljBOlU4uxECQSAJjiB
+wHkkGSHRrkOxOXM2OTI7PfMeXDWVeQpB9V4kyNG33QRAOT//i72H9/FWycNNpBHFvwq/Pr39qu4
XWRdA6CEVX7bYeC6iFcBxNgBzYwbZn+MTS4tn2yrCjZel0SsOxMubmrbq2q+uRNj+lAPM1xPfhHK
WDDMeIgu+igvryO2wDhFebCshUG0JBRR49tYOY9LABE67RsM1k7/oOGkN/ZY3bigqAa7pSRpEQ07
S9ndGNZ4oGTy/9bT+6OfzhfH029h7jA4gH7fdNx2djKuXGloiwjCgFXVh0Wt9T2MHqK1mLgvCZIy
ZEzzTo2rOU9G1V9eCsLef38rEMJbBkpAvEZEhfz+glsBzBk3HtEQNHmwM2PWQqQjiiXHeFrkil7C
tl0QsT01xks3LM9I2kOnm6YfrjSf66AI3kov+Zos5R7S5AUP1L2mjTZSsxylhJDVLVZzQXwHWUTI
jmjb4pYSlbldRP+cWvWHC74lR2q99UYaAg7TloU+265Q0H2K1XBPLbMXbXBunKrbRBFqhmwc6NEO
P8cYcauTxMQe4YyvHJPmfQDBIiPSROQt/uhswT2K4cacEPXOI+md9n7qDWg4jqe2UjN9kIHJ4ERD
t7aKap8hswmJ/3gq0rc5jrGjCKateebjFA+cFz9hGJDzjyMgOdxGycRE37eRtfhYH2LNxGHTo22D
4EXru46N92bG3LKA5c1jdaLBfB+j6GCm3B/hUNz0nkOkO9jYTcmVf5PJi6alpIfZ4viEhkW1YdFB
c+ydsp4MlzgGvgBWHyRnfZn4jNQL3gY32A2DaLfFLFeJ2oduHYD5TUbiaTC+9pJRBg00myZ9sDNS
99F0B8Kr7OQiXeU4bVuGeTtDvSgBDMexuiQB5dJr0/sSIPlFC3YOBvDyKv3swdPcREs37VCcFNup
a+FL0kPvffrqydIQtbicvFyUO3diF8mIC8FR96ks49ais5FbPQwjlXmbyPEwHTBw6VpMPYu1EpCh
yTDdBx7gfiDUJshpUDejh1yvqZ4dqAipoIyfiDYZbKVPcQ91y1qVKpbVYDbH0QRDaFi8d9XSWjaG
giwtSXwgNvEtD+pTT+a1LsspbEVS7oEXQL/gp8Xuyo5HOG8ybTqfS+fkYNkYpMbX1mOTH6kA7uum
gGFQJs2h9zpA4TRpgdZ2/k2dPclGlYeyZxAi/HRXdvlyweWbkmcFxttIHe99h+SRucjw7RJkPifJ
Y4U35UKpEf6hMKKztniek1oIma2GGiVrNFFyWlTFaX6AQhOcA8sT1+jvoXCO9VHhQLmKo6W8GrK7
TFneiUVvnLsaWLIw7WZG8sHy7GDP7aoUDV6R5GkopGUdpWnFOJVZ9rmjXjOTi9BYw/TqZbhuo0GM
CD6bXZ7q8BgXtb5wwM1s04g75QRtXmQQR5MqC25UKoObZPAeoEe5x2h2SYCe1OqUBt4SFe1N4JSk
RqOkZ+rrVOc0dh5tc0xurKT8OYCbOPqFk17GXQWCBz7WmjsAr/g67xN1yARz4k4m1cE0h36Xzplx
ZCRNP4LRH2fbQULRvkgqpoHatq9mcCM0Z12990Hv73x7+KaiqTYDTOcTnXycv/2PoYS6GfYO3TKn
dX3YTPEHqRDdBfpoaMLWNA/nCgaoqf1+q3vIT2aaObe0DO9bP1n2U+JeWlYb7UDCm6FLHszYS/sq
9uMnmHD+qUqLEXyPy5ucrCgQBCBqOqJ1XpcC1WI3zN2FT5t8g7gGvENVoddvKIDadTuwKKKg/aS3
VYPwKUpt89KF+Cx7dzugpzq4Zfmz7e30mBZCwfPqbn/5fRPTUjtUd48G/fJzNdftLh4nWOL13oPo
V8ASuFVQhA95Jku6Al12TkfoXOQVTHeGH6Muwh/jMLZtsuKK0+FpaaP2Fhjo/QJmjh2xO4p6oSU7
QOkRJCGEvQ8CNx3UW4eGFx4MTnDPiB+aLntf6lUZYL/bQu1U7Dq32ZRA+stcHtiYwWJIG6quwSx2
3gxPUpXqZKl8AuDWMkFlnjjpmkjLFjeqqeuXTpvtXaziM4C6NKzcJNtmE7xKBlyEyk4V3LM6hb7I
P9wEQkKlrTlWjMHJDsvMlB4oAsnOXpa8pIhlPZnCd5zs4KJVcNUHZdabys1eKre0ARF6rGgMNmmm
esb/Fknv1ohbdERcV2m/fNSrYkPR4v/v6uePmnQ9fW2Hq3NAexXJ9r+Ln7HzZzSfA/mZFQDQFskN
ZSYW2NlvzAsH75ubUgL999+0/1SkSHeVpBDdYrMDOb9NbjrX8GaygOIQm3eYatDsvvSPgZv20DAq
gxte3obzys5iXpFvRVUWN1Wy3AMEQ8Co1LHO88dulsV1galkk6LcOOo8hczrcOYMC4PBXr6bibMd
/M55RpUW7fNEcoyayQG7jBM2wTzsCuyIV/b0OjD2/Mtw6rcgkfUOJZlJIdjz1uwd99fw6h+1fpqg
rGszJPoSuUo4jiTJtvItFku+zYf8kWr0JOLMOgxCXkUyvet2UO0fnX56z8nN2WGynP9Ss/+Pax0f
CbMAk3oPDfDvGtBkSIbRHjq6iAQiNPPwnCg0oA1QOB9SdRirBKL1COOFJhcnkEgQutEz202F4oON
7t9WwR91Nz+Ra66+DdRcXO5+mygPkZCYuYH71CZSPj5wG3ISjM8A7ZP8tYqgzolIGzu+TR9iKFpx
dTWgWz40PncNQDT5Klqm653P/iTIxIaqeD+hZbtrTPdItgLyAma2uiS+B+AgcoHG564nbBp/gOwq
0mOHqiXnflo5SdQ1iS+Af1V3ndXc/Voc4zw+/Pfa/x/eDb61i/XAR3W2tlL+/cIh46zSutAw2CPv
3fBQE87ueDMtDTejVSI403B1ogy/umZ+2yzqR2CjGf41sBE1jMhYM4dsoCJCpljIx9nJvk7/sitY
62v/76sqi9fzaKmisLbRNf/7U7aNduNgQGpTyOEJ5cUhMWRxzK2F4hz8YQwiwUhTlFUs04oLxqaf
J87r7Nlc3QM0UGA0AifJs3HCj07ZUY3ZtOvhitSedyh8i+ozEK9MKE9/+X3//ORMY7ipOfY6akMi
/u9PbsQe/CaXVT4vS3z0UhBJwLcJXp/Zft2GG1aZyCuQRs5mdb/wSjg713bjXV+f7ASC1F8+j/XH
L4kixkWsyH5HtKLx23goaRkitD1d1moCn+EKQAEz+mvd+3IHPo4YDsAmNLuqEtqijA5A0u8nFQny
rxBd/feHWZ/av5+q764iDoxNMpBYc/7927jaKeZAwaxDCx7qoN1Lzuj//hPmn3IgOvDGOola+1nY
mtcf5B87n/aLvM4Bu1GKr4xjZpTdBQO66VKnhFIxAtc7LtLO2a5lvE17l34283ZAnhudFjMZuVHx
Mxh0dPmL39DkbPelVZwQ/EFKTiplXYCKOgQsH3CAdLgv48PAdPDSnadvlaIC6uBXMKBQWF/syEKU
Ms5ftHVBMc+KxuGoNSRVDaG0GIOzQeEOipaIMKNDoZSS2bJeNvrnlQvONNI+WcNDC7DgcgY3uPeq
ljDb0X4naoJLXccQsiLTIAuKD9dGqhE0fIDUAb0awQ4t2K+cojWP7pxtO8N9ntIKlN5adix4gbQm
dnzkIjbr8dPWhsl98xaQCzWMzAib4Wplo0PcMwcgUZoNwp7K5MR0MT7byWNCpfRWIFPfFoH13Hqs
riQqifKVnXXshXEvC0QvZRNfdRVbKekX4NJnq7wtguVON84VWtj4smrmq7lCdNp3eK9rzQcvoMDN
PUJ64h6vhmqEVzI7+a7J0XPVQ87YI62Te6AKqL7UEQLboIL0eijpVIohehCTUYYOVvIBlfmxXiOg
YPuaG21E3JVzxzynacukOuX3DOMWI7osuuCSlwI0+FJdIbgyz964mOexaihMC00OGBZu4FvEldgQ
eNFmyJPNrPEEcusU+444wAiJeY5j+fWX5Wz+0ZxfB0oEFZk8a5SHfySCDVM19h75GFQ04FbjFIjG
8Np4nn1kcyej+atz0/lE7J19iGguhIVXicsCsg0A9oXHla22rTW6rMjEvLopKFMsb0IvmRe7pW4v
keRlFyNq5xMLpg0pydzQ8auvFsCaSdHidwM0VXC2m1E13gGl9XWSq/a6GbKzu7wGYqCcr0PaZu/E
zSRHr/DKC6ezrlMvNS5giV+PUUCXKpDLgdtdZUnz0rK7qwr4UOZEK80oPiXlD1qN+QI1XyGdNzKU
hkqaN5E+eoQCnH4Rn5KcyQPTrGpD/866yTJt30xB5iBKvM4agJnpnNTXoNXq68VSn3ElrycEJ8jO
J33Mpb4r7OXDaKcZ8hlRQVnBqy2poAtTtgeGWRs96nSvZo4dOCZtGx8zST+qmoiyJIVIEAewbfmG
0YBYyWpXBQg8+k2B2Boz9kI8iUkrZiSYMrNQsjQMSqUi9BhjMIII1FTI2Y3d0jgj0kpF8IArSSFU
3r3pg+GN7KnalwwMN7Yat1IFzEIbNzqOiPcSTcKZ4tg6l0g+MbqcixE+R+TEBTP0uPpL+WhjLP99
r/bsdYemYLODVQLz214NpW4FA7Ke6MhFm6w5mr3cNrX50lrlsO9BjLjL/JW0CNp9Q9EmIvlpl6Ym
44LSe8ZlR6ZRmzLhC0imH0lIEmCV7CX5tGqKPZWaX95qoy9E/FFDtN1wz4EXDd87awVApRoRYpOA
E7ZqeOqdvjXz6IHp7XcVTXdJFD+pCg/j0t9ykB0EOpR2HKYdgW8mNcuyy+zkxcW8HkZv1JH5sStg
jwaSWgtIMcKNiUZaWxzEzFOIp0aAb4X1W5iEvcEYaiGd79yFTcNF51+QJmQYFeOIjPaqA3Wi8PJk
3ycDpCFX3llWAB+bRlBbPoxe1ZMjzofvXO7So8jB7T/WUfDDAr1PBAEme7wBJBa58subCfPpuDDj
M2VoDssrt+m5lov9aattz6rcDAY/Dw0mrdGoMjSQ0Hxw+ar6YSqHnSjoU5pelNDeS9ff0vhQHa3D
vrVi6KNQSB5ThPn7SmIw6Jf8HqnAjPUCZPGkEgawv2CgPm5hquvEdt7aUm1bU08QVc2wMyHYTnUL
AH8y3udikQewnxtDi3qn5UPD4qCZNZ/9isCwOUh2COZxYtC5qhgP7TJJxMxQyEM/e9fay05pFVub
uMkJ/M7id1wkl2YiroSvOaQUPw5q5QBKJyIN0Zz6kQHEAB4Y72UW2lhax4r+4MKRvzWVeGUHeptL
+lPO2prqJvStK9Qxnz26Rpm3zVz3hoHbdebUPfB8eslCFNdZWnD/Se0mhKd0k1jigyHBOaqsbZ/w
r0EC0W6kmrYdkCFw1hgkhzZZtsQpzFV/LFsm1qokIGKIi7eY3g9EqJOj00+gSrc0H2021fRHHvyE
2XTHInkLfL5tZO7J9Cy2WZmDRffsp6hdgfllWdFQ0N9jGwyblu3OBdeRDXQMbTfATkWYMR3KrFxj
Vejm7apaWYQM3/pd9mFmMEFGviodOgi+YvjhZtBJJm6sbsw/MYsrOwvqEDFmvqlsbiJpnP8cm5of
2KmeMjNsvfgKNCihObP2Q/KFs22SxPCQso9gqR/SqJzBqKPTA3VzsFuWA788pGvvDmgtf4WSJZx8
3hcYy6dool40pY+jb7G/4eLQXGrOfUdWF+y5JfRGKwPWnJ2TVjuh0bwnS3W5dPSlPOIYgQ/fw2FC
M0BWs6FrhJC0JkQr873g1gQT/yImXWZjWtzKdbmQv+dC9EJgdOGN8nNhlkj9SpZV4iH7DHqUBTcL
e+KqryxI6uG6UkVvi8ZmbdAhIYKyw65TMuutQUaY3Pbm9PHX68oTTHaavo+XZPjCXXkZJbxJlb++
yunwM4jgjnoNv3jnY+LyHOqD6N7S3SMvzzWLMKZ5o+jMO/1exDAfUoeHIYrmJtbdh8IstG2mH1iX
kd+bVGuYvr+WkT45djV1W3f+t7SrkgtZQiaOz7/cLvttna1oczaiRuZvgkwKbyjvXXwyXCeDD8FL
GfB9yD9wwgSt2Sa/k2TVbEg/3/iJ8TMHtsJ2W7yVCX92ItQhyUkLDHLgOjFxG0NO3nOV39lAXTl4
GEvjT9rEy/Kj7UlAmS4YX5fM+urjlDt8mWj6sFp+RcOqX0BEnaey+ZhQe25S+4VIsY++9e2QqpyC
cfiOFTtWa80ASGl31HhFmEmhRquh5Q3OD6kOkxRDyJiDDTPOHwxlnrwqeQjAAmvfdohMYZf3J2QP
MO1D6rBvI5vuS699rha63T45HXqhpsVJdkmO3qWu+LaGx6+eLcgrooA/b4pnrWyJX4Vbt/LFnaVg
yY9st+XsldsrVQsWruFDZoe2bGmTdm/GEufatulxFDhYTHik7prrURXhgiitYExvIg4X6CdDDF9d
GJHSXMKkcUp2+L0XTCiZ6xh9Z8/jjdL64OTxnZvfinqE5iAqdNBL8aBgki6yBOimI70V8kb0knwb
gwSZ3K8+k2wmMABfFSk33q72py+VNxf4AfHADklOogGLzcz0rfCbnw1Q3Miwy53pMBwa41PllNlW
0EgLM298iPLusWHDh/qvGH0q1L4dF3wkVV9pAC6OWeLkDpAIpCgOqf+i+gAWVIGbIumJ8ugJUvFn
+4EYmFcIBPY2wuBKZ3A8K4dZAqT8OWCu4SasmcatQ9rC0CyVPW6HAc2CPwU7mwwvKybKfuTrJV4M
9o3ZMZkYnAo6TsPWeRFNi8zNyr9J9sK6mLKZwn8ajQHfutXCqAeqePr1H/wtqy1sMnIoUVYPkBVg
AzRZAzylRyrpL9fXeehSMIexOe8m3KwbqvSvQcVwH8bicklALeHAmhHV093Gqr9BpQGlEcqzI0g/
6OrgJ+qxE8F3j4nPYuoY6UjBXlCswRVV51+bZU98+Zqa2mI2TG48EhUaA96z9FpGEYN8Q7uG4DBH
qOiZAYeVemEO+mrOGNax50bMyP11jnbos/6jrpIsnJgqboK5HbccXSGSeqochhS54SKjDZg+MXG8
kZZmPZNyFfr+tmrQGXXdQs/Mye6dgiecvjA43DrRs18ygJtYjCZpT/xLrLeIt9uf22ab++rDQYYF
6BTfGTbZIWhf6wjBCtO/U+FMpHYuEOEIYglVhwe51/ZLV87vQRKl23KOX8cmfpxnDn+nStZ5XLQ1
Ipq4AIp5XCivRtMgRtZNICZlMYI22uyLx2yMuwQaMuiX1QyToAmrfvnp5k206Zk8WYpLozvBjHJJ
PdIurIfF0ucpHw0mIvAh2rS/EUoTgDyhRqEcwvfD201CKBUaJcJsB9+N0m9GMHX7KLptfRzYBejH
vSfjm6yvqeZg+Oy6gpzbBhhlJb4LAxE3NlVwtIwhOWTO3tDKAwXfQ97b2Jebj2XknCyK+lU4BCV3
LQFfVuo/qQ7sAK8f5vDxA55zuR2krPY2kmXyj/M8L7ape9On8UMLyjev53KTjGOyjR26rHRh91ZH
DVe72UOHmSAs+x/w6IfrIUi+rfmyJDqY+sE5GKDhNiyBFzeCIJSRtZ0JlnCOeNxMjGYbeeaBeSi2
nAJe9QzXcl2nqRm8xIHY9HKdd848Q66zz5M5X1VF8NEHyPrL0vCZRFP3BKo5dgG+Z0iEHyNyAMEk
KASnRFWFgAK1hWThcEhYWQGblM/GFV1FGco+0i2CJiJ7y2BY36PeXDS+h8k1w7QEZQvp69gvDZP8
LLs32+LNszlD/Vk8VqWxSzTU6ZSqciNjL6ZbOo+HWH3HYsTuZuf35kAwabB8OVr/tGvgxXbJvHwG
j+hKwHP5GOc4beywMlABL1XLmGWa2NtXKJvaBs4st+QLUb8oLz5CxW/2FQ0c4inZ0djQNzRS0FjW
znuJnCVBY32y/KYNo7RJQ0Y8YVnFBJrOAR0AmKFaMalsJdcDKU8tUlTmTWvWJ5HZg1MaR4kQOdUX
NkJUy0jINLStje1KtW+nn6ahCfhV7r7BqA0hEkNoOb4rRe6PyzxoT7T3vhzwrmDpzTAYfOmYgA6t
NGIAnyQAHBvbZMqhchMnF3Y4eHXSXNCKHs61ZZ1G4g6v5umT6UW8dypGtJiV96ZpZRdighNNFOtR
5vHVwC11Y82SRpLGMO06zWu0ECqDLbQO22W+MBc7+X9tHIEOtKtfApfbXAS9F7p8fG1mxjNdtZML
AZQdeaGR40Gp9pPXOStPRkMzAlHFJoWdfQAW/VVqFj1y103AL73pja8x8tRutitnb9XykRSE7y6D
3t4swaUjCEBL20vFaHCddjpUPtVhXNQ3N6EblZOm15cNvr4pp0Rsulf+jwzkc/BrffEYFbEBbTDo
Q1ezImpQAnOkX6cyEtzf5Z0bJ6CrG0HclqeuurjFiMSj9krSUrzgQfTQ5CeTDUK75yQBDdSPLfXI
jKHIopPYlzDpRkZgQdyhZJ/ZsbhDr1NBJBtG+w3OIuK6WKe7io4hu1mS0yNn9l3xsj+WjteEce29
Txm2zZSwnZIRq7SSqwgldK17ZysrEkCcwT36JSP8RcYDb4k6Ck2MpXJS4hrbjyFwSTSsyvfGIGiT
jggJKtN0QFpihHFQhsCjCe6km1msUXWCSEhnmI80tQDkIbOvB/2z7ZKUsyDfIuK7MFhvZmHuFwL+
2A3Kl2octxA2ur3nu5xy0QwhUh8hCFLHDGDMAvVaNInFFbDAHedXt0QFocmbA3ChjvPelQFZgyOF
y2Kan71Hi8qbI5tdo8u3DuACGveoZMzp25iAEkG+5odFgDLoFdDAZoTZjPTmOf7RxXMXToN/Ua6R
P32ZvekcjjaA/Q2CpVk395MkbgUdU9hLsk/oakGAMSZxmcUe7rE1xaiB3ZEkzROXSTcdcT6bjALc
qbwwLHRROuU+XXdXXmXm29SLrpqx36qe8zdvu/VCtkVqQe7VlGf7uO+w0m7MWf6E+NxsEpWVWzna
51xCSy5MXx4GNR3mYUTsg1JREmOfm3yONc2xEKzSPMJerRs1UmeK6ZBdFQuJD4MZVKfSip1nFQQ/
epbWhnTJgQPU5nuVVULkmJ9inhhpRC2IZRqyWhQySOYeiD8MjgM94f5L7TXewb8WygyuHIcEjqY0
6By/wBDhaduZdy1NwVP51a6o6+t+2sipn/bExnD5NwjGSGDWiCzfdLMpdj1dbDCYxLrWQjzFloZv
YwXgh5MpjOT8meXtbdwuz9aQFYcO8R9iLaSgUdKUKP69a4/yixY32naSLHnhZHTVlxZnu4+EoPGC
FXX+ELTGlrI8dNf/ESQ9AQSoW9x7MVLdptkN2tA6rNPWPOu5uw4eTZubkTUir6URfjE6ut1r3T/F
NcqY2PbO6byEQ9F5Yd3Q5kx4abUCK5QAr7iwym6b9Dlkr7TEOr3AqEXLMZvzR05oS2vEzI2SYI36
Kj8zaILbBN+0MOlGisE++QSFUbik91rxbx4c9pApP2R2Px6SACumnf3snaTfupqwcE9022Csia50
FFkKXMSdGSw1BVK8+qjN2cfJGcdfSxIQ+TjKckOYxXy2vY8B2dEJ4vx7y+3zGDG2cQS77FRruq9N
f8eB+R6tLYlc1imXDckl0WkgtnODrfxPVX0sLcVyFSzvo4ruqOyJt+jiU4OKct+nj9gDDm5ajxt7
WcnQhcvxRanl0yeOPipbnx2ZE0Tk1HnY9ERjd/2BWFk6kh7ZKsK+4lL1RA7GyPlSw7dI+M0ofawU
1yuXSwQyiRek+8XiRmpbZy8V6T6WzGK8zLxqO/OOxtmzG2P4Y5ngvk68ExskzJ6YbqCXckLY3wTW
bAYclchscF8vqXutDHF0VHmjIvOzhCbTdfE32Shbw+nuHAJ14HPtVlyzS5Tm6LYkXvWbIRnfayB4
If99pldA1GM673ycaWbu3NpiuaPn2e/LOv4AYzIfyBQ/VpW4mUrvVplIDkoTxZsw68uxThvaMCGY
ibXM3i4Vj3qZdn7s+TD5s88xVe62JXelAaBsM17inL7tJlC14+BcMZm7gvWdYkkGVR7k+YmIbFTL
8VU1eQHE+a1souZgEx1SBeBzWx8Hrx0RpFSTOLpmaUMrzvp112mhU1fDBaekjRLNn3DvZUffmdND
Eb+yvgqkfYvJLV5DL9OtfqpMsqawcWdUgMW3H+jvVKasXpM9H70XfrQKAkjbZhvf9whx8T91QSz2
BKiZ7kGZk4SUDUBNl6r/zorxivg0sj/0O50q69px8s8oHz7pXxsXQcVwxkUZib03p8CuqtCcuPvL
hvJRRYYOqdarMOCnX8o35ulcQcTeX/ovLp7j3nKGd1RsDeSbWJ3rya7PBeUmI3rrlCvibgZ7JcMZ
P5v1/210/Q/du2s6kc0jbfBjGSrE3AAnqUvf+0J7V7JHD6vsxsPUX22YS0yX5SDexxXtZ3uQmkTX
kVhgIXYkxuRZMsr2SmDTrs27KyjaKlyvBxAr2EsaH8HHi8gJY5CRk+6KbkuiZLvvlf6wjKbYdotv
7bULM3qVRwUazpaweSkVZ5uls9BKL4mIWLjb9U8defTsXotEKe4ZQIDInsJMlk7NyA0ziLeubMed
nZJgHYG93RXpMG7UZAEj98Q5q4ssrCeOMzuSNklaRM1NWX+RN3SMiQitwjhhtopxXLGDT1yjgu7K
mguO1YRaV1jT3gFWSy9kof9rPNAH12I1OzTIHS1yCBzXe3JEHBpJmIz+sHM9j0CBCMJ/qjxULWN3
iOmCCSyHl7JrL1NsvEvJZoARC9xPhuxwU0zZ3VzhMjVigUyZUVNTvgfRpPkQYOwHX28LT7x5YAgx
1GafVNnGSY7NVHKnNzpI5LxppjSvPUdfF0bVHTIDY0/tQo5bgExkBX0KLobEjrXOFV/aJ4ZDeCfL
0t+TmxEuSKJhSEQr28ysaKUk4JVd1bt7V1qfkmS+sN0wNS8PAF3vOSoul3kFPx8c7bt3vZPeEeEL
FB1nX4XHiD7fFgl6RaeD2WqnllNjBocsDeb7wFFHz2Qntqe53GkyFTYzzKbdnKdc7iJx7eW0q7P4
ZiZadS8MqfdJU9CHrOrs3akIKFZe8ZSvHroub19FGImyJFXNxEltUwJKcvJ8eYXh+ygn76t3o30d
lGugZ0aQnnFPMF+/W9tTHCLNpY2XhOr53qw1tqn4bHFypJ1T/+hIZFB6lxfDOywsslFnJnaMGu1L
dsidL5sp7CGNiHcrrr+Ft7TMT3Bt0712VoNyc+Hn2bm1uRAhw3F2SbdrLY2EOCWUB7/pUNLqrBOH
WUmH39Qr3ZO7JDcFKtWFaoQJSDlufb852R3hmYi6aLLXE/mW5g977t+ClEpNFw4hTMZ8Qev9OWXx
XFtN+qIK950Dwt0yQLwpbY6KpuUVc2FmC5u+LnDgPkRyQeerDUAEIM5PtDDRXrjPKeh6nFnAxwan
2jX6Km2TQ6SROtc5e4FL46QXt7qKnwrvK3KMTYC1nHk4BlGvdIA6SCoImCn0i1Pwk1FwaRBsREw6
m2klDllmXDgxZLCqwQvZeOJODW0dDi1/geywr3purgdbEwRmMMCoWhAIOB4zeE8Vs7C+/ClsLAYk
WXzEBh3uCugkr8Ft4ZJdS2LDuOtG4yV3EqIGS/+zhflHLcNNf0n5KxPMzZAC6wcT20fXEhasdrJF
qrzdtZ4DOmF+03NKsZdzymrO8SHINUzEzqLQoXlbe/Rri3PUBA+yGy47/6SIy9ym/G1LlBOFfE1J
6ACsMUsiz/Ac9d7TEsesCQdxaP6k3e6hzlfhSCRBOJmwkcYx9dk5cZ8ywWMUGjhE+qwuqRGYeeuc
GtmLZ1RvEMcgw6BqbnQH4ZFEABPnyxo9ekFgNDtPT/yHVMgN1cB9OS2AdkicD7uOknNTk3mOIj/d
tI5VbRMCCLfKEk8zRXscgLwmvqzYjZXJzFtxruXE3DoT7RJ2bwSXJFLQHNF0cjnVhtEdd1B1Diab
TO8T30VvYPbB6E1GvDVdZmFyJU3ZXXaaGzfGzYrNZOrbc4BOPmpJyOzHgXQ2XoUmGaMjffEbJzGv
DNt6TatenROBUF5J7140+rZonWFfC9TTqcqMfTYuHG1euR+NNeLbdY+DeZXF7MpmPENr48REMXQl
guWlbGa69uO7FEF2mc7yYMxBvNcO05z/o+68euQ37nT9VQTdU0sWUxFY+6Jzmp7UE2+ISX/GYs6f
fh+OJdvSsXdtHBxgDyAIGs10T083WfWrN1IM+F4BC1KiJmPASXIb2rA9sMS9BUESbevIPhkuncoz
V+Hns7huGF6l1d205fjmZ1FJpCbRuBgnF46y/DNOfNComnTvJt50rfc06GwApvna1pq2gGjVj7D0
O0cF9i4nLcYtp11JxudhbORHE6UXIa8U/9/huBrlwCehy0lKFPuo07e4qPcIsco1Yotj0wjiKpqt
AedEShkYM6jRBjI2XFu+fgfGjqjdIzFiZ01Mntkgj44zhldaP128vjw1ytW2vRnZ7NL0q5fRl90Y
OXpHpO6x4zKyTufED16GqlrlnGjmwjJ9h4ksYC6QP0o6P5ggeXWQd+Bmgu1EYi/fYR3Wt1Xo3PpO
uEkHrd8AdMEwOLqJcCjmAD5eczwg8g7oelWPWrKp+56Num639AEWGNG8aYPKnzAUu330iIy4c1Pt
5A3jvq50+wwsumsNMBrcIU+CBgQmQmfRmOzP9cj0jEbrEGkDjtcifSjyBPFyajw0U2kcO9BZLa85
d0/5p5WYxygviNGbI2mS4XXSzXdP0bnjkitHFuZLmA7dzgJ2WmSkSDktfdsUnb8lI/lNDFoFnN5e
EfkHhbYTyH8XVuDAY2T9JZHaiZb1NZXCFxoPR0QgGtAW2APBvlzTHmMQUkLkm2V44v5iyaH0fDFI
kWxwoDwQ9EIMhvOKRgIQokvuh5CjSsrFwhtDEgRDk5F/SaEeyXvEPhJRr9wk7Q2bJ6RyCJte+vLs
tAVRTThz6J8npFgu29ZmWZDtPldzxbAJpCoS6FMndFb2kK6j/IdE47ENKzvgGNt+OHFSnvzcInK2
4b0TxMK3HWfO6WFIGmsXB2tTQnBbNOMsTVNDeio3jQXCQP7OXYvIBqePed0WzSvBNjdoYHCT6fhy
6MKACuOYXIXyUyeK3HBfUxfEl5yVDSr0T+gx2FzysozKfPZ0RNXAjz9Cuzx5KIV3zEAgj4KsHGqt
8emke3cw7XUxp7UOEMMOGbjLziqcZTaCBUC3shGXG7LZHgh98TZsIFdhoChJbQX7XuLcMHAdB8Gd
20hB9BALCAwFPCB+i5YnAbd1DU4vZGswbMppLvYNKLKciCINrfhCShRxvs01jmNQoO/gO+c2o9Z3
FcNUrgM1UWJb9g8xAwN1G92Cnu3nwiIBwcjbYVkIkK/K2+kM0TTKktNiDYBR5O+sU6Ow9ikeIhfa
fwmCT8Gw2sjO/IxiTXC1UYOu/PsIzo9Eo5Ky0HmrC4eV1KjEUsNIyIap3UW1tzPkIWLrJy4uWSQh
nCMnv51U9ovNDU38JNV1WFUl2BIZCbN3a2nK18aEQvFL4i3N9Ao464VHkx9daT/qiYLNKMx23jAt
c+720bC3bhe08OcRSIaPccbiHIobbG0OjNVjhRSkTfnfmfPAXbdt9aFYQoChox6SjWk+12F90VuA
6Bib9cLKoY1o53mhRxQ/RPgjy8vhBUPUHg/wpSlH6+AH4q2pqfNIIGnSfHgrTXK83WQ/lFcTcM0s
GIrJQwUUgqmKg4wStQFPoJGby7C29uZ4R5HlEwK1z5yvl6na0ipa7JyYNDzLNKCiCGBhZQMRHPFP
8al3u6EoXlKEAHszKvKFYoSbn8OKvGQbBNrWEd3JNTT0/ta7YfXbGNivrmx6i6Y8WPkNPx/GyWdp
EWLT+iF7a31feUeD/2oqHLk5QSg63h6vPtaGvo2pg7aHUF9Rw2ouQneMFhR340CYzHZhGultpQWr
FpRzadMku3QnTi2hNJEUdfUnm9g7yjFqxOMZw4NtsF+RAS1UrK0bkrrXttC2kV01NKU/Dc5Ixi3F
7W07pduqeTd77mujqI8R5Q0okKxgDWZ/D4VPjoRc6VVXn8hszaOY6BndCvGvePvImy6j0j/8bA4u
MeQyoqrpzlP0g7vY9pkGH+tJe45l/UHOTrat8ysSUp866d0mLXCRHpDjkAhzOeFsWYYm74Q133Cq
wh4k2wSGHagLIqLaYiyuV7r5Af9kgLr4MyvCMRlHR7x0UgW6As9J7l1MS7XYc4rlyFPNgVi+Q8/W
iCI6DLM1xjPuo94i07jaJzpN0y3MplPr6xb14sLpimSrm8tSgIRYXgB3P5nPcTgdCcLoF7mWQGA6
8tbtmaNtoYNZ9rCHnknpOfomeL9wzfPAcZt8xIU1tMRzYIxSYbudtPEDuUdjJ+jdfFpYSB30Ytnu
rFoRCTKi700kgFQw+B5SE866rC9eSoacOwqWa6DHaMYI4bgPeDKwoNk5wVi0XNPIm1xSo7OhJDJ4
Od+5Deg9ttsWAE3S2ju4JiV/zokULhSzfbE0+4EPMJw+HJXThkJjpYsCaGUaDf3wHl2srYlBSQfl
7KmDJOu+2/JB6Js6pljZb9IXAqMl1xcB6g05nmZmc8uUKdRszXaqo6lt6pQgRknqpIvOjSM0U7QY
uHKShx4qHBzLeOV8pDUR+5XDDdi36cFDWrSmlBa4LdMfVeSXG3b/xTiwVpcVVAzBoPSGqORa981H
1t9tY5ChS7Hca2F6CXqsyV2hACy4PFnPexstrNABe9NM3nVmPm4pH3c4mdYjoK+DsKDNY4hEQDoy
JOy7NnQ5505cWoU8M5o18AWpt6m94WpwSlKaKya23nvAnkMcQVSupoYQOPOxrDuUT1HOS005E80R
Tse66OWhpAOVUJ0l1xV3MujIotCdK82n9zdw9XA9aMb8ywDH6xcztekLxtibp3aBpkGtiD7OkCQh
KOyMiOVAjsu6n0Dva5hrp+KHiyfI1WBbVTAbFKUyNTwaHvW0DHJI/ydKvNMKOVXlJDv0qFz0Aj1l
5rCXNBoAlIUSrsJ2t8VLdfYGygc4ZFHoTJghkmxMcaJJl8FATWUXstn7mEsUOKHvIPlxbE5JfiO5
m/hsgzb7MmlP7E35pXyOREYDPVXG+aVGLLNC8fviwC8MOoBKJLWNE5vPVkqjZDJW657MQRh43V/m
Ev2YIvFzHcGDs2eZFGqha0qlNJZhyvsXWDkxlCH2vISUkI2ddagSnYxj8tD7c5w/yhfkt1oZ7SLB
PehLlpluTJhq8us0bNUSPswGSyjuUpGD93DXhsQWoM+AVq0op2uy8tkNUGwEiYA0KFCwcQyMEXxw
ae5h3sZFiUB2I2AlF4ZZ0tE0gV8r243WRW/uqh4kUcD7+hDCq++lUkY9971Hd3RBS0kY2l99XO86
M4FZr+uVmU9PQC3Gss3e3BRAre+yeZeN+JSLhO76hAawysC8i/d3ih3zMLsncxPqhrxdfMyRSYFe
SEBy1F8Ljl8L3TWBGzjxs3Qz+dtuuTfRZ3BIa5eR3wJcznliITvvkcucQQ9wfuEgtELNm9Hm2eQ3
KkpOTWiPx0rDXKwCNA4mmqws11aJYltNKpgx9C4aLr0WcNfOUaOIaQvghvQsatJ9ZuTzPIsSu9mi
mA+XXoU2jpPHBvI/PqGNVl5yRMzg7wiPu3daj05N2sfbnuzjrMNk29VRdc0ubyxiRa4wAhUSIlKO
0jaO3YShepOZrb8RGKl1p09WBERxGDfLJw3tKu8/6EUu6k+cj68E33U0dIz6KkBbZ+NDpb4RY+8C
g7KOENykNz3Ir8IhprCsRKjQiBqFCWKCtdGK69G/6n1ywulpJ2dHjzUUDRVhG2g6UCrUO5wTNNVi
E00RYSmKuHgUZ1jgqmdhjuY6zZjS0hlIoe1uG8sK0r+sVgGWSlzEAK2NIWA9kKqtSXFj48zJQEcm
vZL1UB1sTb+t6qS6sjzi7sOAQ6CA80ea/ixINc8l1nZD1vUeDx73sv06uT2wrQ4y7RTDpYw4dLiC
vyx2hxurG+hRROpE8D1V6dLcoae/E5TW485jJnLqpJsbstD4gN+j6G6Teel5UpKD4Wg0914frJrK
e5/zpdtkrfcIDgfd7DcoWHE7TdRG++lGj0AqwqwCD8o7KqW9jhm5bSg18ZiuDFDWoeP5iEDkTMG0
cOkH70RN4lq02mWCe7TbHkaC/MaEjA+Zdzvdw0JPkHTK8YMzCTpcBxZ7kSQo0FC6PyR18tSQ1LfE
ZKGvEkoCy0ZmZ41048D2YDTAoRl0w63m+tg75d4I2k97LJBZzYCvnc7SIyP/dNR0S5UsuTVJue5z
bFGTNXm0wDM9zeON75EVSvZ9s4yz8sLlOBGBCpST0wrDduUgqqje3Xp8kf5143DuqhShP9l0nVWB
BxIIr5un1BEUAabt8IK/w9hSxpmhlXJZHAwAlUhriLXhbSVKm4MlX6X4ONKxGbdZTspp6ukg3dEQ
bhK3ZYbxIaKVX2rI3NRR04qXIES473BsBSxnAmQjhZpK+RuAa7L+QaujncUEup4G5A5+ajWHwgn9
RQWNrXUVigTPzFbRHj2lRY5AcD/WIEHa9OA6abyqkdWWBE2xo4uN3RQ2VQT0BeUGDbDpwL7iJEQX
IwK6rV3kHEqziTRVEZOuotOvVKuSZLadWeXcO6b6QmhNBGcSfYDDXSQC/Rax3pWrFdfl4D5zzPtB
wwNKHoi/pWgn4iaGQl9HSbsGAMUeoJUPKjQuTYjws7XoJUiVfSujGJo1rq9Qi0VLA8M3hx0gXzEA
PtmAtcKstx4y8bm/oV3yBnbbGPt+BC20o0PlLfXsT9cRyzCzj2XSv2dpXK8EFDUHBOw5eLVXiKPf
ePHVYUCHvuBojyJC2GTuGD+qoqVoN1KvDkWeKBuR49JSNd3oXrqujmAf8rpIo5uwAzmTESH/ukye
/RElcacU9VDam+nTLtJ47GVxOtO1SXYTxrZ9ccLsjEniRyRAZ2yS1N46yRZoEyadIX5e9xrN3Vrh
bQMbJVJTRecyUg/DpJf7luG2d7TPsDbUEqcgRmcrBhGIitceb/wRNBr4VZfXJEfax4xYVjz8zs6y
9gTkd2geoSo70XVHSs+3+hQSWg3cS1oHWaZE8JCmdxfZCSqmvIu3qGNYQYjK3BSxc43REpvfHB3Y
UWdwbbbNdY8AaYUT6aHB1ADjj8JKn2s90EqsWbXiDUEvl+8nEHZ7Bpv3VuSsjsew4mVADm5c3+z3
uolAZmroYwlxna01htu5zvo82x/ztEYoJ2W0EjbsrIo05E0NKG/WdtiZeGl5yW5bD9Y5SWpx6/mC
Trw22QpIyM0gxmQzOU/kjZBgbmikIrjarPJHyyFB2XxUWg6FANGgOMfOGJBbb0c7d9eoNVYUOoKm
FNSLBZyRMqnXe0VbJiebzKFfBpjINZ+CUdhrLElo6DizwSJWa7T+MX6JaVoVkb/9zjUvNBUvXZ6K
MZq9fSDsd+nribWqIuZmQaPyDrwZRCy5t5VOvTDpRMuxM5EzNPmJ0P1TYw7aJX/TEAWvUQH5h+9A
76Q8J2Eqd2PY34egKFsxue7GqTB7UxUo9qhEr2Ld1xnDJqI6yyYm0REhDVntLuwuu5BXVkzy9YCQ
kZrOZUhVUqDjZEtczEkxGrEi0vdiLoIiUgflVcMi52ch2v/B8wjSL1dRCueHf2ExS8cWNt6evW8M
1Ma2DXuixhA/AZuuC8HwH05xtPX9FKzEMtSmzCuCcuPulOtaC8sCmFfUDkxCoe3s3mGFyPtpbYk4
u4SetvSMm6rpubdr7zVKDJo34uDRyyrz1o2Ml27s9I0si8eW/qMz4X6gP9K9SYDnkSte9dE43JOR
CHhKdHbAiPFoufL+uz6ptOUPcomypYDlDUDkT60QmBoxqneDZE0I+FiNAENNUwEoxcFnwvn3POWM
BaLlcmmqgmb1Hmn+aPjs5oyzz1Tw7FOjOo8DLRQITBmhJ84ciWFBH4ZV/Bql6irT5ol8KuVRBshF
PLPY0QHtPPV1uASy87+sZHjWYk6SjnlrmchK9JqylbEyxLUnsi81d6OAmiL/H1R7rrAnRIL0QhB/
e+cq+66JqKsrQfANJoODO0sf2cOMa/RMNqqN0FsXzXSi5UY98sr0M1jfVggSxyYpnysoWib1BXwf
vBYynGOeMwR2ifmYta61HBIRcJPxITLsNGe3xrsgbihZq28UttSVaP16HSrZrB3V+AsQw/yYBcEG
kWoBMtgL+Hzr4vRWt6TpoEYm1p40s8ck0WubTIagfq2M12Z+h0Ohe2SCJL3KrXAbONmpFxDTJYJw
qwAUah+wVlvXeqeof+O0GAzWc9nCnBYk3i0K5Xorjt/qcapt6trpno2QwNVhoW9LQfFwGXfaY6jE
irJ7NcVoCHwdzhE/DCwfAI62I4pS3k8Jp/q2mWcgl8gQ1DHW0UCkMHIS/CAQRi3cUMEa1fq58VR0
HeboTbqczaHv82CnSPCmzpoAFh9aZh1M2h0JTN2Vhn9vGwxRuvKyU+IiAvfZY08JEcoIRjkJ977d
rfMgQ+Gu0UgvzPLOncTTVCdnIyvnbvGSXOr5LvWwP99Q0rq2+h8pIHbgtcYxML4kiXfHGjXf1KJ7
dHuTLmsbBx5LV7WPiPEEmnwxvdw8OKa+pgdY0h5Mb4YBo6lnqtz4yvoqsqG8cRvyNHrX0tZDT0KT
1dnDXRszSXfH3gM3LVI9vgGEIWkgWRiVHx9Ao4adTS+drzvxHUKQk+E1/YIDiU4OdHcZTeuYcJLZ
0gONYKen7CnQjEecXu0uJRfUcsjmQCS907/jh6kztKBV0HSoae2P41uJgP2KWMl8p3eRvQ5jiPyu
0l8ii6TMGU207S65TXJXLESoq5PbTClHC+LFZBIke0GUMnMQYVscwMiFiqPuyuMoVmietoUC4nBq
QVzVenfsJMrShpOPIbRdz72wE4jkq9pZycKOt5RwibU5K9m59TaYGxDSBbI4fafnVXbcbuhdpleF
HKtVYvgmM1URnkhm2JMG9JJ1j303RjeB6s6tQcgGWhh0qozPdW12T9wMSUX8hoKZ6aM5VX6+uOKo
RniV+8Z9ooUbDPeHuCmLI3ffzqnaal9bcAO272k3AwwgtWxjcO21rCCZNbyYSXdNAcKBcxElUw21
OFpjS26iK3RS1E0DSR4B4F/jJOYqiJSFNGG2niWvFbXm0N1cT/hWwH+9/N3VjQdyzbldVfpcjbV9
oBwJCM65coyyv0I1MhDPMqNvDYpwlhbzRkuyF12wk49UxZwm9uydPUbBNm66M+hfcsrkmG8iTxxG
q3RPWY4A3AVbbMOoomeXUEHkm/mSCF2KJJ3oPonTcV/2RAcFQ5Zd6+/ORBwSGN54CgYYIiApaDYN
B0chuvC+qmCYzai/tSwtObgkQByUDctl1uCNVpZqCAMwTsV+CZDYdUwY7ambkDGEQx9ctYShbr0W
xyvD94L855byqCzuPWqbge09/bVMFIxGmQw3sS/3GTb7xyzBRokDYN72cNV0RfygTHKbvgvi6hS+
x5yjs6h1wuk0ds0VkEO4VGFxCuECFg6AxyLDypnUPQNC7mS7yZyKY6zkx8DQtKL4A1OLRylw71EJ
SNRmsUJqTw2VwzGOVNGPpsPVSIDyutbb5K2PH4lA87FdRcaSKNH32iSaqA19az0CwqI7CZnOzfiW
ik1sipztuJXI7Q3q5hHX+aIdSODiir+xvXo4t3P6ShHmKPEY1l3Ote00xpC/ckCBAvoqRyB6+lS7
g3po01z7yrXoEFXxD8qGWwYSDZGpavoXbeQy89NDIokYbuunukwHOimhPIhc/tKxVcCSuIwdowpW
Gr497gpG4XFEmp7fu5pm30bOAEYieIfgSPEiddzi8lU0VJ0YCQFPlkQN7lUgc1F8sa2hu7b4C5yy
u+bTuwQVQJHRtMgeTVolDPtcsaovyF5+Rwm3GjFkvlps2HXgvMNyGw/aWL+H7LV4w55C7AtPw5Bc
OiLYDjYCNNwFLTy6K58h61ejQlNEs9D03M//NRYGRw/fbw9B6lOf5Uw6Vj8ehKSV5VRjaNMxcnxq
nG+6Cfdu1svkHNTde5RODMaj5q1b4M6jldNeQnzeSnMj8YoIZ59q+WFI+/GZLJY1AO4EFBQnZDbc
h8JDmW8n9T73oG/zYhf4hTrpAlTecAlEiQLiL4vOvsoBLm8n6LeTTiKzA1DTAiQGGYzhDDQ67Lgt
GakVwXwIxJkDp+Ej1RIb0SbcqVbMcKHtHQotCveqw7ISHQikZJesSbuZGO4WoUEdk2jaZw7jIapY
k9yhsSz29BQ8+1maHPD15NuyrvMNircTp3z+6jm9TlCftXDdAvwdkkbLHiO7CChXZZGBH8AJFjZP
cTAZJ4N+l4jJJk9zxUnS4rhflMl6ojlUB5poNbmPy947mhTIYCqhyDAM7vLadi4tsibEWkQSimwk
QMCbjtyrb0pz3EOMZJp0PI23ML9Sfnff+D6FIz53bNP2FMFZ2etkZHKNP7byR9IwENyOldIOGp2l
qE1dl3ehLs7puLUYWG6VwcfhWuRvxVT2ZMAyuygDYA1i/WqYIB34KN2VmVRo2wz7PRMtEpURNI6S
uYVu5NjJI4lp100uWglmztkTfWDx7NGDuQ3ZrPWIMhSNLo+NkpBcOHTRC4aHLDE/uC7gc4H9Y2GN
q6bO1nYSusu6fZIW7lLyzkEZeCULUmDp3mvDH5JBQq98++x0n4KQiWVsJGpHzJ86sg1vsCsjQTYl
spchv7SEBG2VMz5wXNM2NqatVQ+DsqRrB58vFUObsZ8FL3U5D1PGqQ1Cos7Qu5PngjrcOpsj6YNT
Ll7JN8X+IrwbthdgGFm126DhchuMwUUen5RHt35xcdydpaAxPlfjIUKOOE/B8bK0NSQNzEkEVG10
XY9QlxBl5IbjyxyIJ8dZbdEMcGQAqcpC1qECZ206Kj00bHZ6NZGJ35N//L2lpy6EaKsTh9L4u0n/
PjIxFqIUeJQ9F1HgZjEXGYSL7oCUhQaXaw88sh1V/d5L4iXANw/SyC+mT6+u3g0+hKMESdeDJ0dy
nKIGQV0kEwpI3pzvUo/C30XKrI9tUYs7PUe90TY4nEP0DhypWaNyWJRorK3TaMdApRgEBk4LqyEm
B4dwgO+PrWp1mBOy4Mqc24RbN+FkTES0E2vc0sinjnncb0yqje5GnfdOH2gUihBG4X1bmnGbLSs+
+GUl9elei0b8hOEGGKpDNHge9NE6xQX6CKSp4RndHVSFTg1eP4XaOjTkNZ2bs4zOrR5K21y4if8Q
VtWZdcizEG/XEYf8kFPMsnA0BK227wAWdwpBBQnnCyzvHscmzzwWKTVgyFfjAfWUGefrsbG1lY+Q
a2tPtXOq02Tf0YuolZ15W9GiuizGw+jE7keHGsyuXmEHx0+Fu3pOqiDFnFGX2amh48wnPyQM1clI
tG5TVk9RqZorn+6+XV8SSMtmCpxnosLKk8q5y+cmn1E01UFgJBsxMd65CYZQ6hSjExkWnvHcNU12
oxdhsksHo5rlmDcttVz3vUsW0jSgWSpBKa+q6CjNaV1S6fWu5jlGOAea4Ix32UM+afxCtH7abTMv
H7FulOcy7usnF3EUSVqjfdOFXChaQxOLqO+SKIBaJnRq6YcquNECddDi9Dnr0+w98sWhSgnD0Yfg
1sgATQqbOFjgD38+qPz3sS7fFQ6/S0JCzm64OiV8gjOz8d2h/HchRWhLI9fFwLmEyQP8ge8PMo9h
KVyT+58fOIomW9q0WAgQOBTYN/wcU0I19rvGcHYhRbvrznsaJ50pEt1lIeS2akm4CqLRgHuzzi4t
Q4t+7vdi/1o1TN6nAhHGuqlrdtpS9f/DXyT/UZiv7phSkEPjebo7B/393V+EHscz4hxYctSr+0G4
15qHkwSi0yLwY5kMLuAp2/deo7U31bINS3W05U8rPTu+a0e9PHv0rvnZWgyxdWXEaEL9CJAhasHw
65r6pmwyH9CwmAfEdqSMaIO2DZSwr4Oum7u98ycqpGpMFPxLs6DfTcUqMMZWdqKZ+yD3jW3mt7Ui
hVaZXAdU9qkjPNyrRFx54GQCA1MSp9I1HsAtqc/B6FxXCv+wieRspVwruAq1gZQ2nTiYUunvnZUO
6FWRiKY0n+wiXuVBjOL4/aOO+Vqnst7Xc2Is5OhtlYzDGakzrHXuOTcTfhMbEf9JBaivDNqLaJ5b
N5xGjsrOjSu3nuSamoBoSd2afm3DT22kldECLMW+HCnjGFuUxN/X5X/8rki6/vN/8vVHXoygXmHz
hy//fMkV//zn/Ji//szvH/Hnq+ijyuv8R/Pf/tT2Kz+/qa/6jz/0u2fmt//66lZvzdvvvlhnTdSM
t+1XNd4RNpA2368i+Mrnn/xXv/nT1/ezXMbi608/f+Rt1szPFkR59vOv39p//ulnz8UxaRO99Ncq
2Pl3/PoD8x/xp59XefKZ//QfP13ekq86jNTbP3z811vd/OlnwzR+wZtqkClNIQ72NzLI+q+/fofo
SYFpi4pwwJyff8ryqgn/9LPp/iLIvSdtmS4G1yQ/7uef6rz97Vs4bCypG7qw2eGcn397L27+sqr8
5UPkvfn165+yVt3kUdbUvJo/RMJx/rQtKYj20V0xz59/iIQjcm/KKWrKbwP1I6aFBJ6nSmoc6u6S
jktWIICKEPUEppmQ4J7M/58KZf4YBfl/vII/hBASYZ7Qn84rKAuaXFHD1FmwynFFYWDd2+QmyfI2
al8VvFfjYMfTPv/96/xfu4j/b+6G/4UXusEV5LgeV90/v9KPby3e5uTvr++/PewvF7grf3GlJGTU
YTnVXd3kA/zLBc53LMEFblnSc8nEmH/Vbxe44AKnO1Un8pUKx+9eo98ucOMXz/LmggWyGl2Hhfrf
usC/C4n+tr1qhArzuykN/kP4Inc9ug36PLc+VQurjLS3eFFgGXQwA9mEVx6VQ9/jqARhJN0nhOO5
CuUJQ8I2KbXL4KMQNCSHFTe57jVONyHnawxWyAjvhB1+WmRJwZHjXrLqhyTOPkpl7gP2vdUQxvnJ
9PUz+o9t6iIIV9pHRpYeyR0IbDFkbXAZ3siKWOppZnJjgpJXOld+67BPppN2DKAlF5bVPltWQBJW
ER2Bhp66YLpG1o3W+tNRZGTUjljLwryPJuqSjCd7+NHWCjGE/dyHNnk6Q/RE2SfHTp/gVFm/2X5j
MMle8hCBoK7jdDfFraFPDGWQK54WQVF3/Znjlb8f7PEa/YG2rkm+XnpZgepubF7t1p+A1oZgY+rt
nSrssylp+PM8TPV69m1e9MRWoBjYEilbrA0TvVTd4W7my4QwhZYCt9EK15SQTSt8pS58AXalQUua
PRYlmoty30U0wyfj9f22dkMBYxO8K7iSvSfG9pG/Jt9bWYH9rMYJSYy7Nk0toxz/ijWkjU6rAIVo
Z1qEDiALFTXPYV58pYaFfsZOPquoMFBNYX/yGmFuK9abpUJn/K4PYLoulkq8dtZXhTzqukmBUmcc
X5eRf6yayN5zB0C6NVRld3MIus2gsIAea/8yRP26wf1uqf7r1vrH7fdfW5b+6U/9711ziN/952vO
zZuWRtpHGL1pDKD/YOnh0b8uPd4vRHtSVDSHX859fNzjvy493i/wMXPmqjR13ZXzvvfb0mP+QiEh
qw5hz6xb39/6bekRv9jCcR0WRrZthCrev7X0zEPD32Wc/m3pYff++/k3Mew0piAag7rhGGc96ZEO
wV8fjUnIexc4Ul8MXNRXZJNq0T5zx2nhTYAHvh/Xd6WXDdaC1ASLuuX0mSPM69SW9Vklo3YkFeDi
VN0wW4e20qpsTKYuK4QvrMUkSUNHS5QdqoAaOB05YLz0VNjcdTmxd8Qe2QOl4qV7SCCX1Eppacsc
Pn41/uSvkItfyix9zbKCGINchwlze38TShCIUJHON0YhESAGeqCsJBdFmMmVLw0Ybso0rukJk4fU
D8cdbRQmHlvZk+GAlxf836l2dq31+Koc776TfXZLcKcNskeJ45eWj9Z2ROa74zWjVTDtqxHcu84q
8h9p1EURI6wAykqv+0e9svDtUfl+7qk0PIYqad6HCCVzD+GGkrChYjCy+yOH7G7TkzVxmjyzW5tE
S1zrZvrpx1N3B24WbRCju0fEDtVV2ZYfXjdxNE7i+rrsqvoMrQrgjUVkEWRWzCBU2GrrFs64x4zr
fUyZrsDxoXMurklUITEWdkn2ig+vNWBz2rSCeDE8/ynZtmG9JyiF42ksZhAGIbWLi2bXYcG8sSN7
DsekTNVqMar5cacvQ4nDsCvwnkQx5lAr8yjLnMiM7AcQbm/oNcS23iXmbV30Xmefabz1N11JOUWo
yjc2ORIGgY8aQwNAD9NLmrjqC07nq4nMiUgR5COTpaNtrXIcSmRk3g/osGhFyIt3ISgcddPmy4+N
j6yHqYklBte+M+P3IKyKKz5QxNJTinHObnAm5HT3RRXpNX2pDUvX84OdM849xlH2lXR5epZIINGM
GjogEq2n/68mt/8Pl0jOzP98ibx/y4J/sDDymL8ujJbhWZKQQoIskbf9bWGUv1BWPy+AjjmvfcTd
/7YuGr9YNoEPnmFInUd7LJm/rYv6PJI59NoROGUIU7f/rXVR/j5P9G/r4h9wAasORyF7V26zMez2
Vp+RRdURsWew6DCYWAQNCO71ycz8sxNNbO4A1euUPBXSiI3xSBtm9aB3xOJlRdM/YI21dgIUAJqq
sz/oKQ9BvokeFWWCooVuBZzRKPxiEvfW3D5ybek5kcrcRSC2TQuzG2mbQGW02wsKzfssd1YjVJYC
gaYpCr+kPZIjUAxQ2ib05z36tmqpJteB9Eeu4mPrXmqlfBNhd5Uigl9YfTsRkNef89ION0WGmwxH
7DtVwEenJ+qliT0a6irkEPSyLqwx3nlOhrduKkFjIKcaKsNufGfcmZr4VlyhgnMquRJpVO8QI+0s
P7CvESCju3dnHt7teuQDXXMwUDviufZedAp4qSUeBvBqhFPAy1cGfMamdKsPlo83MWb/xd55LFmO
ZNv1V2icowzCHWLAydU6tMoJLCIFtNb4ei5HdndVPT4+szZOSDMO+nZU5I0IXADucD9n77UzcijG
asdzsIIvED6z+JFHSkqgWESwS1noQcJi5agFyYD3Fg0iFHUD8Vz3UUzpHTruH9Jrx32Rl94xqM1s
60ud7Gt2b9TFhyvSb+x8FmoSK1Vd+S6+o/Nm7PKye8TH+ZpUzJden9cIx4xqlyZZvu8bNwNYyexX
hIOJi0t7alusN91s434ZDVQUcy5eXbqckIb6INfWPMnzY6ubH5affQfAvstyKB+DLlvaRNPV78yO
a2ffkgZlcqK3GjTs7DZ0VXXE1vRp1+GLj+3Tz6t7AzzCrs4G+pQDbaJZb5NVXIIoMsJMw15J06VL
MQokFX4oHoRwsGqZX9k1oGMORhsNI8FDk6y1fZ7byS5U6CvhY1L3wQvvoUdfZtHn+zgQNAp9Fv1p
LCxQrgwBNwBTn+X2cGCRP60NC3RMa4JJYI2b/Oj9mLy7hi5VIxCK0w4VcOmIqInhcuJ+SE7D0Oob
lKAWHUz4ANNIHtj/n2j/x3//r2s866mEavLXSVa9//f0aok/iAUheFIn7NMU5p/Tq8W+1mYG9Uyb
/2dv+5d1p/zD0T3JRpQJFriAxW74n/Or+IPds+F4OutBCsBMmP9OTccw/0NVR62IXZdyk0GoiSNJ
+Pv7ArSPkGrkASne1Ta062e9Nfr1PDRofDX3OcElyH3/kvsxzQb69SXN7yJSHRKfKQ8Bx/vYmO95
jFedClWjdjc3s0i+/CH+Eg6Kv6i1UAOWeLG/nLxUAr+bO8e7GvYgeI8nMw4eRmke3Li9HzRiDGaB
/dopHZwjZXOXaVu3wllk5hyVYzK7SQuuVFvRp2k6ZF6FfmZNN8b5/WA7Gp1ZNrt+Wa+huRPwpTQI
OKv7tZ4OLlJ9rDMmKreVnSUnj0VszeJv3SITWaU6+hOE3M/I+WGbmba2xepHf2Eb1wO/xOfPIoze
y6r/iHv/2a7kCaDtlt73F/0Kxi7m6jWP15i4Z38vQr7FVQRiEvQPEcYkYI24e6SoidfyZlKIOTRg
opwxHz9z1FUH9auaoUY/qKwaYZ5gJuUEGlXkrCsx7SZr2kf58Ct26mAPuGT5YDEhf+s+0N4c4Gmr
vqNU7znD2U6xzNAAfdIb80Q0PHh3IEO+XpNh6HIWG60oV+ohFOieUrC1uLz4y9IIfsrR8FfL8bv1
cBnLBmmzFn0t50W38aOWqDMGKhkrHiUP2FMOo88lq8a+3eqiPI0mukzjXQ4RO+GQyM3Oebc5k1os
tkLRQPvKouWSjDvZ9OuS9Wh+NNIOpEXPOXeJ6Rhljo2EMADEU1s8h+6GXvm+84N0k+Ds2XBGSEEw
3EdB17avy3lb4xgBSHVDeWLsliuhVxyg46J+SOz6XSdEYBUEUL9Q5O0S+r5gOqznScCTGnv8SRj7
9n2Ko0V1BxqBYUJOBWQbpmGzBRk35o9zZhGzybEjVdOgtXjfAtax6I3zvVaRglENeBhdA6cGvtjD
ci/rnnPTs3kNjkG5HdXdW2FDQlPPNZvqnzVB2K5m31z9mAoB52XWmL8B/BYGjsdlELS+fkZxc0Cb
xzPehEiw6E+sGkiO0M61wbEknnxwxPyQKwcScacmD8KcqNCuwczKpbeVD6OS39IwoDHIs1k3Xgc0
yhkgBTVWq0reMhsRUTmu1H9HtEJw/80Xo+v24OzQ6cdcBD9DN9tGXwm8BlRnZz/DNxL7z01mPwfJ
/BQM4jQOznEmQW+lT9k6BUC2Dg02gAZQ81VksBbSSVfpB4H6yucDpSGTCOJOJ/0MEk4taocvfbaf
84mfHIERdxBiCFHst11bHydYMRsafkS+cTiBbt+6+blxgDqEiUfQlRq5LdRpG+Ruqsa6Ipuiae5T
79nV0WuaOei3CtAvweHVyDeCnGG96H/rFslKQxKZ13TWSt2nphf/WiTHVZX+0jF+CkLw7gzUc5tl
NsIQ+pL13XOjxzG2F/1n1oaPxI4gjfOYKTPaOpsGzv4mb7eD+dEGDGO/ir8MtSJwLNAnzlCdQzrA
cWHfItV11gP9pyad90x9/BJVPSyH+FB13c/cprvUJMFbHuTX5cboEsarunksh1mmqRkq6toViE8w
P6eqxZut+sh77CNbBeJpb4Mh36WVtnsT/hFkioI0Xqa2XM4bwxEI81tN7DUje0Vmu2+od+09WJeo
dZs3q2O5rE0aHkwZfJDBSMVd9RIz6AuOnMcbxqWLBQa2AqHlVpp/pF5yqkdpnWGHqtvdbW0Pmx7r
RAfGY5WV9wCfvH2kTRnKFxsGDxPczEy9zGqMqn5N/nmUm9Zmsp4jG2sg/C/AhToZKU74FQQ9DyKA
m5uxfh57G3DtDjEZp9xGZqQ5ezgQFB6q4MWMBdbmGEWeyT/HcMGmLv5RImFEeHtvdd1huZxlMJeI
CJDflIk4NQg79No9m+FcHtRjYc65alU5ugzxdMIjFR6JDfr6PamrQZ3A+qcrvzw+PXVel1mROeVm
Nq+jEDc1GbgjR12NHNly6IQ9WHFJXSYDuglMsVvVAVde14ynQeu/z4q/ZLh4clBPNAjd4VuhKLNc
ZkjCdF2RPFUOCEVgtJrF7a67HEfDwZKd4K0jRYd3Pq0u2g4xt9KkpoJRrloeB6vK8p5JgEctgbSU
eOzbUPPwhqf4ZRAzjvcbIIYbq5D456EPv5ahJfzhzQ67VRCFd7p+r94cN/xZoR5zOfTJJpDP1kAu
q0GCB2jU5MtK8RpKYLw4gnnTbPGfGubIwORO6h0YngxZ0tE4fVn6pHd7vdAfDTV1GyY/hDi74UZm
BCeVMlCi7tRls/KlfbMHA4tMuR1N3qwO08m4Q+b4PuEC52N2hvrzgaKKmhNTlKdbt7qZnie43+rN
6uPP2FrZ/j4biXO0jebShPWmV4+15aAIJOR680RiUbf2je5JfdyxLbEt6nw43KmF02OtxCTSxNGL
DYBvRduWgAR1QDC14ZhzSbNoZTocxPIZh4IPSgQhUVTjwfWQlyFfdTchxmxDm94AzPFR1EubAMor
7CcbTwnWiOl7UYNtFpRSAvcTTSQe1aCARExgufq4GdMf4mvjkmGi6+ACjLCQqRQCvzT05zLGrDup
WwMi7svghJ+pxVl3EhWgG5sny6ESOGbb5TKpE6K5LXKJsL/ppFZjgtVZ+ajRlrQn3wabR539i3XI
kv5Asof/Y845LZEH3jiz6dsjcsvG4l1k/HSpHmQEDF1De7hfLl4Hn5J8xWBT1hzFcq7J6spXI5xQ
dWkmup7KQrYtZjJRyJ7kMhCVih2vJeCBY5lntbTSxZenM5FwhXwEy2v1DFuOo4wy0Dq6xAPIB1yG
RK+Xp9mrj9hGDzLHy99a6gSV+d1oW7/fR1act9bYdm8nkCKrzC0uaKldVpr8bq0zX/Wiuqqyfhdg
qqkFZO3AXJGswOYu5C3LR1s+cTbxXJtlT2wFVs3lUogo+OHM/XUZ3Ja6sSsdYdQ4/CgzhntjswiN
f9nq+o7SyJF78pbfXykWmdnph0wDti1HfJVlcGXmvVt+V6L+VqOh61ouKbq+VxF6h+VzuGH87Pnt
3fIwh1H6bNTIgy2WJwRAwBvkVFNo9dayBMGEoYiQZK5ireamkkXQFlX1s5YUGD2ci99pv5Y/KBrv
4krnfl6GqI2Miv33OqyKL2zpWycK0L82d4BGfiZ1926xmV67IPjWoH92WcPBIvdgEVR/74H1EqvJ
dLDc9YFpHvrU3WEg6ymCzGjw4B6oH2DBjII47o7aJL8sAfp4OZDljctJd9QpKkOJrbS7FaJaLU9+
7k9WblP5HpgEiSTlTP51Bf2epbmWkLoHrWNvL0Je5hIBmHzdtNmnFby5OosXNYeqaa8stbMuose4
ynn6TulX3PGUFmG+cagTQ9RhyQ9g9Gq66JAk6A/P8k+JbuBNQf+/IkECFkbUaocuBbpdV/IcZf66
LTNBsxpcc20BbevnbNNkc30KxXTodbIGXLfcL6PW91K2HlF9Crxxm0BQJKiopZQEu2ZNOEKrdG3B
rO5Qdecu2zJ7JsAJIN4ysGKPIRYMwEeKQuoE1BYbI9UJTFVXwSgR53bZTg3nRu2DAA5h7daHQ1BS
7pIVlaQexWyQPS7/vIzX2c+fMti9RCrXx5LeWlZCaS+d54g1jJoiQ809GWR48CVSpYjwXy5iARsL
ka2PdnYzqf1d1sujmrlAxLx5BeHwWbotJpAN6l52saSnZrLVquogI/+HATIXLEzAwpOfaN1ntfJT
T5dJ7TvGgr/icdjcL5sMywynYxnDy2zQkkC7rovgReT6yp9NwDtO3G6TMcfdLQcwGzIClVAE17T2
XNq/PFx1C37KEA93fsFmoQKmrehhZEpbRKyXvb3B6bmqKB5u3ZlZfwz8zzJumZMGDJSpYZ6qtGg2
iS5/wUY+tTBiIhDb/BQvdXcfab2HYvD3Qld9JKeeXxDnkvJj8XMI3LkZO4O/xMXQfq+Lw4mn0XI1
EVyQ3jLl53QMMOWyQ++8W4f5KGSPVmMgW6kp3GFdiN/NW6svYhl9qf8PHFbi0PDzCrpMWnAn+5Nz
lAbSXANm0mQfl9s7DFkTa3I91p7BauqKivZlGSo+Wber3k1eNS84TnH45atFh/rNHjtXdWGEWgiB
v+FxnrPVYGgBZkUxVRtnI8sPWtzhqA3E/b8GWdq8FmP+2RCEWaTBVS0JYg/Kq53YZ4tD1cLOWXc9
q/3BZC4xFbjfRaTeEsLhl6z5l12p6dtHtUZjy4IMC9uQGr+45H4M0bFl1OpnF8/jOjKdxyGZ7pcH
uHqLFnBwxiCTU+yz51BVjQGvJb2SB6fRnpGEf3VsHdRMUEGfIiolWtk5nPx5fIto1qi/uXzA3z9K
uaSNIM/5pgW5+ym3zZt6hzkW7oZo453h0DwO1d6qJIuHAkoK5zS+9cMDfgZqKbyXZzKmUNc5ahYr
uHrgbXkBl8/lqMJYMQvUOkMtPMcPOXfflt8PjQ836byiZT32VQTamVP1ez8RmocpcoItVvphp4Xj
nRB7t+7fCnW/hgOzWg2rn+iSQzvN9dEcYGBYwtyGjGY75bipGF2KULsUxant2WrWFoL2mM0qpksm
P9qjL7K6M9RCQZ3pObFgWprD46zWG8vupFi5JivYxhsoefanZQPcWKrbWDws62S7YVJfRMA2K85I
sxCVXsqSnXfucRnV/4xN7FBkqrkzlt0vifQHLfDXmGWaDYYAjpNcoVVIqSIgPgeqA2NoSihN5/FE
H3S8kw7CvH4I0ETrnMpQ0LTjxs3YdOflY9Wymo45s65b3ZwxJN2Ia1Bb9SOChb36GGrjlkFYXS0u
1mVzr4oiFSpVPt6PWZl5lxt/KZwsW7e/9Gz+E/GVqsL9qUyhb21LVgY61UI60ZQMKQj+tU08RKEh
xtBDKYzGrxfil+liLV6NmfiekDklHbn99+u4/ycipr/JAP8fkvShlPvLlflf5Hz7z/nzvz3hFC//
Wu5dfuhf9V5pOybUG1RO/1Ar/dYZUAk2Sc91dYmeQMkM/tZPk54lkT4RcGyIRd73z3qv8YdpGib9
OdQGOm018e/Ve1Xf7K83EhVnx0Y5jFjcttAN/ocbqQ3JjC1roims2iyxdIfJzs1sAmVaUV+hHEeK
QjMcEgpxOIjKcJ+2lvFksjovK3PbdOxojBDC30hr7G2MM/9em7XjOOdvKukI7de2qdg8hhlKfXhs
Q3y0xvEQU5xMbetcFQ38MWqgafqSGbG9GVHzOkVyNnOYJoMEI533mB6n8QotZQ13576tK9aO0yt0
82BDS+Oi2/almnsmT2FtMlJBWTFGL7lp3+d+U69FFV9aYrwOFdk9mHiqbOu03s0t24+O7tGqpxlF
MW3aBiWKaaLi3ge997aNwcar9BpvkxQogSpL1tfSkSDTvHbnLdEh00uvzTvNO1CcB9+OSnLtVY7c
WKndQY8QI4vWXKYQywlpXHdNV2K+gFYDpEcU5s4JIYkckQMgeFIQ2jHokfPT6YqbEyhMPDYmi9db
FnhXSAMKu/TBYe4nYlEN6b8kbUr01mT7087KXOsUJU74UVE4vfJMGrtV0w7mZtIT7UJCrapjAZRo
6xeU/pQlIgEx1G/bCeyzPT+AETd4TgRFtPv3Z43/bQP9b1PCfz63/N8oQzL+SwXSsf78myTYUG//
PRXY1h+U+JEuop0U4neD5/dUIMQfIEKZz02GOrHGSuf/z9a69weCWdMgJUPp4f/a+jHlHzSRGL2e
TgvIQ9f770wFRDhbf58L1BzgGLZkUFo6IkrVxf/rQwVifi30EIQK+UNy60PeMUlbegtllTwjr6fi
goFP+jQKMVi/hnzSg6ya51yO5hPqFSKEGoP1nizxvZrHuWp+0ipeFW0KYM6VwYWmfYFILtBXJjPJ
BqYSMJ00Y6M/WFC9quaEMpBBnU+XmO3pTQ9KyLOVecIpd+tKx7+rk3GDJZs4l7nHdBEMT63dX2Nr
gncrJgAhIctLw38taOtSKssfmyLGqMfmD4lziAbG6h5Nr2/YFwD0m0piMOYouYY681OeRVApoNiA
/foIcMaBw8+dazd/xr4cS5gtOAKIbvVPzbjtfR0aF9EZxPygUz0NpGz0AwBGqmLh5c8Xz81oc7sm
HSO+bxD9shGmk+6EEZ9AKFPsbEo876VlbanJmVYTI95hGSo13Csa/nmrM1HxVCPgkghr02TZWwy8
9gn5155Fe72GZBceUYAejSYkKqEXivWaHJqwvfRFVNw1ydHluyccdDbcHLhttkpY06a02GZYWGRo
DBczfLAKyLjRSKocZno8uEN+1ZosJ5Xn7JVheJ2qYjy3dKnoCv5AWmTvU2yZV5Y8IemOSUPQcwHN
FaNKw/ECHu9c3N5lpt81VjnvHTc14Eg7X/E0l1eAHS8T4RePCWvAfEwDqh4AnazCGK+sXeXBmKZv
fR3KR018J2YbZOysPUyDnr4EA/GO3uivcA2V+wLmytYzUePG7WSe2np217EJlI27/MFXbpF8UBlf
QWFsU/oyp3DUsDqDidr4zXejtj7bYfhIrANS/f7ISQ0ftbYvznXlPYI36g6I4C96RpZrpdc8QuD5
1H76sw0LNqUVyBAZml92M0lCPeabbgfZN4N3ke8D+qA18sNUzlR4g/AIq/LMr4eJ7l2JAEc3EqK/
MCrvNhp6fxAloOKZ2BIkMOxfowY0TP/S0t+hJbCn7GGSP8cuIgIwJYyHug/lfuiCYwlHEblvVoH+
LC6jWTWHlprwDn3sG3HeqxHSNlvY/GDjJr6bPJpSsYi/8Xil7ogiMOqwD3oUF5OF7p4SENj1RffA
0CgmMzi2fXXri9g+F1Njn4N+OreGVR8gB3VYCPUX2GH5NglFq/xk1lr2FXI/uUvaisjHMHzz57g7
ud20o0vp0KWzgceki+hwk3f2vBrrDtRjNT/4xHDWDrFN7MAveo9o2Dfnfm+6OLvSAPPpWD1DIEt2
AcCLxg3zs6ARnHQ+cVKjF40nT4dlClOW4MPCiY+9sRFT89Ab1CmNwfLW8VB+q9vunE/m97wL5IE+
GNCFFMs4ZgmkxvU8IXdRWxc8SDS/RXdaXvJQ/EpaIv9ULoJtG99MCyuD20p8b030CeOYsDCjZnQY
luBvmTvkg90l6QdipTqBjjtmyhxC8nM6wCYrPELrSYvQNbd6RFOy+lGk+XyL53G+EfwMmiEx/TWW
ZQDla8/bWfjeDgaCvFXt98S+OlA9Qbvz6PZySG5NgVJoasgX14sm401QBTddNfxySI1fy8ZHV6KZ
MNUrD/5naezJMsBNCmkq7vNdBPJmxVr0YGpzfa+1lbWbewJGk8jfpVXhIZfklMdj+kCrlH5EkL0y
CZkP7FuPM+Gyosiyu24xXysJVIR/mfpgm5FjT2Zd3YCwySgesc4iZxpejXYHvKYiAuGZcpn9HMek
8A1GSQqYR6lsHC6A68drI832UrWC4nLz6EdzdawXkQqqRxZSebhryPg7tVmx7gBUHivErMCbzMfw
Se+rp4Hw75MZEcaEIf5FulP2WJbNp94G1ivHC0MhYrUphlPpANEhAgjKAOycXRp7qEVFY8OUFdlp
yidSOyM/gtJW6o8oT/XHNO8v8ZB/ZoZZHKyxnB5QZZmVGZwpDhKVoL4yy1pl/0mif43Euri0dS/L
V05fQqArYd+Yw6eoC23na13DJtJM4ss0jR+gXSdE+AUMD2ILynW4TiNr3KIUre+COKWJMPT9Okk7
/eplQkeACl7OJyEDFom7aaPJbVdMJsnK5oPRQwu0A9Z0Zy0PdUDGPZr9J9lV8qriaA/ozb6m1jGu
wbnRrXmgBVCnVx7M6bWf/PQYjgz6TuvP81wM0CrA7de9c2wb/2FoZLABVXA3gymr9KDat6n0L13T
/+NlnFP/snwvad1mC5dW0LTR5DYGJrVqdHD3fuLvcg3siempHOWJfbUWvxJCDsCpp/UT9ikWYARz
NwoJGCofQGCIbWGOxgnMofp5tFfg5a1to3gVho9Wiu2HcwlA/tFt0yC61RImzUhMTFIH2VEP6/5q
m+V7j96fnGH6ZMDUBUWeSdvT8uhuTTNdHfye107656gZmks8fZV+bxwLCwmtnsYxU7EWQBZJn2CC
75zcz67QY8atzj23prNA3cXuewyUYqSF9OJG83xnGHV/X/HE0QPvPsR2uyL3vrpieT4FUyr2mTfq
lFaa9jigc1i5w8myZ3FrpPhmMPfC6jGM4yxRU+On4jk2WlBbkIRtMV27B7LTAa56UXEzXe2Qh1r9
HfjKgPRGPsbJkBwEDIuaCJX9OFmPdlEMBzzTQJ8seEc4wqNrK6qf0J60T6fvnwksDH4U9BiH6Soi
u3pvu4xx7VfmPhMTPBc52sgDSUuUqISOqqQ9TdMj7Qs8LmZXcTqT+WZZlNfHBk7MKAMb93lj/rAM
Cnl+9MFjFbZnlR1Hn9pdFlpvMWuiJ1+mdwqoQcMsenMcrr4zpdOzmMRPI5yYkQbz19z1UDkVwxNK
my/Cg1My70bKzz+OP9gxU1zNF5GM3uyB/zma5R48nUwhysIHb3J84uSoLOZ3Zd38IuuljqeN6baC
ABlMnpaVP1YiiA/TOFCFL+ur708h7BYvPTRl4qyH8sUKkR/4jdzB3pmejFrwPBbpvLf7wmWWCmDZ
88gDE9fd/DjHs1Oa6dHIkfSBG9yHQ/QYcKdTtPOXDarYk+6wreIaJXZMzlOfju96R4l+GuPpu5DF
rsYDjnuuqNasGsKfo1O9eQzRlKDEnoLbmqHtPxhjv0nSukIn3ncPIMSQcmRG/px5mFDYiiIfhSp8
almFR5M4p5Md/OikpBEQGr+c2n4QeFE+KMg6a+EM/UkY8ztbaPioNA+Pk557aOu1ZBvmhf7Se+Bq
Ad4nP2vrRRNNhRCGbDM8MC9tZ7fvM3Pxuhz74t6QccxaIXOOGY3+68wH25qKnWe3cjtQ0r3wMKqP
Q2GKI9ET6SVI2Pf3FksEaun13SSBFdRV5D5GLjahGdk7G/8GVEBax5+C1Oy6tIZVZ1bTkyCms2gA
/+NCvHhODE8sk/YRhOHwHWHPd02GDm5sT2wIHULQQxD6C9XBdAMXWz4I1FFseYr55tgJXE26/uRE
lI+pRkUEonZ5DIJquFQs3vdNAnoVfkXNAJT94zwURH3P5IiUbjgBcZUURwIEbQ1Ew3dELyTzBq3x
TQr5EYuu+G4HJKARmPArZd/iTTsMGxayeOu1AMxE/IZ7tJMZCuqYdhvLFcYv14qI5nTyDaJ5/0q4
87MDCPkzbCGqS+S6bFeolExR2b3BYIjWhESnlyiZqA0XBclDnT8+VeR7ArnSnYfWcwoAPAVtmyBK
d0TGGTeglwPEWuVypwxytdHdHiotJilKZwMxW8SZWqGdn7C+60cYVe3ZmKDphRkYsjBFktpMzW50
2m2JbIRyt4ahakj7jdM40zqfUZlmUTGi13JJi2i7aheXZE7Psk03wCReWRuyILaeDd/PDz1hoBf4
F6giBowUfpf7lwhOyThnVCnMFiHQ7Hb9Povjn8wu+WbyIGykeTQe9aj4OaSGXLugIsCJVv4a5Qk5
TTizWMVkd71roPCNobzW+LI3GCW24xRa+7azyJfyvPYmg4Cef9K1hKvF6d7u8u8eH2cX+JW1Lmty
Mvzc8bbF6IxrA55UZcqHjILVbBf3A+KBdRAFkKNlk/I9J0eKoV8gRFYbABrV0TTFt5qmwsE1tSdg
s/Ly5wu7zWnXjIQS/Pm9BqAY/u6m31btKC7s3P7x4qivKPwiKMh0c1dWgX7R74fAty6Feufy1fLi
mDk/4zTDhXqU7QTV1mxqHCAueolNplfWZXmp3GrdarN/suPqKeJYN0NpvhUycDrWP5Z5af71YhMv
dayFPM0Uoy6Ir5HNBwOR8TrNVV2zjr3uUfryXLCapmXdlpcw9V4Jq9npJar1yinxS6qXgGLdrjcE
4Wp5Up9hrZxt2NKHtormiwlH8lKj9VTQnGybRRnhFM4dXicm/TkAIBcsr8MM474siQ41kWRc8lZm
p0awBy3s4mQyAE9sXknwbFymbbrYl1xvj24aug/EazyQGdzfz1FGUjfJzst/hX013Ns5K3ybHvJu
+Z7vqHyrmGuP8sm7MbWVtyI8ln5K0qCbVP7NU9/n8hMbmCYsikmFnwJhXyuSqq/6UNPLtXPhHFGH
AwasL1IvwrucXdoLGs0TANvpnuJJ9gLs6TOcDOe6/Btc4nllGLI5L/8IcUxfSzbWhGEUmmouop1x
A/0uVf4CIeerHZnz3fJC0gZ77brY6IiJeNirt9EanrdpQnOpcT7qWu/uhljr7pavcB/tGrKiiWai
+MNKcIjBl1KbCQzb3Lcidx900I9E2hgv1jR6Z49xbmpteTO0jpT00IiP41DmJ6eYQfsSovYa5r44
uD02Nr0jCLHK9admrIyNZWTmDdlUdywlmVVzmaX3uWWQVcpy5R1C+oPTy+GXjjaBqpj+XWsLNLO1
Gzw3aQQSL7fri5l53TlhhloHQ/1UUHv90Lw70MSS8cfGC/44AHXTwBceF3JXTSrku/iBIi5sGX5B
38p1bvfxtvRym2VFsvct5PWa6VS7ZJp+APduSKIuxjtgeT95aNTrbghQQE9jeP79UjmDvUbAH55L
ufLrTJ6aIe12FcPc6XolQcob5KjmWk+m+Db2Pxq4FtfWts2DOXpYcCWZIEUdQFIld77myl+6UcCo
ScvT5BTwGUVsPmPhQD/Fu0aiPvctXFgHZdTaceYT6cja3iC70U7S8OgFzB7edPaMYbh2rpXekoLm
dFfrd4UG31szWS/bFYUamtBRgqdkJmmN8/6Qych8SFyTBC2/607L937/Q5Weg9ZrOOj83a41QpPF
cJx1q+ZPQuToyUI3820j6ifYC5c4IaGh8cg5HF2yZQEr72SG9DdsYcDRZSyH2frK5vbVznykY9QD
G3NHYtkxJPWqCWZvZVYWC4q82FFghGwcIGDoDf0kiLYyKF8cyb0d/MdMoBghZuOxBNncMi/T+S/A
8MEmY9465xjWWB2Rd1DkgtSL+Gc9xO9NTERiSQZgZbCCcbOb47gEUBY+cWgJwrci/iqNOF/DeoJB
ya0gasipsoxeCb+Ndlqt4y3OkQ0LaRMGYwXjHrU+OKLa3os0Ts6zn918nXVU+KORsb+ipPgTEzGT
Pxu5FcVXOuHGgazbD4fIN5dRvIpzWILSeB+7wN7kwWSta9lHq5Iq5y61ko7qXXPV8u6XUbbscHqx
61AVr+IQ6l+ZNR+5HR5GNMKO79383PogEeoqq6mnz3+XkibmkTH5w2rcG4aRjd1PzpcdAPAyiOSh
ld8eST//CkNHO1L3DSKdaCvUMRbpKufCy4s1C0jy5lkAbeayiEG5cQMgP3mDUp/RCo9+wst78qgQ
fsYzVqfKwXWZiI6rzgNhxn5556WEv5Wi6zf2IKvbxN5t0nnOjDqxpFhz0WgmRMSlrTD2tVbEZ6Q9
xl5mRsTsXhhn6N4xyRMUXdtwhuRlG9u5qm/AZ5oT/l0qmY5GycfVAKG/EruBQ4k952oeZkxG05eB
yYhNsQkVZt57dZCsTZ8MB3ucNkBUN3qmalzuMRnJmMQ+iyEsRwfP1AX8OJTKeFncYfgMQj94wu5D
pFF3sQiUv3nwsfKZctHs382ZyO7M8r5KUrpBDaoj4Xyy1/2mZ9a+a5w3ykNvg9SoZ5BMm6cPidUd
R1v7sCXVU7/wyI0JeNIVMGVh2YWZ8x0gDH7JMbwgLbg6vXGpA/uj7nvtqoUWT7dpW+WA8Mue2Nak
/w7fhvkRyJo0iFpOrYueBp9ygEAokNJCB0aEhCEd4ioBAjVbMbfPaAjZr20GeEZ221CJe/I8+hUa
9Q/sEiVHwpMmFcF3Cm4dZguGobEpMkg5E/LZ2ORIEhz9GEyBCX1m5Czj3WT6sXyCtbr2UMdQbhDK
aas2b8+WBQ4zZzg5w/huZ9CZqehcie4FqTATXZ+3RYTYdnqyvO41idJ1PfUfeA1ZCQSoGXGjtuI1
Es0NmRpqiaD+cgtklz7Z8r1j7LiDihGOdqTx+IUHGCFtCR7NwXws2HxuapFhavPbF5B4tBKJrPX8
fVGZT1D1f+kWCCFm+VDGqPV5OAVObB8Hq7hqJjfPHOCR6opPBgOVv12sUZp0PGh47kk4VGE16D0T
Bem4I+20nOjsNZ2PrnW6WYLoW8pzxMZn9TfLsx4phEWFuKH4OGNyCKjcfnS6+ciuinyHyH4t5xFX
WYG5mjow8jtiErOIMInGiC9yCM9O7sx73WPuS6zhf7J1HsuN61gYfiJWMYetcpYsyZbtDcuROQDM
fPr56HtrZjMblaXutt0SCRz8EWtj6XzFnvNkCT9BNBFsoAy0ZR9QkhJFj8Zq3xujfIuT/Jxm2aZS
e6KFh+pe+iablrlyAyLFB0RlejZ+tyNqyqb16VFOAu2pVhCpmUV58tMbkd4ttSE48+iOpIpD1X4b
tMq981TYAYHjrolsN7DGpVNsWnVWNcS+5DSJBlrB4uhz6fipHS45cd10ziNxhSQus1FMdgF1WGDR
L7LnnTLMD7UinlFFQk+UdzMJ+QkH5RKZ52aLQch+jZLRXoOPrQeGvyTq1UOWyV8QZGLPSApt/QZT
XSX6hVl1lCPYwd5ys6slpxRgtDhhWQOJWuFPKVBzkoU/zgrh3ZzVlJPhq0Y9V2IDEpj0ugzzcRzR
Rh1Rlwba4CTmHeoo2WZ0thgBkRue7z2opQvd3N5RC7MX2EeFL79cheC7pu4g0cduVZV0QlLATnwy
ry1IZyJb1yHtLrOGFXbAk5VPEf0XwDrlSKoqIU/Rg2uD2O8M4xK5ttHGD5G+xfhOYl9jX8KM0JUl
6bn+QelLsWitn6QLmgWozLKrkXS6ihYscQDNgAz1PDoiuS/nvd8Uc50o75IbiKjM7jcqSnIAu3hP
PsCx1po3Mc9UFyGvVb8qChsE6QNzRDLEsga0lIb6G8LfEm3jBmwpndtkZy0CEB2WKbRXhGE4C1wS
D28qEqyCn0Bp3oHjy6OFflVDZzSp9tYq78I8qulyN5RirYYDiEDqPwtomKKy72PkvVBWccIAgEqo
bV90x8ebhWNWS+J753tLW8cgZbSFIAczfhamXs8HDjESy+R8wkRT5yR68ZBkXHnkoJUcv0jK1NCK
ZUSOkymLVBPwYsWvvyN5fxt5nIvYsGWJfK1l+pwle1PQWhU25S0QWXYIMfjiMx7nNvnQK50swUHr
/T2qcXp6Q8woNJItJklQN271EAeDEPrVzyktUdRZXNEJXID6zjSBKy2O33LggkIMIPVmsSEi7ilK
kCeTaVK2/v44oi6HC2VQqUVz6XTzSx1j/EDRJdFA3qx+GuhQts+CEp2/2UM4IOEkLCBeWWZ3x9wH
FpoT5shuzGH91RirW066qgprUBj2SXQRLS6luo1bnHI2cBfy6GrKpJfNxvepvGoIDA+t5NMalW88
YXI1jrVYESu40hnkMf9w8NcofLBqc6vQ4ACZshd1dVR1DEihfgsK68lF/bBUrN8uw0RkK5yVvcT+
lKBqhmYwVsFexIQebNJwb+Tej0+QEG3EOvIt+1O19aOuCVqTOypn89xr5lkgHkWLPFYmdrr1rVtr
Wv2iCYMHFOZL0oGzETH1kfbqg95sIuoAlzmkUL4AB2yKihI5o072GZ1btHeEZ2sE7hhttNt/n2ug
1ueR8Lg59G8yN02agFhb3voJ6R3872Q61muxcnR0wPgR2EyNO9LyKozEZgKkPzqYjsmqhgbBhuVr
M43Js4jC10Rm587pDlHkLxxiBGutv3gIw2Z2TfF8UQVi7/aD4OwxckP/73nYlmLf6wR6ll157yy6
NBi6VtiTDfqkpuTx4tWpEmenqUGw0Hu0MWY+NPs4Lpt9Wzn/fuXYCDd5x3pkYlxb/mj65APxAOzS
Y8XGA9OTUZFl5NUxW8OalnSfmVIRu9jQxY52J7nrFAUoigwM0C6h7ZrK1XZ/X/095EQFMR/G9BBv
sqxBEkT++7yTxNvUtXElaV4PjIke0+RJFJT80JiC/cAXG5K0s/swmLvUgcdr2/A1aiAsgvxTGbOS
tlQtvGbdUaUKGVDXiu8jUm3KFMqIdYlyvqCytVUxtt1emxxeQpj+rCYu6Ch+6FhAGS+K4l20NYSh
oh5aP0mX6hBxqRGPmXoDFnRL3BTV+MVtQ9tFksK5BdEq1oAs46oYDgLId1NE334v0wuFvnRdIscA
r2rsdcMAW4bjUQ7FZKxunntpn33FfvjhKQjMV0h8Thrm8ODaOejaT6Clb0miPMnGZeSojj0poBQx
LTGpPkJV/roxxfd12+LWL+Ba2KqQHGK/sxV/2glXpRMtKDomodj+iLr2hJHtiE/no1WcZzNmWKyD
QzP5+WWFAT/lpjW6AL5OFhvTzb5YoOZ10f8SR0yTRDk485ZmwEybhiZDIaWzvyi9li9JHPe1+MnO
5L4Ow22f/Sihtcub6yizbV70yzjncJuq66gyyNp1H1noPMiCl+RHTerZMU3JTNCXGHReyIZjKrAu
hamg4gqx13Oqxy6S1D85sZucm9nmf43QBwPGhlQaz16pP/t1fBSOsgoj7wJN9ZVjMvODkO9UnkfD
3Zd6eAwL95H6VNA46De7coNk/TePRzn3uuxa+8ZSyWEf0tLANJD3X5Bsm6pAtYxOmjGTcALui1li
yUus9U9ERJz4EFGBVjX1QETsJm9+bV7aHHxCVI9aNZ6sLDgVQM3jRRTBjs/gSavJYzW7VVmEO2sk
CZ8d/rNgoG/78c3X9nYjboyc7kyQ7j7jHftN8IQGrv8iApHgvuXtqJrqRXHfOtdlXEaoYAQfEdnL
biwOlp3fqcJT77YSQdl5K9eAj6xpVwtsxq/qu1CUi+yYN5NMWVNPpc8z90Dmt7EC24S652QOkYVL
qKwf+OSOaqSNM1nzch6ky7AXO9RwL9VQn4v+raCkLMmrS9VTyNp2tM6o8RldCUnDNW+hz5VvpfJO
J/ZaF1xJAv0xMhGxGjNvQbPh4MD9yJb+CSPvZqaKLbMPhDPnVKya5ivxYEw7LHGsmAF6lG/NjC/I
WkiiNy6oBq5uPn7GNuJpy/5KG6hTSbFP2ewqDhEIXbNNg49DRXuL1yJeB4azykfu2Mhyl7mur02V
a9ruAZ3EE4GbF1s3f7xMwbpm3qsseit1UoWbcUOh4KtZk53hF/WDXpS9Y4qd4630dDwVfnV18vpI
1UEUuV+xwYqYIL+GBtMWTZV+R9lAp18WSDxA3irQ6ncsQk+6EvyUwCwzbegO1joJ619n8nTQebAP
uuY9Jy6fI3/9kQQFLR72Ckf1S1j2hzi2r72aPpqBAlAFyxagqaMOs3ww7+5U7W7W8fMUuypJiTBE
TqfJsOnTOwP/2nbkU0ofQZ9wqLf6T6LT1EF7qUX2W1GoPB/t9IM+WPKcqq2wk1fEfkzhCgolkWa3
tsYCaw5ejatgfKUwiPHN35cd+d3osIOFpWfKPAzfcByGiBC4YadXHUMqBMWt8MCT7FPBqxYDpiVj
Koly2V80ktnAdqjPBXEdjbifZ05ETxcVrq6KFzLOwoU2kghZdw2gDCNg4+Y5zpOOvYW2chItXkZb
GqQL5HOvjE6+6VNSVLOE2PowF566H2T/2WfWrfNtndkbYpcKAgq2d6YxRTCRHsAtrMxbO/HoViIE
j3ybbzaEfcwI4l3rhqUvFSwMRlW+YXA5pFWKCz3bEmm98Xx14STFs6avkki/jAPdx9S3CHbXSmcQ
rt3Nn2Wkxt3NrYjr+FB30abjHR573PfDLbHDg5b1yLhaXPLde0QGAeH4/OoJ2IZN8h21VtyGS9zS
fvIz9CDssVIdrFLZtRyvGtM4q1n0ohfVI+FH2lq37UnMwnm3Dm1v2zTm0R27a8dh1a5liZcbqRqT
3aqeQrotXUKC03CG4i1fOnH4qIrnJID1LAFwJ739VdY9p1cDTX+OeKNxMO/XFh4swzpGGreojTqe
xCwPuwfgXiUIKSwRbdkcfaUznDNpXUfHuvgUbwovXNU64gMvrN6dUdwrjQ4T42AVnA+aEAAFq+3X
6GlnV9wDl7B1eXFZ06xEviYVQVCtruzCTnsiHmzbtP0GXupkRd3RkfHBQQWEOvK9pB+ReEgO1nbJ
xQfOHbj2p6NHHkAHNZq5YV5MUW+xzkfYDaJb7bpvhfOSl9anWxHeU0JIIdvDK1btnFZ59pjGfF07
VSa6Gw66qyGlFbn4dpPqTCTBuR3qYEYEldC4AYuAQkIjOuYhW1qje9fAtl+aIbjnq9RPX7RqfCmm
S1iPZxTOanPSCgFpXT6F8HfosXN3epBN5jDepGf04TFAVfBkVdGeItp4ptEzSlAZ7Xwe9MYQYo1i
Q/IADrzIPWk2t9Ngez9O0t5xPs51SmKyCOuH0zO1AwVdoOhBDNcG60sZnryie8HCXHjOi5T0QeUR
41ZCGHhR3EVLLpBlv3QK4LBK4Y7vrUNrpHheXNqmveeO/Sp749p62S/38WGQv73tHrs6fR99TAV5
QzK6Rcw6JZSfil7u8Uv08Oj1hnhaGsPA7OZOm782bbseuDASNXtjWsLcn9Qa/YFgDkX9IpEzLi2L
zcVyDkXsbboe2bdJm4vfvlhGuSMhnT4C76CIvp85cXBLCF1SvIWUj6F3LsaEegaieons7spqRtuU
f3GGrp3VMXDBMCZbu4zhZvgE9Dy4xrX6qUbqPiHJnwpwipQIPkKukXKEOlBPD8WZzSyXBliNDPFF
u6EyNJ9n00Jl6tAkY7gJ4lOukYRiRerDVFISomjJQzCfzxtCAtDHKW++86L67odilCdUUVS9sIbT
wkcPGW1QnNTQfvVIIcVVGcMnRSlMghRASIKpsism+2D001cnrEjIkKRu1+mZKNDvv4LJIUHD4ev9
PUSo5JLMw7xgQc6r9C7Lrpp5LSEajf+rjNZ3H06HwlG5DV6z6aLig9TDESRrylVIP/vU3vcjjXhF
HJaUMtcABKm77miaoLoD/A1P4q/RDve6pOeDlmSbpSC5dhkyBd0GAHOa72D6e1Wo0HxsOxivAk4r
+LQX9ViepsQ5gRuM1t/iI1IFGqTmmx4DLvIRXV2LuKVO4WUqblx7lD+OYH7GMM/vx1KTOL9Zw/1Y
quswq7/Gmq67MZFi1tdTZ4ViL8Ku/ILXm8vcRC+IBxK2jZ6BDr+UhIegbTdfa0b5mZOaP5N5mBMy
MTc6/hsa+R1z8MZlVSMRytp0rdE0U1iMZJqHNznMKJ+veGcQWLiUXFXCBYgkzjhnG7VGVgOX/+fo
T3gwA0Gc1kctG6+kfh2RY1/BohlqMYCJjDcFsgnPtwfO0NQ0DPpy1fnjJ3qr59CrdwbFOtCm89AT
xzh0IgIvYKlTdLeSaCaU+AQCuLPQco+t73zHI7henz1GtAO+TNIZZZjpDHQeEnyqS1QQMKmi/FVJ
v0C7+Ik6dRHY9Qde0g/6vp51+FqFkqSyZb+rEeBxxh+XCQUfs75PxUKvhDMr6wlJgK2xhp/alkw2
mf7iRLimslo9sLwveq+96x1iRyNhslUEjS7J3O8ruhmDs+2UuB0Vn1KpTl23TvqwIxpr4TlUlfgf
zqt74YR7YoSvQ+idgVzem7Uy6k+eINNWZN8ii77IrV+7urkfWnYbIn352exPQlK0q1UgRk6tvP4V
lUTlWfeExQ0D/JrpqCuLd7uHfgx98R7nHvyWMaPEBJ2Efwl7VoS6NDcybD8ahQAau60+2DKIz3yz
Ka9FGJQCH8RPHipbriLlp51qkLt+j5cNgVrZb8Jw3Fns461av+iZ9cIR6k7pPFEn47GprTs381Ph
PQ+p/t0Jdqw0rd8AYnqt+SAUA4mSD7wr/fHHZ93ic+TUy67F7SVZlKk1EDrkahQMu77irdcCkreo
A/liwt061hlE66tLoHsM1L2NS7I2w4yi6ffuohrOa5vCOvll+zaOwcpU2yc/4B1DbAGIqi4NjUAb
chifB9V8T6E9cPVcFGX8qmX6LEbt3pBFzMRzE9MyQb0bjEDB0OeVz97o3WRKu1tid88u1FRc9RRw
ArLOZZq/x2KNkCeYKVn/XhnhHlHboA+3vBY7g8g8KdrPkFO/YbI2aVl7HmjnHCL97qT2kpqii81P
UEx0mXV1awkw5V3Lt0JLrhn8hBvuvZql0CvC97B3flOBZqaVN7eyTi0MhVFn54sUzn0Q8SvowWk0
5MKNTpC7Dz8rz6qTXypPPFvSXqhBsvcL5wP502/Msa8aghuSmrlNlfrMNoLPUSmee4YM1H4oISuG
6pqNYYEq69Ar7bue0juvae0uoTNO87VdFbYromeJtzAZINT2DV/kMVW73U/UGbc0RXSZLJto/Kim
K9mkzmOmS6gzpN2J534MejlM9oOXgg2YbJ1YDVZlml59wS1ZatQBjxTeDfpxWofHCrczMIeVJR+B
n+zwjeDOIWqhKAM+KkfbDI2/i10gxCDaKylNAAQKOSycnh2S0eV1M6+JWZYwt1oODH1Uy5ljWcOs
N9WZZtomuJgl51GSfSZSfVar4CtKSHoOLVIz9LH7zg0DYUPwhJ3oratxKAReqsxSS91mNehXxR0U
FbSdD1i1WrNaDqOL5kWvTskdre9rJh0A/rB79lV136aboGiQFLgHquG3Yhg3kW2fR2miWuuWYzAu
Wu+1UR9F1WCE9neZQEJs7UrLuAyWeqAAZ99HNW4HOobLeh9xyTTjoscP3EUOaaXOKrLlOgnCVeQO
WM8acqcE2Trua12lp1bJVmW28LKBQma05radX1XXOQdJ8+tJwaGB/Nuuuzl1hrCUKy2Jg3mbFhsF
3lWPMa35lE3OCntjOu3XIPJfKROU7D7H5fRbTWjfZeir5t5IKYXLVFZVDAA6fYN1BmrvpJdJge/1
sHmKxjTljWgUK6y2RYTLF+opnSOy7tzzaHZrMv7gDkv1W+TOOWWNVjIz58Oa9JgiXkpbvHdKRZhr
5rzgJdhrIUEcCHlh9tNoQzv7xkPmNnNjFOtVCxfcOguljwquHDKy/WILKfZmdwLPgXi3QgUTcPvQ
B+07adpnEpfQ+r5BFd4dRmj6V9daE++QlKw1uJoMvlwp83dHU76pLX6mjXJfhebCgnpCl34z6KBw
CbQedXeFnmvtdSq3JkVMYXQpTfvZRqoAjuDmCEbtZUzIJMaha5e7P2bj/VjXOtA+tDxd+U0pF0UX
P6wguhuWpU1Eu0uVKiJCS3mrLXYcUyanzO33ptW8F2hgO5WiLI+eipk0xD2GKPd87Rqb9Xc7jB9C
ap/4aBYENZKnZXf0FraEnZv6dqhwTwRx99kIdZdl5BxJ7aHl6g/qccJX/OSCqYZ5H85as5232myQ
RU+l6oCpufU2mN6vBcnm4IjHXuSPAolLJa7qt2G1DZgH/XWucA/JlPJIqgnNICWS9Z6yHTOiPFpn
Qk9Ecyore2171S9G+Hsy+LfRRppmyV1vtL+AYROAFF8VonnsJL5qTW1DEnH40vIBzLBYI0zcDo75
7BoTS9z95lry20EFqfLRqziwQrc7WrqHOaO4oem/FUq9rf/5FhzqyplueC+INZsazBI+ZQY8e6HC
9mYqLbOL9Zqr4VXFuTFjSSCPDBdU2x2wa74mXfbT5COzmkH2Byp2hDhEvrstPslsZJBoaSUzAtRF
vcIcxQu9En03qOtmY1t+1NPvGkCi/L0aQ+Y6+oX4lGLhcTRXlVTMWEIXiSEfKUKBOasR6lp1GifR
QpqM6lOWQAMzRDfr8G7XygLZMJ9ugFLLGWxK1ybo1I6AfDR4JmFweVWGgq4wSZbkZAYbpxhecND4
hJaMEApvWtBWu/JXBFXwRBYW4TqI8fT81pA2tDKYvS2Lbuckdt1LSLhCUmU/Qye0a53JtV60IN+M
/QgJXdoY20plHQ5fHbWij1gG6o6cKyJNQ+UUdABYsZOhO1PFeTARnyheny/GVDW2ZtEB2DYm0c5+
tuYiIb80AxoeXfPRy2RnTNmg5KRAgDndW65/6FmKJFslfwgS8Uzx6alPJ122aT6bkBlwEzpod5Y/
MsddAsR9cRsHUMr+NhDW1kqoCJay+mySV1PoG9MEck1MJd9g0Dk6PRCQU/sfwusPtPrNynw4p1q6
lYN1Dftq7zVYPZBJMGFv/cRNkHS4bDktqgMbsLpun6RjvqtISczeg250nGaplRCrKZ1fvDbywyK9
3yrye+ypV65lQwyVdiQ948UTEc3SyGSfnRKeitQna2llymvP9bbWu2lLKrRNY+VXmSh3BbzTsTu6
EZX0rTbkTQ3H3ygsyF8KMwT+wbYa0RKF+i4bzKMMneemN96twNxABC2D1n/rEvnp5MUbTQVnlRDF
XMyl6oCUg47QLWqdUjkSlIAsdU5Z0HLQTXh2Wk23Lc3GOchvOAxMXnlTQCOMy9L2HrHJtqwoBCqh
CsBoFZyl7rxZSXKoRH2Tiv+V2QSTl9YmsTV3PfghGimY77Ln6DEhyHPBbdVmyUvKZGaQe6ZZWgmw
DxMXl5LbxBiaYxBdqZasn8ba4zdK3Vf3Jof4p7ELXNQ69jqD2jtOOsmiHWh5ZWf57bSai17bxFHw
+PsrNnYJ0F/WZ1egKfFHbV51XAoxrXRRZt2htqrKAyFKyNQ0WlKXyJqkeFrjhhPeF/BFMRPIF5FA
kEDRoYLfKeXfr7sxvexhEBY1kzbsaOEDhBE7p8Tuu1K2jJfF2aNVFDVYTzf3AMifOayRqmiUTQV4
bwxqcXAj+e+DNj0tNAvafMQn4mvcep6xSDMwCas8yAZRbNFn1arlmHPILYQ9QaPGC7RvyfHvgaEv
mAOmeesRuvAMFnPSid5q5hW50RGMTtOG3QZjDUoN0MZ1Mrohqb0oeRNNaJhEC6KoWHEXf6+JkFa2
2jpwonyRLm730g7bnS4lmfvc7PvRtNsNycr/PPt76e9Bnf7G//7a32tEI/vk3qvawo19Zf/3YBUR
kZZxwrn3v6+B/waTESk4/L/XsJjEc5mRsE9/l7Wvggax05Ai45mcfFoLHAfnw5/8/bHQOmtP6mu0
UAzFJS2jqsg+DCXJoRFZQkNUnf4e4Md7bVblJOpIoxXLDpvwuk5B/FoOEqC1ic78qufW3jS6+dAj
EEa+v2XQQyM/Pajm1C6qIpeanikVuYBJGxGZPD012Imbll8vbqKw4/RH/lqGRRjMZgyODkjssUvE
v18101d/T/3MNRfeiKw8RH4ZrBuYFdxTpkFSIU53wMjpedC2ZBkWaO4y3O+xXri7xhouwnAm3YxS
m8vKYUP+53lJD7aGby0N8JZqo0oguKXzA2gc5rky4pUnFZwZ1HYn6sllYuPYv4+nhwwOcGtIZw4y
1sgVzj0Fp1IGIWJGWrCITK3dxm62dHPN598N5clJ1OYQ8ftd9RGiTDias/3nqZTlid7y/eRuSylx
O0nbdy52PzrgXotOg7GJp8xRqzJIjda76pz2bU0LvDFAQqfV+e+h94NxZ6r5sSg9eeiQe6zL3Hlv
3RQTVmiO8vDPl55trEwnCPZD6UWneuxuDCwpjiSe/b0UR+O/X3lufSike66lLtdxLIzzgHbm/PdV
JQT6JB1LsQAi09LU2UeacFZhk3arkIyEh7AAoBBHV8d4ejq0y8yS0aOOVHliGJoyp3g579Vk7WX0
q9dtrpDv139Rwko9gNKSz5442d1s6X1hu0fGNj1VUrvEO4QwInH7jdnY+XPUKOZNj76AeTjsGXX+
7LhvcNjO7e+PEUZvOjPP8AlTQ9oZlbZiZlZLZfiQOmSoqopx55Mcdmu8kjesHj9QDpoMj5p+djkl
Hk0jnipq3PEjD/GcTEWWfTQmp7Z0yL7wQnNrxyM0m+xYgX0v2I9pDiEK3tHGLJQutYVbh2boG6CZ
ujVwR806I7Ruw/Rgo6pX+vw26iG6X8CcxKR7GodKQBRzaB/iKkMS73J4/3uq63I6uvIHBBUHCDuS
aGWVchKBBr9aWGTbv2cGMbCrwML02RQIhlPMiVB3YbHs0/Hqmm6xDR032xuhRFqYkTHpj95GC5p7
UOn1yWCYO2lVHq0aqSnQSHKJSdzYOjkaNScwIrQiPovJwLkqy8t0aRup5gH7Fg4Vjoq98+kSJcXe
OFaZ1mw1Rxbo+ar8dPn7MqJT4vT3FX7n5tgbZ3Q+waacgD8So0qxzLRi1SSKOKp1Ly8OloHFkOCR
BdSaGVPBMardbEPMZoLsmKecfI8u//42gH3tWmKX6ER05zj2ig9CWif1sU1OuoPapiq1O9OIsYpy
d5xxG7K4maisk7Eb3hMVEgQE5Dq6nXX4e52ixWEWEmmwC+ygeoqymhsr96EwNPmUDC6kk9FBzJSp
wSdNAJqa+qsq04+drzq7CD7zEtGCcYR0WMQZg2qU6OCS5J4dVMXBGGKl5ZIcOQKWAkvdpVlVbFgA
VlWQEH1oMnr9PdQoaPc2vcX1SB6DzWR1tPsjTbzD4e8JvfWS5VPAkcosXg3Tt/77/lYw6nvP+Mwt
k8Drv5c6kAcmS58jbaLtPKPvzmXtQy+amJp1GJLBGcDwSve3Ze8k282bZ8QapKqbcKZt31KfblYT
mJKIPp1IrkBoa5PKVeT4RAyyF2R9kG0M5GEk2/dc+t4HDusPYaI8RJhJr4v6g8Mim6V9H8ziovz6
8rBGzGgzZDk2XcjAkOrsobh2PfEMQ3SswvI3yHTUib35Bi05SwJsyeLH7vx3vX9Kej7KDHyHGmiy
ThM2eqIpHk0G75Um+XZMUkai2HzpGadQ+HwOGWArjThnXZlmIHY1qVIb3lTJBR/jJXcAtkaag326
uLMatfxgsJqpQf6d6tnVo6Xb7CCvh/buRlrO6Uw8a779XYpdJv2fjJnZyfJ3Noj3ARFrQfOE7X0o
SNtmg+dc/HZreADqan/IKdKyKpTmWf+MluTRNc5bpPrH1BYriwDzJDpqsXcdq+ipTcWKDRrSR6hf
Hl3RrnZhVbUT1lKZk7RMze3FVv2b8I4tnFkJ4YaCPVs4uVuA7CQ3DCALtOObOuF4aoWg2k58UydU
o08I1gnG+DUd/JWog087A9lKO4Ytg4wCl6i3ORWPEAEk/VCJ+l5aIUFd5d5Mhkeck1Nmxv41qOur
FyuLppCrtJAfrmbuOrtY1SrpgnXxUMT4pjcU20ZVf7dUb1243oJl4SxN7kzpdDfOMufWyu5eRimS
UePjGpeFka0gbc7uuDNqufGynLNxhVTXP0YwAVauLB2ZE07ZXkyNqIUx3gNOnXC2LwigXhLBSXjk
c2G8Duk6FQZFnXKvlf4TabTIDuKXTg/3A59sB79dh4TlZS5rEhKTQtNewjA4j6l289HZIPNLnws7
PEdNDlpB9mDRQVxHiFqJ3vZ+esYtGpgu6pD/CMA/lolDUGfYGUG38nwRNyMh9uPwQVoQaa9BvbA6
TBdlcg/ieOs1LXGhHmCDupRIDRSlvlRVRWIsvhYHJsEzgMwTg6phR+2ORRzLbWYGp8gj8blu9feC
3X9WtJY7a9FpF6Tsp2ewVLgXfBaj/q52XChqgiSPC/G7xtSQjPWKuKRhlnH9zBKHFo8Oxi8gq1sF
faobQmuHylubXbDq8/K9EFHPzuU+Ar+6oPQ9l3b/MIfxzkklLd1zLtNv3dOuwmo+nQxbF74HO2Zw
LK3hN/BJbuuLsxLIU0oZZfMyyHYbNeUp6oZn6jqi2Tg8aCV/ry3armKukpSzkWp1T2bWcY7s2hWX
wpZ97iewy3HuKe+6o+0tjfNhjINiYagkgNTts2E1Btw2evfYChfYNItFEHPeKdFGa8DqoMRAZVpg
Ias92RaqvkBQsgGBdY8bgv88VEJkeeDqCfGutC1Yn07xpNroz7kKFugIfeF4IOl+Xh3ZXmnPldpO
xz2xLgk7mXd+edBUWJQrXUi8pQJezUyPlaFdE4bslpj5vIf5shWuqZhguoHlbdblLG8pc00TBE9Y
eX+pk/p2Y0yGEKSRRCoWK+U36K5+DHB2uJI+pwHir83FQXG7m8Rfh/UymlqXnNwyFpA3BxMAaeNo
4qEMtJdr7D9QTHWD/AzgVsnnpsUq3NTUarVhwq0hn8sxvSVUM69KzguYbcJuUegMrCrkBD7v5ta6
K+jdaC3caoCvrpYC88ZIRRdxmtu0Tr5E5hBJ2JtAtNYtxJ266zng+b7SLaJKvBtp/LCtVZ67r5Ga
ovWJd2kf/qRE0848HbB5QkAkI0tEroSvfI2c/9k4wek7E74l05JlZmcHFUQnS1x/Vb+6rv5WVeJH
72xz2SAcc0YquVII21k86vy3TbmRUfbZ9dql1OWb07O/0651NIP6zZG1pJuG1M04gfxw+pVhIYCP
OuKWQ9nTRl9HpyLNGqqFPTGHDZ01uXEb8E0TyIjq3f0g2xkdez1086TzDjmydMxyG2ojCNnxIIr/
sAG1q6jKUg//4ei8mlpH1ij6i1SlHF5tOdtgTDDwogIOKMdWS2r9+lmap7lz6wxwjNT9hb3XJpFi
gWVmNp9tT3TijFxSLeLLsA8wEAQBR1o9Oz7CTaanJYUXa1N0v6XDTUZ7GjUK44eGmS0q8nVpgSqA
iMObwLkwGrXYEBQpPZ9fcaVZm7xHm1aRwcyLcfLAK1lB8YUMLkFhaN2yzAbLNnsXyPjLkKt/UdCp
sUfyvVrnjs9rZXkt7KEAjWFWGV++FrBrzD9Kj3OvxwSdzOrw/790KZk4ObcK2iiEfMx9Sp0bpPTz
zzEqjiIrTnbKccBIrl8181DA3kCSVBfemlXZPm3FB1LJpGb9KV2tDeOqeBe+WpMQ9uvqvCei+FYB
0jDII7fWA6mZL19/lsmRpTMTS2MXLZ6lySfqOMGSsjLk/AHAmLSk3wnUTFnj9nbkadJYN86d5jIt
Gndg5M4giVCZlSglNRvRYaRNt6gZD3Sn7oFvD1sHfWdnT68+RjOUgNckG4PjkPXTvpb6Pu/y/CiZ
BzVpq11H7lDikOwH3813BTxqzUm774JZduQiGC/M6I4ZkOPSG0FqaLiiJKubZ98iOMFIpQkFuluz
d6o3PHLFFn+WOhdT/9NKwv/GQbc3RoqwOzXK7pwXvC1MflEL2Nm75hjs3ht/O+nsfGbMDSA75mEf
+WJ6jIxfw5IzDxNrCS3Q3nJoHCcRDY95qldnux81KB0Kc3kesXJGYptAOlznrKZYIkfuo+Zs++gh
0zuFI1fuVeKScY2TwZoi4FAuJtwgq6BMqcBFEeEW+9or/lW588SuCc5tURRhI6J3kXh4sbxm3DUa
lHuzE+xbun0uJyTQTr2sMDGAZX+YmfiyWkYYiojsnTvj90gC8o9SmxwBCNTtWmU60/MZwF2vcAUp
a/hIG4zyDCmKN8hAq2p5zZZwdOutaWSxS0fMTtOkOEPAXq0mr1wK1QRjh5fvEWvroZK6F5ZDu44t
lvVNUiFWoXpEp/FVmkq/GeAQ5+yumTUfUVZfRaZ/FjPBXCmSjcKq57CbxBE15Yr7hB0NrT+W8Ork
Qb8ylJwP7ZINVSuIzk1dB6gquDIkae5sIO7pmEvaORFfHbXRMQ4pth17+F7xLsAnB+u9xsz/aFAk
s/QqVNjq6r1r8RBZ4jvVpfPkLiKqZooLmlxqmcIjLUZhfWBXrBh1jM4xwmQYxlRunvY6CoujoUFM
nNawFQZ6GjQc1nkYe/+G2w/N3SV3TPkJbuixLLQ9G2DtI+jGYKM7lIQzkRIeOY9HwK/YZwipaIzg
xw7GeQ31Y+t2UwkmqP/lClnHZnxJoBmuAiJT13PZWevJJo2jGSnLW7/cmyZxOSZDISf+jGcZhTrQ
b+y70Zmz/honmnVyaUFCIk2mMFLql/zFz8KU8hQFxsW0HSMEREtBFrndc9zZqIakvU7sJUkBfOwc
D/9SPX6eAHgFI4FePmJ8bGti443puDUUugLSzoJMFMe0c/ZT3e6tFlGGmPjcMfUw232NrDrZwIXO
drmXvVdCfx9E5ENmHzldMucWW8CmGI699A513iD9ZM3UkRQ2f/jtC3faYkvhU3UIR5m8gxe047Ec
4m8pUn09kq2GcKP0vgk6OrWD3Kd68oeZ/whKAbq60pl5FwS4dzA43YjrzQm84snWx+yxTMoFFv/R
ylm/zYCfAuQjQ/BjdVz5Y5UjQnefettNnlFZ2YaB468Xr44IToktPlNBLCbuXjHa/GkOHo5cfDSi
IHoIEWERqhbfTIbd6Kyz/OMPE2hkX7uiRVju6QfkqMVaEOpBOmZ979RMMKlrgcZ2cR/Qz+PTuRPP
lOyDBKhgn3m8rs1JJ25jzaFfQQp6TqirH1oEVEWh/TO15Nl2tJ3Mmjun1S1JezMc4vKa9sODby2m
1cb5qWdG75boH4rqX9m2F+eTHzJmALCyTHMMnSC1ThofDs+lV2w0DO5h1nEVDyzBMPh4FRoH9A9r
Vo7JZhYUyUh5X1HGnQrT+0XnPmyqJZrH6yImKHECX7S27xGWbzZUb6UOLSafRr6eCTKmbrBh1W0y
rIO7zy3H/YsPflpw4i08illfWapNj2OfxgS/IIDKqd8iU9P2bC21W5Fz6eH42mWOa+6JROX9pViI
tXnazlhT6Ufc+jHBeLJ2LdKpLWxPCxF+4pRh5dxXJsiYFFNWjxzhYNntJxXevPb1ZjokVYHJpxyp
5a0Kp7Uf3SZV0jjZGWUGVKR3v2ZoZbBYlwA6dkRQU3EEpxnOjMyAQ+bNS15pA/a5B8fEwvSJz+hT
JOo0iia71lP2lxntd2v7OzlNZLGYqG/HgUXbqBkKhhfI6Dl97FkovIAH8Y9NQ9BnPL83hoRwFREN
NE+CxvurncG9MIS4IIl8j1zM9B2r7Ly8WDQNq2BkZlaBMunJBO51lpws+YE+6bBG4prLBA0XNFYB
dIRqIOlRzFvaqSS/bwfE6mbhXt100fQnyHvgtzmv9bl1wtzvHvpeA6SiNTdKTBYgWnKacv0HbQIi
rbhfiC4wdXDjippW9HMo4g9zLOnXwcatsKR50niMGDI5qf+vATNDz8CWMG6LcFBmu+2R9W6U0ci9
OY4OuyHx6TLW2nfOgS5F7ewiMt6HzNupeF/FbftBm+WttaaISHDQIkKAxFupZZCVaq+9asqsdpwb
vHoOBvrY/UsbP9t4DDBWg8/8Yiyp40g7CXYyEGByjGwJUaCbKdwXzqL9UNPnxJmH1U+kAKOcg8k4
ew2OqiBDbVbMjth5WUHuPOi+3NUS4TPXEue2pm9ns+EQdNMnutMRpVXHmK9+dIdAbfCZPRpdcU+5
+Q8uZ8B2RHK5kuxowI1lJmGKVrNlQ3OPa9Jl+3iwXpyJ/aFMejonUjlJQnRehDOpY527P5Oqx8Mo
+kstdlEVf6Qye4ob8eLgxM2sTZxN2dGx/I9kjt/xDGOQdTK+3di9+M4wLh7H1eiii/BbLHMCHSK5
6AQCFJIssmxst6mBchDHXojsH9O6AtKH85bmCUz4FuPYBXTLLrEMLSRs9LsINEIXnswKeJMZJV6o
FDqXxgcQ3OG+84W/6y23uYpKnNnfYIx3BhqHDvHBsqKPZtBoDPjaVb+UlkB6dZPkiWKc1bYxrIfW
wj7oJS+O8t+g3AfsEAQ3j77kEpAeou+aYJTrOueBjWeVb+aICqVbElacIMDo5i/BYe5PXEdv5Epe
8iXKoq5hGTi9t5WzAr4fupl3zRg7Yg3HlOZESwaN0/FaAXboUa6mkTw7GFT6iM5BFN5O00mVjwl0
2dgJOvzZzh8mgdsqD4z9vLgBOcXBtP5Ai3LAGaCLVFr51vN7jUxgAzZurdja1DpkSJQ5wOFFiRsU
viHTF/iA2tHMJrSzadvvVNG+oVZja2gEJX4DuLKGL3Gquv4h5VSlSaowG8xEZuX6rSwVjBG3zMKp
IqM4W64vx0uafRHRz+p9T3HUbSp9XAhtCvlSdYrI9boWvnnUF5tD3nH9OwGanEOMwA+H8cnRfeYE
baeYNRJRRBDGuQLFgUlbD33R0Gy6yZNfxiNR2nOxRogXwvGtzlVgFisW1RX9r/ch2yTsgoVTmiyx
IUZ6GspnDhGOghgeDtotXEmLPSfwGfkVxORxi/ggqrQMCG1v0Vk2ljzVCY0D83B8qfEVcdTeKn8w
VTdx0W3NXN92qr9WwmixJOaHvvJxF1dOCP07ZXnIjSfT7p4126wcUH4FtFdaAOyHzfLaHxlR561G
BJZAkS5m0w4ny+y2AzuuVeKxC7CcZm8EWr1VDG6ppiLULUM+n+SYH5LSZuThB+nZBJWQjFFoJWQb
pjHL41EaF4J9ngcv4Qd35/4D91MAtnAXizQJZ/nINRMcY83eE5SK8Pju59Wrnon7iE8AStZbEhsb
DHqvReGKtReBNqoG71jmdbPXGLX6Nm8alWHMKhf3Q1lt3RLmrM9/3MwW3V4EG8qJp2CbqtxgPGwZ
QIkUiB5XySsOo+yg6hI0reNAWMWzntfuRxXof01bsbdOB1qj5Q7xb4GTghDwOkkSX/qTzU+Cig0q
02dd2DSb9vjmWFka+i0ilWjySalqkp/JNu9l0dCv9gC3F25NFSZ4wla2FX/mtcJfbTTOVplpy8ML
u1QXCxynbw92ek9nMu4w8UnvmeRxd6NncLS6OvNABLqUW8z0hyqId5nfoAOIGBBkGOq5fSpjyzyP
hwj+DWGTjAo5L61C02+mPv7TssAE+hJbgDJYxtoRoYhperDVSNqSr+9Qdphsr8pXnhC4yoNwkWET
vFcTaRjyaOqDoV0C7IIP9dR4KIudk1t1N4x8mOt1mg9lnTsj+87cJVZJaO16gNbJmTJWYZfKmxfQ
oCdG6jz2nnjNG+R8Iv9UDsUrJrFzZX820dVI6w9Gq9XRKN1fzytBbLAKpPjleWyHDVtnUhS8NnT5
uPSZIGjfoOMo/IniYUS/h1zEKhmsFShwFoE7669We0Bha68wEBx8PUJnAeAiLKSAMxmRn1Wq6oHx
Ojqh3v2nx84DpgjjnDbGpVL4vomCjsLEurTjzDIE4cBW58HoxmUebj0LHYuLAOUXqFkQL3XsG2s8
GHL8HsfSPAocEFnchFU0KOTJhtrh0zNQFRpkRrowglyRGQgyHRFyCd5rt3wz3SreZHhkRnM6Ox3e
j2hcfsWRgj2lKAPRgwmLfswdvM/CafB2sCisvHzjG8WTptRl8AJ4Kfc2HhC+Rm2O995DdrEcO8+m
NCh2MkwvlpnuC9Geei3xDywK0QSi0PP9HcfAG6DDjdYhyBtkx3ufGDujZeBnA386+jz/TTpEm9id
romWf2Ijxfc1tt+R6ClDOBv2TZ695XEm+dk55dJgCmeoJZt4ErgWJ5xg6TRcpng4dJ7jhh8dQaAH
p3YqnDTosHWUn0bwhBbvpWolmNcc7XcTGlREIXLQckvtjrKHA3dyO6aPvPORPq9iCyImblXwd4Ya
9nPcnk3sFCtHcLOLxHU2rdde0OQQDIhzsnBYGuEhZ9sRIEBiFvpdakVwRuvzM1vpeWqdryalvSWh
twxNCUJGplOPTah4baJl2IM4kpktQJf8ZGBShsA1f3B0SBCVGsV52+wGxm1Gj+Smz/LFwji/Ifya
t+wiD2M7neNYWrs6gN0Fi2xPCfHQaTcMlS8DvotXq+lhOAc8fU5kvBWJptYNDxOjJpb9KHNqz7r0
bDUCIykPtvAYjsA/8QcvpuVyXmxUXej60O9xeuLgXVz2QdGfeHmZU6bJLzxHViJSg2RpZVvqy0c9
SbaKZTXvCpyUUaKG8fhYLM/cwgH3913nP83d9IEP83lmb0NPi2oeuo/mN9NDTXqkKYcxDEaG93Hu
/PV+fgvSXz/rvmaRDc9Rsx8ReIV2YywRkOLGnO4Dr9JJ5QzbJ187VPYDB9aw01h/UI2x60AIt4XG
O23+7wOwXdVB+6XBW9hCUDmljZc8amyCNcwwGDLstyZ2flGb0kma/l0Z2XaOwdZ0cDkOYnTsJ1Zd
NYOzH8RhEN0j9L4dqYzwQNVQ/zHEUMfEqiRVVZ1RFwBQHPvnybWbTTsAKXQmbQ7dFFJTZOFhsCtj
JKKzGzZJZ5cc6re+qOtNLzUCKx2cBDZcDI8xQey3x2Ser1nSaYfeOAcSVvLol8+1h46JJIyg9ePH
MY3w5rgeXGKMmmWGsFc62Zl44+jsCVxCrs0g1YLx5RCkgy/lPmmjdZiSxLikfIF1U09veeQEZ8zE
omEopKqoRt7ks7hpJw9Rl/ynvA4vDAqzSGa3IPFfGrg3q2mkMIkoTMuOQHEPI8U8WT91bO6KmSF2
3Zm7sbIfu5IjsaSJnOYypRqGSTTb4hhkxZ9bcBk7pFu2eOlGV741TESgE4R2LJCMJ5DielGDTYYS
vOpEcNFcfePOpse6aeaK1KPfyE7bWwEvD4T1u2vnxgb4KF4bDboUbEFQUJUHSD0LHomEwssuNhIY
x8bMkMZmNW2YEWUMRtgvrgO7Z0tSVmGkaUZo6u1GkuN7HqDe8JQYmxTQElpYjGJN/9BHGlV2D9Be
ahRt5VCFhsjeBqr9dUA4356HqsebPD/Xo0X7FLUz4jd5iyt5smrvDCPuyOLFDf2c5RYf2CoZS+6/
qr3TrC9jheAjNov9iOGeXubLKqdsA+uzhDfHrD4pv3yLMXjB0hWJ80BxlwJLjOCgDmjjWchxxq1F
TU2s+wCOEZf0Wy1irkPbLwCyOD9s8Fxhzid3nPdW0wS7wq3GdW1Dw6pilmOAx9/TNpC7/CcNgNRj
1nvpPdSBOInP5kB1NTN/0K09WC2DsrnBoWo7n0kJ+32ez0k+g5UHdyJGXLmzN52juD6AbE/2yprR
2Omw0Ee9W8pRgnhlfNY0oB+jYsFU4mxcS1Q6KfuKtQm9aZV5GMmSqeTt7hHIB/hKcanpGe06IkV8
hZmiVspyiQOyGnde0f1M8PWw/5LfQE4ALAP57OWAwvU6RmOdvPZm+5NAvAgrNz2y9iWibIRwwH5X
W81+scnHEcdyHwRkW9zrGHu241MpKdfSQxEHf90U30SZ3FtP+Jthri5dHby7kYjXMYNZ0Qh8ZCPP
nGHWxa5x8IlBQ81D2embQhUXxSR1jeKeGz9gqYqAdIRUu+taG9JdML7Vsvkg8qI95aZUm2DJJ9Uu
ZQGORlVNfmiH0l+j66GCrPlfkdnkr0Eunmz0xUh/uHmnhRmPGeyaIkzdzrTlzJoUioIyDrshbQ9M
xaNK25aGipaOh4Eq7Ln1YLQ/7M6XQ8OgfRfGMpGH6pHmx9jPjqR+SP6fq81Pta679GEcYBrkrAc9
p9/PMksuo/T+YpuYKc2z/9gLgBFKIpDEwQYvFT1VpxE6VzMegrbMUUn/02kwflrzPOv4UKzie1BL
zsNmGLQQis1js6w7UCQ/Y5d7mqbsMiTmATbG2gvKq1121LyoV43W/NKmbDtKf6kFXvoKH5i+tTnt
xEAA+jTui7J/1IQLvbtwQhs88JoN6b6ac1ZutMaxvBOXBevWOeo9f9Vc28riBSf5RkvsXQUOokTo
AKf0KBiuM606Zq7YE7ZwqPyY7FHeq5xI4fTc+fXLHPtXb/TuRZ29QRWkr5HHgox31UA/YVlIJgS1
s330/eihMNsn8PQnXTWHYRLfOU1hjzaNGvMHKqG9q/WOTFfmsiYWo+q8/LnlJ+zL5Cw8SP54anI9
/eehhEs80kAp3stVkH9Kl28k1HvbWC+AUdFwQImQlnqZcD0J5uwyp0Sp5jcnMF4InWxXqmp/yfbY
V4Z6RmH4pAfxK6kED8P8nlvt2TeqR6F9dFZwdt3yphfVn2Uax3EYeI2LtY7RK2K8zO44G5Or5qmT
2+CIs/UwQ12NDu9pmqN3UCs9TtpU5v9/isWCPHPEsfbdU4fJXc+3eQIf1exezAlmYZfu+VQuEf75
CvOEVt3RQ4QcKY/QqkEx3qDC7atuPNo46KMa45KF8zQYvnOvPSw/B8qmS4AFYiIfBJkaoP36XfQO
o7J2nxT1z0Q8suHXCKN6sBK49hTr3bm+lGV9MNjSo7J79GsGYC5W0Gokaza2nybf2gxGCo0cd7EO
626Mf4qEzto2157tnOLABRjBte/ww4rcycEsoEbQ9OYWlDtj5jfkBP2j5SJCzr3qqZzNM3K5xM2e
i1g7j7ZrhkFQMMbOrmXL8hoiy0OQFtfJNCEo4Us3FP6B5NimjLX5FSVLrO8gDYC743Nh4mptMvtl
QUKM1nTSfjkVTonrX0deKYwgOb1aAA8enFBj+fie/DEcqvGBi+bTm7Rj2VSXmdlWOicoYvqPubQe
Gv/K53LKE/fBqIKrMMefgWapmofTCGqhx1nkL9ZueXM7Br1OzMh3WLvIoCqbpySeUCWFLR1Uo8uD
NzWv5jBfba8/JE66FZg9kr451C+FVbyMsdjPtvEm7YNVNn/5UlYoa58xNGXlGQSslnLnkKBZEP5j
VE2XxFIgCOyHyCj1ZeO4pjRfchkhNi5zdBbiuH2ptFOlAVZopnXLHHtlVVHFCrJnGICKNDfhU+uH
NkPFOR+aOcKZUCTrVrABKKOCwMOPuWB2VgU5yZHjwCnJq3WYBmUclyLEqtOPvvmSckAf5iN0BvJC
La3/EMXx6aToU1iB5rm9CXRqz8TT93LxNpZRe3PqG4zmhzqbtnT7104rzqVT3mIUpH0WWlbGZjUe
bsBmnc7aNRKIsOlclGWwTvfuqW0eB3+4Tk71BNfiM0KChhplRRzHjp6U9GIUKSbj0iJjIm1jmmEP
RpwqnSMW7r0bU54s3873mg+M8lVgHbrZ2HmqviqtfbED67LIWvE2BIfGD1bgcJQPElAXP9J2nmNt
vFj+xuMv1FnitauYS9pEWktxHbqGNU6JdshUK2UY98Jo9z2KYimeWJ2FuIM+zZ57Oaqiv2aZr00l
UPx6pjKlvaysJwb9q7GrHogxIwO1Omi8GGroL7aWniNePOhq9AgILgrzViZIogrYzXa6TTvjkhso
r6GpVJwnXhmw869/EhaQjPojaJ40vsmp0Zy3ZrRA4XZ7KEkXemakWWu/5+OIRkwnZGoETGiXDyEb
rH0BqFyxbKH1XSN65CY3IHuhheAzyEcEdfxovnUaAwykXTpjVPeYEbmfWrQRWLq77AMRPDJG/OzI
C9kS8DmzNVuGz68xfz89m3Zj5j1y7D6bjnHwIXUZphuCz0ONGDrK4qzFjpFbF0fJQzmAL9XTS1fd
at3/8yWBr9GUr41Ep4iibnULuSOnRWXm1e/UuSd95cDwzQjHpHsiTAgDdZdXuzx9zVgJbpJgMNfC
LrZWvjg8zK7eESpG2cVaagg6byVZIa3noH334wY7T+lkoWPUdzdjWU3gri6Zko5vTene6kl7hIiX
57QVOVjCVacmkKXvDDwuQzASZcQXEvLXNOFNtIQLE8uNvh5ojSZvemxqa0iW3OyGN66hckbeYVaP
+djrm0brcPlI897P5qNugJygeGm2USnblTHSLdQScrsQ8jkx5i/VLKmCA6aCMqJ+nsjK458ZYK6x
Rp+nl1ssRlwNmnSQqwiCTZlE6771Jzy6AP5yGvgD3lPHCpzNkGrvSQ73zLGTk8mGoejOpWKMUxRP
0nVcnt8ZyvGsjwcES/wezJS8GDnj4rUL1tf5l9FicEH2Cngh9WysPtFwM01x0ydLrvt09KBwby0x
/DK2vpGIpc3KupjyeeQJCRtLY2LfI+22GIMnKl1h3IuPqmZMFXvfI8jVVdrChzdb+OOecHCTg5mt
0+kkaze7M0XbDXb/2nndCcD3uLYtOhCRzgaLT8I+6oykeLxMK0fOi5S2jgGsddeixN7cAOvswXIK
s2LrDrl+pd+9xvnsPeODvhU0bJ61R19ei4jpmdu01ylPmm0j6icrWPioPuTW0gg+fGv4t9BWn3Tn
oBPVRh3IZJX0gV8T19gl6ssHmEOvqNFuVTvTfrvRnwISn80N+LiGXnLK/pHqhXewX8fo+6ldx/c5
6slqpmVrYVQt/d6OqN9qB4IV6WDvnVP7OvWLN1JCr2pif2sZdIFtB1EVggABC0a3nrK0PpfpcIxS
xAIjy5pVh4UKl1ZHaBi/2g05SSw1ExAMWXz3Wsi6pgu7GnoU3NMwChDmUsLXRvnnGOlv70bxzrcr
MEhyuAknV0dSFf5GvtI66w0qAzu7xDPHgK0zBXfJL+FeiD/LmluMwfaNfUu1Fpn4F9cF+mHN/TEz
rUbOJh5cF0r92HLzdqIh8SS/pvQp+55mY931sb3RMCFtcV+XPFDuURheDoc9v2F7OAuaCLabFvHN
c3zECwrNOP1zNJv8yE9fM8VhqdXxO4I5br3NQN16bPHgr6YMqV/F7Pqqp5D5C6RXbChu8n/hnNR3
hoDnZh2jmfY0BrO4t1Don83CeBlxlTGXwaPatxwlvtRIQCjtjaP0rT5E4yYRfHAl9aNwqg0iTUkE
QEzvOHQHEiXon+t/zPXWkGO+RO/GYZ8WNUUkmzCszMVWsdFISgusTld+8osn+XygeZiDbN/UEaZz
LIIxUhT0ggjFLQhz+NyIEeP8phS6tiLaeXBRweS/irw2dmm5JpPzaTTgKfbNuIVdAHsH1dGGW5y7
vpz9laNx5qVufu31y9SS/5tFJoTAtWPXL4HbVcTDeWIHKSyHojPhP+ZApjmt3LVpcNjYRr61iqF6
EvIrp2lZy6TrNl6LM7t2WRNZo/aGuP9oWZOzt0208VX+Q+JC8oWy7sQBtJTgMXHXJbEGsWQ5w1SX
PSvyONREoLgdw0UFzV8VJlb5CEgGxE7FmD5yWam5bqo2mZzW6BZD9GztOWk4gHIEtE7hvvpDdSa6
tXkzHfmGjYxndfSzi14tYels46WyzZBhWrWSHpSR1HYfLfaCO7tHeS3btZeqR5W5E125HcNZH5n5
oR3C1R8oAVsc8R6j/bMlhbWt4i+uXiscGCO860X5bus1eQRjubcTkqOU6RabMjc/27bH9x1sML8N
52RnJT1bhsR8d3txL202xLEqL40G2EoONcHoi0s+NTNzpxtGEmpNvq0Vr8P/lrxuVenZP/IfzfWY
B8PGa6KzXhHponpDe5s8FjOGbPpzfmhYRa/LxrvKzn4pYTiqWzJwZQnNZx08Nu0B+9ZGSjffT5q9
iw0dTJDNxhZVs+MUsDcm55Gv9xRjaKDjfQXp8t0uGVw1632uVh/VlaueEaPDYogjrl0FJqvwuePy
l2TwnxiA92V/awWbHHue3jNdoeintvZ6IsBo1x85pF8gCzxFRdBsqoKHR6mnvMESLqbyCqTonpbE
FcERFbjrVnHpca2bcIwiNArugLpvth/pic+TXW8bX/uIA6JmzbyAetJP0H5cGle3uTRlQ9YVvO9+
0bO3dv6Bo+B36TbQWe08hJep9B8q9CeraUrJz+guhel/+8b0V+jvXinYfYxbN2CGOFzGquJKHMAX
SLBJzKuOckS9OOHZiCfENsUi9e8G1FREMJbRgwNBO7UUeP/kikyF+eKnl1qvHY0CcxDtuYLwsUrL
VxRoVyb+58JpH7vh3OeMjMasOIDWstu9P4otCW8Py/SiZZOo5M1onUspOLsjksPQes51fVm+YBtN
YeJphIt2T4w5z23l4vXFDCF7/TQP8QbF1Bt593+pe8N+9Z5qHOINRESqRvN50P07wjN2P00KIyCC
3TagL0T0BKe7mJ8894R97MXQg29Zwna07AvwhktmzZhPPgOFc4QIwsDTv/Qk+2otc2tX0WuUIICt
IexSQj5lTvNNiBPqo6b/RfX0rHV+KNBLqLa7NgRhtUzQ0N2wYK3lpz2Xl0m5D93Cz8l18D34ktJf
6PeLG2EZVmXVdy/FrQz8J4wg8SpE0fbDNI0nsSx+wfKXYZb++PxIpliCeCaU8WPALn/6l+Po4m5t
b+Vc7GFBrMyuOiNVOaB+g/VmhjLANxzIBVfC89nreRYSLwXqoWoO5GzcCENrun9jrT2xlAVs4d5j
oFtBNoegVp9hQLzitzqz3mf5pl4aJRlZaGuhIcV09btuYJ7Q8/lT637R+K1VKve2UbwpxmHRpxEz
ZKwcep7YzBgCgrRz3Y5bwe4+ugQ2WZ9y7sjdsNSZk3v2uuLRTBhOeVxhhiAD8lPp/rXKyl8/d35k
jdU1Q8JeZachGbodjKWfUTJJKxLn5iQxaQDOa1w2dy9l7dcE7PtL+1YL57fM81cUF+9Ve/D7/F7j
/GH9qn9VbbMuhugF7ZxPMOb8WzfioWiQ86s6/oOlux8CG34KUIrOn1+t3iU94qXgxljRbtRoMBme
Muz3eZzbzmCjMTxNSD+dPr/hDpShSpPXsfLxaM5oBdSvgJZVViY4ZS3dx6b5KIYF54NIO6EbGaja
ibCmzSmS1zqnpG7K6DXJ7V8L1rLhRzsflJ/U0ULbA9ahPJXXwARawIc91YEkKMPACdIF70FcfYD6
SrNmowgGQ9R0TxKUFsvXSqAUB9TRtc8BktnutB4nVpdpEF2c+F9gsmVy/ofZudNewRnZADAgb8hc
6BmBsWrvoOWfpYNgzwDxXzKV7pEH4QJoeeFY10SIBBudfq8qOUFi2tKUDmFRddF41HdQ3eepoI33
UtTrGvckllMLXb31bMfJa4lKpUh528rel+suECzX+C/j/IX2w8C8hehBZhRFto1g1Gjjd16Q2yTz
i+UUNo8Cn0DhBjcNGXqq47tKuvpEaPlWg7Q72LyDIOIe0qLflGJRWjoA45KMz53qWe+ZTgBzvf3H
2JktuY1lWfZX0uK5kQXgArhAWUU+kABnujt9VrzANLgwzzO+vheoyErJI1pqMxlN9IkkxnPP2Xvt
ehmmaAZx4DL5A7Lx2g55ReHDMZnnyetNyHpdzCg1IHCaQM412YFfO+lstVj/MCX6q1FUT1USuj0f
cC0GzExpvIVycUKirCFpij6EtNt4bwPbTNH3esBcMFadE6vK+zHskEYoOTQm82kMDmYcfchl/ibV
8HObTgetKW8DOTy4VbOox6hocZKxbXIffX/XIMZpkV4An1oNEn9gI4CuOX6E9irccTPHE6aUlwzs
OyFQ5korjZDhBPdKQKSThYFVCu4AQ0u7wnrmuvJM6+kuCBjIOg4K/piDrR+aXZZXT87YrCMJklSv
FseSQ13iKFBmhLiJg11YyBfFyT5EfSbpjPJRB7YuY3mtQmDYacqrmlCxt0AMjfzNqRdsBXd4bnJP
eTVhUEQLLOudpXiapoAAz89D1ElyFyKaBaB1QnV8mXP9RY7VJaa1WJGuoMYWzZaq1FaKueRdizV3
jdcyIczWmtC9pGi8dKF9RWjDYgm+msGscGVH+rFHxtnHtD6n4jUiBwbl/Z0VmPjH6uAe1gWGBiZB
ziAPU4msJBpYmq76qLkrAuVTOKmMWLQ7ac53jpkcFcsziuw2LuPz2CS3/aCCzcg3JayoSUz3rQYa
pLU/zTECuDAKDslQ39Yma+w6nU9GAJmhG4qHQAWOp3tBYX2Zg24A5YZNMpSswRrYVtAM0JvcwwI7
95n11TH0myQ3nvWgf7YH5YSw0kN+5Sll+WgyLNeN4bE3IHjR4k3L9o7FFgK2ofs4yL0xZJdJHe5V
JdgxneaWyVFbcTsiQ7bT2WMTB3xkMBo7JjMzXgeFM6PSRMno382PTVzt1aJG89Tv9OLAhf7e6Sn4
64ZhQlefyri8rRaMVhRB8W9gQBfEceDPSp90x/7axuYfdaQ8OsWnJETya6T3QdHfhZG/80dxoc+/
ycbZRcnjmaJzw2bh5DZUdeQYpG9aHb2BRwggTZp/MHndGvrs0ep+LAnUNo52md3puIRWA2Qks8cM
WReTS9og2uH+LVScxallvZa2PPoy39jIEhFhHlKz2A6sm0IU+mNTXuJyuq2yAuLCEHIbWfuM0ysl
YNzB0TyfExr+lhO/hkS0r7JG9WYcchw/LRhLxi73nPHVytRBcZrGISumi7DkcUjo6rXEIDSz/WhM
xk2qWY+xpW7t0HgimuVTLAxMRP0zgyYKNQMiYK+YO8rqrd5W9x0ffiy5dBq2emOxitPbxfLsnGso
KfCWMlL+lOS1A6DSCkS6nFpZmZ1lR+yElKzBZwYzzh0qX7RubcUVSnmaeuOxKsInP2bAKksBNoId
NfZ72lGog+VFJcjpCUUPponaAPOLnhFyDO0Pv2Wgl1YPMmy3YY6si0tb6ZpR9zZDNN8pY/McFkJf
lz2CHrOCg9fFytaKo8e5hh7YzTbZTNa8bQb/VpdBvSdTblflKd17P802TFTv4wkT1cjkimicWBxr
RBZ6OWifjEKzV0YZ7n219V1GiAZvW6m2Vb8VihG7UVqFj0bYhbeotM/XZzbog4fsjm7zSZizeRbl
16Efg0erkS2YIrIvrk9bH6d1A4aIy1caPMoWF0cuCVkEZq9GDlnGhvKAYFNlBWG2h3hoeFo107YO
gQu38wcr6KqD8b8PDtc0b8ogAyrOq58h3/nP964/ivUVtVi/5EXDlPjzV4Mp4ov/eX79dheCtxlh
1sc4DOgN1+XBNG0eGPwR+S2f/TrnrqaUIJ9RypXgXhb48/Jzrd+yUEiRblT6WByuDzaBY/uRZN2l
Z0ITNYQYcyCXrT7gsP/z4dvXgBujIxl2169fv/TtN67PqQZSF+QxG2S0sed//63r3xURWrq5AK5P
NTIaVHED09GHNAavVJP6omniC030jSxyshQm3d6pgBDgdToMY2+7vkZqXuHZ61mWrXtn7EEnYYOx
2voERQYpVsqA2f7csPA61npcHlO0/WuYxqDKH+TEGc3cMubOt3SDqT1iiFp0l4w9nebYbXPlktnB
5Pqhg/iP/ABXdmju46ZoNh3d1ntiMT4r5XQQw5AgOqFL5RCcdoyIVTllocOoWVE8lLLxcSCz9NjG
JZI5fjkij49+Ixkvs7Xh/K5xhHFdraYXcgx7d1oaTRNjxW2EIW0bdg2Wz5nrZEAzpoEEV84siHRm
bmhgiS/SjnpPc0FdnIYq0XEp+tFtOTCfLaVVeYFcJKCdiCBEoTmUAbSfxMw3U6kjwVu4q2gcpn3a
jYNLiwblhYN5Y4yyh6jBndOWtKC0RqZuxUXnREVtcMTUeqXfgIbFEKVVr4nUypMkheFkT0QSKqwp
ApKF7hDraTcjc1ZpTvK1qeiWmS8jeN87aihl66CpY0Vc2Oc8t1jwNzBMl8BnMtSMZpOMDLZtoQU3
Yxt+gV/IFNIYdxyX5PpFDHvStlXvwH05XomLGTOVClSGZoZr6XH+qLw2uRaFmB5RN8HtYo9ExCSx
CbzGCO21udA86ols1MGUR7Xtra1CvOyhNDT/6ATS3lSDmR4YhuxAekTHWOiZa9dkfTuDHZB8wARr
ihGCIemnvE0t+2OMWGNqT+ywU+lo5TN5Q6xQwiLeNwRLKFrGobLQXqyM0QdKCr800xPMQfRIw6Rh
bMMaYyZzvrMpI14t/WPGvLknLuy+VmrrsfFLd2qK8L5rFPNRSjSALRFUmareUpW1T4GvrNTSUxP6
JmPEFLowwgDTDTaAmi4OdWFTo50BzeprVrELNTO7U8riSXyBqa+ctUI486pNBP+NjFeLVeVES98U
DOUIxSn7lSgt6zQ6CK91J5FbdUhByBmljd50VNaRnuTIEph0+EWTbLKaobM5BxRsqh3fW+KaZBJ/
zaRBqrMN9oD1OpEm2mg++MXM/UhkGsIBns4YtrdhuOQGkUz+0BmpfjfL3rt+M26jF46t4ATH9kOU
z+ZHyWSew9qKmczSEk01AuZ8RqoXOtefaK9wZhHBfB6COHgi5SBfW00p99enDKgVDFWG5U3ck1l6
FOSu2cl0rOzhxp4LQmm5dq3wGU1/hBTqXDOm+16PX5Dps2vscXodSrCPFsFYekDArW0ifsHPUafl
xe8L9TgI9Uy/oD8mStwfr/9jCs6VDHl0GcXiqSEX5ym2XjJqpGTWBTUWEaOUrl/SniFzhG7jJpFm
QSROZRKsJ+S+HljG1f60NvQ0f7j+lRiO3vWZUhILprAc8pQBCI+C7+rh+r+8KdJv/1MUxXClREQ/
mYW1mSwUosJmagbeNeVWnA/PknW6Ew4XJcjiL4tocSIH4wVPNqYLoe56rdDP/TIOnoo543KiEMJu
zgXiBwQzuDIeDZjGgKU07YMysvoDoGmSkqE7NHKcZ6vW6ktnhC91YVVHxYTJEi5gljlOvn2p1GvT
HSjhwTmgNnYNOWnH64Mppvxo9Fs7GKgDAjT2Tt5Vt2jjhp0SECc8KHq5JhJLPOX6xP8CNbqjA90x
XAKiQicbE5D2FIaSVngq040WMyIyx1j1hhDnUEhf2usVVA5m2kI4n8Nq8RwwG89Pg9PGj77dh8eu
xqJUL3tPShbPbcfyTSC7WY+pAfcNG+lnzAP+mhV7dXT6dLkBX/wwTc6qOXBqtDLGTFcbO9Es6OHG
8roM6cSg5AjurP6cyUa9pEsU+WI/7lXrsSDhbKX09KwS0k5NJYJoy3IhcObmVsepsytM9kVEAykL
ootq6Na2JqhjL3rrxjCU8c6K91E03sl61l+7jAoxaJt+3VUAUlPDCcCzkHBtoOnYqD7z+cDs011U
muqzKvBtMUWZj9VoqNuGDA2CdUx1Q0KpyhhSVRQ+u6JRMGBTsgHfXuKqTj3TTkhpolKEQdn5xybr
4JI7Oo2swAmrDe5DDNWOX25DavwXZ2g3iRTdg2YTGVqO2HmvX0ZaTWyxoEloVOlLPUzxds6zYFPF
M6ddTFwQ84eLMqTj57yxv/0n+P4ruaXfZL3fX7p2iXbwcYDgofvU96OFphfByipbip+F/OXVeT7u
UF7Ou6oflbug5b5fZ+X0CeHsuphR5qBD/9o2Sn1jZOJgRrlxHm1mgz1pTOsKe4Q7FBUsOELJttiw
R7dWAZBHzM9xmKJcNsDFNDXjPlVYAhpMah/8VKk8gwb1x4LyYXDKTwqwY5aTS9/JolNr06N9tNrR
IMWINnC8ELSKsqbdmX/EorLJCMc6SGHMiDcgzK0ZKhOi2Gcq/q+23QUdgarLsz6MCU+tC1oCi911
TOth48seOU9Z1SctwnNq2qcOzy1sXgE/nKn33EfkumaDcGeNIN1e2WAn0bFs2PMa2geCnyUvbu4Z
AqBFdO0i67440fRl6pTstbDp2eRKIO6p0gWXxEQ5Lz1nWrr+JrcNxct9hQ4JCyirDvpPnTlsp0WF
NfS4uioxHJmgqOdMU3kwC+18fTpJgfNICxBTzvGp9Rlz9EX9YDY4Wie69Ndn6oxeK0sUimLTp0WH
WERlkkC0bZYcyjaM16WwHn2rQuyJhQC/Gwzn61M4FqHHZAw4G1OkhqQfHPNKCbC3XhIHuRoYidyP
uu9v4danSzDNQBaZ+ghNdUEXJDU4TKXZlA6OCr2sQs+PgbyNoJtOeE+zDXVUKcY9sCiiqNkJa7/X
bEa2lBDU1ivH9NHlkdzlDr2Z7/W5zF3Tquw/EItDtGmsR6lXLaYaFa+QY8a7nr+K+mEXjXH35usC
xJ9t6CdcVy/jUPVHPTcRaM5CeUHzv2S7I8mi+Ri8jkB5dZXjSARWeUHm/wAoIXg1/KzaaaNNTbpE
1zXc2oEEhiqbIdwRF1ndh8zh7nPiXDaN4Yfu9WvXBwwujFtUIz3Ey48ECAn2hmbT86c5Vy3uZVbs
4YOOCAJ9EG5qau7qGDRMQ1i+sgRmCooKJWifLEj759jAbjVUzrEKALn7ecYlUaddkM/Z7KZGI+66
3JzoWmJr4SyxudlpgcHidHwRIO09SW/0TgcWcZdIWnlYRlfGYNhfqMral14tdBb/kXW2utFVTSAC
Y1yKFy6lNCL5EDf+oHTPaBunYFmNDsHHsLUZs+oUpXXUKHtT4PQaAzAZE5ISL1ba9DTR83YHSW5O
6dC8GJjVbFpyjTdQOeVdgB2Sd8u4juKiMvMMBIGtHeUwE52bdTUJ5kCgmQWgwu1RQNfokDexjkfZ
n2YVwgPbzclltGlRFH+K9DA4t9P0VctlejZqVrOogTamjXonLuLpwW9QEytTdhEdgdZTJvc4+LgG
17JXueLQ+A0HlH2xoGE2wFixIqFs+mAsbhg8zHu6QQ+Aido7YAgCgAyzhbkzXh1KwQ++Mt2GfgJ6
p8Xe1Axdu3daCVmhnyaX9RnByZ3Md9osyi3r50dCODugxnnGDFmDPgO5qLi5vhRMNBjZMhSba+Gp
O92nuMM/QYmbHtuKVU/bVNGrbmTHTvTlRfo0lht8t7sKOZNaTeLOabibyEwcmdXQYLEAY7bh8FmV
k79D5/BR5Nl4xg1A4nCmb4KUgNFSqM9KOwS7xPfPych8k4zVm/JLBnnJZ5Z9LyiOyElX7kLTg/Sb
vHWgj7oYU0kzwMKcZN3cCifct6Hr24QBriI13iqtTYocYTVBgdXJ6CiUzLa2n4OODFHGns3WnGGR
T4N1YqSUeQopoNtBMz1Wh0/SkMVDOQ6Fh8c134/p0hlhFD9RPOgixVUeA2sZgszc2dXYw75QDA8r
CevRwRdnVrZkXcG5W6cOMdpg5ndKVMJK7LTpPNTWdq6r6a7TDkB00VnTxNE74kTTCi1XkU64eJaF
CZQYOlT1+DiGAyKn0Ag3dd1uZqMn+k2lQrbUZHE5F9PNMmXJVfGkL9LOsmdUGALJhxRyVxoRzUaU
NTjWleZY18hcmzS33XkatB3lCQ18O7qtw5pLlLpYeRN8LrJ2IhDAiCElvdrTWBPFkwsS06Km8TRH
i1wQ6bQiQL241ZRIb8zD8SyKBGwEGTPcS0x5cRLnnBWUyXpZEpo9oxDNx3HLEDw+CX9oED0sUn3w
Jy8CLppe6ulZtk2Kbox5VCVTeWhMG4PALA5OZNy3wDnO1wcpneQIKtw4jixNu44FhIGacW058OdV
ZDeuWuCnaTObU5HwokyWp9KK6oeaY65fdD9FrSBzgN/kcleNvRQ7yEfubH1WbIa8Z9nWYpRp83hA
05Fu8B1p3vD4hbB5ceN3z01Ci8grjCb8ADPygwbAYQ1qKfKGKswfxQxSRY/1eTtZJNqVdnWctPZT
7+N/KxpumNnyYHDpUPqEnaOQwBGoIZbaxGq2jGRBFDiZ+hzJVp4Z+dpnS6bZus16x4VPWJ9YhNQn
RWS2F1qEjZF1lN+PDqMTlbuIuVxVix7Xx/VvXh+MUv+DGXBJ6AiXXiDXBGGkxzSeFQTrLE2HMbKO
5OBsZqQFXqA0g1t3DSddr45HzKtQScqtMljJOdc3xBY91yJ7puqJHtVC2itZYMgeUMZ1jqC7PnfR
xRlCfWtG+nCcsuKAmRu6eaVJfIDpjLZOUFlr9ryP49E/QxH9EPRihLDUNntaIPIl1KczARqLCHRG
IqrlpwoPBJXTfLk+lEZn0bsOb9rBiC4FfmymS3fR1GV3wnSzwBJ70QV/9JPIztcHRE5YEsgUwwOO
Op7YnXGTx6yisVhmO6v1n9mKyYkqCSQsJcqqQIY7zFV+k6TFuA0hHa1nrQzvIkOd91bNUddbF42j
+zlGFryGdMMMDZ/OJsmxNFQjYGUja0G+2xkvh3tpix7FuMGyiLaYrMdgMo5RgB5VL0bGi8iMb6tP
BY3Ac90Qr24JAEiJKYJtKbV2342kWbBJ6aQnree06kOHk20j/HHYChIvN2Vev2YyC3GC1mgkw/jG
bCvqymTlG0lwEwzGs0oKkaeNCu2rUatu0AYlh3DaJprQ90ZORxbtRL3No173Civ5zDGWHQz6xPSQ
n3yFYNhuxNWr9jNXRyM5GDPq6CYU1pocOCQasoq3OFzNg67qsQfiI3MBuOkML53pVdTxE8THfj+O
ysKNGLB54lzoAL+czXR+HY2kpKaZGteXGTGYNgADtO8VdtnuSN9Ou8zSdA5DXd4HPRGv+jRaWyew
z7hohpMyKs2eoB5Mc8JXIGZz8SztPtihJ0nWFZ5tpVCGS9ZUT3oEoSvFWr+RglvApCOGxluCzVID
SZHH4jD1SQnhTR2f295Z9dyu3Zaixhu5p94pRlmty9BhsCvrNxxZw71vTSgZoqicb5ux23QzFVOe
GqwMcVW0xGt5ui0/WMhjbzGUkXbUeV0MzYT+zwG8qFzJuq83EVbooAybA8KK2Yn2A2TSlaqcIbwf
s4FqTB8KiIbGq+JjGkXktUQyxfCKkbKs0QKol8rJljxEv7mN6pT2blJAyhkIP+kL+550FEKHmH3D
1tARoVnSORHKziSPWQTCOBGeZtS49XST57F2EYw8ITCkJ42UH1Ep2smsilfgotE26IotEjCCVHvt
XKkNmwgc6QUv363Z3HYBYPymhWE/Nf1tYN1mFgLYMTZwafhQT1BFtp6yxOmCpVGOGt2kIjtdL2pO
2x2Hagbnu1QIVb5kL7Be24E9eWizKTtJ5wuYx/h4fTJ2JQlUqrFRR6iurAGPEcfzPjIbuU8z8bn3
cYtVtuZ1FnromPHDerCVcEvNWp3R/DqrNEO1v0ThhrXWIuECgKDRYNnnGZKMIYvnVTSK6FUxKJOU
mCMcf0Z+3+eBSymtfDbUdT7nziEFq/ytV6c4ubO35v6sg+hC2AxZFxUS+6lkorVgb2a9tT7VUMv0
TpzGBf4kEnGp+uEPq6KzUIRG4NEKRu0iaDrE+6IjdaBcKjcy1NcMDWfX7qvczRBAY01w/ViBpRSO
4UYZOIIzAuu7IV8zPBywoTuINpu9jKfIy3HexvEpo3N3Ye0RAjiRhYdEgTsb0xgi7yfnNBQlaYrt
ItRL2sOoztlRdVDeXe/PRGVvBykEHYuam2uUjNu2LyEzTsOwlzYDgcaXJSozK3/lznESzLOZ/qVH
dbmpC6bZa0uSqRzpvTiiKmJElKACUFIT1Uytm3sac3daXHc3olVwZqVlwFKNDErsz43nWC05phlU
7VDvsRMpbkL77VBkBdizJzkHW/Bd1V3btREt2ex+ZFkF4Y/w4iqhi+7nyWbKSuywYTuh36pgpMZ+
Eay7Pnlpx4RuYA08LgJQmRaMblLcZPRocbcNGeo8Okb7oKa+i1iDYpRnKgkw6NZR+gvz52If2eFj
EKDGbnyftl9l7Hs/Aos10a9Q0qzAphS2wKaqI+phDRq6dmfrpX3oUDpu+tQWbhXnsdeS4H5ATIKt
om8NoJhkKXQmepIxnG9oEsZ3A9PTUWctNQbA9oDp3Bb52O375f7Rjv3BLmsa7D4A5cpWSQpZdqEd
z9aOeKXNnAbtUcs+XkuYQT7OAzBpfcy2ZPrsOmuSGznkYssQHvm3n32JS2C9k+o8AOiAZCeLfUlx
p8kJa8KMQ58RSsP1mPxFP1+A+LsxsomTwo2/ASseekbloMVGsONaWuHcBlS+JyMKNnWvh6cBcgmG
yclkgeAApF0a3tJhNTRoqX9W+r2lstzu8Pi6KBWm43Qaw9K5U6c3zo8JD0Z5tmVoHWkv4kAzCTVt
gUp4jPwwXdGADgCwdPu4ZvR/7SMGJYOaJu8+CLTClj/m51AnjuPbgyZHd2zRC83mdJPVTre3HFs7
B476MRtwZxiMxiFRtZI9U/h7rQYRpjOcuC1ZiXO/pWmrYXkHYEPI9bXcogJr97GFoMUOiGSOAsY4
DEbavcJUZ6VEhNbB3UZvJlkgL7dpIV+6qpxOujVedIU0V7Tx9VpWpXHD4NW46QRccBJe6XzAZ9k2
M+E+VjpUd/lCMZqze3Rv4+l6bcNUZwoZrX77x3/9638+j/8dvBUAHxjr5P/IqY6KiBrr999057d/
lN++vP/y+29SSFU1kJw4qqMKW7dNne9//ngf5QE/rf0fFJtFYlpETuUz9Varw4QG6OriO0YWZbVv
nQBR0NbdGbFXSSslZpQo6P1Gtqw9mHhnyLtL/zZfzyVhTvESs4janJYmm6ZWTgY9ey6oLIcKTfmk
9vWjWmonRLDWEn3kuHIg1REcbrT5+QcT9vsPZjg663obM44qDMsRP34wnA5OgsRXddFdLaxtvblt
Jy6RbeqTo2AO3Q72F4sTYI9HM8TXGhT0/SZVBM8M1TdjUNQHRcoEN1VnY9IOtaNqpg9tjbxHKQDM
yQgs2mBLiN5My5E3ODMylyrdQI4jwoO84XTw/b3N/HRfW24qxszNlREoxjFs6SauZ6wbiEgBb/c0
CZFQBGLl20P8iy2h/WVL0F/VhKFrwtINC53Bj1uitayi6Njq7kDaL9FgRceCDr1yF06Ua3h5NgnG
6LUdj/Wtwbgrt45Zx56Z7fmsop33upKyvidLgZFqmHgqSnDOSyHdn+8yXXu/y0yk/HKZA5lA0LET
/PhGE/jDShgY0mWOpmxkHfk3hdXepwNHSDpqj0LaJxYINlZinA21TbZ2lUHV1p1+n5vduEXGDfOq
4yINq6tcRLJ2lOLBt9LHiJsgOEGSm3/+po2/vmnaVNQagq3scJy9O4H6apKhk/saXr0zevrPGFfR
1lpNv7PIdNE6Iq5NDhmpBNG2Q726BcScVDdDDGxf1ye2KerUFN06zRiaH80wHqLROjBpBLbtAHzk
Jrtv6RfTqypvo9780KTqE/Su/FH2w80IzgEPioKi1OkdL5XOfEx7MMTXYplcTUChXPkU0jVcqmAM
RHagrC07vfn5dvibnWeamqU6uJSEIaSxXGi+u5BEaG0tjnwdZuJwE/aBfDRGoouVin521R305rmy
icrragv1ejCzHVhVAfBIjZ0iwptuBCxVTMTh2auxDB5re5jOjmh1LyeeLpZvP3+7mvnXY001hG1a
qH+k5TjWj2/XJJ2ppaDSXCvUa7g/Pqws3OHcXJuIaL622AqfLm9RKLehDQhU77VgTaJPt57yMLuJ
SQHTw5whREBO5c/fG7avv745g9mEiqfYNGz9/TFV4l5s7cjCdba0n8Yye+7LovXypFKwVMZ3FnFj
eRwi1qETTuR1T0TmaDwlvLVzRJNxHZRpsANtaXvIhgugOfHG0jOiJfTJvdZ9QElx4pt0MJDN44Nk
tMtAstnmJeNgY7ZORmIgeIjh1y2tJ7ak40HMXNyB/bANioSYQ+wFTgU4Ww3YjU4B/bV4ZZJ8j8SB
0AqWfNe+q4gNYMdL66Dqqq9ab+lPlmrtbRuebSCMYwEXE5Ix6Bku6Mhyg+4gnNusS8ZLwBG/H0qT
QMjG4GNywxuSD7jb8VklQJ8SgDZhXdr3baYvmmjtI+RIxa0rk3GrirIsTaOvhU3KbqQVGcLQUMUi
M+Q7n2ifIAdhChuF4M/WgalREnc6Olx2RDSeERfr27CUF7C3JRh/2mdGAgCWPyZYgVmrICj7h6YX
9Sred3WBs3ci7sLCNNaBob9owBuWFXu3N/GQrMa6rdfciPVN2OiVNyOAh6Jn7nwaiMfr/zqKLtF1
WC+yBv0MsTpZ1OyrMdRd26eBiLN/rsxukyjzHnGbca9KT3LJu+uBtqoQUE6R4rcvlaYhKksa/6bb
wN7LNpk66hsbXuK6tVOTO1WdbzmmmdMWunGiCbnIeZsj/UuSVvDoYnF3lEPKgNwlpyP4GJhyKxvW
RNhl8L2lWrL0lpeVZoWskIVa+0IzCGGqtF/r0VjjoxdPpqmYx1mp/wBdRwwvrwktSSEkPk1gsNIx
mRmZrGPEZJsHKNLFyVRIHSIk59hqAnIxYdR6FaunCtD/pDcPOk3eDwHRljaQpgPAOd6DXacHDIuq
W1m8dVajxKTOuf1gReijBwX1+NDa4QHnqHHTJgG316Db24my98M+ffVp65NMR6QhsWXShV/TP2Cl
mrel3irrKsjhO9m15TVJrN5K3I5nCyecb3YXpmZUuIDUL0Wfm+e5itwwRiSoD+pzSqLOGRDCiobO
g2IWmMxC0AKVDtgLXQD54590/wt+weg8LCe2brbEdbVxuk41MW2rQQOqMujFzlcbC7lTAKuCaMCz
7+u/usS8v8IQKOGoqoSSZiP/oVL68fKXM+nwI83yXUxrZBXJe3patJQSY2934wyiwCt06AJFIMZL
VSZU5f0lDZnqzqOKUgydO3mxWNqn+FHOnMDqzKWmdKZTMxO62s8PqmyNc5xPza/uM+8v3Ms71y1b
py2kIr55X9eVtR8Gy73YJYMHI1kd7HHm6uSP6PeUBeNtB7LJdWoHFzIeguU0RwMdar5bgegAEi5h
dTUqbNOm3My2DI7xpD+NZMZ5cyJIuImm52hEGKOETOIUfaw8BJr9Ns8q73qZ/68fau/mWot/Loh4
i4Kwfff0X48FU+Tsf5bf+d+f+fE3/nWOPjMtLr62P/2p7Vtx8zF7a97/0A9/mVf/8925H9uPPzzx
8pbVyaV7q6f7twZX3b/XEMtP/v9+8x9v17/yOJVvv//2uehyRmX3b6TU5b/9+a1lzUGB8N39cPn7
f35z+QC//7Zv6o9v6V9+4Q2v4++/CfOfFjdrpHHcvB3DFFRjw9v1O8Y/QXcB7mYCY5uCUuS3f8Be
akN+SfwTAoqpX+sSDqem6JYv684/OQdM21lOAsOUqvjt3x/6z4XTt7319wup5YT5bh3FEekI1XR0
zeHvSfP9Oqq3HNZ7GcTkRL018o8tEITvtsLfrdTenbJ/eYV3p2zhG6FqFfhpW3fy8De6qjedJ6/7
A9xxtP7Qru2HeF5nj+kuPOs78Zg+2Te/KtGXpcLPPuW7qsmg5ZiOJZ+ydFEzn5FruNMvPqf2bkW6
fE5Dp4TUdYd9LZxlOfNdIRmaMVOdDCNp7aI53QwHcVvutV24CbbB2fRqT6yxfnqxh8PiV8X8Xz/e
Dy/9voaN8mmEGA8UKgaLXHxpssef78T3Zee3D0cZ7LAkMyxtOX6//3BgfmSQqOyn6RDvWSFv/Ttj
r22nTb3WV+UWLKAX/+Jar/3NgWPo373muwNHyCypoSnOaxi2q9ENPGXdrj4bqw/lWrr+L15NLIfA
u0ME2ZNma6o0pSXE8m6+2309YX5jqkDkc6HsrP/ovGp15l+619e6F7ufGOatWJztZo9155Yu2Bp3
2urjgViI9dfuaHuotFbPP9/s7+4Z37a6ZbL6lYKzU323AiZqRvqx7UzrGc9ZDJe4yFOs5fc/f5W/
/+T/eZV3B66RREk+hOgF09pei2ZbqaQnsaeN/c9fR1+WlH/dxPZyE1RNQbP2x01cOyGedIMXYg7v
PdvbV2ONR2wF2HFF8bPuV3fII/boUQ4Pl18dTX+/Kf/92oiCfnxtklzMwZFsSh3Fm3q0gqOTffz5
59N+/vk09d1JYgddrs4Wnw8A9Ha5zokdXWO396rHYD3tfvFqyzv+f29NTV3ezXcHbNOS/lh1HLD2
Nlq9ES6ytVYYZXblLy4uf7vbcI/YxI1hC5Dvl5xxU3ep1bHpOu+134fuvthWW7rInsEJQKD9KnIV
zkeU8msapqtfnJjLWf7+YwrD0Omv6I7UrHcHjYqaYxAarx6KZ635OCu/OPr/L3Vnttw4kqbZJ0IZ
HIsDuOVOiqRIilpvYApFBPZ9x9P3cVV3VVek2aSN2dzMTWQqQqaVANx//75z1FP8Pz8BQybT8Wzp
CddWi7P//Dn6E7tMN5zIufNs6vftT51hNuWdN+2FKJl11LbuArXikg3I3/wKv1er//G9eYJ5IsNL
Crk2h5R//AorBqNaNjLMpTyzmFcfMTaqZuF9Zed54/BXxnJcLC792k83HbKqt2E1r5d/9+D626/i
zzsfoooqNfkq+tWwpuX2W/saqIlsmpc3fUlnaXG7mQdqT5/+l3wj+bC1l+H6//xiNv7yYv7jJ/HH
vR5UaeVilSFyui73isyUr7PzsKYLyA1iHyy+uhVo4F5bd0eYvYuff/Pp/3Llqk9v8mizmFu4uv3H
p2cD1uiiQMfHXmJb79sj9dltG64/vMVjtPaWBGMO8S28IW3/rW0BxvzNi/yv19gfX8Afr3KjBncT
aDCZyETu+72/DS/+Vmy6l/AuD+WGPuWyWTVHXgWkJkn2tksSiX/zRfx1BfPHF/HHKomCGKelMT+F
euVuy73zJjb8Hj6mtVze4VCt6nXfbCgiUeH620/+l/szOCzGkS7LWsnOTv5xFRpO2+euYY7LGgDq
WobNT2/IQENS6/qbq4519x9XvKNmtA7fLHcVBkB/fq44CItJGxltaB50Yvb4ZXhHFMxOvMuyxVTq
xZNopuIjrkznmYmoE68JzhCp7BxhhhugOVF7oNER2iCBe7sjzCyzd4qDs9w6XsMlXCMoX5QOfiox
viANj6EKzElAMyvI55pRLyGLBR2QWizHgXwXX4OrbQrDke9xNFbkXkjUlrsgnBOoOnrVWwALCgxb
AdFpFc5LFoSQ8lNEpf15mBJvYziN8SDhFfEsHWYUyGYwDB9+F/KiBZ8BLs6Pn4hIEMObxhpIvR66
JZFHVfPAP5ISQjaMGQBAYwc156igpm9t1MsfUwmLYpVpxImAHDXmbxSGChjnBqn4oasy0NLrm4xg
WtMUN7fvu36f1XEw73SnBB/RQcNHPudPSb8QRlhoG4/uUkpjKuEIIah0XeycruF4eTKdPidDZjar
giQDJRkzpb4gio/a1JAvtAyUc5B+O3xODPdzk+x9UfRQPuOcDlkpdrkGPs0AAoDPQjafo2N0K+Ll
DNI4SsgnvBceGcvea0c+mmAC1TY5XkrfbZKfXulTB5JDlbyiGPJ/kQ/lHNMMMm0FFqjOFVieX+OY
xGh0DCDmhOlRYD31RZeszYEpphn11FIyb2+1wj9Sa0fKEmvZa+939iZMfHfNljO714RJQALZBV2X
HrJzEaUBU9GUOks0Ov3ScGW86VrjUIdxtYyNAtLEyCVXTvRWZXcNBAmn2gmtZTG2eMbs/BGbrDxF
vg8eq8DjqUPy40vE/WiVNfkqDwtE2g3vzeybZO6TUxpm79KyJ7xTaLvyYDCXUQ3vRe8yRMQjqOeo
qVdWb42PzaRvlby5YwYPppaPRFBbLzgf91pt0RoaLI0+m0qUWk2YP1Rx73EGyQ6Xc7J+Gm6Vz0G4
F3jyRWv8bBuZdf2cxg0ug8rTjFUMIGWfei56HeHWz71vN/RC8p6jO4HKYWIe5g82XH1Nhxc2oULW
RlvfFzlQgMjKJZkEw4YbX2aHbADCLyfTWrgp6eneL7hgo8YF6odsLS+GdF3GFY0o16/W9WyTbFTH
hnBKir1ppVxhnTFdnRFB+Jhp+Ima0SSNXuM/rNFWtIgrAV15GGHIqV2TVJAPzY15VeqEAQYIktwd
QbN3fSQOfucS2wdXtMhADnPCOlOKGpsAx6QmqMyqcuKi0ZjejaQrrwy1oPDJkt+7sjelJEogDYp+
65VAuOyZ3wk6gjB9bDor6JdNr1PYhe3Ex8AaseibUt92rZ3TMMlze9NEQn/w9aR+bs3CXupZ0P5y
ufRI4AYQFxZ2VMlj30TtFs8klFkUWLuxwllbxiNEFNIkbw18lBuRcPXS1sIzxgAViJQdXd5WNhup
GFdJbPPytcqWedbAcfISLOV4noOU/k0aJGf2UzmYaCeyfuaBxaTeZdC27PUGg2Sv0gxRPferULT2
JiuQURkSvXjp18g1/FCaz9Es5caUEIWY5A4E3QKWIZo8wwns93XQ+q96Dcqm4Iwdlt7wa9QPgdJ1
9CDEKB1n7kCx8JfufRYzTmvrIYVT0NJOM5kYopRflPmNBDyVuQ3Wa1IN7gvb6PHYTrusf/QdXJGM
o4f9RMeTci9B2nvA1ZKaZFi+xEjrkramtrUtQVvrmbMVbCa6j7AH/vnjZH52TXw1A+NxlpGAYuXG
S8D4c/h7ltm6iqhzKfJc6R6hfy60yV72U7TT5XT042NvOYSlQTVwP5yqEy+yHBhuI3+jp6IBEANi
eOmj+rduwOtPj7P3VPv7mLZ4u0r1jSi2ybRt/AWRNMypwI4s/TRjT7WWCIcEjxWMIHM1rFo7vg52
vRW80hwiePTHrXjJNgY0l5NShJy09uq1G6PaWsGPpPHkLjEg6MWd6NF7+sRWqO9Q5+F8vXoXQ/o8
uEqAXMAr6cdzmWlXmg3024G+xx5Y2c+ZFkQqH1KQvLlOrTHZu7DiO2dXD9s6vTpMZP3g1+D+Cq1P
zXWXMw8dl7BQVImdVf6qRucx6Rq+k27BHYq2uUmrgoPgygW+YJBvl62eLgvvN7fMpQ+qWifa6Jq3
voAhV56s7pBNv5kGXaCpPabjI2aTnS3YzZhfOQaRpafSayprbxG/ILAGt/uhw7TXJ59stxawzlRi
CELnU5Uk29kiyEy67GY124G0nVjbxnYGIsati92z6/1wAQslnMbor236kZi7vgQyAuwwzz/H9ium
CDu553DwbjQ0gbg1W+JR3OrNA4erMPDq7MEGQsMjwX2YS9or4rMusYGYZ835SshC6eGbHnBIG/xo
+5dK/sResFM5a5M1SBhtzTIHtgJyTe+QK9xm+LYeYfMQmF9bUhOaVnnfrw3rC1kDvKDtVMZrv9j4
/VkE71K/aawWXPcXFE5+LTNNBpVrqZ8GrhQo2aG1q/Aom9SThzOz4FPYFe8s7cAFfIRAKkl3Acip
Xr3OI1cDrouFFzWoi0Oee2iDcybbvd8/FPIKB75JS8vlSCsrEeJ11qIT8UkmkASdqxHCNXTlSpY3
F//T8OY2T3r0HDBhgxPRQsBSyki82UtEa0t/6M5RfEyLt2B+GRCPxr/K7CurUejBqjSmi0dKhV4Q
cnhQJlAQCiAjzWM/PaYxRGArfqzT4WnG/dQGBZnf+jnpu01dhSevrQvYd/KQDkCzGrjArW09oTTa
OGMNtykFBqk0KN7Z88WzNc7knmb3OZT6JS+HN9vqkUXb52HoIMC5Hv5aCwAZ61S5AIVLgKYqyKe0
zpuOgvpSNHCT3DKGwuqvHVg5o3Rf24oKo8AWTHIb6NKKusgmDcqlZVosUKpWrN0k2cWV+xi02iui
Q2wQiBnMdka/K6gauMVR8yT20CYfr5CMWpL/MejdXKe+8uLUcTkcqI1xsknUmNXtNGGs9XWq7p7g
Ppvh2uTG3YVFwT2LmhVvRktKqO2yNAyDmz30ATkZ2Isbw99GHkXiWJjl3mNpGj0TbLUNOgP+qy86
mlG6gFUUCxlnGDR1xYQagh9+6c6UJDljhGwTpaN76Rvo0Qo4jzGynhxSAUmffcYQxUcoWT4HbFj0
YkLrVkG3ci0qUNm72KgcGG8eVs7HGljMa8W54t03VdSyD/zsPkUySJeJBjtwpZtzj2xOVNptBvKQ
7ZK0raMX2fu1zimdT9sZChTHR3I5SLYXKxB+lNwqw2rvkdHZ21JgQqAhCEX1n7uy/9fHLf8/HaSo
DMa/wl5/PUipP6v/OEZR7/7PYxTL/QeHfoxomNf8c8P+r2MU9x8kOEz2j7oUNmN4dvD/c4zi/IOA
jU4wQaA10dV5yf86SuHdCe8AhiVKoXvW/81Riun8OUQ2JWc7WNQ4YiSQzZT8jx10mllYl309Z2kJ
qdHyfV6740YjK36a3c7WqIoD9ubmPoH310ai9c51YBW/lrWV3CEqoy4X7oPDBfbYI9Te6GZs7gPb
sAHToIBI7W6hGbG/JlLr0LPw8z3nlc4WpXx188BQESZluUVIc4ID88uCNYNBo3+uKVIBN3DabWwD
sJinjpV9oEuedZ311E7FY8qSc/aD7q01amKz3JMaIcNzMD9GphCHAODKzqP8NkeJvy4LN34wWotu
lmDh47DxEZFJnTiBYaNCGVe7MXFq+abaU1jaRoxG/Jyh39EcL/7ZZx3oct1+TWv/oUBdSOZTneKi
YboJklQ3k6zVmkauhY2uSTAzTs8i8fuDk8t6XeNC+OybfRJ59ofGjWwF9/RZBnGtMO7p1e7SJzEm
xkNHLWxL6p4jCrfPrpX6R1n/FKEgr1F31sGQhQ6KCcVkgGYPCZV8L/os2FpDtAQ8Lg4hL6t14lOC
drLa3JdNLuFEWLtcutT3NFOs6fcM67x2bHDYsoRb3JfnCu0uo9TNWAfVJZxt7OOJDHCHoK6B3AKw
iOItR4Dt4d9/xKHRHnpB0Dmr82obhVR/J750iFZOc8ilp9NtSqhW6xVvotI88GR97+O02yexS/DX
ondD4d3jwHcQBzdPfhrRPFxnCw4hO4Voj2WMLKf6O47lf2shNVFh6qwk8Et6E8BwlLhPRQjvI+80
kNF8mBsUI2rQqGB2mkSTO6YsCgcHAHngdvWZ7vyTCDC8cp46L74jtKlnHQ1ecIrhU629DCT5dzoe
rJm7HIq44acMJ/L7DyMBa5pLtrBRzPaarmR7r1zpw1n+ckfR3EcUnbN0picBMZzGmXG1Pbt+dn3t
DKFUPoZW2W28ogjoVPbeaTDpLE557G8C4KCnKXbAbyXlBrrhQNwp+O8/MIBwvUxU2aJ02Io+ixRl
fIbBAbLEhl2Sl6+1QpkYCmrSKbxJ3AA6ge3wxG1E24KlEUTewaGM32AUhUiZS2ApCBeBQsFPcRVI
JVdIlVDBVSqFWanIjXO1gV5BZaWvBDQWU2FZAqY2CtPSKmALmHdtWxMNLmG5lAYqcI3q3NSUAIrc
Nt1Ki2diTfp3JSnserAqPYWHMeHE4F8sljHkmEIhZHDrHjmysx50hZfpFWgGxPoKHkl49BWEhnx5
j3sDME1QTQcNUk2vkDWJgte4CmMzKqCNptA2THomXPXeNWBUTnrBYPFOckQAX4wnC1xvCuHXVbic
OBRP9FczhdFpFFCnVWidCMaOTL96hdwZJPCdEgoPHqh+izyXfvY3oof98CmNaI3W3kVA8QkVzsdV
YJ8Bwg8R0Z96DfKHSc9qVBCgyQIHFGDpZke+JhBNSPCbGZTOEIjK7/+tv6lCnQIM5Qo19L/+KVKw
ou+3A0/hieAU/fuvvv8+Ue/x/Xf//GCTwh25YH32MiqLw/cfKCl6ECZVszAVNKlWgKSggpz0/X9d
Qgpt0RjWizAcby1SHeCSer+eNRJU1fna8wJeDorfZCvqU6EgTgDDWUH9++3vfzakIj056p2+/+X7
D00hoXTYUHPWvwMusNb//rfvd+3mdySTBMWnedr2RNGfKiNEchIhI2UjG9xDv/OejGWclvqe1lmw
HHuwVm7DM8M2W3HgRxvczSIrt5MedKvvN2f79+x59olp6Qn+fgfekeBeeO9LgsjCCh+/35o1CkmT
QWIr47dU2hZaDXBbNtwtmzkPpBhQXA1MrlTBuSYAAMtEAbtAs9wCKgqbWsG8QqheWVgyjofzpSng
F5ln94xZGvZ+dLcUFKy3wYNVcMJQnKN9nJoXXSHEJCyxZgAqFim8mBu2W1sBx2LIY6o+xoTIpAtj
AdBQeDKhQGVsNCQ4iuXEGESBzBoHpBmVfmrg4fPcAxaOUarDPusUBM1ptEsNFY2FABP5bp1DSwPG
DT9JAdT6HZarN1Vl4sMAWIsgreUKueYUKxsCG1RA3gkmG37Im4DRNsBqayLsbgZDYsCDLwkHcgva
fD+4wJ8TOG+ZkHcb7lsL/62DAzcqIBznxg85hDjXtg5QjejRUsItYchFqJoX3U0r6jPRM7KXJqPN
Kntzbf1tjAWNoGXlwMjSmzNAJZ7Jb1KH90GJ/pGF71X0zjXQs0UZctAP4a4ZW6xqCKwg36UQ8CKF
wgNx+UuqBQuMPKlgeSPUPFPh8zw4eqQGHyqAiu3dpiXiwNrrYO4JBd8zoPC1Cki3GNqGPh6MPgmr
D/4+ddx5RWCP0pp9JQ28C3KSgjK/pdTl/eJHA/lPfRjCF79bA2mfQgNCq1vHChZYK2wgbpBHzyoZ
b/krJiVMWWR3M+GawRsUcAcZV+ztWtxTeIQpnR0mmtwJqLA8ABTBaMLvRUEMHWiGFlRDHEdLvaXz
X0W7Eeoh3chrkBzyePz0jZmHctFfMus+wxpecBZ7l9ATg6q8w6laO1AVPeiKJpTFFNqiD3URf/Pv
VNI+KG4NTMYWNmOkII2mwjVylYEfgeBIejiE59gPxZOtAI8AU+ZjA9iKnedjBANSVzDIAipkBx1y
Nqebw3sxzGZjOd3bIXrsR4hG0CQDZ+3DmHRhTc4wJ9Ef70oYlAMsSok3EzLlDKHSH5yDo4OspD7/
K4Bq7yiYpW3xTnLeoQd5i3nwMfbZ6Z3Ohp3Jb9SAtSJ9tjC86fcIfp29EsrjET+ooY1vOLW5rzDy
E8z9GvObH6Cve894J2171SFxRhA5NUZZjUJ0jgrWadLMssnQTvZa9NWuy8zlPIzLDsZnM3Fp+VA/
C+ifEgqogAaKvfTNUHhQT4FCR1KAYEPpaDkLtnfvEURR2ugW/WiFGQ18nkymQo/GCkLqQyPNoZLC
wd4lUEp9hSsNFbg0DeUln9OXbJAvI+5nBTidFeoUke/IGPHRUBDUQuFQMZMtS/iotQKlShpmPuTU
ViFURwVT9RRWtVSA1R6qigKuNgq9OraCyZ7CsS5CZ3gyILR2kFpdiK0F5FYwh+9TcIAz8EwX9BnL
3rgoIb0mEF9NhX61YMBGEBMXuNo8ONXRu6VAsQbE2Cxm7QpAdlAo2RqmrA1bdoYxS/n7vXdgzsKe
RXoTAz6qP3uotIPNK16HU2spYK0Xgq7VYdgOsGwLBbVtoNsyQLoJhbstUK4q/O2oQLi5QuIiLFzD
yT1jQ8oB92RfLvTcCIpurHC6rKqXGXzdLAS0a9kgd6cuOY12dTNg8doW3A9WsJCuJ0C9vOxgsCZ3
JrPLRqF8gZ52y0zhfXM4vza83wnuL6gbiicKBexGjBoVHLiAEqwrWrDCBlcKIGxAEi4gClc6cCmo
8kuqNAdfQYc7NmZqOXA0bEBOCkzMruipfg1acMUj3GJIbTSFFMrYhWksFdzYV5hjGfyMoR6PI/jj
xAKETJ8XTj94p4hlZwQrOVLQ5NmoXoEAr2NoynXL1Cx/12vvTY/4CUwKuxyUvNjgMKfwmG0FZu4V
otmD1WzAbLaYh6iPVcFyLhXUGVvYswbleVC45wjucwr/ue0BQYeG8WhChs4VIrqFFY037Bdjie0I
Q3qGJR1MQKUldOkJjkTGHqGGOs045DYqDDWNX1thqTMFqE66u9XKd3Men2cFsB4gWbcuHnDI1plC
XFtddY7C8Vep4Nfwku4FNGwPKnaAcHahR9FrHO2jPn7DH/qMVvdXHxu3VutWrsJrDzLD22k/S7jb
GWSIUYG4hSJyKzR3DaN7doOt31ZnL7G/KHTCz5WX6o1Ozc5VioqQtSbB6UdfWscBArgAasN51Rtt
70Vj1e+OQoVzo1+EBqWSQmHEDQUU97myZwa86csMbTxwWKg7v2CifnAEVC8Ah+gdeP6Ri8WzhjtV
KX4Mzhma2NEJ9ecIqjl1xZVWpys5u69JHP+Ep3CztPbnvGkH6+aJal9y4LWw51KFd6lTh9RRDaMH
okdGrS3LRQNCwIS0bkNc577CWSdCTIVi72CyM/qFNQSk3YTWrkDySfTF9ZGtUmjursK6+/DdF45C
vXeOvHZdc4Ne+EPTw26JikUsIvjwXIipWrBwDU7Q45lfnQp7+Eh9u2QCGS2ZGv6uwPjqgJvm2luZ
cOgFPPpagekju/wRJNecPTK7Ca42dr7PJSz7Gaa9AsljTP8a5+oatJ98wvMQpadhkKfMQDVVBqiz
ynueHPVMXDub/b5RcU4501GBqoxBQsqAfYH2ysmVak2Ddc9iIl9x8sZ+qjet375nvJh9uDZC42Ee
tGKhftQGXdkkbq9tGu4mFx5QF0J2QDkB+9/CAVDp7t6o7JOjXs4Vs4ro3GEM8DAH1Emz49k4Zvux
yHOEAkeb8S49umPd9xc5Pc9jRrKGD2gWHEybtf1siQ8LW4HtxJcYe4HEYmCwS52wGlCHotIRwajQ
2YjhPegHBAhtcehVtdNXagSO3FKACj2F0XuriFw4FDL9zcOokBnuD9yApwnTQsGjhpMT9+ziYMhx
MZjcP4I5+sXk551nHIh2DjmXFf4GzDknHZ9Do8QOplI8cIQbLyusDxP2BxsLhIENwsEKkX/rIZQo
IsQY0erAkrAkP8S4JBycEhhxLqmSTNjYJgA40f9FP+HP+rWt63uOlyL3OKbuHZI3uanfbNwVtZJY
dFl7m5JVhNsiTe4AEtlq4ryolfwi/tZg4MOYv8UYSpGBI5SHAdaMEXtGAUy7d/Rrb2b2I9LMd54v
Je+yHtq+XZHG2nbuhFG6CNb2t5xDaToiJeyYbzn2jr627n7xvQ9sl/phpHR1pDAKVdqIgtdmwq+W
h8FpSGKYbHNtLAny/9QW+eRYq1LpQ4Iq2bCqDlcxz71tGiAZ6TkBWlRKPELh5URtttxMdvcqcJNQ
wuYocjv6en+khje5Gf1iXCazkpoEZsyv2yoQnbjZSbfiN2aT9Vs9UDTBGRcbqblB+HZ0Ao7Pfbwp
If6UwGtWAIjPZhTShdM5/dK0mTpGtaS+dbaUhCXGxtI7rL0rJWjpJ1QtnpK2iDy7tErjkimhi4nZ
paqM8sXD9SJxvnQ0Qz8iLDCN0sGoAUqCH8ZRohhNooyZlDwmitHIzDXDBWHynGQAes6UbEZX2pnC
QUATKhVNkCOlEUpPI5WopsdYQ88y/CySL+aNGWcKI1oF7DY2R8AvJb4bt+LIqVcKHFqN3tLVPmI7
zhlgcm7Nv7GrQpzTW2KbKZVOrKQ6+6ZCsEOgIn9geHHnUZxg4BGcnmF6BCSappcWsEgdMzOjaagz
Rkqz9UxmYxmCXw/qZNqkSOZUEUhJf8qhftYIZsHJ2I7VFdQFCdIGTZCpvlWb9f7Aif0ClxjkORAH
sJiTnV5Xj6nfjuvWKT5EKXHRccSHvxwt1Ajh18ZQy/k62uyKgz7NRw1g/RQNQ63INut9w7FVGefd
ppHF2tCadaRESEIpkSRupFBJksjd4KEc+3JVsG8aKCdvjMa8150wjgV+TcBGDpSn0T7Y9ouhCc7r
cZVFmJlqpWgSgEkLJW2alL6pViKnQSmdLNxOk5I8BUAfdLtr9s1bCvob1pb2q4/6FaMz1oq+OLdK
GAUM4AgZ5dYqlZTAKVUquRRBnWrTKOEUxy8WUH4kVHqXXBqsVKPSUzlKVJVgrMIbVq504X0xRGLQ
hNUKYVhO3izA4Yzwiov5owoFRSGXjWZguazdhvSk2VJfDXE9L23T/81mcVIjmJuntFqdEmxJTFsl
xi1Lqbe67ODVg76aPg1S+RstbuwFTOJXT0m7LOxdNPvmdaSEXlXNlKpXki8vQveV4v0alADMFRzO
KyUYKG0GGMMoWRd5G1uJw8CaJovQulicBpCXA+8Kaw/LGLqxUnnHPNHTHGp5pXnD2+DOyTJrQOmw
jPHy7GdgYS9L0JjJqtkDaOdRNpngnTGdUbvmpZedOVSdSEL5v6CDI0VTejRh70ulS/PwpuX403Ql
UrOUUq3CrTYpyZqDbS3zEUd43SVSGjaphGwEyt5dDG3idTZcdG0GXvs5bmnj1UvbivRlUrUXO+qD
TTuZyJQzggGF4X9aBmuWNkIKB3+3ZEuBKA6e3oMTDM/JWGyzKUddYqB3BdCxqGnLs95C61shnoP3
gGWl+qqCyFo0IXoxU0N4I1AXS+oDKEzn1dihsjM7rALgKyt8JEF+i1NoB6ALdahJmMSJPxnNzVVy
PCpu1rZHQgImm0G1TbJaUefYJ+gQi1WaKRGJGrUMey/AHYZiTrXo82s+EUyrj2bTnhJsWQ+eXh+c
IXyntkzKEO8JN6+ClJHS/Al8f11ZvhCM45zYAtUQTh1fdi/hQ8jqRRfaIfc3qdIH8l93hMZWNUm2
ELnxWTfdU66Ug7qSD3oZe4TBg148C9SEDY7CuDNeCVfxEJ5ntU997JID5/58rxj4lORwDtAdJngP
awcrY88JLEfrQokRtWT8ZWJK7DAmFpgTg+ytwqPY2NxeE2rWK7YQRR9ePAqfbj+9NOahiheO0jHy
3b22mR+vkrGzV1rVvmVDxrmO1bOsaBlfkZhcOErx6JRwgVwXqcSIDk8LEhcM5TMZxnyL/Ya+b9Re
JeEh0kiD3DeRfpxjg7sJgHqkOVgmWVEhj1HiSa+jAImJskFeiJcyx0+JYmmfe9aJp8QO6ukms6yV
D03NQHXo9YDNIDhhuxyxXgrslwEWWE4+n005FYvW3XZU2hnDeL+nVGMYilGr0U818FzH/dDQhnJQ
8jVoI9bHkX4lJGErGS7JgJHbvM0+2uQsOEeEiNT/Zw7OYCyesMtPPlbPtMTu6Q8EF/B9sj4iLwVy
VGJzq3bExR8qzX4ZsIR2rL9whrIx9sBU/QDkgn8ldc4tdtEEO0SEjhNM0kZylmBwDiFDXY0aF1VF
XsM0H1nYH9WX5qDwjPj+7MS8WGl5Fggyq9K+MttcxFyQbTxwCynINUbcHPx0JKqAPlVrGFCZV+YY
HGQ0Oxlar3okGaSSXgRK+DChWq2I9zaoVxuzeWZhzYpiDQHr1Fv2E9O3r9n1tgatReZ6+Mv3g8vh
ifopzFp1dxG9gsHYzo29J4jhOcjH0cE6ygsLjydXnlhs5gSDLNyxGSlIE5msVFbZYjJ3CVgv5ug8
YeUFaNrHZPPURkcL0f5Q9c4ro6GNb9inCm2tZHk1T0hE+pulrLZdTETLeFSfrkF6myK/JSa24e6E
SOJGkuJGR5ZhBN8Qiio2qOhzGfaeJU0yjSWShl63VJ5dUmwTdDNIruUnYP33DEb71E8UY6vS3HeD
2skrb6/Zz9XSsN4dwPzEITAc4weFe0zF2QFnVH/gzNj7UMfpB20t1MBIt0CpjQwofDi7yM/cVSQw
CY8zwYZU8bRsb5/5/CwEpAJP8CCzrXNgsntC8glk65L28Uaf5X4kdBJNq54decaPLUVqbCE37q09
UY2XoGl3PEruwwtHhXvdxNbLC6qoiGt34qJxNFWhTa7RJ2dyNQbjqUCqzJHlWiKCs5AtQ4b4mD3k
y8OwHa14VxClyseHOkNfXc9fY65dgN+cdRTOlXvRM/NsR8M7O7h1b3DXDMsTJd6HLsxQoIBYBBMj
7DAHfw1XVaWKrApOOqcEj2BiLxx4P5DbAWP3YOCYLnBNJwZbjgr7dNeJfaB01EodXuKnZsR5cOZ5
BXCMO6p1KoH/BclwzkqMsQaSeu7W2yAPzFWC+zrAgZ0RgseIDYfqaihFtpD9Y2gCJuE5O5v1DSiS
UvN6zCYsnAFQn2BtuRtSpw8ZBu4w6C9WEn/1k/Po28F1thNiRSYkIeuaYfDWJSpvB6f3iNtbx/EN
t4htdHXy9RLErDjZxfAVmtVZsMXm9v/lTfUu8Zz3xK7eUiGOKV9TyAuuDLpT3sWXpmQb7vU/COJx
p9bh/Ch12XiYOHZrKsr/5hJI8iMe7FXN09hVqeCJ226HHi+GeBvuuCDvygaf1BuN+m0wck4PIMI2
2g8/mg9RmD2EdbeK9Y0XgmFMOZRlKM2ltZp05yUe9Af1dUhurZI1pA7ZvMyWgVAEFXEQmNodjO0N
5vZWe/fwuKf43If5TanDhRcghBXXAvQYyuidYk2jXeEBghe+xw+PDYwZ0LwUbfRgDAQVneBJSl76
VSTuuBihQ2LSNN67sWUuqYLOeRtvXU/74httlaK+HLUHesgHgbs+LLNjiUTZnbdWXz5ZzmBtQzzs
nXLek7AcxuaHer9ODhD5iytzyLNnHbIKlUOe2RiFp3KXxRwVd4fZ4bUCoNEdnFc9cC+NW9ynPjo6
TPqYirpBuw6FtQc0uVM/xWSASVzaLGmbZa2xI6zt7ZQRrU3vIgGZxFeod+aBAecjG+tXlkorx4uO
bil3bIubJbROG3Y5O56sfYzHYddk2JpDY2+YLEXcc9rB97Dlg9Oicrfmz9BJIx6e5VOvJRfI2uSL
9D2UsZNREzwT8skLcfO1Inuce38FOXsK0Vol8Y9eDBerMo6y1uJFjTSSA9FFBOJgxWmWtwbBi7G7
BGySeN6SlPrGCQ00t6xdCt36rXdxeApcu92l1Su8C8oCNbbDFJWVyC+N7rRLq44OJNLig3DdRdk1
gg26ABYp2C0FxVfrQLrqBDPyXDBN03LEH9a26aNqT3okWM3p8AEYg7brd+wgii9tT7DbL1zo4W1W
7/ykuQLDT561IgOJm2WEynv+b2Yjsc9TVoOcFJ78+JIa3bQuUsj9ZVe+u97w0lQs44FToymDzt16
jH6nyDjMvusswyrHDyzWo2Mlq4qnxNIwCiTnAwOrtlS0zwJED4fwy6bw3gb4RbXTuOs2C1+bMbi1
DKhnaeor6fLALYORoX3x2rAgXCUOcwXdRTRamdpiGPjDFgMPOBkdIpmOqzIsvkpxTwCQrM2mVIbj
7smdGcX5+MKnIe04Zim+YJRvzbgCyTXzA8mqIl72BD45i2B7TiJzhoEBag8BR+IEYOzgP4FVR9PY
S5Y9sU/IeiJZqixnqz44NhODxlGvdXDpwO4qE4sQNyMOA7pyH+XpdEwqcOi+zQn0IF4HzuCPUcZu
mFU/P5BjMGNNEOaumDVtZzKZru3xiLG1WKd6do+9Id2mX3GFO2TWorcioJkZ8MrdjiUAZ6ssvS2E
6B3tj/nBSH46lv0VT22zDFiJb5M5bDccqmJzLDh0kKyJMhiNEjQUdDAee7Cnixqpt/BZT3OMoqR8
auD3kc6cBllAQNfTVHwSdLiEBikQ03vPag0Gxty8ejabco/YD5vsknOXXK4Kl3MkzQWe1T+IdrjV
PuuTcjA5PyvnJ+U9ggroRrvBCHhdNPFLk/X5Cg5wuJosljudr63IEp4DjYZmDXAS7oFYx0W9MiY8
od1crjOaOKup4LFXmg1Y335g+x7YmJ9AbbM/kDzxvGw9xA1ti26ZeDFr+dyBEUzIFEoaCxQNFC2v
TrHWjOhNrUI0K6pug+7/yv+LvfNYclvb0vQToQLeTOk905GZygkiJR3BY2PDA0/fH5D3Ks9R3IqO
juhRRQ1EEZ5EgsDa//oN9mEbZ9TpIDnquqq8s9EzXmi4VA8jkhS6ENXkvzFw+mik2s3dk55YMeS7
YCC3pTj4ZRTNwbcL44A1Eiopr1ryeSS+0vZVYCy4xUzzVFBXqL3xowcLpZnQ4no5rGvYNas08ONF
UfgvcOefBGNCMIX6pET9zyjTcEx2gdnG3BfLCm/rVSJPYLzeSYr+DucTjSkQ9nlQOmMPf/G1xUN4
Ta7vubSn3MkK/Fyo/qm1YuQmudxlPmKG2GaoEfnILNjBtcqX2LuWW2Emz2GQZCerPCVhqeyjcXwo
MY09+FjpMXR9Ha3x0DSKsWpSIYheeWJYhkpN7ek+GRam96YDX4X7wiL1ExWcIhO7WvcLBvbts+uP
z4rWQDzS6maNLm84REX5yw3HVeCWNLl7f1fRsim6Vv0hxTKJU+uRTACfR3iGmMciljlSXjE9yddc
VX+VmXkPBorPwPc2ceGE11bVj4EREijpyQ+F3jjt77cuNPu1HOKNqVgw0rXJgTFViIUyL4Or7Mek
V186+OjS174FbvVkFXBn+y7WSCbeqRUjIC8uP/zor8ZNnoTv/CoaYjcaU+1W3QAOIdWeVJjq0mEt
Z2RltPHxyFwqFa2wWMOLL8pJy6ol9xhkME+Yj8OhiNud5NG+tWLnbGQO7q3Q9522IBpzQHJu0HOU
abBSEizvC7+5Rq510mWV0yojnqSZsm08M4alR4Opt0L70LTBTwdm01B1PzTdih5cJ37vPfzC+Qut
PSMwVyRdb2maY5jXr5WqAHKPon3PSA0br+IZeuVIvxsnakxz4mXZKOZDiQN0AQ3j2DfaL7PqCVtw
q8NAUZioeGT2GebOlursE1ezGYJSrxeR+Ebcb7HMVO9GZDD1oi6V7GxhleXq2aVNxoPCAxthwyGK
zOquFPGpU8lSb+TwlhURKovUW1ckB5c5CTTQrT8KvA3XeWZ/WIzOccnblzAOfNA4amFYEwbmxKkM
FA7kX0KDazrqfG0z3FXLegp6qAZZX+O3bKf4mYfNY4ZLFw9VJ1jLUMeOSuTYaiIfcN3uV2Zwxnx6
Jkn6ygMg2Uq22goVgULQOBfG8RCpEYW0sEr4HzJZHCC/87tVqtQLCdy80OjdLT269vvANIikKn54
dEROmm5/4HRrMEZMb1gEJzgY4qOcY08d8E1Xbm6LB3IrF/MbriD6rmrhbitHw9XXhjmZazn3NoTf
FsXuEpvLCMtS++L0NddJ2ZCliNk+T0MqOJtYDpnxkxEtvlZw/x9Do0SZB6KY5Rjciyb4jjeYsnaN
CN6993PkL6K1u1StzEf8kmilNtTZVF8tTlS7NkQyEAx04EIxLjkj7IYgQF+EWzc3yw0dwXQ5ht0B
D2ttmbVcFrlCRrzLOGJliPpmuteuzO5QYSmaBPB34aQV7ceEgnjEvq/ybnWhJgAc8lRnMPrB455d
JfsLBi0atn6Ijp5wb8qIJDeJNIJveQ663cJJ3uxxtDbCoyPotLpz9Dz/JMhAILrcfwRFETKEhOdH
N6tv/jLNOlzCCYUiopTX0fWXvl/nL77+I0ELynBZHlFwaBhqjJHF/d8q3nh278nlcTY6ISQEnmv0
opp+1yPvRmrWkP/S6GvbQwdJ/+xNNQx1rxdBCKxGyF2KQc+rr/bPnsiheDFIkz7uUUP3rGkOvCsM
sfD24gIVvr4GjYVWEPGLa7lpHkOvfgQaIAhCodGck9+0FXBCd21VvQnLrnd0bU3AsoCrCoOTocOu
1ip48DH+9qWa7Co7ZzxAk3IwT60H46LQMbcwuylBNHrP2+gMgIRdcdo/WXqF1CiroDZ6BDRJ767q
HEovaILwh6p5EjZvZtfkqyYR9SqqbMgVKCvawQd584YrSsrvYcFgVarlpa8cibNvTkpBA8PRKyTA
l9KerAaJW2kVVKvyqGkkU5gFOrzJf7nWop/oE04WCk6cB5V9ZzGMFBVWrXHwQ51cwFS7ERsvzunk
wBnx8+aSYb6/HpIEoBSKqylMn6cD5WvP8NeSYXAJIYvSlbvBmbLXVmQ8ad0Pop65eYnkAfT4V1kl
WxFV476t2u+ZSh81lfyqHKH3K9vZRm53NDP9ObBgVnqVs1MorvHMwMS4GMjxC3IypCjHhxxdqgOs
WDbxN6xEglXsY9pJ2HVVK8DssdMtwjbEeZ6gYhPXTW9y+OzXrsodPu6nxCMTXZpO8RgWsbOOVcCA
Nt/2OqBgoD0EBtExmQ4uKfT4vavcndYifVX7RjmO0tvaUBzW9RB/t+CWrbqRyiTx+r3/FnG/WiAv
d9Apkhli2f7S9KN+R8X+oKgm2fVjuMJpVt1Y3uCT1TCQX4VzXqXy7Wsr2iEEHg++pq8ZHjWrJA/b
jcyQ00XmU2iKSwoNbxVElyHfKDDilkUzoADpuLI7bMn6dlyUBidK10+qRV+zFpyA3u4ZQBrdVg7a
j9KNns1JuFe38PkG/1cnEphhKIRXdh+9WkZ1juwRq6CJqdUlyNCSVZh/7w3LWQwhMA/dX40qynsf
wiMh4/qPOJG0TTs9p+zsJHcJYe/HqhmubZlYPGSocysDfpaNB7ThOh9+yX0uPVT8/5oWFeGhRipf
hoA8CW+M1YdIbRjD1VPtSrldayFErIwCuFIgcbZjPKDtgQOWx0r/zYn7duGHWrgOPM3bt1rxWpOm
fUyi2tgQ79wVEOUoBSpZ3gdnaN9xXyCglhHNs0C0KFKFG2PcNED5mPBV0dMYe+5Nm1TTxYDLXTDY
p1Rm/dFNaby4qTZ+SM0Gvxgm43pAmkY1jmOtBrsGO9hViLvDhh58e4ki9aaPbo7sanrmFDhZHmVB
42SKhyla1LCiRUBTto2L/2ZuGScZMJRtsrMLU9ksq5OT1m69MuI0OzM4AoDIyEITkygw0xEdlh59
o9zNx4+x83/iEjg89X4T8QxKfJrJ+vjhSez+oTCgrO7UK88BZdMRrbSLRzgAVQw218W5SZvn3y9e
Cf2YhCp3gWg+OsdB9qK0WbFTuiE6z7MgZJqLjmyZdSw1wU9MkWRQmN4IHzrG49mK6L2SBTAQKdAl
GWGrxSaO/OZV0UAXw0jNd4nWNa9NCv7vxap3cZHMv9I4qfX6L+JMkmsnuv4iBDJsxkz1q6IyiDGt
jlY66Hkh7W5vVkp9NAYL701azfVxnranmYHMmdlEPgahWtEfssxXDqpE1aVkjXhNe3nNcDnddtS2
+7zu3iO/ZVRuWviuJklHCr1W4GFnjAsX0oiTqTyU4Uod5xfRkeuAQlpbtlqWPwbezi8lyISwblli
lxBrUD5UI96Y8psZ5uFJ7yjc4SWcHdF4Z78X417tgrOrp8lJb73gUFAVK+g76IWTkTJ9NTUc5HHU
Cs5boH9OqXlSHuf5PRmJn+8UYSUHdco07rTsgGh7kmTzDvJ8DDdejVatp0LMnF5wto0PIpDb2scl
Eyvr6il60Lo6+yUqSmpPF8bNAQ6yrKhaeklO6720/UMggBBLUbprfCp4ZFLvF9ZNCj2/ESBjDt2e
x5VkpJC5L6VxGAE9b045jKROP8EONG99LgFNtYlPn703lW7cItpuLTXBEg39WxuGL0VGkcSTkVF+
bK0MV83I5WhDaEqRRbmAyEOK4lknrQZBDeQWX1drMDh7fMZx3dVCo6am1O8R4+QDzAD4KHbzYuAi
z33G2UrHt9f6KBOMYkfiAahKCD7y45c+SKPHomfUb1JtxdML8v5nJEvRZZ6l1e7KryRjLDO2t1lX
WS9UPjit6sO6wBqBP9pgv9So5uCtd87CmybTutMvthE8zwtpgW9EZ8UPZv4NZpvzUuqJ++LxIfXM
E4+g5+4LNiRYEpSdf+o6RqtxHD76EjgqjKyaWLLYf/G8qF7bPYJtIzW8lzDLEUF7MPAF368xrfCx
yfnumjUpPo1CeYmtqr4ooXObp1xDL58y6S4VjivgmTwOCgzrXvzUiYx6bhmGUt+FFwhp+nVehLnC
qtfb50xjXOUoTXQD2SeUKTfVfaMhK4w03eVEeAycpqUS2FfgqAWqQQEi6ya59TzUd41JoGhuhMmt
9LzsWEr4qfNkzWnM1fps9QX3LTW9YV86PODLc5inbOn1zw14cl4G3nPl3tCgZcTO/7ASros2Yvg3
9GN5GxR7U6SZ/hjKAB1oY12cONYgbWbbRs3qm67Jb3qTEfY9Tcl6CtSwGufUO1Z1c/iFLGgfKhtb
y24k7tDdyxl+1UZTH+ZJsraJeIj5M3hK1dzKFmtYqXhExJnQa9H4d7e65+YvcuDaebLvhxwveyXa
pgTK3fpmxIbOMR8IF9WWUREMNztrxSauRbDp43q4ubG1lbk/SUs2qtIq56DsE/7+vFSu9Wzhm3Ks
lTR55IQzH8voRSuzej/Pm1dTVFxBcUjutl/zijaUq0rvCPL5vTu1CY11YREs87U/iLXltgVIWn7N
E2kp9oC2YLDTcedjyKKqj3of3r5mgfpa50JLGUL9+wP7IQxLJfj8bJ+fd/oexZgtx9iPrl+zVIUS
GOL0aZAiIKyxlYS9kYRedBe3CJLr/JIQ5nK1yX+NI7hwny+B612Rqy381v/XLIO696FMH+blhUUm
UF9h/t8QI3AdogR9XjMyju96Fw6ExaThyPQ60sxYoGSpt/OKjo3QCyodjrhKkD/WwlpLt6HKmqbm
lxzQJw1y/cRw5xUjY4FFiY6sOcMfKCba6Dsj68exVIubQewJ/Q013YKOYr4oa2/vFtVV6q35g7S/
H4JUvZckDcdtBqV5lw/c5Vwgj6l2Gs8FWCJRZSiz58n5hVbmCKMtILh2WkUUEK4rhZyyr3l/rKcW
ybcgq7Ld33YybT/vaZ6XAjFzQUfHP/ahUDKcY6e0T3WETp6Jz13/Pvo8aRapvi8U/oD/nP+1bhIn
4RaZI/DzP3cSD15DQdJhCt/z7P3b19TlODAaz4x0aUZEiVATs+a8+edGiH4+oBKRlZyfZWZVr+pA
/E1Zl7fKNbsHz85v82wimYd9UCCnmictHikrhlDKbp4s/PGd/rxxjWpR3KV5NYasfi3qltiJJoe/
Oe150FTc3Wp/XM9LldRslnArgqM1rVxX5qFALfikRIKQOIvf8LSREOp4JEwpXc4bkQMSbGirZdt5
I2SGDJvh+5ylMtavOt2L0sqaG3mjzUNca5+fvazzbu8XwAnzRs6IPqNpjGA/b1TayjfwQPvqJHV2
r7HTmI6bCOGePUF3at5GlQh30rjAHGH6sNEUOClqBvLzJPDmoQWNewr7PH3Oy2Q371lq5EpC3fIX
Zr6D/I8Vdx39sFnzMc0V0gwSk3NR5e26Lo3suRZl9GT4TwLHhOd5BVs36pUTtvZmnlcohX4lFggu
2bT1tE0cxTzVlKrczWvQH+7OUe4/ZtM+5llE15Nbh9kT5knMi3B/OKZw5eAasZP5pdKLn0iS/eM8
5XukBRUjJJ958nNPmXtxXOXZlL17qns6X7S8mlWYht5Him6pKCu8eELDQKcYWiQOjs2t9sLrYLfe
xxhJzB8y38FLhZPq2D3Iy7Sl5yl7XNy1u8z0kPY/MW0qiS+vdZuRFsYKlYbIIYtG5ZRGNaPfNLKm
Zrv70UEoJ9JQvphu2yFmM5NNojfNu1bc5uVjByqCQzyB0onncqMD5JoXQKADs6ni+InrBU0h5vI4
DLNHq74G3Qin2iX4x2xUdV/SA+Gpn9/n5YHIjEVoO8rVGAPnVBA9D5zJZ4y0cd3ip/RW2qKAoU4n
VkfbePcdnczo6VtG2G0nbRleDNhg+Kt05JpN5wUY7xIkoXZzRantvMSzN1kVKG8NTuy2Hg1vFuTJ
KoH7phhDTLwBbiStw88bjpTx3SOWNO7H4RvVL42BWFQHlyzjR3q/JSxq1uhK/7Gy6vEWCBUfcSMM
dn6RV9Mf5llOK4Qemh1b2srjUGn5oQhHJNl6ChO96VYhrJ3vjD/o4SWlcUmU0j8pZIevPo/e7uIh
cz6yjtgfHK5hxDicG7je/ufBbYDNISJPGxG8sVFlke/TaKifdVVii8Kuwzz6PnSN+9y7rbcbIGFv
lVFPX1VsvuYVStgvWE9p9UMl2+aomHmy7hu3+IiSl3mFQBmiFd+bdnpY0kPHOvvz1AwIkNDgOt+4
ZRjryvP7AxGm/aPDQAZSHQdXearCiXBvqh0YWyMzk92gi+RG2fy578wxcojkXf7kaF14MHGE2UCq
Cr+RZbWedyE4KPFPwscBRDPIFi6qleW7+ndipzkzyffC1qzVEDgKA6rQuqou6pt5y7FKdkjwYJPL
btzkg4rVvDKmzxYQ+efH87zi3Xc9ymsdnTbS+GQbo+248+847wLbdB3JmqI+BDEXOTiSQCHVKu9a
+HNeAUdsnNRVrzsb8RhfqgJkf/7DkRe2MAlReydbBL2MCMwDYbby0VBgyXx+sSG/tlwGqDZia81T
l9BRK1fIopreIs+H8hWOnnEU81w4xOEhLoHIv1b629t5I9fJzOP8DoxNC6BfwFoxpO0R9fp7d/G0
z3mlee+fS+bpz92BrGG0UwOFV7YerOYl/3H1z+WRBt1KhvXw+RXmNT+PPh/obx/x80ie2xS72FM/
P8K8zp+f43PzeU8avxpwzDj+VaV+vvn6HPM7YZnFYXaP+P9toPE/z69cx33iv7fZwFzg58c/Dc6n
Df7lV47HuIq3uKfZpFU5GJT/Ntow/wt7RkdljOO6JJBMS/5ttGH8l0myO7YYLmYbhv5Pow3NxTvW
hT5n27qmev8vRhsIpDnKP0xbHfw8NDIAaEYRM+LafzheJ24d5iQs16jcCvrOJWBYXdTeqvIS+R0K
XDio/gfcVEJREd0fGR50j0KNub9PK5hh+UY2cvwiRJrvifjqNzw0bZIgSEhM9OK7adTW0iTq/ewp
Hl5sNuPNeUuLKlbVmuE1bbtsiyN/uyO+oaARoT1+7trqIAUrDnfJ2PeOFcNJUNh8YfVmfRn1qLoO
oaRA6CIASATWi8gtnMfSIFGUMideVUqXfQxqeyx1od2CvmyJHfMdQEM26O0nF/u/b5bdwN6JMxzo
uLe/SWJB5u2o4OO1SfTWAYZt9CI8/6mZ9mc3dE/ibmzOatryDPVpd0HIhJ+I0EGHAoq3iKlFP/ws
MOgfTws+34aVfq55uCwHKvyVl8DO/Ncm83bTC7lwpFWLZk+CMbv6PX/eAazz7hinFaeAVT+3/1qv
w7Rj07TgBF+bze/mbed3NcpVQsNDVC+iSLaG06m7MqpQnkvn1nMVXPO0uxeEOjHGT+qL6yQf8zLN
RKU+xuLXvCwwgZAwjkgQa7OhSpkFQyygKz5NVlYbnrqo6z8nrdHClUqH2ZnCRVzGlqcdRkmGTNrF
/srVcnGnz5ST9JjWG1Qz4t4Ch6xw4kt289Kwo/eWx3CV7GnlEF/BRd6rObx1Jv3M//DNXr3Mm7ra
cAxMUTzOy5RwsiGMYzC03l72XkpQEs5Zm8y3+ktvjtpG8SL1EtbQTcCXdUJT43HjB7px6WOn32SB
ZhHlNnYspWr0lb7d9LbwLkDVzcY3B4VeLdSeTA7hVfBY27BKfPWxGN30aZ5ewQ0KsIA8v5ImLzZK
mhdXkZFO6sdDefXxUdj0Zl5fe1RLm6zzmmvvIf/wY7+7hvRoN5nrk2NHhi9HU9QrrQmsvSkVrsJV
/LWv8Dz3Yzwb+tq0r1mnumvyYInjC1tnrdSOfxX6FPQXCwxwWzwV+0CJHiBhQKoMdChaWkAvNTaz
B0xANeDXrnjgTqCyF1c+kGE5Qg9SqodeMqLkaC3+eDo9A83qHrKABGHfzMeHPiQ4lsRG7UFkScP+
GoOjQUXrRWZB0yfevjcL56GvFUmHvPYeBB+Lo7nKgx9DzUFDHz72Po1YTMxiaL9jxtH69DEssZn0
QVQeQysc8ECwcFjpyvrqaGG7r9z0fZ7SgYiv87vWkeG+i8aff8wf+dkBS5eQaKfNvzbolCyHJwQD
4GvevEpNWbC1SVT+cwEtp4Z+vzV8LjB/H1uoLvgVgT5/bgG4qm+KGuITX0yDXDN9hKGNy01i6iQe
TZNfL76Sk1PTKvWfC4zA19ZActrfFswfmjQIXEsKKN9fe5kXeKkarqkNKNx/H2NeoCrwFujwNn8u
0JKkXdG/Nz4XfJ0TPwEfsywRruddfS2QBDksNWRMfy7IXFdbhkMKMeifpzw3UYiYOm3yeS9fJ9Dw
7YzBrC43X7uft3UqHOl4HGp/Lmjz0loERkMw1+8/w7xFQkcdffiA3wR0owUxSgeD5vCNm8rKUpzh
NdNGfwdTKiQPvNLeMYtbkmCF/nWMlEuR8RSMTBfRf9mpJwc9Kj0TSD0oSr6VpENlo2P/sCXSqIwq
kh+4uSqxN1lldmLv1FqM28CpupfM9H7Yjo8hYNZgo0DzSjMqc1mVkHlKqba7FtYpWGX7aKBE/F66
PYbUTlg+dDHFuw8alU2wFITrUzahVfNLOYFXDSjWPGVPwJZiKclKn7CvJCZSrZXkdcV5kF77GSTT
RkEcqUNo7TRvfplXrivYl3KC1ZIJhatSKJgT4CYClN8BNJtkguTmZfOLA16nQsS5Jr5MPl8Gb+wu
ablzpsSpcQL86gn608AAlQkf1CdkU50AQglS+DWrmeDHINwrM6w4rRlOUKMEc6wn8HFec17JAJks
J4jya1Y2AZjFBGXOu59X6yag05ggz695cgJEtQkanbedj1BPwKmcINSv/RG5SJiZBtT6Na+bgFji
8rgvTF9hPoY9A7Ygt0kbDcESNyHlbIPtlmC8uFMYtDfoHsxIcNUQPiaHTST9dD1lDN+czhq2BXEN
dD02Q1ulE9lN25gV6WxhZ6V3q1bKNfmfxRarjuTepXq+qlRrXLXCfq+GIL8nzpAtpTYYh2aa5PkJ
x79E69b3Y3av3PK15CnM3XTiTE7PRtWnt1qWAcpqprL+WY2LSVBeo8bM/FMAAo7DGrbBZlvtOoG1
X9SQX2WHw900K5Nsezofnd8Md1o43S4NlRFO3fiqllF3xZXYXBsKJglwgcY7Yioy1PxQHJo+Vu8A
QIiXOxmdQmeS4UL4J41rq+AR/mRFTXZL2w+rTPW71OigBL39PGLwckTKQtRm4+tHmt5IT7zKuGOG
g0l8XUbrUlNudOfUaxHE9TpuK671uI/WamjbW8xfYGy7RXIIsqC72yN8bQ1aBwoiJnXIUlJXQd6L
/qOjtiV68URIyXhrbc18AuZD9sT3TrMR57Za/BwyWb40LZ8hG9wDxYlYzt+z0wptm4+aWJt5Md79
is/lYEqwBTwRxwEiAFEfvOioF4+q46l3zDXeAmlwBwhK7W7U+HpoevlS4/uwysu2g9/gQr9U9LtB
dDrSnf6v+Xu7fSsPXgyfcV4oUduRBkltmopwo7WqeZcpOnmzCpv9POn6Ft6kiaGfnSIMHh0kq1JG
WzUp/KfOVtoXi2N7Ruzcy9GknIEp4He6fe+6zMUbudjYCfJfsy7dO3+5kljgftggqHLuYc1viN4E
tr6NcopMaT+3JVByZj2a0sJlqJdnR4UeXaRFeM67SD3SHiKW2bcZqEfGXs3IPhvLS+0F2cFQu+cA
Ga9uxeY5gKd/tR5jcIWzS3vUrpwN+lbz2caYQ28T41Dw5InMptxi/btT6MATVG/vuX9b4IS9fZzf
zS/C7C2kVXBVVcXaokq1lrEDTNuYB4CxfluG6g+fTvcKzbq+7AbpH4cuCI7uxOLOypDDPJO8bZ3g
L6loTZItzsftOoxh2nf0VpcqbZ0l/IbmguLRgf/6Dn8FHTMYdBlZYoPuoH2KVfuKVOOtkXn0gj9L
ui/D5BntBhSgMERfoYQPZjGOlJfYGnpgt+U4vpgAbbAj801p52QW0OpaArrAH1PxRzLAWJeBOzyW
CZqUVnoLrLLdbajo70FH0rV01GGd5fq3LiiMrRhae+uM9SX0uo0iMNPnRriXxROCqyG3KcuBb3JP
x7fKxcSYNsxSjuW+IRtUdYMLXcJxE1fur8IX3JDqfitLuTVCBWPU1CZjDU/b4ZaEprm1ehtf3Ux+
H9GF5Ul99pz82U2GjzrHhrr03V/YyCHMASTy9DX1CxJw03uHR/jTGs61Yz7itSTXtEQ/Oj1b9QnC
JiW3zZW03I9SJged7NNNIHsshSUm3CUMpwrGpV7kS7xHMafI1BhewbrJpljOpxBrH+IIS0xTq7uR
0ajXKHW1gKw+i0xlEx4EjqMxF4D0MKit0OqTyctjrlqkJTpwF4mnjGDjNGghe0QvW12lpdxMgnCL
y1AACu493djr5aAsrRhWI9KOaq2otO1pvbdZ320FZvl4w+nxOW3HnzGqJJk/F9Kw18LhKRli2py0
+kOhZ9cIGiKWP4CBaW8ci3I8FAkcfJ/BM/yhcmVJbVPH0U94Hfky6eRNjv0q8rCfUh1kmJKEk5TT
tOry0SGavNgaCnq8yYrBXURDV6ExLy+jkEjm15J+alLFu66DfimSvachYfQa/Yk77S4d4GcEDXHA
AQaLmlMmi66BXtKWe6+hwkCO60HNjS4XX3I5pZZGXYnhpVFpW7xXuIurrxjdjSjNnKfOq58tJV5m
pnxoveS1JxpxjVb5YjZYHfkxzsJWoR9xoEAdYB2S1FcXrS7WAeZe/BYDDBGtfjNoY7WJ+XornQvU
jlJJPmgabYuLKHMomNgzoiY2YS2kOch3gOUzWp5CNTFR9xJ1/xxgvX0eXhxpFlsl07NF6sDqzUq8
fQP4bopBnyaI3zUvT+CTpFezbUJkwqAgeY+JZoCz07JLIHr6uaGsuZM7OAyVm4wcDayxhieCG1YD
7Qp8BCHsWMVfYatWcH7VjF+NmR5FCJ+h6vMDbhnRVhnMR90vt4mnyP3YjsZyIJXiLrt+ZUVlcLJt
ap9Io1zopfaOFW6/rB272xhdMamE+ZGbFs4YodDQsSncauNRizZ0aik41f4UuL2BmxnS4qG7jMMo
9jJpb0GuNBsGGh43q3hr4735bmlKvA74DkZBDekMJIIs9ZzB2SCoCGzvxsiGS5E762PuLfHniXHM
X2eVZhwSNY8glX5T6n4E5inkvirFwhJVeejcAZjIarkdGfpROJOSsTgPnv2sh65x6m35y9D19GIG
wl3Uai73zWDhwAYq4NeJRYyk9yPFu2TrhFq6SiqcXQyUmK4FdbQ1q5Mnic10dUwSyG92qlZb7DDo
D3/hTAxgD8eico0beYbVokPtD5K846aMRLU8dRoRm6WI+Mu7eXscc+PcmMOw0yU2CI71bUwPoXpV
zU77yLDeW46KT02smmf2peZmcgpDygpZA1DonCql5W9i+lyA6KVTnqZVfzaC4Togvc+EcvdH2r5Y
/p81/I02SmuUK8j+9d0vS0Q+gP8r20Telev23muf6nQUJ2H87N1u8polg9TruBqtQLqHtqtPWBPl
ZyWj8Zi6+SGJiE6BB3JrU+/BImP1pZqgMC10ji1+zctCze2zVUCt6Ope3YGn7OyuNskUSIYVpKjo
FFi/okTt3pqkLreGR15KWxF6kP1QMkvdRVVTAiyU2O3YOZYKQc8PAzHHts1amBzd+IT/B257NWHW
SH/wbBIbUeHbYBnIO310XLse++i1lwTvUnEKooApbnDZXSaRG/IXF1fZp8XWKnB7b3P5gtVLufcr
NILjoO0Fxuf8RtEI+oHxDrNavbpy9A5e1V9tN1CvDvAXJlG98j1GrvfkuDTXw76uzjT/3WOvoMsO
vFG/a6Z+w3IrPyPEJula160tv9e/JFb3Pj3ABwJl3bOP/sRQfQdyqh4oB4ykxDIssLjVQmXiitrD
dsCk/mE0wwen7attUYEFBLTE+U3r4abhrMUqRKcigAdXmsrVbSJeVBisU93NX3ZcGQ2u+sJNg3WR
efhfEOK7lGnfbwgseAry4VIHNVL2/K8igYXVJ1m0Tos23dQqJb+GKZ5R2CcxIP5vTB9SoKe9+VV8
rMhZWcmyt1eKzW05UvF/Ekq3wpoJyStG6YB9jFZdKDGWVD86D/K0p9B3gcM8wXRgPx8AD9i2KEvN
LvwVbagdWX58vfDmlWqyCoR1c1vtpXlIc0dgLjL1LafQidKCW1kimUYkFBBYCo7LvgznZ9zki4KT
shj98cPMvE1b2TdDq+/tYPt7SwmX+WgMxyGsi7Pi69wcpndUMP965xuTNyBpzKvPBQAzeHxN68wv
uA2Lo1f6UAp+L/jbW30y4SqlTt7xvIkbyM/t5sn5eL2OTsNs7bevY/6nzxEL71RWYwUA+4/P97Wu
BVtvjVQcgdB0mMI20n9/0t+H1VWAzsA//fFpGK3Zn1lf/9uP+b/lx05u4f99P+bYdB9R/X/YO7Pl
uLEsy/5KWj43wjDcewG0VdaDAz67cyZF6gVGShTmecbX94KislIRXZ3ZZdaPbWkpC0qiOMGBc/fZ
e+0/gM/Xd/hP8LmwDBu0+N/55n/fxwj1m5Q2tXXCEbDRDQEs/e/7GP03OhbXxk6b5jyLTst/gM+d
3yStkrqjDFNXuhT2f2cfI9Wf2rss5dKcR0WgNHWBtWL9JH7tIsyrog7rzsQmUvf6gZU1G4i53eGZ
4rE4BeNpLFlxeK0yxlNEvJXzQcbrfYlz89zCftOZsSDZ1QOg8RnOt24Pp3+8WfcLr3grgTCcj9xa
IkWRR7b+7d/fDnKKTiLUT41h6FQsNZkNnCtrIbs4av1rOhBym9MtWXhwCbNrPBSTfdQK7L50LdHv
Zoont46oGV2gApZpuAVnyNjquOQS4xwYMs8oapaDwpvrpDzEDZwBo88+ZWGkpzzsaaZ70onTbdPa
qvdhhOCsOU+zpRW+FZffVTCGOzh6jMdhO/uOLPJ7mXdXHREDS2EGKYtPrHCdl4nc4RtwkkU2+mko
cLerqhlW36exSQtmPAZZkt6NWexbHQR5qHd3U0VNBp12iGXcFM2wvY8ItR7DFagrZ5NZQA8KP684
86YaPWcCE3R5NTBMvORLMdyktfChjfqmEZLN6EhADnQssYEw7TsqMNYTdLDPS9z6BSNpuw6KEVah
TZg2RFP7QFy6mhyQDIeTKkaoQqRp9dahyCqZnU3kLu1tGR2TvBoezA7bMo6M9a7GoaEf5xszS2zf
Tonv2qGV3i8XFbYgBrUyBmJdP5bd3m2b9GIv12zOLGBs2ggtcV5OKOAQEePhime7dqH8YSXausCK
mSAf5vxbH5KncIwaiG8tyVqkYcJpFYXUWRpc3N1boTvpIeNo6o0jyoudul7dICZ3qKQ+O7Ad2dtr
02n+1OkvdlruaKIGeqX6fdsS5jUnZuwwyJ4jwjE1cFCek5CCCGBfqiRaAItwFLGT1HeUyi6zbb4u
s3R2AQNoPwgSV8x+fhrNDmzB9i0sy3074rApl24hviIUF1j+klYAbEZZISb//EqYjjg4ONqWKb/f
6sGJfEfPmRJUcVfz3lCm7RUsfBAJYrUYWCFM6H61RSsQA+OGM+WtFmKFy5vsgKv0y4zo5FMoF3hl
3ZytmFasRTXkZ8taAsciuz6ULY/nKWAYJNXMhKmiHSibS9EIVI6SA8RQymkrYHqdYMdcDV7Uey0Z
7grM0LugLOjymI0J9OigIYiwt4AWm6INIMFB377Ei/00YJ+4kx1yc5SWDufC+rboVkdyw4SUZN2w
x5AxbZYEX7FDBfy+scPPQfWnuc2Nk4Br4Ssqa8nSXmXWuZefv1QAj4TdLjeOsZDhqQjGyVwdBt01
Hkf4b6y3k720C/Oc2cULWrSLe7nGoxpXt5PpRzBgEvWNE2vnqyS0jrjPBi4jlFzNBfkelaATnNJc
DpuoZQm36CnXJPH0sc/0LTNuvE+zb/EKe0+UYJgfZzCNXfMU2KhnvPJ6b3Dy1Pt5HXRJGO5CJBo3
xXbRDeCQjR49W5rvw1A5vmGM2X6xGd5MlJ8pr4lyOQBPREeTja34dMwaGKye6XdkfJ1r5dgPlUmU
1c7BQkfBzkQUEDU3qkAzw13TchRlrlJ4h50CXTAhXC7TrRi3XJH4Ibv6noULTMAEzlM/010V6jZQ
98WydzihaIDp6aMahLMnGRFvrKwxoHVIfRdL93OmSACpbiKNkGxNi46BMKZtgHnkh7X2D7AAmO6b
tZOAhxrktvX3ONJ+L3OaC7hM3H3IQtbLEpil49pwUKniDQRUe9K1qD1lcCF8m+QLLzF6EPoi1eqD
6tXJLAgU2D/7EpquO41rm8Ivv6ynizhoHmyW57s8hXfuGqyhusqo7vhSdjX4sVwH+ZMFlDgsiylJ
lscj19BkbBtlwfXUwSMZrrwMNgphSiEzSk5P+A7w0gnjuzeCEt1VwpFvIuD5AXHBN9GsD+2YiZNs
R/bozrdadNl9TxCF/YVTe8QCsWSSuj4bdfLYrn9Y08jqI789N7AlcU738muTHgfTMd8RlZotr5Th
5GjDsxMl6RV0sfCJzwjO4aZ2b64FGqlDQyRhaLmvTOc8ZIX8kvTtdVn65Htvme/SrhJsgJO2i0OD
iPZKCcVlq98vEcV0ld7TtIgdueqs7CbX9GHDhgjPH0yZLRc7l06nDjPQ2lNZ0kk3Rjd8FWoTIRaR
H+pe0d5vItSiPEefTMsBKiArxVutpTugbPVurxlEmCqzey6XEq6m0NNPrYFZNHOyHDhiK62sHyx6
HPZaaBbH0W6gYnV8dGkZIKelvS+nRvKssc2jHVIwUkizuNVD+9x1sMWU1qRPvGO1tWp53/CSchHH
LwnHqw5s3dJcVEroM7cVzPj1zRk24iYLIbLNJJouXFKE237+589fDBewjz65+0AXncdEVflLHI/m
jvmrvQQjo3whcgdET9ddksXsLqE1fJZWAEpr/a08C/tLWln0p9nyHC4WFZIIqv1l4PMDC8h0EsTZ
RdBlxCOtHnaV4/TEcSh92Og/fxUFlvRUTPduBqzZ6IiFB4MVX3Qyy/YcfG2y4MaVXKJFmb5pla0I
y8bdOap76jW6MjlCKDO8hETBNRkg5Zs2sf9EUy9BwW0siufAt/O836fDitrVzOHKIuKu4iefN9VP
u296k4roVDWm2Dv6RecbeOlki7MjzmavG/rgrLdA47qEprlCTTpByHHaLlV5pweCB2phGOccPMqs
uptgHO37yV3JvoHGy/sOKICxjTJpYzsIgf8Vk3bHtKJBCjHU736wb9P/DD/LuxISaFn8pejzuzIu
uvZvfxV/6hpmWFVMq6CzGFdtBV3nj8MqvYjKWjI+zYoaSiS6/rPR8vtuIYuoJeWl4QW0i3NJUHeu
fdtMB5DpNvjMTJt3eRa8c1P4Vmr9dDHD7pBnERG5DvDtYE8nPup4gJnzGkXtV22m4y6d85QoDfyy
rMtPCUE0qP3ateqWcN+1NdCbqN+6owb+F3d5qLtUWjR3zDy0mrB7B1hMwUOX+JrL6fKX88V/8Y0w
5P8+titHx6glLNfGTPrnznvsTpLWlbj3acLpLjDjIaOURAonNsaiCniaAqAiZq4B53SC4jAqJGVh
EgIPal7Peabd4Fap/Wmy4tsuhNvFkHHQcl17i2jqMW0aObUmCfZaRigtTufNIvp+n8TWV8pgxIFI
KtKyUb7/nGCkxURUWE260yZwK3aiimMkCndrOskPBjH7ZgicF13vM0gg+g+pLBL5DuCZ0tyFqWXt
h8GQp9DKbs06Ld/isT1QevLUtz2FD3Ff3Bh19MUmse+LmIZRbPnD7az3e0Wn7LlyEMyAt/QovCK+
a933DjpCEHXqQ7DIdlCHVmQOl3oKmqgEwJ2X1LoaY+lsK75HBYBOkvPFHmz5xpU6NSpk6GKL1tsa
WPPBmlc0CQQbLCrYHkx507bhDo2WLBVCiz7rkRfbzd7BdbpzU5S6IgoOKlHNRtOsDzDt7UYNOQSi
HEakAUh5qi22qTbWrVKsGRJNeZHbe2anJ6e4Z/XBieSUmM/UaldHRXYR7m/9CP5C7vHEBVtVDt1m
bNx2B05l5HZS3yElzH6Tpl+C9XuLloklgVWC37Ey8EAjsGA3zeaxsKcvtVZ9VEDYmrxw92gir43k
nhQKkFdKiqdMS55FwOc8ZtqHJm4Sl7Zdw44eotW4ENqIokmYWKCkaPCUaQROmnEniN9sKL5PBaxL
UgYgPLI3DHTYCKC9LUbD1pCpN7X1x3T+zDUEJhE06cuc5Nd//tJYXYy/+gu5Rzi24Qjsj4bA1Pjz
wPvt/SEuQu4oxv/IVJVaA8wif+6MctMEfKt0O7ozyInMInoyc2pF8tBZyP5zOTAlDEjZsbNwWiCe
eIbs/kLlyWZpbfFAuj/YYSx6qIASsjxxsaUc5apEp4Sz++xowrXhAV5uIit8gr5z1tYnir0grGZm
O5/W3blZ5m/uJN+zjinQHRx4U9QD0jSzUSbpmNmk/a7Lzzpx0s1YMRAbEjdk7QKAqvXvBreATWKC
qsoUYF9ygGjLDY8ZsNO9Y+2s1BLbAKJ8EkKt//m9/P96z7/UezCl/p/1nsvnxztIkT8KPrzHfxhw
1W/oKIbhWpSUs41FoPnL+Nl2f/urJX8zdEy0jklCzdXx5/5D8BG/AXxznfV/CtLKKsO0Zd9FvJf1
26ryCN3VpY1/l+73f/+3Pzwy2z+9/esj1DD+/BA1MUnZysK+5ug6f+qsL6BfXiBNUNh9bGcGWFfW
DaNd0RoHjuKbwYnjs7PnGayhG18l7VBk2dr8gq5PUGV5QOeGS6BV8820dgYH/QJEVNmFc6YB4r7U
yLRyhg7OamURW1pI/Wyu09EzGhz0y6bZKTZHrJZ4tJgj1cQIGekWBNSyJe1Ybusydp+z3vhekpnY
gFFId42u3QLcSOExVqsrpzM2SWaKUxlBEyCO3Hju0lhHq4W7m5TNE8Rf0r/kRbw2xzHqQiw7dVkQ
eUrQSKYY8uGdhZ0vdeMtM5JDXQgbxya7081iFz9KLEgdJhZWP+43La2lF7ZUKim8FB5x10vRB4A6
J7Owcs+I9ZDRYGbvVhvVR1FUr9oUdA9NEVK8JtnuKCPMj30nbRBY4jFxaueF+HKMaQBXxLxQzV6V
cJw2AUf7c13WF8rS4DrO9YteZGB2YgQnhc/KqHtKv4qvAnhxAbHGk3gPaIGY51uEfv2QVt2eHCmw
DX0cIN/0C7YB4zXRUk5A9fTizPPLHE3Psaxo2V6QGQypeDKEFuSCeHkQcTX59SiGTYHVhv6mC0nY
bVfqT1UUcSOU48EpOEKqMQZnl0O1qRRfNcL+8yJo+wgKqFwkMYm4x2u+m8OLl+oQQNIx+Nq68zmu
xHfaLLKtbJwHIkUOlU9ud5k7zirzzBJ/GOPnopRvThZkB0BZIza+PvDH3AADMjmfsk5QCEYKH5TU
uG5liTbPwzDUGgrksmsPnmM7E7LbQDg/hFZ+qovwKyrRAxdbwyF6AN6cQ6oS2jNhQLkda+ZERJFN
YaXEF13zm0hTlkx1+d5XdbVhJKBWmuEECgVUgDjoNviE800DAt0DPvF1qEJ3ayzUBPEkPdpNVOxl
oEPQXSD+jmlrPTSwLXjENpk3EMLH7WV97wrxozd5PpC0nc7jyPHCmuL+lpwKlRzVwAgOI/C+5QjE
0gOTY8V+Xgh9m7jQe2PLp8rUgoTUC8+2aNpw7bUZEbsDvODRteWWkVztuPHw6nNDiEjYrtmNfpny
kP4HjWt8ZC+HOW/axvn4apmU22QZHywyNDoGJrYtcVic2hYShJGOFv4J9dTiK6xD9QragnOppGIE
oyxIkinBOaRuuOZB48Q00bB+3LDcHTd5N9o859z2DKxuVSR4cWIcKbe4hYxtxm6bSnsn9OGohCda
YoDDTHgnM+UeJ5OS74m9s5cYM+0jcywQ6lDirBkKS5dW2ra17W5vhmo+T/EUQu6lFVHqfjWOMGr0
HhkEbxXE2ukLVslsSxRilxk6GK9Au+pG/GhiO6W5TvA6tk3AI5PxlTyl5kMK+kRBaTd23YAcW3iy
WnV7tnUUrwYizKHQ2yfTBU6bWG28DY2S1b4G+A9jV3B1YPAfsR3cJoQIvQL4Pft7UWwBYMLmGUlD
mtR68iUTh+RCHg6ORkdA3db7xeKM4PXAtd6XyOG8RhWU5SzwPtlrkee5wUPCTXaNx1mO5dUifcU4
/iMizrox9OE1yssfI6RbUUQfuGxve2ASnlsub2CTD3me+IsdbBONNEUz7mg4PYUjcLulvmnhbG6w
wOde35SZp0jrbbQSE+Mo3xrRgPeK3t0CiqCVoxxlgdhMdDuy3O+fpc2elkYXHC9YTjCAQeLW1RMo
mO91aXxNTe1QOkSbbXbbW71YAsgZdbabQcMcGNs+Bnqz9q5jUuE5aduklWQa1FgdFzogj4IfAAQu
IABjwRa/XYy7QQH0Hx3zIZnpYB2WYLgAE3xopay4bohR5hkjGmVJwQRdJnfS2kPe7TyFZpNDqHM4
6VFBYZ5QdB4XffhqUFQIewNdEfolxQNgaxd9Ie02otpgr3wbK6q3+3m4aTAcJDNYQRiUDxav9aFK
H8Mpfy3i9inN88Uf4xQDD84C12/q/oIHFNx9SeUjy+DBH8RSwtpsHztVdN7M+u5mydh1071ChZIL
CHoyH+mdJYdGMBCyVnDpVfoQZmTHKtA/9gQ6ysRD47V18eQkvTgHICb3tdE92jXvViXC2SVa+0az
65sWL/GGaT70rEQQ6oPmZtIpxj+wTDthzu8RJGD0ZnFjZMMj7hTsJTVR89B0PZiz7FonsJ2mSSNk
X+sv2pDlGCtLBOnW/jBbeahru9iqBe+0o6Nc2zmxFken66MhgOlM626h1jD+iRCyAq2gxYI/NCcb
jBPEW2aMqHn5nUck96XKb5dEeLEwaVIi6Epk8a41UHl7bCR69+LoA63c+qfV243XZyadZWEBNYIV
hAZuqKW/mjNNcz+HxnyI0B8Evn8/DMf7fpr2yF+Heuw/ysn6CjwDKrH52GnzBxhXrG8TVB3Lhhar
9o2SyGLWaOtfijCOjsVQuXcxmw7OzUgDGQaEvtZ2NeEAzFzQZ8Zt27f7OEkOSSMeO3sg+ROAp2jD
hs50ARgAcPW2XKYnFcb3HOWe20YdcjUcrT640HVxh23mYIuWQ1OY09I+pQ8y1e+zpr8NLbu6kWHy
3R0BzYMmweoZ8+2nVRw/SksXi5j0Gk/a8tIrGjtie+FZINOrM6H3NKJ/VpVFjau+A4rhh4W89M6y
lWlz4NZwaNcKLyvFf2YVH/E8neD6e4Ogr7TpblZqHq07PltMn4oJpPfuVERkmImoi04+2K2FIKD5
OoVIVpZfs7ViNY59HKs5ngo4QOSPy0MJjsGvrQD1kscZrjnZggzrQaxCGqZkzQtkd6Zi5tbk2ZnL
9IDq9xqwOvS4q1JnNazXX6Qeo8EhBhzfjyp/segoz3ktJe2ybyB7whjZr22nTQHbLB/5v0vBVudZ
2rwN8TgBv5v3+URVxqwee2PwgCLsUP/3weqcAdusAJ13RnaIaGGphlUcEbs4Rag0DVb5WkWpE4ja
bjF5QQZ0Qwh56skD+SvEDEsKk5Yc93E57KdRf0Qh5kRvBbQlImY77p1mo2O6KJ6U2WCXrJcfS44L
M1fnEoJM2OP50fC/CgMFhu83bo7SmvliqicZpY7XZM5bJjriAZGUGyg+g0dabs9KiHM3XJ2YWahi
6YdZ65stxt4r5qSGC2jjfZw+l6y9S7v6WBTcq6u2z71GYkXpkmuAHaBTNWSi4VhxByrM+taZljP3
HQrSh4WcGg00NvEYBp4SD6YB/zNHHHde5rw5RZN84FjrYyS9ZnXwIUoXpsmsfsz1IiGGjU9WlmL3
INhFCya3cL7ZAw8djVVIGT5zi93qk7nvFuOkAwGHbpHtCHx/sWV2hxUZnH/eQw6tv40tkILc0G47
y1Yb3QLuT/jHVCB3GGyKuGSWixgRY8e+HQP2fICWS8aGRN1DofFznEc16YiSz0XUzyMUsGk27oOi
/RI08T6xaEdoVw5rGg+LX+fRdoSpT3TrVcGI6tcqU+6IqpAvVITti9S+OHX8EOpfSALsLFYXgTRo
YeCotrFU9Mj1yr023bUTsMCl9dd7hj58n+EPBHlxrGLxg8j7YTaCe5vO2WF6YMm9D+rWz8cfKoeh
DGE+orW6hxfmONTitrVPLmPTzQ8DD7s+ZvWkf11hoXk+o/zcl6XLD0Z+Ku7N41T7Q1JDfn4s3fDs
BvjS8k1qw6sCAGlExZbr18vRLZLgQ0UODmtxzNunGYtnRfuJIow29JQ1DtklVsaTOQPT6FOEwmnD
cwz7cHgG0rm1JEHM3t4WHRBapkOCp36Ei1Lw2ZXCRUOzSIobR9vqvpEq+IKBy3dRzVqOdRqDdbiw
PSB80IwVkzDguLjy2pRbWjRsWgXLkWHPaeRTQBukwP6T2yxoqwqy0/eo1hDlhivJme2AAZ4aicWP
qBYpI9YJYbnnDrtp6O8e0+PSQ7EO4Y3RK+j3I9WhkAKRRe7d4Uepmo+aW2ayWBaCcHwXaSM91xZN
oFLLXvmJwERoAKxau3z44iLxqGHY6jChqCvF/Bn6DZeJboaPphPt0kw70Pp0P/avk/k8kuJMx3wz
8CUZjvm1JJ4wZvKYd/SPOSWlBTO98nl4dKzoo2lNP5z0N2lTX5zK/SJiblTlKzW42H3TnV7pBwJA
BzexWEl3AGwHn63hSYqIC6Omh0/xO/WSOF4IWdiLM2XtekuDoMmDZJj3/OB0KpiKR50hJNbSezaP
M01bkBpnDkn0NOkPDV92P1I7K4odtZf7vqh5tIV+nJWnEnoYvMX7ApNo4ep3HPtukgHr8pzv9S4+
jZyvwJPeEdOXLB2tg8JGP09QqovAniCGulwYKT+JqvObaXpl1j/IhXUTT3S5HwOoLDxQ57Q/F0YI
NVYzProY0qQAqe6YvtDBedNfsglzPORDFbh+nunjQcZZfCz0NLoFuEt3rAElsMljnkqEeWxNp5nb
cD5yK+RbB7J7Ww7aLbLy7VCRKube2QJPJenEY+Y8VWxF4/EB7yQmWm2J92XofBWGixgNE9PQK0D4
vXYwdQYNeAUd8wcxF3e4ilCQyrSAB6pcbUU7b/voPLQUSAESjdyUbAG9gTZdFZGzp+wdhhUeCYu8
q/EVjMMmpMNWCetcRLavzP4gwpbxTrKnr7lxxPFMTZRGmfAyxJg5eRRtyhJzOwvKtah+rPWrnTRo
KGPy1JCoi6CegYCeT6Kvr70zOJsETmEix52xPKMmfEcJ4mH1LQPiKpr4RwXiY2rrEz0cZ9BYUF/d
I4pycVT0HgzsPAn3bEDg7JM631dRdnA18eFWobOXef2OU+h+scJTEsU3g2ZeJwzlddx+6gXg1WUl
JK0uZD2BKxjHDnxfme7HYbDYpCRbrak9PSw+KTvlZ2wGTB05fH6SPHc9aCM6GoBHtwkGGqGsvV2g
y8yzxDjarazLfc0JwMzKQ2u0HOqLp0S33+KMEPa0QJyorMz1S7dsz1UXtu/TwnNvTmGqUoTWnTuR
r+0GfQT6wYK6StMAc7/cp3FE2McxSdGMAdK/uxouxq64lkuMfTTsgi9mWg0YCtWNQbflrQpwY/Rx
RblBqVM1Z6OgaAmG/hpNZ1cSi9wYBqQiEI1ZskkkXUCMG9Ou70A/1O2EHK0IRWtNwZxskFpw2rLy
pJFQ622SxXUKCly1XtbbuWZNkTim9rs6/v9a0d1/ljfv+Wf7b+s//K0EnBGHUffvf3wT2fE/Pq7/
3r3/4Q0eBHE337N+mx8+2z7jXX9XLNe/+X/7h3/5/Pmv/CutVol/ptXe5n8iJax//XehVrq/ORZc
A9fAKKtz2sRk97tQK83fdF1nkaA7rP1cBfPg7848U/22Lh8Ra5XUrVXE/U+h1kD4tS0XqAGLBxtc
wn9LqBU6/9IfFhk2M4Sw+dRMPhlHyPXPf9Vp28WdzFhJ31y4u2tR1u66wNmGnOFOfWPD9yaY7ldG
LQ5tPaHYtfEzNmWWe7FRbHqtxmquie8N0tN7X4zIUtkhp3TsYWloAWLGuOkSMz9rcab75pBtUmpl
7keOIfdJS87ordCU/lEKkliVqo8iMeJjyFSCEaG5D/QFySd2xc7EH+BhVzjCoibTUzNR6mb/BXj7
Li7b/grddisr6jIWAxsC5rKLkZqfIXurK6Zkn+//soW3CwavcOJ3QvFe3gERwsJyUwoUiqyhYoMS
RP3aUwjCPFiFALK5qQy4dQhRxagtYKvNNHuyOQBt6i4FnzQ5hd+4FPtVi3UbaKV7W2sjyXDz0IbJ
t2kVUNForlOYp/Q0Zz0IsezO6pOP1oy+E/dEOA2+Cco/fdnVtFmomKJvZ4LcVN11Oru6sCMz4cQo
Ei1nCFRf0lRaIO/ZuYX4xjBlBCpuEI06l6wLdWRVvTobLeEPVf8lI4Kv6hFbhSDaExYUYRZIT1Mb
jsDMF1x1bzMujEtXSd9loj623fdqNigRUVXvEz390VccrKeGAIE+QqQz6Jnj5tn7/ZKbm+k1AKPk
JbgjYtobVUTruTHsFocmYgq/Ar+wK0IZZcBzqmDcDEBAEr/NqCxg7zklPvvgmHNMOWw1V3kL4I1z
SzvROUzMr6aZwxTgItjj19iL2Qgvs6PqjaaoGBKkvSRhQo+Y1ROitae60EBROc0F2IWhdq+kCAbQ
Q9wdMZFrY0WUK92mk6K1nrJP2vfokG5T4+TSyOOFA7tnvcTnl/bfG9QmIhPkiKClu2Fv4QJgOAha
y9ksU/TAsnTYm26hbRajetN5Dd9irj50sTtc2hz8uG6Je7RG5hCgzE0Cc2lEQ+jbITi5hLQowTKB
ExrilggbUkvS7vkZZF5DrsKJmYfqxrrDakHxw+B+9GUVXizq0WLgAdRfULU8YL7aNXRGXAYdTnMk
IuJjwdQcZrpw3XDxuLCQZ5CqI5WS4yqvUVntrOZLLCyxo/5tH1q65hX9OBzmcqHCx6RYPE7oV++c
01wViZeinvuojjdFaryIrIxPQy+OFv1L7BC15FUGwTWDow1NYEeuLEOMKN9G7SfDXZo7IEKBJyXX
W2+k7mbqAmNDiETf0Jga7QCIJruime4o30PDIQg3zrZHg5H13NkXjsWUDmJdeXYwDqYOTFOXdnZJ
Eq9hVYJ3tkmTTdTps0/F72Te4xvOTg43yo1G+nGPiYbWPodU08RH21KKfrTp1zwvOYQQnU8V2qd2
KTpOOoGljJuyvXTAQ/g8n3HV3XYkw6wRQaJr3LWktjJ9TiW7nnpsUlmKIeOpbzhHdQPr+D6bPifo
Jhl3rSsBsnM8Oe5lSUmbTFkkts6oP62AMP7iS44nGXmHNhMtbh7ikd9thuYH8PsfZk3FV6O1e9Vq
Giteeeda0KuSftmP7tpE1bsvkyl0YKM3aWDNBE1wAydV53jjCpO1g+KSFBUunRlydd+1+wlOBpuq
YGso1zq5C5V44egme7unwDwxFiy/VkkN7SJ9NdfpPgQnjAh3zBz6GDJhlsfIlrdRiTrZ9YX1kKaB
F4fNW9HjUK6+DhRTcKVRKBZQXo+hQUfJD5HNkhxxxUpxEiRjj7EakG8yGts6XrJzgXcwhr68753u
plKj2kVqwe8xOvl1qMbimqdTDhQgBfQud5YdU7RSV1wgpKfwCVs3wqksCJYHozRCBjXnq6ZnJnde
PlojkWBkHj8GYTlc7ZeePOullSZAUlYVOAcgcSXK9MuJySeZcD233bbI6Id3OK8czHKBQhyylk9r
+7PW0EIJmthnKmPeVXT7y2DwX5hqTJ73f3jgOibtuI5hIi7juDcdJoVfH7iJUJkotFD6YxtSLVXj
7JHQCk9TqOpbVWBib3UkNSekrrxq7e48tT/oixz5cVEwSdPJAYtz4mXc5je/v9mYJR2uD5ldxk+c
NqucivHETnJSc0P0L8xR1mp++t0zdfz+t7/awlQCCz9wJygBghjM+uX9Mi+EMsoXUduRX028huLY
JFklqMy0iTqVpnvvlN3nLKOjbWevzA/Ay6z18kgnkGHZh5sub9V4a2e18ti3IToVwTXHKIGJhYJm
vUKAXwgzsqoqzYHaOit6IyF+5rHvdeGwBbzti+RepFG3/+c/F/Enr9P6hRmGwQxkWJbLgLX++S9f
GJNab2UQxP1RNw6kFj8s2rmittD8saQvK8BuijqeeaXkpWMB4wUcY26liPOdYc0Pa6OFn9nxtmYt
6kt8VYcim66kHpCgLa3baFHNKLRAY2TRdyiBHDr0uldlBP2kGxsvC9oUzgp5UmIc0Sa10ktGce61
GcMv3A4yLc+5dvUfcWPY234SEuWFf7bnvNwnGEikSbXVPAMlUuhulr39598fiKF/+slbBv4AYeIP
4HZKkGS1zf3yDXK7sNHmLJx81t/x3UxHx8uUXIzwfehpPdsQjG9suPcsiFlObin7xjuSrMqGKufv
BL/pAEzsb07X4H5sS5MO9DzmgIK+5Njc7ipO5kzK3OvRm77Yrfk9Yb9xG4WN7Ttzz51toGvQSU+B
07tfZe/ARzcd62h0ZfSEavXikDh775IS0xDD9a0WK43FXRYzHlAZzYbNvo2DPPe7aSY9P/5wowSh
WSsHdhYNvGN6zXZjXHM2jJx6VzZzetQNPrHBXi6OHWNmTwZ4Q0Z/O9vdfCHJttXViFKSRHInlswl
8ykCb9DDExTMGMyCbG7YkGCaLdblGPkyVvvmvl7N1UCDnEuGm2irD2NzlFXrHPsch9SMWnbKDKpt
tNUaX0SwmoOOe7OpaDMXWOS4y674pmb0Ha2RVzHF1NnPbXinpANEnCyXl9mmecCwjt4NX+mL2wXf
24SC6qww6QNIwormR9Y2RxmY2skOadjM8f0W4+c/v2ZMU/35ojEJNijbQYjGLOW69p+PFyInM7NM
wnOk5nhVgOMgKiSh8P/F3Xktx61kUfZX5gfQkQmPxynvDUmRIl8QsvDe4+tnAZzb0mX36MZEzNPo
gSGURVUByMxz9l4b6Aw5EeTC6syqdu/bpf7NLJtmEcWQRRS3yNwF9sps5/uIgJtE6W+ASYdb2kzt
9E7k5Ql4NXIMkudIw70xVJhPeAC4bgZtf0TfS1b1ELxUNq3Y0n9jvIaSC+p3mxXq8IZUUaVNd8hz
1uZELVRXjbDCq78v8+AlhN2xH0u0LRNdrL6QBEKd1SPC0wNWHqtJuRoTaF9h62g3jVLcRqlGwvmw
ZS7S1BInLCfIECOsq4gUHuCYy2PtWfatwpxz5JehUAvQYzHfxs8E4v4mGAYPPRlTnP+o2u0o3+BR
yPdtFk7RN161IsSazAx3Cg0I8+ZYjPnJ7Oi7VIrrkYdjtcsRHcaSkhChSWJoxJJchZFysUd0DIzJ
k6G1t1JkzY4OXUM24TKyXO3i+dJZiTzgop7m3rWIrZXUR7TsBgbDltShTem7OChAdTEfIAGmAASD
xrgiOTSk6zSEBxXCCzI885NiqMHO7OPwxERtNRB0fpi3nBIIue3AtJ9/JhKUgwraie5hIcF+4j7g
aRgB9aUtiTxdxPBMrKZVsPQAMzueyKXpmF/QH6zBh5QUVp4zxo+FWWffcPqPp94be2LSASQofvdQ
qEyKYglS2fTM5RCiVXf5TiioGzsKRqR3sOxYuoGmruIR+zo5p8iQ9CZ9yhTkO67TOHeyePaE8VVX
Yn6rK6Gk4cr2J0pRahyZ8aGSVJSnRETePrMLgCWxZ6AKWnTELcL7Vx65zCdHOUQJhdUYHNugNPuA
mJHlGFXtIrQ18yRpmi06tXsmDDOpFI+ufdbu2hKYhWfIVZbL/hrZ2Rdwz933qqqUx97NuULiez3L
bmS3C+eEucRhNJbRve3So68oONg1Ig4tu0r2QaO8NUwjH4pQjTjrXWPVuzECetLQDnFFnmQWwqdt
jHFfqFhIus4/qk3OsUi/NLLLR6fzMQmbWvlEWOBbrtAtYIHn7wfHzhYDAsNj3Re8VAD5Y6bZMXKU
O8pOA6vEOn12gghUmGhdxO/uGUGxOJiNj4hmDJN6Vxbua8k3c36/jVzahe/6MFPSyhI7r3X0w0q0
+XDEEDAc/UygXa/FxtaPZZRbD6BkfVKZtBctVTFNDwUsjywwl5G0MtIlS1PszBSzfur3Z+aN/Xn+
n91EYqvH0StmImI+E4ZLvVfjM/NN/dI3KYLXQJCrIuCY+2V6hwuCpSLVL3ESES/RprRo2voz/izk
bHTIszzLniNi38nvqK7vj7RrIL2FB28gesNHJL6YEYQGYK7iEAYDsOiU+M0gCt98oay0RGwdxL33
pE+qe2fUzlk4w9bzYm8f55MUqhHZpZz+FL10TikRz1lMMABJTJc6ccpHmRB+moqe3GryhXYK0VSL
MUaHnziYNRZNXeMXItE2HKnvRyapZ8CI+mg3OdQ3lDDRuXlhdAlDfBs6mJB9wsBxcgs127h15T3U
qKSWsWo5Ly5jCXSg/M2qixUh0DfbH+oHZNbBzcrrn5o5qJ9lQtmacLd4142e9jmK8n1hWd5TEzjj
JXB6FEzTw1LX8dZS5ygFVYPCa1ANAjGJGY97YgAJ0EBO63Q3pmvdrUR8Tus56Ega5I5I1et9VYjP
hQgQtDop96pcTxgc4afVGEUuZj4MdLk16tyeacPKkBpX/+nGdrq7HKj1BvYg1ky+9KOh1C56JpZb
VTKKY2gGwxaLz61JWMjRNOGk49ylL8ofYuVZSBZq/9d/51vn7VLmgEEcsPmTtn/IYmNXN3p3VVsW
heDXFzhT02OkiWXe9+0eFIGyUjQdkgwx6g0uEL6xhUELcQVmC/y46hCvXKikCase1vfSOtdDPZ5R
1RxL1TXOQ0YvByBBLhZqWcv9SEjAJ8BhB6GlzSpQBRoOJCfXpJbVpYqP8wY4q/5oNMFBJkV68yvD
WeYs+FinsRaz0PM1ZW+dTRHbZ88HeKMHrJP5FbZqlyTQroPxNdW/9LnbXqVXv0Xa4J2dzvbO6WBD
Y8eZQxyRRjAZf5CI13ty6Q9hp5vPMiUJT5ra0cQ5W9QEzPWT8T9X3G9V4KZb3UzIuZFhfZR02oMm
PzlGuFHjwT1gGtNpOuXehqrp1S3V4s1xGbgby4XvnkPc0AO4DA1YqGkhjJc98+gVmsgSSzopRdZl
j26gp4+DKn5QebCO8xaIym4viUJBLh+mpyA1LX3n1BwUTXMppz8aVZuNkLFFii+b8x1G6V9N3HLb
kATd3fzHqbhOqrBQzg2xDJnzye4s+VQ5j3av5PcAWzBSeS57eW+hS1FncXW9szuCoJwg+1r75NaO
1gKoOrHhKC5WWRHfmiZtP3FQwigM4vJi+mBGyjDxGdZDnw5QFD5Ky/YPGU4yFHEK5VdKFbvCgWs7
xuLBKlOazm09HOc/LXGUm9Jjl+Pi7Dmm/gmjn42axUXKOrCY0CrRHrsCoqM2UVSguOQ307W7vZOm
RMbirKGp3HTkVrZvaqRXizJsBi5f1tIU7p1MUfNcMLJsaGZPaCjTQOi+76mPP9tKtFY9o3yzDLyt
DisY/CNHMt3jE9XIKmqYXgMUxVDSpOcRlzjlV7X5Ell0wdkZQ7l4ghYHQqeXhmxgDTwfBSCynFNR
ngvfYmhpHbhvnSiWUO3zTd1D9B8qSfkf/VrXOyhH9PKkllQhhzE/2gz0jJON/6iNjr3sw4CyHpNP
okt8vgcnvI+BxQw5noIxDRMEyIn0BIufXSEQCFL9F7XFaqbQY+5F1527KGouBDs0F+yA1CVQvFV+
j33MUlTi6oA+jWVO6k4o1HvOMLBPOWf7rGV+2PsxSl1DPdB1SwBMUi7ydfAiigMMLfVlt+9U2nHk
JDkHaRR7N8sveqW6tzQsXVxOSnFKnf6sN1ikKtf7Bols39pV/ZVQ5qninVuf1J5vNBvccsOQih6x
JqTcpJ56EWVXbWujszetz7IEoqyCmszvvgzNQ8RaTxMBoLBK35Rdx5jvkl3ehmiz8CGZZFBcBPbs
rWMp+jLV8SSPxB/cao6DHRwSufPTMr8ZdgcaSI3SN+HgznTgAEWeY1zx8D2TzNF91mcppyyNG8Hw
wTry2n1gIABi0qntqlxUR2Qz7b5GrXkgWzQ9uC1hbcJMvCPoItq1pmYeO9er0DsizcSt2y6hdHq0
r6sUKyML6SjtP+la2e19UYJzCaz0SyhuVW6iPC7KlhypPnloyZTfFNAIVjhjsNEPJRWI1OD8wuhv
HsQQYuxBXL5Dzvs49TJYmKVfSB4e1jFoPxb4yhpxb/2A94upaF7tEqkZ+HQC+coMFN1bHj/6TkzI
lstPxDgPNLOv7DuWj72W+bs+zNRL1Mrt0BTtY1UoxLyg0QIVxs8vObh+1iMa2i77OaLj/Zyl8s5X
9AatuX5TOBHQN5b6CwtC8iHVFTSh8dRWZFghAN+FE1PMy4NXKafOr5+2zz3ioiVORpY4Y23sDNKa
1lmYuLvA0r9pWI+WijKWqCq95yozfALnkaTaKvKskdFsBHn12RUU0UWWf0q8/KtwRfo5DHsix1Vi
irVy8E6pKygPj22zqhKutEpaEblbszClRvyZeYz9ZGJQokm1zcMufqkKeWNpvx+SYLjNf7yxGw96
1yMmGO3T/GfI40WcM2B5vdFhKXIp6FpypRolnGBM7gRo5FvbThnRxgPAPueI9f8pMQL1bpLmsFNc
wG8VvZCV3yFyRBmK0b6wjUNauuPSpnN7pAKwq+yhPoZqV13znKpBPO6awRwx5AzWpVHClIwI3cLU
VY9H2+uMW+mHdI4oju6cSuAg9bwnfg86I1McNOKA4a0vymuYdfW287oU9xvwZc/EXx6hNzwlhnUM
ShcfYWSmpy6X4cFLQ3WXJ3a+ThuMqQJ1/1VqAUKwxjVfS9VulgA06dijXdvSi2mIEHPzr4o2rkdn
I2rffNCQZH+q+mXQv5YWtqysa5FDN86kZbZ+6EVIeAkBzFe1J92y1vc9EEf86qnzqCMfWVuGg4hB
lagPZet8GsGoxgBln0AGH1SJAsAIGDGIEu9PeUs5Hx1ZuajTJNv6RmI/m3nAUmvUYnRI6bDtfJWF
z8h8PTTB4ugEs0pXeIhLZL+JWqikUxQInS970XV9v66C/KVPCdB2cZiDa8yyVUYQza1O8xIjt5Mf
y9AIMWUCIEcDj8jMC2/NIIPbaC/cOMGaHpMcEvpEGFq6h1Ko7UF1t666EMTB7oTaUz0gwLsmg+Zz
2vHRDRLZn70QhUk3tFvD5Pjw3QBZaFoPwC0VNNZUClGhNfJbKx6UtNUObS78VWbrziGZ/oQTWUtD
4iWUpDl2KOEXigWQA+Bzu4rRnVEd7BLQf/gFsM6gmbaJAd8UwWCdkoTQ+iqv7q2R3zMtDG9FYe8M
KwgvWVRdQy0GDeCh2AXMGl48WYUXegDdoUdTiucLF5oUtDo70BpokAwd6xjNDNx6/VMxJNVVdcml
BcwA7YTGFbF1OCk4B/Ze2MECUGFIquFak6J8rOTgPCL44fPC9+CLZKnipPYhjlTrECrIjbxMD/Vp
vdFv7SZdog30D0bRWoQ+Ej+PBLXGW6CJFUmU2jOBD7C1KQ5v4/GBaBbtIQsyu184pbl1sFwuCRYt
t2nr7YNWqfZl1pIlndBljBi11mUadRdPJyAkVDqxNE2jvbQ6dfqc7MS9OZbF2c6qT3A5+8ckC4fH
JLde+iDxzpWSx2tbg9tAqaK/mfuuyuWtmf7M/xt70kjyWAt+uyMhH3JTtCYNwelxxiDkLfP66tQD
6LRijqPS9ggacZ3yjoI0vGAl3uTdUN4bjRa0rtOcbQ0MHoaldg8Kwr99jmJo23CoPRNFda+svvhW
5pj9RGMPj1bHeFF3LLPdiHZcFMIVVEK80X2E4s5NM9SVhNf03fgq8Rb/UNGlobRNgePGKNuw2xSj
9S3F3MOQBfM41ZHPIDcwWaY6/qchSb/RKC+/I+o9dHkOL0p3/DX9kv7EfDR1BpZTtb8wM197BVCQ
rNouDo/o37PnMozXRZ4bD9QQqPbr3qX3jOAl1WwELxKXUBxo4lKj5CPJWtk4WuF/qXIVNQGI821k
6deh0wJmhgatw7yuvxnSXfciqF4Bw9RrtybAh8UCqmtomZ8iQuoXpcYpBRw//qT3dOEjqImUbPKE
0D34VKQ6r1K91rdBnKfPQUU5xTOKYV+kIeR8VuQLUVfj0TNEuR9zmS2zvFbWI2TbFSXSDgSD/0ja
TE0cIPNUH1v8AwkO+gMSAj3SWHYo5GiRmZdiVhhd7Zvm04LEAUQTbyhQA2o7qA33vnLdVW5UOy1r
lhFNXpr+urIIvW6Tthj2IWkgDFW0tzr7SaH33IzUBh3A+JB0MfpzURmnMDBkAMkSJspXX3H2zb6o
qxfNHRnShu6bruPl7QiT0vPyGaPTYxsl+94cO2CxcNFtw3tN/J7sLrVWF7pEylyckBZcTQ/LNGut
b2n06I0JbcsB8IPG+qCPZIuPgHRqt0/RPsmK5jz1J4t2se0Qoud9kvXwircfmXnZsJphJjwg0Jee
egUw9zmtnhNhsiyIYJ/5CrEM0yPSgFIfIy8SDsipyOlwljaLoXeMJeJhsvoMtGpkHAJJAh2RJhpl
I9pHSVD/0B0YCLG+dExToOjrdFpEXIxDDZwtSikWQZEx7AzAKXq0TqasK1Y75goi0rVCrUbzsHKp
UunrYrCBjOTqzeb7id3uqZpQRKYnfxh4DsgO2uhgU/ESmsnKq4OTEVhECVuMA2HyOUxSCpV9YK3i
+tEqJevsF5QJ9NBt8YwJ5WJSqLLxIa5xD3lYdmH7SFZpdRNom65PfqID3IUUdFbwFfKSS+Fokfhj
oaOH/H5GZP01T+5m9KyXNNmRP/cERUi+F2Ir2w7cbDT2DzWU41VUx2/1mFwoKvZrfNDhwqvAfozW
ubJsjFcJcq2yyspt7tH8y40yWPqJ566cIH0zOIPD/q0bZLMsnOITMkXqRqGCQ3lKIW1pSQB6GMy1
jWOCNHrjWctu6CqStZlaGMbT+hTPWSQBFj2nDZZBUNkrp1yMucsx0mmk53p3mSb1JgGOh6T5h0FE
Fbyn8l7D0GOwVqwlVKTKt2BvUffuZV0vVAWUHIftGcJxulI5f+nT89P53otOWvUyNfOflKiPqh3R
gkEMB48dga7QUQ6P0ZIL0xnB+TpKfGx0XQFYwP0KXos5ZalF1G7dN1mNj6bUScEW0cUIemeB5oKp
HeAhz+jfYFWvs6zCDidGfYEQ6nNgpEdHCzbCwH5BvN4I5yNZafoI/BUWDcbVu6yQ96RNTF5aHCzS
ioM37yEDTkidIMAcY4bUND0wYPFrL4wrlkMfggVqQmLkKyYRIHLV4TkDrmGWCiJ72ahEnJRLeJyH
MRglRW0jYe7NlMlttGZdyv6Z4kFAyNuxbz1vXetOsWhJJqcelMEypvaFWdAq1JUSeygkmP0sUTQu
LV3xCANv9iEtJFIBPKjB0aVXCjyL9qHrtB6ED5dBR8XgZTRwRQsvxQGumGtfoRzResWT1Y3fi658
tlkf1x4CjtqlCQOFIlssk7x6ytTa23lVoC4NRcANMC14L531SXOUN71hBYvmwtuQiUY6Nh2rgEoV
6gCGv3pVwalYcm1sV0JkuAwjbzupAAE2yz1xdgl2Myo10DEIXsT0akMiiG2UnXlHt0Apd4Gov+ll
hiqzatDEWuWLMslVLcsqad44rAPIw9spQBoshawo8Mtxt6c8xzcdJwmKLohb6mDDZvMvgea/BI32
s7EOlt+Q3t475zHlwmtBUaGHDlkj0SqSbBBSBZazFeCu11Aa+dEsFDA90Pds5CJRRt2ipnaqaE2x
iIcO+gHndVwjC2+k9jOqUBsH8mtg9yo7Og6rF03HdYPRR65Nf/g8WuMjRAnr0k9/9LoNT5Hns/wy
AyblNJfbSSlF/KC/8xpaTKSmoEdAskbV/BG7F6rOHNV6XvD1GYjvC8AANTt0EhrKcN0PFozHNDcy
Fl22ny+HmhfJMpciTZRuS4vTSoeIsCRmZdcPxrDOQ34k3SNdUwUDhoZ6l5Pgm9t5uM4UlKRqXb9l
INq3oYp8GN8pkvD4YLSMjC1FpGXp9XdJWns4NEjD1I4rheHdC9t/TirLwdbbf/FKSvP2NBz1rfkA
oTxDncvqqmkfQ7X9WRQxOmflruENwiJWBHi1OY5NFko02jojPUWdSYKeW42YwGIc34mJDmAZIDWH
aJfU60wtThXTsDHoo01WdNRwknZCd+beGn4Ew2xor0L0GEs5LTFQj4NtpnQV2z/VPgfD0zZnoxPN
OtKjg4W6eMET1IVvpN/NnYheS6yHEBdyZ1HHNAmi5KHiuEK1laIhMfAb9OHetYhRLTxV3/gPiPU5
v7uxO5lN63F4GVS8UMyrnmdsh1hsYwrQu9EBsU1iBK2HGvRPkx96nxgAsxx2WgkevsH3EWQBpzlu
WiZt6HEyLvq9TS9ZG0cGM9bntSJ68Fvqd7i0xqopYrnyhn5Dc4vMDFsEGxZPJBhWawtbaYvRFXWi
2m8DJyL1nlHOmXTLVNHXTZ28Ks3oLApFBQ/dRpi6YBEuCfzAvUgJlCtrZ3DuQoXVyZlu5MBQRUFV
TS7Gs0cuIZeFXuwTy18WSSrXlUlXTTX8E21F+ixTT8wIz5nFxEGgPfLSGObiqPyIp+uNJ1AjNW23
coPOXmhZfHc7RiDcGMOavI0lLYOjqwXO2dYIpM1ktBPSx/gbxS8jIMtdHcLosn4qgmoZXa6ass46
1Iprk4X3roWmDngOIK7FFIR8rVTFUReo2U5z6x+WgWheVNgfgyj7iaerXRfopTejPn7XWrRUCL+/
Wob7w7MTuWi0guBKAjL6UKM0Gf2UzrqNMIt3KRK/vP1RmBGkQC9ftk44LGBOHu16uLU9yOLMtJfZ
4F01F/w1cDycbbry1eICAWPAezKKjkIaHPUlue0grmsOOiMILgOWDOIs5KsSyR6OYHnJfcFhXAfd
ZaLEDsGaRUex7FirLFUf7kyf9g9YVKNHv+6JMPFc0DtRrbyajMoLj+bnFRFZedPbCZJoUQpNVce7
MrYheSUjC/mRlT15nX4q7M59JVexX8d6n+ylrsjPeoXBbgsMwHvrAKVtsXGbm3nT0xyEO2bw0g9R
eIho9K30alTPngTY09vZgxrI+LHwhHIiZ7d83ydNjZiykrty7QYlPmo5NkUXgAmaVGfN7EXDx6iI
JTOY8pSGwTWmgnAJyuQcJDb6fH8c14jqgz3K/ejVbje1yL4Iqs/3Pi7tbV3isHe6KnxrEB05eoOT
P81+2lO/Da7xljxT4zxvGaJ9v2kMhEETil7cfFP116Pmrfl2+vLvT/x1E5XBLZ1Q87fXmh4lKBqd
50eprZvsnQ4Frt/JbSRC5zywIObgxAIzql6DbKPcGEqZMOOMynsM4E3vFXF0nGqdDWKk/2i0lLCi
jgoyplH51kNmuAipZPce1c29R0kcZbH9202VH2+73gJGMYw4hv/9mRpDBYdtWe+7Nt8+3WRZnXUu
XAFeb9rJbnrEb98Nj0hj2kLz55lvN2ldzjf9eul/P3EiImxSW4C12EPRLu+hb264lgSX+fnW9HV7
LEWYY9MAnj9yh45XWDWzX143wp5wdnwXiL3+1+b7vkm6o/O98z7Mry0EStLpO31/BLVeOl9svj9/
unfe/PVhpkfg2/jrCV6I0XLa/PWSLi0B19WcczBx+MomKbdoiuo7TpW1ojT1Zd4SHhSERKJBGWhx
d82WjmG1dMpA3JL8iQyO8o74JNkweZxMymxG0x8qMTngBwP90LQZw/vBhloyuzZ8d0n+TAW6f8z7
TTVZRufH5HgF74WZSforhC7NT3l/QREYmwEW5vvj5jsa1WHVI2Jmt/9+T84Jb1slonu/bb6DhRGU
1pFwrnlz/hNgSNlGdYWQaNqt+X3hZaPWsLE0zg+Z78i6pAd5R4bPr9uiIqd+TaNvOT9tvmOIbGPL
Coa+1bQv8x979N1t0SN3K4cCNyezvGDntphs5+fNrw8CPtmltg0n/N/P65Ss3MUNDuhft8F9b3cu
Mffvz53v0OpU7MawEov5pebbDBWMPpe94f258x12btEws1o87tPXOz+uCOn8WPRbfnsPEvWSfTct
i3+9b0fC6j7XCJr49R7hiAc7VYFCzY+b75BjK/ZweZB2zr9rhN5iz4SaDsK/P5dWNu5eTXCJ/7qN
6lZ4QOtM53v+jmqgFQhV3Z+/XlqocX2gW/Lj17M4wYZD2jnfft0EA4PUmS77+ms/MSfYh2bU3n7d
pPW5fxz9+vXXy+cdEUaZ6b78eq2URsuxoSzw66ZygDRC6gpmsL8OF8pC5GHo7uOvl69cyzqaif7w
6+VH30Le7or3r33+AdTIx/rtVLdfL+8VVXVKyuz667VSLNzgGrOLxlVkyaSYVTouDs79J7RzyhM0
oIPiTANcPihPIgsj2K8tmY7TnVnUtss6jav9fK/LVGuN6k6C8ODeHOPAtoyddjXfq0NLOjBemVxv
uXesnegCb/1lvhP0YvggWQI0snZaGqSUa5K2epwfqhbNDSJwep0fSn8G31bVi+N8J3whpIKZ1u/m
e/2AKhXdP+99H1It7elCB8pyvrd0WSFTs6AzPO1DEGTp1UnFbd5ySG17pFK8eN+HiFWXaJToAQqf
8mQkw8vke77Mr9PlHUa90FUngaHyVPp4hXMHxM18bxt7fAWtU67ne8l4LXHsYQifN6mXDacxR6M6
b2qsT29dYr6/kq3q45ON2XP+Gmi/70Y7Ud73L3XDn7WaRuf5TXAOpksfNtV+fplCHfy1w4pvO2+6
HnFnJunUq3lTENpxYHJE02HaX3638dy5ypd5i6C57l4FROtNH3S+ycpPNaIDZnqjhqddCVYNLds3
xFBXU4Ub3CcsX3tSRpdtqrKaLVXIi4m/19TSPOEYxCrCSXKgQy8pkFceaVem+aR7oVyFBvDLPmtM
csv5n1JnEpIbm/Pj5mfMm3WfVVdZ0xiVvvlUCNE9wYSaN+YXs5z4lFmmfZ0fjXepRV9oNMdxfumR
eLdaYkicn9DTcaQaqaLNm15M5uZwKCdL+Lw5BtK6KNJ7mF9JUQRSA8Ti0+sYbf2uWv9/7ej7/y4j
WRXIwP/PjLbHL8334H/8z/LL1+DL76C2+Wn/2/9n/MvkH/JXA9X/xFj7y/+n6f8iY5bTiPYAwtkJ
ufaX/09T/yUNTVCjl5qwud/+3f8nHEtQvQf2LzUsgP83oDZtUrX/JudXLU1DDCgdCxqcTueKN/pd
1D3GTRTpBFAsVcd4M4GEHWe16SBrAnEwye6sil5BZ4zANf3Ah9eW4S+uVJJ0S3Xch6Py3esmPlFN
4yg31CPAcCJvguo2eGAySwAa4+joX4Q6wv8VHuaUoPZPNKmWTkfZrUgHXIRhJM6AnAV5ae3XyOj1
TdTLft3wbmvAaleW2N3ttx/qv/kwPiiT509umLqJ3kEIHJrT/b/J2bNyjLMipUCtd7myGECYLFmL
5rfB8vINTFtv46Sx3CPSoysX0oMM4WpYEhqIH/TlRoV2VYl4nw9ZuPVHj/xnep8n0nPsJbq/4RaY
pAwABjv+eb+nH+TDDzap7znCpG6aqv7BPhJH5HREgZctC304a3UuD2lAYwBK3kqLXARPOplVSP+C
xZ/fl8P0w/vqFtV11TZAC1qm+kH9X9PyQzfKChr6nb7pXErGkY0D3NKac9ix+jb+wXDwgbDJ76Nb
mjF5UjXsJuLjG0aS0clC+b0s8jDbt8pKLe6+ZE5G5GT6D1+q/M9PZyBPx/5hY9gzLfHhNDB6OwTQ
Y1NtgRJ2EMmQgYIY7q6kVqFHmXlTU6el1ZCJTzR61hh0cMu1Jmhn9XMTSnGNkkmFrcEhyafFbJIH
/3C8/ufvblk6sEdLqpZhYr75++GKo8E1axevY53n4Z4amclcCvYEfnosNjBxM6+4ZK4d/oNfaboK
ffjhoUuqTHNsQ2rQvz68cYt+1HFI7EAYsSDD64U8p/Sp1prkycIW62uNfpP2q5cr+iPsyRfXssHx
wKxb1noWPxQDo2piFNFm3mxaET8g3nryquWfj8//8hPaljC5aGKlxlg1ObB/P58daTk+5l1kV2ME
J79IshNnxg+ntCg+O5BSaGgLuOprxUzoHmrpvVEEPZ1KRkfJdHmTZK58qH/kRvZUhbW9+fP+qf/x
PeKW0qWKZWpKuueg/vv+RbrsVUOSGetpzVEF6LxV4xwwguWrawAZEYgTgDhI8WKq1eJHFrTekwvX
KVWGcGN26DdhJ1fYlSk2DwVCMcupo4VMm36foAFYiDwiarY0tAPRROu2SzYFmulvFrVVIBeRtdEj
QctxMthWhJf8+dPJD642FWOY7jgqizhpCIvR5O+fDih07pgDVcG2IgWtf+wUr/oeIaXycsIrCa/z
Iln9aKj8ER35FhjJc1rg3cDYfPrznsxM6r9dIHVwvELnQNUdDZ/LhwuVmgc51nSb6mvPuOE4hxFB
CfJT8cRl08cQA7nYyJSTqRiw2B2IlxVJedMMcAwVAFJk67mYr27gELcDpMDPECFXA9qKiw67TacD
u1cH4CV+WhFuSErvrXfhmlQe9Dtd0L7Sih1dyh7FICIM1UQ4TU8RIbeu/sOXPn+Ujx+V4Usig1ax
1ny0Eg5EvKi4JWkDWMz6SVRQ90zLd67pjUe9cpVHpep+1A7WfeALG4SC+gJRags0eyxPNr7cJeAj
a19C4tfRXKnSveBI3w99qD8YEjnln3+aiVrw90sJJjuGWk2V04SD+cvfD5LAJcCSQSNZUnu8Z6gb
DzJqHxCxwN0McvfSthGivcQKIfbVT04eucc2UOVWTbEpi/Fzj5jrNWtaZwO3vV9qgfxSaoH/KF2j
2MD+3gSBb+2qQSNxeDQx6MuJ0RTr+ZnaLgs43XSvlldecyu0UFvX1rEK+3wC6PgvGUrHJcl8iDIt
WD91ZI/HkCTttY0VY1OyTt/4Rdo9eTrsMA8z6slEDrnstQqHG72rPbL+cZlS49tImpWYus3nNoN4
1FTtt4S28sL1c+PO+uR7Dsb00ccdvE4J30z56I82sMtsCpFNbZSNWvAP37z8j2keGAkmkoYzXcQZ
Pj6cFFVqZLifURvY6cRmIi5JF29YepdZ0rZfW1LVl6i5kqPXynTJrIhJ0aBdRW6vCRr/ESeK8ZAp
mrb/8wHx8aoBHtiQgqu2VJHscBR/uGoMldmIXpc+wUrE7PQZb95ogqg5UPRLvJ7lVpUpoKXBAC03
nAFml0k3/oAcViyCpv365935MMROe8N8iikH7Xu+qI97w0q4RnOcBTQ9pb0ZUgv2hC8WpNqHo9gP
kfKtac38Hwy1cvrqfzuJmfqrlsWogBIBNgAzkL+fFIYdxOjTUFTgyvDu7thS/PQqf61OjnhNab9k
qLl2xG60iFygb00P+PPnlh+mwu+7MO2AClLLBtT0911ASMuR6mK2Dr5I3ztHQy6eOgsK7LScP/V5
ipHcN1at5T1ZarvzWxwQ/zC9/HCAsguabls6ejcDnTDck7/vQmVYZRcOOcpupfvualw5naz5jumx
/4d5wodheHojA5+KThyZwYTqo4vVHwIsGiWJrR5skyGKnukBTIQ5ggBxMBXCYVpTfdOQNv/5S/4v
H9A0pSkMjXeHeDRdG39bbnSiGwTXMtIbXVTd8yeEdQvvafqs//BW/+UzzoRvftJpGi0/vFfsmkZY
wY0jZtvD4FUk/c3ojHAfeC8iaT/r5MCcC4K6dh7u2AUzS/uC21qHRekOb436vzg7r+W4gWTbfhEi
4M1re08vknpByMIXgILH198FtGYokRNSnPvCYHfDmzKZudeehABh+jXUCyKemoFPD+gh70QxpzxT
fx2uTD9wdigqyJbmrXfCDX5LvBsVCfjgSQWQbCsTXJ6pbgI3H44I3FYDhUFLIre1KIHLyM44RGUA
8StL1niB75waiOuEeqE+xuhXfmgknwHPUEaPsVJSFzqis745JllzCw94WPZl0tyVxowRHfGmypVx
7Qdl+lLZQFfc0MKJyU2+uYykLiTWxwtlgOM/7ui7OQNPkjmJxnGUUU2VKf67NlXULRnyCpJINHoU
lFb9nSPB9bXupwzj4DXc8OT//JKYPLEMcE3uqfPhGQKjECJgYxCjle2T03RPbdY8qfz/9+fn4+Mz
kYWm0Zym2Zr7/sSoPDCxcKImoNZi5jma+QiaAFmri+ys9tdm0C6VKr+gt8n/cYIfWmAuKagky1EN
Xk5elT9fkqhRHRfVIdQuBYyfpzQ4z4z+xbXQDESerh66xl7AnPhXA/hu9DrdSlu3DDBArgeY4f1+
x8GGKom/3RKfBJMcMeJHOy3SXaIU2dGusS4SDvFdcp0xliFlvoikR56xL9Itw01t3YfV7d/vgfY/
LgV9Ip2QS10Ip/2uTW6xGPJhQAcUfAlI42CdYV7Ig6qgNBht936II3WfqmV6DkMBxcyxWuR4JQFd
WG7byAeiEYz+McJIZ5B1eEiyYVxAIWt3fz9Q3eSe/Nl/mQ4vAsRWF5cYZup/3rNMxzQPZkaAhZOd
HJuMAvDA7fofCsDEgeJQFIbmqqiBlIaJilLdyvodzR84ydj/tg5DOO4SJddK+M3RocR7OVCHPLm+
MUtTbH03UrPEgL5hUds7p2oT/GMU8vE95jKrlq2p6Ps4lekEf2uZswyJpUcKclHK4YlUzT6qYDHW
COlYDeaC+Y9242NPYFt095plMnsgjPfuIddipHLQ2pWp7m9+i13e5P+ft9jGu8ieYwUuHKJ396Uu
ckruqPha5q5CHWfQPA9o6PD+kOJcBeuGgqlVgMUhQW5c5v7+UPyPUyRoYHJVOb+PA32Y825gaITV
6GUOU0OFTOfw71P8eOd45kyHdopImMMM6M87R7lLVIGZVijMIb9Vy53iEZHI/dvMMMUxDuvv/9fT
ohKE+dYUmWU07b67pNBkIhnjMraoRpkuFFhKS9PqCC/8swmehjt/vlQ0wCQ2MXY23Y97qp1siPLY
9SeIsngQlLLMw0HFGW5gspubv5/X/9ibO0UTbVxiLWJu79qarMvLwa968PEW2tqGgsmKEFvYl1Dt
3ar9x8PxgYCjA4TgKuqA7QxatpnE8tsLxxSROpOQUs8YMkzagx7OfMz07IIklhSmvJNTjtsX2DJ1
KrmrPkq/Yud3sStfnio9J2rgiBsYwnS2TvGt7YyTWme7nKLDMyrsVZ8O2UYXlX2f13b1jy7qY+fI
ERPLx/+HYSoonz+fOX8A6+sM6NT1Oi3XKqIUWqcRYUeHhbwagglRAyw3E8O4T23nn0P1jz0VA3R4
gQzWNWSH7xsPo8RXPPRprNoY11VnUL/NgzZhBx2F9N22UAJ/o0r9QU3UcW+GkjfeTL4WTW3cmhX1
w//HJ4eYsKY5JvEsVf8YdEuy2Bs621Oo12ouXIxohWc5oQ8H1AAFVn/f2YcukckJxaUe0U+eUct8
95gqIypAk70tajneEkyo6XI+FeRMjeQB/wJrUQzuvy74bPb2x5vITrnYwBunIRFjgz/vd1PErWLj
yLEYKst8zbsCrVgWxycvH7o1pRQhmnoiMC5C8W865qUVTp0kOL2XspbFidpM1IvicbDJhehjcEcN
gNf40aboQ/ucoTlGyVH8K0fwcULHQZNXogmeH9X3k5y+MSrXxtIGVmoBzMrsMNOjiJ1qWHXpgRpc
2X3hbIoYqk5NSXNvPCSajP8RifvQCXAQHgQel6GqieHQu9ZSjZGr5Z3BkN7PwnPs93euSulx77nx
P8Yg77NYBtEvdoZbMw8hfL33kyufOX0eT7iYsQmbfQMMm2hqYFNVRQ5mzCxct2h07uuk+9GGFNZk
BHDw2mvDo1fV5wp3QsI8QM70se7J4FOMGaqhuC00HMa4Ubc0Lc4ChC3BgBzydesNnzWlaDZVNeBV
JIobO9HVS1j46kESojJDQS68Rr0TjgSrXAYDhzFu9PXf3wftw9CLx5KMhcuMgPSFNQFEfx+5QAKQ
hRl107NZmxvG8tipZe2qZ+6LDkTb90WmARtG6IhLYr9mghviumtc8KRP7vQhukWJ+Q9jNH0eK//5
wlDRxbTBI3tDE//+hUFk02HqQQOJ4UeNyhlLWdf+7DZowqSL9x3BvAvhbwrGI9vFCibUTsWGMWxz
i4/pnWl4N1aAR3jUUHAPBS6/p719iUSVXFJH2bSx/4xRR4alYN49GKpGZVtsiBsiafoCc5evILD0
u0mfQqXtgnLTdpdVVM4rsJ2LIfVfoi7Qv/LUdrtMQv8v6gez9Jp7dE9f6rHDTZU6IlIdCIUKBvtF
AD9SomqbYOHiUvYdntEtGQ4652IVtV5xM+jOd1Fq1HXAqinawTsoow8wxIfQ5Wa5sY2oaR2qQjw5
Cn4GoJykJ8NVR36LmH316httelGTSN/FqNiLsD5noYO7ZawmBD4pQxEFkWWdV0j3ywUhFPdkFG18
qF0VCXUhv6+6sjuOnj0ePMpWjlkRbs0JcaxY6qe2U14aTYvu2rKM7sY++OmkpzbOR3R8XrNJJoA9
OvDkJq+gdUH77jcIXSmNMGJ3r1rFc5c15iHrsaHpTJSjbhuDqvQnzyiqZk6a1jyFyEYeFXr5nQLu
YlUNyfAUVk5BSlW/q0X9o+yl9VDoA/jUgkJT04A73+hmcAgtxTrEXuKAYtQofyFacasbebQYRf4d
B4B8n5fUoKkEoC5VkZ8MnHJ0R6LiwEEQ4GKenGiE8XBN9TM1iMB4xAseLihaYsc4u0V2i6OUhbA0
xlrG8P0TsPjLqBm4a4K6TQIdoJtWqtt6CNxz7CaPscyHXZO4P5o6tvfmRAhPCGL0ZPgWjYi7UxzY
a300rJuuMWEqOk35ORhWV7aCKm8neu4S7w5ji5OfvatC5kJq24Z73cDYNCfyRWzYN6gQNL5R5B4+
qmHOk4oO+1iUVOjCJWhvjAjTvyBC2lt747EdMbISjavdGE78angUdju+jI8yHVatogZHYDblJyGf
wpJ+Jy4j6k+hsW20oJEQwEzmfDCpFsCokpskrT5bmchvvMT+aVthfldXsCxFfVNN6bxCqD+dbCqw
TsZn0z46TetDytSqc6j1D06OTrtqcmcPzB6TbGd4GF2lWqPjWzJN889odJNNGsrPChL3Q1agMg/K
sxEdSTa0t6BjW0q6UheJF6KxEUX9zrC05Fb1OsTFHQ7Vf28cP4xpPZcsA5FlUqbMEN53gRUD1z5u
HG/ha8Y+0Bivl2GprSNVjxYcxr+6oI+hbPY3zQuoCKKOwnofwPS7sQDjzKC2MojxeY1KlAuGSWvY
cuclqoNjmVcuBZ3/pa/7ZVgmPI9W9Km1BJZoiqC+5L91KLfX9vZ3B74PUyMOhzEqBSJ4VJL6nC7P
b2NsF6wXBQR0volFydaQpjn2uynAVJktSpBSeydRX/6+y/fDMxpbAo4aJFJCOJ7+PsGJ81MqHd9S
FkWB9Mb0TZRYOlpOhh7m1oc+UOhoWqP+6e+7fX+j2S2jQtL2ZB0pi3hfwRK72BFZNbsF8Ur359Lg
T+Nxl6j5vWjv/76zD9F69gYq2yPBzGiDdOe7MaifRnpThSqyQ9HkR0+jVYk0qLxqkw0rap2hB/a1
ts1dRsG6QWhS0eLoH/3++3s7HYNhE62fijEImL0LWJgyaXz8sn51+7g7hGujQdSDwRrcNkYCbSL/
Fb7+MKScd8rDbduMVgjRvXugImCMORQRTlwhuOrH2QlhRbd28xbS8KAvQwtTicAwCL4G2VcRFQdR
5enDPy7/+zHldBSkdnl0CTh9nBf3Qx4Ulttw6vaIaZgjjZXBzISKG0naXCbbzFPkBYhaBlzRFRus
vKLzVEG+oMd/6ETXbMYGlD+Se/sfE8P3OTb2Q3tD8mKKR2gEhN+Nd6Mo8t0hN3/N2WXhNrfA+dal
bB5z14XoBd/a1LLvVablT1GyciskyuSTwgJEowKWFwaq0t39/Yq9n67OB0VFhOnyvJBbefe8KorU
YsSA/oIwQ3j2G+oMRksdnpLSwC/cwQU+6jGhd+2bzsOi5e87fz8+nXbOmJzojDlF197HFRIYhTBz
GmXRdKSe84zZWZB75j8uvIl1Ka3Z72NObrFKwRzXn+kGxVHv3ohKglgL85EdYZq5MOPikDveve0k
X/Rk76vYeyVluE7xMDp7hviBb8KAm7v+SnzsWx2KL14F7Kk1UScM40oP/RcDg95dhY+FhCtz1rMA
15HWuEjlIMPxZ5DmYorBlxuvdAi2MvdcIcxXN0WYd9jFCGcfuLBsAyvv9tjTPXmK/oMpNMNXDKpW
iaflO9GDSAkQYYwmsLPMxCLaV0hz8NKvU4zzNKZvZ27ros2D7/A8q12V/Yh1NVsbkS/xkPK+aUkd
b7VRW9Wm7y5CIc5+3f1URNEeSsd88SMf64+mOKr28FqrYwBQB0EDRSOBOwle7UAsUh3SKfHIk52N
xzytDi11UMc6hMqXU1gUUp9Lu2pfGgvn6eylUE3MGIoXy8o9QFQU5hpKpEDBkhdayzU8wQLdIJh2
K723OwJKKq5FSzXyd6Pm7sA0ppu2ISSD5rFfGFTO7YreXdc8QxcTPrUaO3tIh+6GWix8v+3yoVdN
yp1Rh++8TqdUT9HuomJ4FI23qcHBaGAc13liGtvBdb/aZXBfSeO7PYImLL3qolfFUx97azMavN0k
UosKSjTIMY5I3KUaoxjR8BWoekKIo9ojiWwdhNkxEFp7RH7RACIZXXj4lEBmGbm7tDP21jnsPoUW
DkgAzli5s0GZAa442IW6clDNTuj4COlpAkAO4huAdizsSrnrVeJ5YYgzXKBBfq4riuMLRrt+iGNU
G1F4YJgDfO2JnVf7W0g/6Cp0XALGwgIsU6fxtm6yL3UWv0yR+I3A4C6NYGJUuvOUaZ0BW6VXvFMZ
Bj+ZWIhFLHLsVoZoiVV1vjaC8tXL/WfTFNmWStXlgA3NYpB2eGng15fdq+6b1akKx5XUMC0dsYuh
lODOcb+IYWx3DCQmUNcCgkMBZcT/WRlTUVccrsaSB7KEB4cc1J3svZlUwLhd6wKhXeqg9lXzZmG1
LVqUVPa7SIhsZY3dkmJra1mImySOqq1DkcSqjrRnNSbBkzvtGRBBuglFeqDiDHqeEV+yQduNeShW
ltEny9FCB+4Z/UG3EFonZvkw2IAUCRTADlhUvZFjcM2J8hpSH14zT6JCJFcflKS9k3lyY3cM4nNe
26g2nKWPHnptmGfT0tecTMRFXgE08vbegMKCyVydWKtxJBJUNwUY2eKpCKgWwS9gY1nhE9U55OWi
Xll+NTsdCqnwxVKPBLzRWrkksVpvXEv5oTvJE473463Jm+zKJLwfRA85sfrhC7t7QNv9uaMdS5m5
vgSi27R1913RB29rxToHP8o10n3Egm1NoqTscL3rweM3TooJTs6ou6FKIDRWWlH/iOG4UqoU9iv8
ZKFx4r1TVuC6cyDvpFDxg2m2lbQBXoyobVPA3rdVSDk+MIofeqjqa8Xw5Z0zNC/lUHwLmzBAY4Nd
vWy17GxGmywB9NxaibpLFRMVeZvs4OdSOiNKFeEzfo0U17ig+xv1ADTZJn+4HBpp7TvwR4uYK2rC
yl+YHR4BLnyUfdvGsF1y5QV9v73sC8PfJ+GI4KZm9BqHn2IrjFd6ZSar1iZ90uYPsJ9p8/GJHGNB
2X+LRx6hWX1hDRMEg8nMRvWPqMKcjXSYYeaodzTZP1ZVsw30uFsSFVn2RBvoh1uIL+pzCwlmVfWN
dRrtxDpBMutoKLz2MGRgAR2Yal1QXPI03emWa3+lOz+Flet/smi2AEG7z1am7HyGZqrv4s2gdyiv
B9s5JEP5CMEPV4petKtIGs1CJaT9moyI4f3OpGopLbvThMkoKs07tiF2d1qotvuAgD0SbhgMjVMr
ICqmYTXYwG0ZUkhlVUN5MKY/pVmUBycFIYBsANa66RT3smAWbkTB4/wnkIiNh8Cxjn3iYTnqJxHD
Jf0n6lv/xtc9Qg5hcJw/ZdQE3IwEtiialAkqEBCGtLLdOQPQY06fTAtiRxUqo7KRunN0DcPdQYzo
eeOK4DlLaTFNtcFn2YnDZ0/k7aJBinyG1BQ845u2GUVQPIzkMx4CijD1rAVvK4qdUevdSZv+zP91
dtWB/vVAXgV2D3tBmPnm7RdMavrTvMz83XXBdIzHLTmGT79997bMvG1l3mJdy8uQ1/3u3Wbmhd99
l4+QlUZU78LCAmo0c5xqihoMMH88ASdMa3OtwFBr+vv20/yfcMRtM8bFLtYVnOhEl8EtzmqJPlro
IwEC3QNOk+vmaf5z/d012p9ZU/ub+bvuv79qKRaHMlDLLUTqfaIW4luo0owlkVXfIZBJDvQWYqNp
wnvWInsfQ8b4psRBv4DmN95l1PocOnrojRt4+rNRDgc0MeKbHyJEqaVv3jlAnvadHzcb2067Z/hJ
x3kbbotw2B4q/27wCsxAqs+uO5r+Y6d11iFFv7/0RwOyQp+KF6fi3bbj4FM50LuYNZzE+fsQ3vJ6
yNVgN380ShT/IjDvbNnbdyUUgflrqkOi3RhlTNazUbwodU3lNS4BZdnfx6NbnquwvO9KI3xQyXY8
JH1EAjD2on2IzvKBkhYMzIVzi14PT0DMQDHeilNvNy8MJcM6J21DaRurzhuhRhTv5bQ1GJ+0d8Jo
1Cf9pxP3+Y/AsTsqYaR4QI0Kv0uBlK5N1aJFY2PUZwPBHdts52pB8WPIgicCPNmz3cP5DRLo7n3E
kKvNNBMeaB98sqLw67zZEPtDL7CGL1aZjXgyO8lt1Ov5vo91d5s7ZnIfORWgGGAI3239MG8+LqH7
OdloPVht5W1Kva0Pue5qF/p/ItB9qr6aXgVAksOmib2rqJJ5hsfn05e38iw9dTgy6oN4FOX1E8U6
1zP03G4JZ6b4Onq4dCPj0259hik7LVEEtoGSB6YsUV8VXvUIF/ms+BJP+IKxIial4iluoo66DASP
YayKJ99RtJWoK3U7/6r0aozdXxRs3GnhDN3A1jR8gtHTR0eY6p4qHiC307qQk81jL7nVuGFlT51B
b+9Hw+v8Y4185hangMO8JoGW9oEuYTF/mv9I92kY8Aiflx6bZtc6ADznLZmG/imzFVAq027KNmZk
46PpmNcDOTiZ1Sv+9QQiR6tWVTyEu+tBlI25DntDbuaF06iS24Cp3K8TkG66b1JPW84L2zFRPNU3
qPOcTs9Iov4MWON7jj0G9bkwXhxsrNF+14E4+R62S/MfMii4nrRISPNeoi95W8ZKQrg88+LXb1F5
x7KojvMqb1uYl2DImZ3cWGcH15+VXNmAJP3y2wav/84r/rbVMqPoTiFPg9EOh2L2Hnv9sLnpp7a3
1whqzf3869t5zB9/WzkyAiypBPdvWuvt17cDnX+Y/7ydi0gbewljARrUdC7zwteDeVv67ZdOGy8N
kvddVQN2ifVyD9DeODtFaZy70naGRetSgFLXcbRVCrDnB3wuC62W58qrekylGPJssVEJIOmU3QCK
4j9rq/7kGlplYv3bL/PPjW5swahph+smSsew97pWnJyharEYm3Y9L6fiNbmq0FQs4w68G24m/9n2
vIwyBq+elHQHQ0KBa5umzUmnguf6UQEHtB5Lq122anmhuK8HDDmJaqe8OAPqGwq4GaTPcuCRCAMe
64DuZxXxtFgcGHfYI4SnlkQYFI7SvncBAhyvH4HDPpaKh//AtMK8SZgKT8Js+uN1k5hTfXJC4uzz
Tuc/gQhf6l7Nfm3D6NrXsRvC6xLXw0rsz4Fmu4frXrxYfg2awjhcNymz4Lufy+HXx7JvfjD+qn8t
TJpycneCIP92ml5h4EyL5fWvVfy0JU1KjHn/dlRdDSlMJfq7v+4FOJxYIKRT9/MhzQsSFcgxDIMZ
fj0wDYcogvaZ/LUO8SxYTY2b/bZdxSJ5XzIhuX43Xyjwesx8iH/v3rYNeY8Qwuiau+u2W6Nl0Cta
dUealwxjg0MrcwPmTdfjg4ZpMu/rUAnN9y42yCjC5syu27zewbokWeq20a9tMoPG8p7C+O3beRvM
RaFsxvb2uh/bkskS6pm2fTu2xgEgYhp1v70eW5cy4s8S3BbKed8I/uQysmTx23b7IGkAHVXp9np8
ANa75aAE4ZZ5H5L96Q+JUfqrIfGYxE9Pl6242tKtC+vX5yrE58PuW40h4XQNKo9ptpdjTXndZgNW
d5kDMN+8HWug+hAQqKTc/Do215hcI0QGB4Fd6hpiklq9bWrswDI6521trgWwBSOsQ9wUZHM3Squ+
aMzy50/tUMvtgGfFskki/6wDebBtCffPm0AO5p8fmfNfufvJxMUYLLKhE3efNC78i/njtMR1/e4/
v14/Jq3lnq2JSjGtOnP7568C7sSM8p+/n7+K+Ep1QewXHmgee6JeeIRqz0xLt8qExZiXF5kTXQys
BeZt+QfZWYQiDGBCzDbccw16Y16uV/rqLp7IGNN2573M389fgTT/be//XXFeZ16qnYAe01JvX2XT
5v+74vV7uIOkq4JmlRTZVpv4Ii7QtbsK5tNFq+PV21ee9NVLH3/B/4ksQ9fdkdPp7vJAGYGQgWWy
cu0YpuJpPm0tJwgDu26jIPZcdp0LLkmqNdvlyk9naNG4LbIRS+v5aF0s/8419JX503yu2oRTyeGq
/LorE3BlWuK3j6qv/Hap2gnvovPV9a520wrTx3lrfiB/+hMRpgUNA24IRoyEFjNM3BhtIshgufCF
Sk/87ZJXf2LMxBNtJp64M6j1z9lEoslB0tQTm8adKDXjxKvxJ3JNNjFsTGA2/US1AdXSITNCHIiX
nfLaT/QbxvHKCRVL+gAI5j6cGDnWRMtJJ27OMBF0iomlEwLVMSbYjj5xdvqJuDN/VKytVS31iciT
TWwedaL0yInXQ4nYiZKF/LGbWD7xRPXJdfg+8UT6sSbmTz7Rf8KJAwSu/NcxNRMlKJp4QWIiBxGY
uDcmllAU9wSI+jDBsr2zPrkQQ1Yqiv/bNsjA7tVJjHVRNq6w7+pBbRtJQ90W/86fmVP++s/Q4enZ
9QCP9z9fzf9Fspzm7dMa82pGZaG6CeGNXrdFthrWw9s68w6SNClPFIi9fX/dzPz5bY35Y1maHQ4f
KhOKeVdv68z7u+7FFJ7Yxqn++W3l90u/bVtXCoKdbXp4O8V5tdKLOfm3U8mgbC7dAHzyb5fl3e7n
pZXGqfYJJJK3dX+d/HTeb4c0/1xK56EYFXf72wG+LXJdzwHZtDbN3rleoXmf18XnTfx2DOPgHrsO
u+X/3JS3e/f+oIveBGJemrhZ/Y/D+m0fosDl2h367x9O57/3cl5aRNLe58kn2Ua3qTPkr5rUGQWq
ZX2bxVm2a4dh2Ntl2l9GEydO3zadT4VQvtbN0P7kBHO7Mn+EEXQPlSnyU5SD1WaOqp5FhP904RPh
7V2zpupKmxzW8+7zCNWhKqPupx3GW1jn5hejm147z6zvTZdiHSQG8dEzC/MEttpcN1hCP4qecTVW
oPX3mlRfO+0cT+xP+MqHLx5h7FWsDM1NpgXuTlCvuiMM0N7MP8yLMOl5+nXEk8rTrL6DZkdjYfnD
4xiBZx2iwDzNO+6SyNtYfdfcz4c1H2BthwR+2Wc8xMeyxnpBIeG5NOsaFNF0iiRHysN82vaYCFhk
rfGUkZRYOFQe/dD8lTpE7c/purnTBRyEaqyivusu6E/GfY9X+i43tfp2vviVl+SveR/cXq8S/q92
mUTfFJgni0x32gdp4D8alcLDrBW0ukOiYtM6ontoJGJpWY7RN82NVvMRT/eVnAFZB/pFpB1peZBI
565/BpCa6cKvDYxyunivDhI/NSEuQouCPWxHoq1GUywp2uo/uWpVrJoWwn+oaTeZBOGRSNpYkYx0
or6PutWR9RJvXLSuzJFqDd+pxJrodg+95skvaR6Pa6Cxj+HI4CgxvQADpaikgpReVLTmsKuHrto4
raPgVzXwR20/UzhP+Y7ihpdWUyJMNpVdWcqYMVArXkenfI2wUvtRS2PpgE7dUrSY7pPUyEj66tXZ
cpPuPjKLg2pTPzTGQbmOHbM/W3qOCa8Ez+RXqoF43jfO5Zib54nBR58YAbiN1V3WJBoARazqNOMp
bNkO70HyQH0TNPWx3CLJHu9FSUojRi53PuSJ/6j3IxWIBlaMuCznSBzlJxUqPhdHVAtvsHc4zCLk
buuIDiV5wvMneJL1pA8eigc81L4pbWatfMWrzgKAKh0tJndNACZGDvlD7Q7lDUKhYRMYSrM1va1E
Px2QEyL6+mq3qXgWfamtUBB1FwxPkqWlQ5bgwHARq2r7FmwiGDd4iJ9dBKha45ePuTCqjdY57cGY
/hBM0lbSxWALDerZkGlwHuwT8VgDnzu+oQ7su3Aym5EtX6md+KFFlbIw8yw8Ct3Kdx7X9SwZ+WwM
pU3u0va29jJl2VSMJDWJzBG31P6FpBSGt6920MtvY1k+DQCgnvRepaa7LHjBRXxuij4+l0Ot77UI
+VHqjsgQnCh5VnWGAZ1PGFcvTlkjlZNlKR2U2qJnPPDoCqJxJgyJ5wQ9+LpIqnKrMBy6xx4K8yD4
CSRNn8sM2yckd9Yuj3PvWSbRXdEp6l0o0KCblM9afo7NGViffV+OZ9LEVDToGJaWdacMC5tA6Dml
4L0WCt5rKrxoQsfuoo+0+DnUKRvKE+drpcGx8bH1WhN2pRbf0c2dXQ2YLlqZdkMroaya0sc4GTPb
W8qnbK8FxqoinLrrGrFwdH9XO7b/FRzWskxw7yTHT/mbXRu3bt+bu8KCvhmEurhro3inm+H3chDJ
RXixvRon7m6kmpjLCpAZ8yUqCszxCADnm2y6WLXCwEO2fnpMW/LyeUHrSzwfk8J6vEcLuSyH1HtF
JY4jZkmybBz9bI0El3vYUFZSJNldgL3V69hi6RwmkSSCZsKOkmUHLTc/xEBUB0OeiHuDHNe9TUxV
/z5UYusQJONF5gVmK76sbxHtuXsdKs/CqmGmZ0X6zHhqXHWDeWBai83YED4nTHo/+7F0l8TAi5Px
x/dEQrEDy/29WhiuuhJtexsMUhyEmiOZK/NqpdZKtulcRoQVrAUYd2C7ktjCy8SZqsUDeWs39kkJ
jP6kq8FwsobUODbD02xq4ZUEVAG1O4dS5NENOva11I2VEnRrzcqy17IHVzvmhdgY08e6GO/akRAl
Fhf5TjOqapc0bQqTKfDvFALU+ag+K/0gH+c/6fBojwwJgRs7xyKKjaeJuFcnCVG2MuOa9Ju+LbHS
U512V5NLXSFYzc/j2K8aRoYHpyuME8kmt1mMuQsCxV9ERgcf0/ah/QbGJwQvdDgiy04UOBBvK5xm
KTOgqyDHzVujoQRXs8U6MvL+qEu9w81R6Y5VmLwGuf1SkAFqbGhZBTm7e12FuAUxvuNxvs3QkUJ5
L8JDaWf2ItEU+568DaMBG6VsO0rnHifZBx3G803XEvoZlNeExACSCsPF2shUlfo+jy1sa+JiYyJb
3zBoH7cVNtqbpFBVrMKY3nTG+NWgwHBpmqNz41UYoEhRkqoW4mU2a6DdJ7/5jOmR8VRMhaGqVnCp
Ml2/flR0bd+SMA4m3b0oPNo+S+IX4lLTSNLl1kjUm3o4FgLfqSEMH8lKF3eZMa6sQPPv6Tke6tFK
YLc7OE74j6oT1zdhqvfYmynEicsbjtXcKzRbR03iaGelMOi7hjqd0rPcpZIGB0KzlzQU4DILHvhC
lqcCYwEqWM8xqVoqH632EQ+kx7YpJ+GmfB2s5yG2zM9oALU1Qpv6YPlFRQm1QSNUYOhFaaexhtyM
ySu1upuYVn4Nc8s5zn/6WCAGiz5FIdYcdidvxhL6BgZ9+q1f3TCky7aVmxsUt1KjRekipLK6ezW0
ul0DAQ3280cGH2aGeQpYEwVvIEzrMNd7GXKmaEZgJftyyzmO+xFa6JrQNP6qNhjWHPvgM+oa7Yyj
QUKAnaSLmWnFUauNYYVnVPglJePdlK2zdlw/WMc9lWMKTtCHPtUjLHewubEC3wZbC3+/1ggzCl9K
7qpvr3CPxQbOq41FlKr7esyHTQXk4VwZRXxv9bgxOIau3+CHFy+0plsG0VB8FgW1NYkkV0mo95GL
iRY2zPC9y60E/2zFPPmk15CcKyUwJEPbW1WVbuiQSbQE0RcKuv1Hxy628ByUIwH28OKSPyXjC7dW
4kV/Fxcwnkc4sCusz/Ay63pyQI7M8W271AME2rl8NWiao/Rwq2/cqXlzQvFEsP0SQPI9+kVKzbOe
UCovkowcXIeJSTJsG1fPPts5YjVPLJVMBJsx7OKjmXdUgtb1pvta9mYYAleQF9Upwi89LzWjumBX
dfgPRVAYsbsAapAAetIrS70U6VGpq3onHEb5TuZT26taS+mUgEJiDTG2qYsNRQTlIQnzZBdb9b1S
IT3PS629+Jh6PkbESoldOf1NZpsAKXNFPdCPikWeJ8kuckNgGHqPL40OSnzISeQqZOzLwsQ/HS+3
eqSYP4AMEseQQarYguVa0lXSDRY0WG5NhkzxYcf1lC9gKYGMmLZzU8rPFGyOn5KmGDdEMPUvJn6k
aZTcBIk/PMTWl07vxb3jM1JwQ1mtNZja97FD4t4m4IOdQE0NDB4QdqekhwoMSecmw9HC727d+3Z3
jAkFb3Iv+uIWbX7OwNhDB/YWmjGKVae0yqFQmpxA6P9j7Lx2HFfW9nxFBJjDqSQqp87TfUJ0z8xm
zlVMV++H7N9r1h7Yhk8Iilmp6gtvCDB1w+bBohk12msJ2mTTC6e9tU3VbFoZOZtIDsKHmJlQDjC6
XReCbbHdAB3JzlN/uR0Vbruw7wHC5itzlj5REbzyM6F499E7JO00PKUFADFtAjvcV6OxDttGbhqI
GLeoiz/L1jAPnUAnw/Q6fL8Lx113TWPsSsBK5RhZ5wDg3SpsTHmpy65Z4zUynZAxNBiaR3PfR4a4
B6lirdMoLFdOOxJczaNThuTnWtRGYK8JQr3NGNGzmjS7eQry7Kr0RUhZJZvRq7TONJX0QAmweSMI
fAoyy+/VHEOpwdhSa5AbvaeBPRKpHNAQS30tmbz30SseCh2uuqPY4wXMRr0yZyuJRHPDO4zNW9Vp
+s2cVHedMKlCOZh+2wU1HMcZz50a8HW0U+aLbVg22IkG8L2MMph2eXWHu3os9GzfATH+IXR61hMo
zm2jmOmJL1rfjDz4qA5fiVeKOyLF/QWVoivfPNE44mofNIAeQLOOn5EpQXlXF2w/kgvkWvNB6qjL
TzHO4qLJ9JPSvBsMve/6uvRsucbfC4fDvkTK3dHTD2pxPHxTXyFsB77uvQa9V32hIw1T0ZHjNrPH
njAOsfhunqfTDtVBSNVoYmYdDSqpIWJlxsZRV4CnWBT1LkAePzrp1a8kE/CjYy+8KyIiy9Am4VsD
qIW6cPNTfQRybbx4sdZQs6DBocHTcFLzERiccDcpuduqkcZh6KLM8BEksQEgYOVim/IILVbiyh2R
A8xrBXJXhCTqfGl0rzZlUXfHad6teGN3/PMS2yiKeRreM+jyHwNilH8t/mxDXbaEHyKdTZqI/tjT
cUWXx9Z6+hA2wBWBHx7ObyQgubo37MA+ovehbJJiUO5jH04+5pLOLdE6jUnubkaBghueuld6+NWT
La4FAP+w1HDrAESFl3J5d2EEUqDAREsmk9xobd+QwUrwKHE2rqNw5DBU584eXtGNbu4yMzo2cNyu
eOaFh1rFSbht7yAHuwu+TnwWObqTiWwDFG1mQm+i2K+G48BGQtQeC9cEgU3Qa/juIPRQA4jKUdo7
hbWDrUUxly9xJ2mz4Bo5I6YZxUHpjPisCyzHg2zCwc4cHqxiSPa168ozdDhMEZbVZZHEdbe16I3N
zdPsjJFhb1TyDM+NSKPCt/S8vM4Al2SVYe9rGJ3sMAK08I3udxM3vCzNnHkaF8aV5lkt3LhEnNt5
sbxcFiDsq42immKtDfiNeqoEmpO3oHFYhG3PGpYYmBqGifQntZqA180xFYJ1aycFcpPaoxTfG4O8
hi4qUGWGknhB7n48GCnoR6NavHr6wbo4OQ5mcsJEEbRSZZFji1o1Tgg6GKdlTWRBsS0TFEzn7Z6T
m/+zfX7597H/bNMJgerVsjv11FPgymofFIgFf2/7c3km1f/HZZqIh0+0vlp9n/z/e/vl+sulPQH/
K1bSw//1Uf96lsKaQ5DlaLO2vU0Wjtg+/fOUy45/vbvl9f/p2t+P0KC2qhtoD/xzgb8utZz6r3u6
GTKCfQ/9vhqLW2zaxhdOWLjEmVn9YJUh+Vhuj76VjtmHFig0CRvjS1TAz1E9TK4gtXpy9kZZL6fq
0S+w6soHzsulH4GGPJFeqvc+pU61HBAJ75SGwnuVpoNmiR6Ze8X10ufAqz6WA4hT8W5QpuwJ/fWW
T7GftoOolTdK7fvlCI26AHYakXWbQkch9gVcPuVO+uWUG5xToZrFMEYLWzPO+HoF1wq05/fThVEO
0HeK3qkTJVtX66MjztfFY4Gp9ffj1bl4nvQyfTFzM91rdmjsrLxyX7QYYeH5s3FbpFqiuBkehBcM
R3PMDSZ823mfCDyXz0aXw7RWYAFjYN/Wl0ghQlxOTdJnBp/qM7SK1MeFS55kQgmwRXv3++Za6iF7
TMme/Io0jtIoBqrSxbg6/lquYKj1b1waxZNGJepgOov5RqS/OSk/t/l7yZsQHJzjKLdZeOiEew/Q
Z3LMz4DcaD4gHEFoZkoTnLFBN67oueH5u7wv2W8w5G7e64gJbGo1VID5Sz0ANSHenU+VXvSkVEX7
AlMP/5tSdXbCEtPL0AQPy7UpaFKqjivrQU/K9qgMpeOnwzS+B0G0WY7oHbB9Ah1pjOXAhaMBlm+Y
6TeOHo8/8JJdF0i6/QgA0my9ssHLlOnrZRTpFayg9+nMMmbcQ79mXRMBVcHILMwi71Nx9KMR291r
4QJ/a+2y2vVDmvwA3+8vB9QVnGEEuZ1zbPPZRLPl4dSN7mdqFa/EVcmzJalTeO4AWqeftA9b3Jb9
wLQjP1RFcmqxQnjEfJSu+HJiHKQrCJDugxHxI1dxNMChkyvq1UumS/nhxGa6tdyuP2RDUz8PWfSy
7PeAmcJeF/atwDP3LDQqZahReZ+yQ8UsDJy30rbbXZPrEaBdRXsNPOWwHODaw4CKW+le4KE4V3X2
5lo+F76Y2+zJ80JFzto7kWEQN7f5e07MuZzphQKTmKHDhKse3LPrKk9V7l5xdMyfcAjBHGIqUCLC
2OCwvIQCG5yEXv1aXn0vMJldJfXUnb7PSqP4GHooPKp6Z5XrpAgeioDoqpqvGStts0/jRKxlY/zP
LVwFCJWCP/ByBDV6gP+6ITbL1ZdtZvAocVp5XM4x26LzZWpO/nKAAwPmQcY//zyyVeyzDGBwo9XD
ieFCvJUN48NQZE89gIJHKEHU53PxVokxPiUF1fvlZZ6gHaPhPblbXgYl0WhW8qE2NL/fZPHopiJ/
VZzIvrW28r5cuZMgZekmT5vlHMAt1aYVRX9YzkmF9oJ9oby3FtJApNPz6CXeIDdXl6IpehB8PAaE
jXxn1Wa4ZcgQbzijZ+uqVInQ5/vWlrULk7J8qoOxe5RUoJeTbBgEpzA3JcMdJzkiwGVUUzV+HpwU
dsTaNY7Al2VvY94IRKrX3tSMWx1MH8tBg6SCjsSoulleRmjnbkQZjd/PHtjFi4Crfrca0bygXbla
jtLtsmCiJtOIP2NMQ+h7/+8FfFb1Msl2uiCOXvlezvtY9i47/hy3rI0F/3fZG87mz45MG4BxLK/l
CHQ5S9JZifyfjd+rtUI9Dt/Gw58TZx0Gyl/xNUXzCQdrnigdPUl5c36ktsNLKZejn+Ya7Jo/p0V5
m++1Kn3/8+TfV6IWavnw5gjn/jrFkiaCwskovi8DW1JbuSkFtWI2OA5pJeRziorj7jbQyvad0jCK
XlO1MfVcPdveGF0o4dgE32ZwbZiR+AkUa7Jf9QO1pZCTmmCvDXJ8M8tkQ93UeRn08GiUFYbllYg2
qkynFQaU4rYsgr4Rt94sol0jQeX/tSNNdW2rtBauDv99RunClkl4pvWyg8K7uC2XMtsSf8YaH8U/
l1/WNORZ/aDA1OKvHRGdFx/FIXSD5nssV1nWvCSBp5EkOYzt/9pRj8DbIiz8Nn8OXg4pGhVr3t6h
tTi/rWXbssCcAu9lYC7+XzuSrsLhphLN3zuUptbWUA80/89VljWqdow96Opt/9qhDhA86sCt/96h
CXA/Go5Z/9qxPAaEWxQ8NY3Pfn6Dfz7EIIOnIypbfO9Y9i5njCoG6lEzw4X++/sAgEa5pAV/9Ofg
Za2dCdjGZEx/7+ib/pdj4zP71wkpqAm6MfJ7e4wh7jW0IgBxDAAPYHkz31OG7KGPIWZntsCMKdAK
n59x9OAlU+l7JHD3otQrP2iFh9m4QheMVOZOVa/x+zK37l4XCt8jtbwXeSp93Fi0ex/Fne+ZxXTP
yAv8XrP6e0hNlLtF3b2v+fdlWLXfe33EHsh063tYGCp366s7SFiN65n5vddCw4cJlt77iW5vHyox
d0st9pZoJeiVjUepE9yUkGKhZ6beDba76/fCtG+0Obz5btatoFzEewsNeOEK7vbgQG5hl0Wo5wTj
LcTAbeslAfZG3pBsM4h2t75hRuZfJG5eZ2bsHZtbkdMiCDLUJPq+Lbd9UhS3LBS4xGRFxt1U6GbY
jN2KFpugrB6jG2zXduuZo3LN6lpue7v0rhyCq7TGpNxnU7/F08G69okzbL0QrEqYJxN7I/0aikbd
Bl5Meduc8H0IrAHepKtvey/rWaMPb/ReTG2Gmg319FdkEoABRQMd36J81etCvQaT87nscwBJnzOX
IXucD0WWJjpmijusl72a9JI95T1zs5yKsFm7nW2Rt8vewfW8jUJtbAefXTtGWTOtUUE25+ppd1IH
z34hV4YA1eboxs8vaRTVq7RXp++XpKozpc3LLp6snZeizv5jYS92WY5N6/iTrLS9LvsSR7zi1hfd
ln2GUj1OUaXutTJOdwLf+G1VgcgHA2UzkkctKom2Z42rAP2zFcYKMe4cNL3+fYBRNFguGd0JVM7/
PjxWIlZR3Dq4intdrrMswhHrGbICWpxD3enr5bjvm30vIR38pCvg7pbDy+XeTLuwqZQ6n91U5SVG
yGKd93H+2VvuY4UQ53MZR8OxytTET+ftNT5PbmonP7CtUihgFfDqvNx51+RjFKnZp66Zjt8ja3NQ
EEJ/sUNkFefzcGJMYC21BTSEwH5QURGGrcYJY5WbsH6N5oajtrhOCMakXZdhTqt6J8vp5R1nMQ1q
mF59hcn0ULk4wZRO2u0tAXxMLaLxzYuIhZcDOq1ZV+M0Xku4lhfYNNZ6aIrqqxhRiSs6+j29MaBV
7VEdR3f/uVfLH8uZZRM2UMtl/4BvHKoCac144mbBZxt/37tCLWPTZ15P54cJD4ss8MqRqC70verL
spZS1j8bgLT+e/P3y3+2RTU5nY1d5/fpoaJzjXlv/M9a207gdUqPcgTbM63Jh9Vfx1m8F6rQyu7P
9r9u29a63Boj9ZC4V7jAvx7jn2cJmgBqFvynf+385+0s2zTUXDaK0Snf7+rvZyknYzzZCKJ8H/zY
FuptdMryQZ0XmTbRXrfzc1Gkv2nSxtsa03AYXII6EQY5rQFeIHQzRI/ISjaIQvrUtSgIqiJ8NKQi
kOodyfKUKHxctlVIpG0S5B3pz6kvSKUMPWlYAEVMCy+DZ/yyyCHuNBf1vZxS/NadKXjSrfqACbO5
y8FTADDCAnwVpP2mgkS5QUcKdkCQboe4+OnlnntUp2i4FrFuHMp+emhABKiZdgZXQjmossH3WXHZ
w5Atcsr8mboRZCsfHSFR2qDLORllv5dxfeoVdPujtBsfQtHipKgPd/heCDdb9mMYazpdr8hFk0MB
2FbTXcxkfojjWvh5WmsMp0gaJBh17AJFJjsjqEvf1jE0lHGVbV1VGZ76Thkx3ikumCoOT2Ic+0fN
eIiz/H3AC/KmeF71KsUAIriIH5dXcbRT/hONjXnHfn14mNwxu2v172Q2SGuy6LkfLeWQKW14K4Se
btLQ097Dbjjmwww7s8PmgN+utjHrsN04IRhzlbfnUwRYRao73JeFoMJxhdV6jQarfHdK6xUQweyD
+6EnrXVriSZB2jruUcG8xqcDNu5x0TR/aPa0RUDztR5AOFIFjwOiyCDFQhn9kkNa97bPXHuM6CKe
oJSUJaSdzvUr6CirXqmCVakhCktN0tynLlNDRCxA0t5MSEXAJ8tqOHPCeI9QDdqYFgXUqp5b2MAl
4LvR5alcxKMsKKE/wchfDC1OXhz57Jl2ek0iRxyHgupQmadX5tadi0X1tfKs5FFVqpfSSLJzHd/q
4SlyuvgHLGKEVtvjgNXaUZThf5BNQd57riRq/YTcc2/WZ9XdFmFS/cj1RD0k3Y12YXjJIt6XoH/3
mpJNndypRPHV8+CWuioUy8ZQdtaQ13j9tqCCqX/usfWq4P/DW5NydNamBEHbMifj0qWe29boN0AG
h7eQfh9KEfgThuFvM89+a96kIUquYFmYbJAizM756ASbiCb5oasDa10DE/PhQDj+Ij6VU2+AqPPY
zE3onOp9bpaYsArhxzjBPs5bMslfD7Oh94Si/EWhdLWKR6lsrdT66CtNPWdVZcLlwpEUeEmVV8ht
hkTsTmVxlUhxGQXxNdNgNd4MmstqPJZfboinVIfKwLFy21dPSctrKwARtRjXI52d55tep3RjKOTQ
OBs/ao6TH53IaXemHUZn+lruISiE3KHuuWrn7nfTu4wedpMclX5yTwHgpXUgUOMmypD7JtLzfRjX
A7I/lD1GyLifala/Tu7QwWL3MH7Kiv6qR95WY4DTlWmf9pnz7sTKtY0T3IrVKdgnnXZ06HM+8/sv
MaE2Ghq1YbaPDdmfC7XI9uG8Bnkpo/fbZwclzI9KSH9kDXa5Pyt9dcOXXByCUuKNGhjOfmhI5rO2
reG7J/29RB8J3gFu4J0ZJze6M0hjAIkABMUdzYk4UcUf9lgGobcm6UfClfZUAE1gJwDAESHoKfWf
dFy3KA+8RKSGpmyrkzGz/WLU/c+DTiHJcTP3aKJZsqq7vN0ng/uz7IqzIE6+GGpTr8WsW1SI9z6q
D1pZI5gnPooUnORoed3tO06WN8lkfA9roW1yrEuw/Z4MPxVeewjVSmyzNn6Hot0/dtW5Ku3kHSCg
ttctIlwLXMQHTK+ZT2iTKzouZTZdf8SGxl4DiBA7Iuw3je7AYx05P/IWSj2xiiDvz1V/TJ0RufnS
eg4yEOdaq75p6qicehMGvZ5jt2D0yqvd8CPtUjxSwVq+KWNlvTqx/m45gD9Vb8aSKMbGAtez64zI
eqpn8H7gJRfHgaBFK/UqFSx7+1w/e7bix2PX0gMe9csI7tuO9A9EsNJtLgNcKvterPkY8r3ap6j8
VkW0d7TZpbXrjHOTWSzy5BG5tejSILD4lLenwWm7Z60pD2jcG2s6PxCTJ/O2LLy8PrsYeJ0GO062
ULhRtZ/i+q6QQGwc+HEHxyH/dMv/KGXyCyttrBEC/QupuODBviZ0yk1FWE/LIhb5G34XZx0vD3iQ
oMBE004ftZY/C1XimBzrzgGJYOEbURzutEU+PncfCtYOxlgXR1ftkkdTAwIeGa7xHnfqT1IB96vp
cQx3jQDYvvGfMDLzLZKk5mY2ynkclPyXaoNVb2c0S9YXv9omGnd53zxTs1VBW0UXFUr2gcA4Ow5z
TZKJWTsgzwiLzmtfzCaytlbFfyNKwQMZqqW/BrZxQfdC+VIclPpEiBm3TEB3YmydakBgtPiOJIVQ
EgOkWDttarfV4XNi4aCPTf6zBQmCwJn3o0oGy59Zrm5Dx3FQ8HQze2v4iodfjdTEwZFJfYATvTci
L30z9Qq6BkIXPsDPrZiRGF3kJT5YIdQgpH7U0ya7HC27bX2dFilALKZSNQ2vTZEmZ4aNg5ZqLhDc
wFktf6U+NF/asYfKN9M4qCKi5UZ2ULXKLZeRe7TTROLFHNRPqZXssybQH9xkaDcYnyfPhMr3GBbk
cWztlhYf+CCArOmlw81Zkm9AebkqaKT/KA2jW5dZkT52cYzonAh9h3LbXsLC2nhWvx5S9ymbrPLq
6Z6/6JC61ICftaIH2pYG9wjoq5RN7MssO8bUp9PRCN8tbRvTW/qRNrVzDA1UuKaSKmnQqd2JyNta
ZYVlPNblkO3CesBAWoT9HslvsSqoOa70OM5ftU4ER02tknWfVNChiv4nmkAk/d5/pNZRWMzqXctj
+pbswwO6DjTt3NZ9q5qrgdXyJdINn95dDw4Pl7wh9KZt7+hPqA+FJ/j5yc4NEQ1IY40qozk29wFP
kM3YAUB2Y0m9tqvsfZbomk+BJ9sYiuLhmsjPpAAeB1DL2YCHLu5t7h5FLKlyt120x9saIZE2yQ79
nOFFqvrsAnX0Z5nFp04eLcc7mq4RPghbVq+GjjmFSyGDwWhUFPs9N53HCE5fGn04oAvXDboU22Gs
ZkivDgcYT6ykaoCUuQWAnrbvN1CZ04tXfDZRUb8kRtfgU4su27KIzFb7ZSn71MBcW7iWQcSKkf00
/3mZ6IZNYgKBWf7Ly8uubEwfmbkTaOXsvbWbDe0l6ymqnOPkoS8kFBy9SyXOKA3CIVHkkL91VGu7
vrF+t068yWAibZSurQigVcQgRwd2eP/vFbA+QI2GHb4ELbwqFlmvJOjfTBLCmjvNs7J1WNYK9EOt
kPJD4kRPxox5pXOrbEBQgqCptWe7708kL94tNeNHfmbSF4HXPBSoQE66hEebBM6ZFME8SCXHjtup
2r0ny/qAg88vgNDxo2PSgDN13eJrEfEj2a97bfGIDUS+wUoRbZFYZFuhKSp8MYoXTs53bQhgcRV9
9xg0WuC29T5S8vNnl/jxjLxQWj5X0aTYpEfwgqtGPSZxI3+Op2Y0+0Mg0T+cOkM7pQhj7MImeDJn
gC/m88MJ9P6602V5HoNpVZS29RSPynAzrfFQjXiihS2AiLIL9QtiUA0WRIpzoKkiYi/4TEI99A1m
XcT+Gu1u0dRdOaHsv9ogwdoUnZmKX/A6Q8LqJupnG4L/tgqrditVE0B8bxWbMVafo8V9g2zF3SCl
Oqs02sEJJo+ywa1ZfacfRkHLK18NnOB3fapchD6lfgEv6T3JSp/MdfwZ1r2+msKxxoY4QoFmsJKd
VyISMERO+oob+3B0GsKUnIlX11HNFAyyee9YP/Segp5kPD/TXNMvWKWD8gGBPQEPee3EiARgBUkp
x4lno+WGPKQ20DfExh2+Y/SGok68yLb/JKjubwi7ORvqAO6OhpavC1xLkYrxntIgopoRFvlPaoDG
dVmgHyvPiJoDVGMyQBypwsmYyFDUmbKfVAE0LDRheYNS8REu7MFZs80y+g9JFE1RL0ARLHNelc5U
tokU6Z4GZx20YGrnRaA4SON2quVH3iCfJOYZDUiCKwXPOcjSLk6fvAmzoYwxasJ3KhNzvyjAm6g0
jRPhiLVyDLc+eVkSHhTHJZsZLI0/dWfRv/ZqEf9IyoYoDcvjdWvo4zbRPYF0R4z3jxtelkWvFD9a
HHp8PW4a9B+r8S1U5qHCrC6mN6Q3Kw2MrS5C5+IKJjOCn+lsVqL0JepAIAHdYYMJffRCVvmjxHTV
D/LCWvdNXb22mB1uPCbdVSV0DN2D+BaYU3yzZTjs+7H5jGesdJFE7bkyKm8V9qBuwjKZf37AePJW
6fdjMcFNG8or3o7JXkkAmYQdepZ1pNmbuuffO7YPhvUkR+gtuldbD8z02WaQsbmHTIPXCUVQLOfv
tIDGB7vFB8W1gZWltnNHlmaTSaE8FprmK21WXhKGcE2NDkSXQOWYdHzTHfSTpaDtAv9kvUCVsYhV
DmbMh+paxIyJrQ8Ps1PPaIUoVDXAQSMtiE5CNVAzMnJme2dKz7IpDkLyh5oAcG7TWdIqCIctdpOQ
3YwRxHv/aaiV89TkXb7KjR5OMFPYO5SGCBzVO5isn2EKE1EzYXsUcMcuBaqqG8Xi/1ZqAAGsamj8
0jNe+ECHVV6XWC11n6BYAlTeYuc2U6uOoHle6sGYeFAMHXPHomWNOdHVGyG/QRbwrhN2sszfs/yq
qHCbStFuok883gEgHMrZ+kvqOSjwGRVNg2yN3bu1qcxQ+yKvYgYr5TvkkF+hAC1dpw0hrUkOkSfN
Y62qwYHS3nUo+h41GIRqFTgRK5Ow4ZRD+Iu1FtRAOFzwMQkeUfnejt6g/OpPMhrvFkPYK+LW6KIl
qW90Yf2sRH1wN8rpifZF4nfUhq/JiGVuJJEfjfuHXM2td2UaK5wrwfymatFsi66RZySO7c2Q0Cj3
nrGy8G6qFWarDNfiB2afdaBpIUppxWqUjDq93tUbHVTBsSW6YuzJxkejo8eqKjlSz4EOtNGZrOe6
IigJJ49BXhmN1ZBYwwY0mbGTqizvTqD/HLJ+/JHo8cFNsw6kWTL+iLFQRKUyQkbSJuNY0JmTCTIc
OU2Ue2hqdnX8O45E+iNVkmALK1RF9NAr16XVtGjFdRD4KBjBgiqsRyaN8A5vaGcWJByDJt+joIOe
1b0DNCdDKpUvE5GCjRcE5dbSZ3aL9YFJpXPQXNVaSc1UnxqKNQjPDLPIXNMgYlgXH0oJ+wnbEbFD
SfVXYzbxm9FTo5byrZSz6lkCmD9pI/nmaoO7K0rEd8pcSdcgnO29UFw8QmBt7CT3fCyiB4YB2s5e
u1O1crq1tfncEqiUfM0flGFOfelsnKCsT4pFHUmLqQr2g/q2iHo3EVoKk9H+DAa7PClxaW8yTQlP
w6SrK1MJk21L9//WpwI52a6eh1X35yzR71SV97t1ndWU/czqIZpFmKOnvGNo9poRIkeonnT55Dgl
orZjhzL3PMySWFNQquV7X6niHhrxfybd3uTDa+RQH8ydSDxkFhR/OcG+FQJpIi2TuxrPVN+lE+ZX
QUr9z83dx3zMq03TgXAqZVpsEZagV6PUMCam7mZ5iba3x3Qg9fZebFnTS5DWLlUH/VhN0xvcWWja
CMicQqN+VZgV1rkLkqJ0R+WWtK55bF1tWqMfvUlTm9qO0lnrsjVf0zgHvJGUNWnKq4uMzpci9EvX
uPewqpd4ND4OpraXzhCeloXhNMCXvOpcWI15NfT499DXDZLjwwyyGejRVOapjOzqviw0qrWGrlRX
JwCy5ITuFtW84NIoar0LIkgKdmUq9wCkz47Gj0Tib6OLSL4Lka29Rq6E8uqoo/3kxVP6XMRHI50+
RRgZzN1GfQnq+J7XUelDK2nvqdP/CKURb4Ui5Rpw03Qj1jrVTeNscphPE+Cg+xgZw70PvgZLyps3
T0OaAa6ITBhJ4pJPua+r7VJviQtc2Je+n5IwdMKciddaiLhBYyf5JZJBi3ZVMp1i277lSGpAO8np
KGfysETH/DwuqTDEqTAEOozwpUiiSkrZbfzTHmx7X86ifCPEIkNWXzkV5E0jao1RSanWKeo2zRTv
FLgQhHDWrsaZGaJOb50Lg3Kk7eTF1kns/mz228oiymhUHZGcMfGzJgvW1GqdRy9KwU3QTgLKTv1K
HTFQzrA4xPAqJyUq1JOSFPvehltlGRckhDSE6ZzkhGYa+dzgvqsK7zgd7O0EKH9Lcp2edQrhvc6f
EMJC4Ie84wdJC3QdbyejcfnPC+u5b+y3QfcGv8qYSfIJmn6IxycKDe+hzZNkJAEHWyC5RUS9hU0Z
7DurucITL56yEak+vYM7UpTjF8E5zAyvvqRxzQ8WU0l6PO1TW0bmJy0IZGIAKKD+Ev+GfRFAlVEj
dMBmzJAMvGfUwGCJEYbUqp5/xaK5odFa/ScCZqw3QfgABjvZ5Gnl640iPgvKyWtSseTeBg52XrV7
1+unyRsgibSO+Vg71RdKiLtasYJ9qWWfbg5HTAFS9xg+yVnWuw0iea7RljwA4DW3UPKBvCklwaM0
kV8B6IYVxWtfwN8aOzlj8NRi5aVIgLdN+iuLjK/YiI1zFCNF77TM204T1HvXjqaN67Xp1tNodhD9
Iw1kUO0xi5duBhA5bqsdCLnQtw/0Y9GP9U+cd38ZaDC9F07trKCflussCJpd0rTxJZhSuHlQIjoz
cvwcNRQ0r+RqbiivTdX2aJv23tmKWqAjwO9bT1mrUaNDQmyGLaJbOu6hxgB8ETE7rEese9QpzS6m
qrMiAxCmBZ/AdTtA3XWDQbGIGwoqCF3rUuH7Ig9wZdgeG6pGK1mjUbQKTm0Ze8eyFeFpWVjohezo
2UWXqivoe4rRO41x5Z20ea2VE5i4Riu2DOf6qhreJmQCjh2mRUyaRviclWCW1RxrTXD0wyPK1/A8
zIZ4JpXu3i3T8YResbnRtZy4WQEPYyZmdhbu8DNsYc8Englrlob8JPiBZCDvaf54ovXxQJvgB9no
+8TmDcRMBGEj9aFwnKQ3gN3PtXs7eMnBHkGsA0aLrqmlZFR3nJNeeyNtRrvcuMbgbKVg1GoIBNZK
w6Cp69I4mkSvtcK/vmjRLggd06BD2X7oMj8lrRE+WQkANulkij+KiJZ/oI1bQOAWitrwTIlgkfbE
qJGKjhb7SSHXlksEyCgjHlNyqUPUBS/Av/llVoUDl1D9NfUOlmK0VS0VDZBJbZCOymuaFUk57HhL
v43GOVe9YKoNtd+tQCQwyYphr7ZrOlD8bmJdQ3YHxpXqvKdhoZzQvDp0IYSKoeZvTeOo87s8nP+L
czoa8eVJBAX/F3lnths3tm3ZXzk4z8UsNntvkoV7DlBk9Aq1lmTLL4Rsy+z7nl9fg3Lea1vOStd9
LsAQLCkixGCQu1lrzjmcRuxUG70IvSPFrJxRI+AS+g344dcYbtiZFr12YSppk3b5c+D4rM/kSsiC
ZOZ1LBrbnMJ1JAjBdolemLtvycL/8/P0v8KX8s988/bf/8H3n2HTNmAgujff/vu+zPn3H+tz/usx
Pz/j35fx56Zsy6/d3z5q/1JePecv7dsH/fTK/PU/j27z3D3/9A1xrHE33/YvzXz30vZZ93oUvI/1
kf+vv/zHy+ur3M/Vy7/++bnsi259tTAui3/++avjl3/901yjjf8rB359/T9/ub6Bf/3zoYi7ly//
+N/N86d/bPO4ee5e2l+e/vLcdv/6p1R/WDZ4FtuGxctHtsJ6Ry4qfmP8IS3LIJNMOMoiRI7fFGXT
Rfx59YdO5jkGZMKkIXwp4qZbZs71V+Yfayj6ijRDQOCuDJb/PA0/fZzfP94f4+t/CdMGtOVQMKd/
6ghJX4Rj+DG/XpnKhdKrcf8mJHcVor5MaiDXmitvLYGAeMGntYv6xpuG/H0qotwzRqe9C7swheLb
DbvIrG8pRYSHH87nX+Tq/5KDvh6YkFLxFsmaJ1n75wPLTTeX+G3KjbQwzKlYDiizKbIa2UKL0LjT
pEMVzLog+y06WzK9o4YrfoOrfxvq/XoMnBNXmoKkff3NMdSIczKF929DTBLbf4w3FO1YPgz7sYk/
LVpkHI2cTOrWLNLj37//v/rTK9RNCssSmG3XgPYfuAJ9A2BzxEy5KeqcNkuPBZlW4Lyf6fIOy0xI
GImsZdXf2rTxf/O2f2Es2AD3JGxKafC2lS3eJKw3aHZb7HQVmgB/SOb6CbQAWj8Z7hQ9oJ2BsQ2/
+0j6GofoVVSBqFLB9kH6tLHb38EqXzGqP6aOr4ejIPdyR6w3xNuPwV4sKx3nodqMOunWfSSuZJXM
R9zaBkEF5T5zOtzvFsnOA22RjrQCz20px1T4Cf+7nwrqCN2ypG5QM9P1N4PvEKTpKKVsN1lr2PgL
ddurckT/SyR2BYbo49KtpnOrfzBVkP8mf/3tyM9poB6uTEBEpuFYtvXzJUHS+jDbjkkdByXabkad
P6oWAXuow/jJ4YL9/Xt9Sz/gz5Gyb9uSu9CAxPDmCgxC04FUEuEKpt5Hmapsd6R6fu5N/ZFoijPt
1Pp3iOb19L35oNVKfQNr4diWbq43xQ8XfTSMdpJPAyYua0YNAZbBb+goeSt4KGgdjI4WzRllpQgI
zXNp1X6JoHGfa5rhB1Xqmxqt1r8/C+ZfnHW6cKjfnbVKaulv7oWsjKxqYZDZuLbE/NBr7cVYm3zJ
E4EbL3EOCUV8BE8MUnV6q5wJkC4desMChJWv636XEfMGgH1F+o2LZTXT9ItpFqwTNVoHbQL5JmPt
cBjukkwusDUIM9qqvu1xSIe/uYas9SL56RQr3dB1y5ESqoPjvv7+h1PcIAFSdd01m8rtJ3+0Kc9G
Kj1ZPdbsQiJ3bozpGdao9T6Klo+kPmhFHu97JyMFrqMJRG0ZxZr5mEmiy2Mjf3bqGJbRWogVvX1d
w5S71JbWPUGrtL1hlEhldPnouml0MDO4pGGJervRwtgfMANvoQngbQhGuW3S8jf8jlfA4Zs3y4UL
IUV3mdyU++aO6efZEGLGoVoviNeqsEDxGOUlocga3RtTFh+n9X8LWiOZp8vFp0bGzYnIsMd8rZVM
ZLtsW4iYp7lgxEMBcG+ZVn6RFqcm/ACkgwi6Jbqr0yE86LYBhifKyLcw77VZXzkHcbXLcmyj2DiD
jRrFnvJtiN8jCijvzK4f4S8hd33s/VmqZBthWNmRUkva9OImD0Yzf1lismbTsvzQ6/FVni2/Qzqs
VIo3J4ilpLKUhTNI6m8JkbLCj5LjzNosZGvig7fn7eu7oW6Hj1fEJHuuRTDHncLf3FfWL8ML0dAW
DCopdGGsX3++10XWhcJWTbeBDFDuyIJ9kYt+jeoiv6gC7XIshmgL3VTtU1hx7PxpJuZwGDZRqxyY
4mTmdXS89gieps1QKYEF1F4uZFQZBNtNy1UYMY6YZt5s4GEcclVHu5pFHdk66mo2xgclA8LRIb2v
NJBhW5QVEW91KvDdQONmq3tROcwmiTPlu8IhurQza/GbC/TXmU2xtjMcyR1pSSa2N9QQxbwHnA3P
AXvP4TLp3xk22rpY1GKXtgH6SRexDsThBHhY3+6KmA5+C0d3xySYbv5+pDN+/UQsloGuQHfnCpu7
8udPhCrhmNT4OjcJIcF7qNN3iKTrm2xXtO/zdYW3UHlZAYyDV5XaCyXg9Cij8ONA58qjbOpnY0Yb
S8bk19lUaP/+8H4ZhxXtR4MFCStVrle5Hv0PA9dsC6xfGQowWrhHhQ4f1AUXaRrBeBtcnPp//+ec
XwdKToQ0wOoK1xIsPX7+ewEkpykNGITd2bquYu3oUo28DXutvy2gyPkRCmYfoQDdBSfGKFsU/Xaw
aIWPBgoDy223MurTw+DYjzEyHHL7KItZRn1JJ45QZSyCZnVZF5Q9yr6hiymtPeu6DwUVj10bJoDt
RmQuSyC107wkvpLOuE5B4eVINkFRRf2VFGg9uISQ/E9HaHrpo1WKc0MMuJ93U3CNHuwOFzsyNoP0
t3GJCG5dyuUhn6rRky3a7gRHOBNZfKaBET9RPWcWxBNm5OFxslxC6Zkt9mIOr2q2514dA+prF716
shFVuzirb4wJ7dZQFe9IMtlObP73RKw0284o5DYwH2w1jRua/v07pn2ITQmB0kqkmV80Af0IO3P8
RoT5MbLk/rVjzdS1pQ5aXSy2NaM1j6fffKymycf284gnhKD2yYdqsMJ4O+LlCqHaGHVoXptU26lq
zDfDZCLp1uwMd7cZ7nSHmqdbtfiT6BOhJSH6gV5Iu2jmboiM7jIFVwV9LqK4ZM/uLkjL4qaTIvoM
ISNBFe8V3eqMmAZ3//fXpPnrcC0Ew4RQggUoK7L1zf1wDwiHsJUYzvdmjlA+rXLxCpVU1wmdkC9y
bunaN0dHtl80gyIsGk7joc0/WejAsJqkozfXVDf7rg7JOqu3IWKhY5aHykccLoFL1emxmfX8kERf
kB1o59YZNXJme53OCHgUk64gafh9+5tR0PyLW01Qy4BSzFKTKeHN28pw+iq2kOMmrJNroybayFFk
A9ONnGA+TjBUPDOzjg41t4eQrJPMTl9KqqLXjZ0f7bzTuZrTwdfEWuocqYPGYEbX+ircyI9uj7c2
Sq1PtRkV/t9/IAat5V+uJ0bvlcjOHMZ+wFyJST98JHkdCGcImI2QLCbHJqby0zqJfuOYdbZJUMY+
ThNBScoRy2GSs+7LOQRPF4l4q1HXascrWpuWp7QWYqKc/FBYT2pKmoPhJFdOpyuvGgFhlxX6UFWP
AkZh8I7mXcNeXfuUlGjmREDJuJrRKpdMjeOEJaibb8L11sbv4sV6CodkwnkYzy+h0ogoaunzQOup
06/OlKyuWFifdFjEWON5k8GLyNxPSxNqxGWYX+LcSXbBaA3b2a2/OmOb+kMUstwLQJ+Y5arbw8+2
GkncwJvsHNHlUIc0krJba2mvo3oatmWRqk3jHi2uSgjZOw1K1oE61nsnz2AqKCc96IQ05kSRXNq9
foF1xU/6aSbSYXY4jcVtry2ONwt93ET6Wi4HdcCa7muo1ek2p1q4KUfO4phdBm10ny1DvAv65Nz2
pDKqqjO2cL79SUn9WGI48LInso+Kqz68r+t6uaK3nNLGuh7cBaCCieRANQw9XQpaRiMXbjtXLua5
Fsxf7pRPdD9r1HON6Wcq9lRKq7h0p30yZylszsF35q2a2vZUlHa8M2fgBsKad6ZFZB9QHw61kV8i
9HM++IKTbYh80xmrRL8eYn8MV30aCSPciOQsGkbhJ3q7L5ZlRoHVb0mhqE4oYw6LTFg348iRIeRD
1a/KLZpnnYh0cM1qG2OMAZLsjufRyHM/u2cGEbvAsbP9QlBBq7uVX6zewxHwpZuXd7zOlbOgSGhb
rjojfbIPsSy+AFuBlqUnLclD6ckdVA9vaKRHBR09CbWvQAA3ssVOYOKvTilc+TyDUGOWjXpA2I1Y
O/tVPUaeHk+AjLCvV2a9Eli6bTITbAcYihA6he0y301Bu7CMUMF2ksWZvJNmo1K1zyx/Nsd4aw9N
gcriDhaR2qbm8FWbUf/XA3yQDIf74tw5ERGQoPJM1u3Lc94kwUFl6WMh49tcmPOWHLp+M1XLEfDL
baNrApRQjJvFzE+l2/oD6zGwIkO074Ph4zi7aEKcKtmWcbfVl5KQN51ELEynZdKEPi6BGQObOlhz
QhalZqW+asu9iBKcpECKN6kiD3zC+tgUNtLCKSKphuGp7ab0jF7Wg1+8RSrMc8uq4mKSqzPWfEdK
XeKnVcLveZFirqNDQzOT6PtxObipxi1vaPvWalL0x5191axfrNB8Nw/6BzsMjK09mv117oFzmjf1
bJhI6Y1PWVv4+qC+Vggu/L5Cg5DPjLmiJwtrSsH0MkM05cIKZtLJk7DjE5oy3+jrAv8FuXctG0ak
Rq3fmqXrD7bTeSu2yZkgmUYsTAcboYX1FY/Xew0fRcoQU4ER9Kcszz1WSnRvR2Yn85ZgyV1DSnpU
tP0hn8ifsQyz2TQNKVvuUL3vcabvuIIWTwX1ZxzeGXsA7jxCpggmOMYRKjnFbVKjh2Ao5fwRrHVc
KG6TOu9q6OXxDgywKbuWT0l1m4AlhVfGYeq1i4WIPjiZLTO9WDMa2aatuV8PY6UNXlbJiluwMP0w
N8KDOfT3uzJCcolouSfLObd2Tt+dScp51Arzi5239zjNacHHzrYu69pD5QNnyCQTlqZY6U94rPzJ
Oc2gAbmSr8wceGwqETHGFa41OveHoSYx19ZcigMUFIqWopqAo1zV2NFcAvW85qaKIgBiQ8jNVF80
boW3sRketR7WRaaxFM1cToHV94aPlJt80saHBEMMUsILjozUQ2g8YqT0Rj1tyc6Hh5fVERLF2b4e
q/Kp03HzauluJjyC7VHuzQTG0kfPPcIM2R3L4r0sK803K/c2GeVVMglCvK1ig9988QGjJl7EFFEj
eEGU9dQ6A+uSsm08k2jKSE4fYxoraepiyYsnF+diesWgV+zNFl33EnxsWifdKILYUBt+bmwYD+B1
sKBB0s7M7rJOl9TXOp1bNb9fkiwggoG3SvjBRamqr9LSWj8O34cL6VLWbGBViFWx6RbjMhgqBvFo
6rwpI4BLX5CnYulFrchyOiOnIkXHMCDKiIPkxeyDL5Vqux0tI2t256210CusBo6X/h96GbJn7cGb
Jolh2e3PdgG/oyFMa2svN6qzH9sgQy/F4m3boF3Ho0/xhlykFRMOIWPOuocxpBiQTh/p0HpOXHwM
c+oCKFoIqQs7/BRtCfckH1gU245kvLEvoUpeyBrPwrgEIwvs8irpso+tnlqbZJnu+lENXitHsUlH
wx9ahZq04b6W6WOZ31qd9akKyksHTBVRhqS7zDjSbbJ74mJEQpUdpin/2vcxMV6GCygLf5sFG9rT
nXLZ1jZxDqQEK0d/nOuYYfG9aji7afdummLM/XmBkjT/0FIr4Pq3U09rYygkiqAuIxM+qMSdMMn/
osXmJEvuTVZ/by/jxqzMm2qmmEfSA3pihFrNGgymORlRBrxw4GapT4kPRfgp7abDxIVjjHDmEmtT
AaPItUV4U2HqfoHWzbfcl4x9/WRH7LEsTAEm+QIaIU6ebGrPHKvCnyZX+vhxuJ9qxk7Bhwrr+5qx
+JwXsYfuiZDBHFNQIAOo2/LRdIMPsy2vp1p/XB+RmlPrJVR7/cjVEXTHLKvpzGLanYrGIyUa9RSQ
gXKce9/o1LChV4tPkaiBcJ2PmvHd2LufZYigzuwTLMvMf8Y7u51MZk0j82FePEFPd4lJkWDQ5+KI
kPedWLrHiQQOO0PKPhbLZyK9RlDr/fvg5PbaMZXi0xRjWB1yXOltauwVVppJok0h5XD2nRzMufjK
RfKRFILGixKyodJw3M1rLlPW0OMVxAHUcpUTBsGGdMlbgWss4OYLxUgOmg5Ekynxs61lvpbmLdMH
847bAhVq2bPmZnM54vA9jK66Mq3EuXj90jnOQyuMfP/6XRtV0CtFSOWmAp1OHLh+akNkO0Zqh0hp
0xP1n+XE4Cx1RNl1uKvpAXizwmrYLe093RntXMQArcOZUnC3LgXLYRuaBioQdHHIdQ9mL+VxAlzi
2yJh4LPVvc558nunmXxwImpW03VNdrkcz1j2WOaEH1gNfTVw1x1VXucYF1Dgxq05YOCzAWOEs4MN
ykSSWk8ZEQSuC/OTUE8n4j5lH7tNLKRqZWMtV1Ib9uwliQsbWPxEhcx3KVvFWGOkKnsrP0W2vSV8
utnl5qjt7Og61OJn10ltIkwsFGG1/dKFjXOBpi8/od2Rh2SVdywsAPH4+IS0pkAElbkhT0+cUJfY
cB3sd0GfDWfncQqd4VLl8btWIiiqFzSBoZGhZmicj8BQwr3dHURiWDdk1oirwMg2Tl3Fvg2+ftfk
tOxHbqkFZ2qSKxyUAHku3YbNd61QIg5Od5UY5bgvxQgQ0ckurNnchoNendOxP4qUv5bSH/XMMCyO
ZadPXp/lDgwINyO5jLooBtGIcJujFrGMSrWRgioCn5uCMFURcXE3qCx2oT0ue408PLQPtyEN+nYa
7XPvLtO92fYo0+x5V9R9ti/DUj+PLbnbIuTnul5GuwLuIABV1V2YYYKdmh54k2ftbZcD/nbN+6pz
J6/ou/G+aVef/jg+qywivUfbFKVwPolmNVXH+j4MUuf93En8EYg97IU40nyOAlSihyJahtPYOw5g
pob4iSjy4zwoLwxCdLbUMZA6oFY8Q7RwB/NExInYoi+DvM4uym8ZkqA3WKzUi8AfiuajYWr6hkry
g1my0UmH8Sk0SD1T5KQjp3xKDDP3CI7EfI8I1svHKPDJNNxFSVdt0z4zMbbEYotj5+hAe/SmPmHq
GyvkDMNT0GYXTsJU1KXMfvpSUGwJYy/T66+pNL22ytqtxs28TWgnsoQdjxEWkv2oz+Gjzj4hNcYN
dJ980gwijUlGDqv5imTf8bBoenaEDr5NupKyaZi3DvHHrvLbmuaBlafylh5szxyCVxwBETmZavHc
SvXH0DTZxpnS9nXjSiv74UCFFbnuXHXbbHK7c0My93Gs2fEHUXhC55zRcGUGMciE2dhIP/18XqwT
l/ytGJWBX5rEa0KiWuSwA9mxgdt/kWBHTZw2XAykR9nRwMjIOHWXsCLeqWjCaFCE8oKQwQrnxaLT
TYqjG1VZyEr6QN3ZHQRI7Gg4TKyxuFB6RUReb3uO0YCPgji2HYsk39U120DMsylvLTbu67LYV+jW
qGO31RZf7HhX5NWMWlI/VXWZ71i4uR8tth5LvjxnbnjbmFpNLmjWH+Iq7Z5agmSQnw7vy/K6LfPu
RNa5zXrJ6IiNrrc5YSQwm8JrSZfc15XSziB3Qd8NLIeIz7qchxIXFI5BalsC1MjFQOi5rzdlckto
rk3aqI0aPo4fsAquw2V61lRDnXbSS78hvqGupbVpK5DB6YTpSPG3dshbrQMeA639QtGigVYWn/R2
UMj8FMFP9apwZJF2ngdHbGMlIdEQ7eX0Rbath4XsthS95aIx0eJbtM+0wjDkWV3uEbMtb5alRbrO
TikOCjaycXJBi8P2q7TRaDLxaYoCL06T3nH+otskImbLNpd+l5mLuOwn/Uti03bBxqmj5XZjJLRJ
/IAC9blSbkg5RJ9PrAYPXTcHSF2nzyyZK+LeQGWMtlG6W/TJR0PmNuG1Ir1M5hh/Yt6WW2NIda/L
BnkSVtNv51KRf5PXrYfectdLbXUkp/lnxDeXQBTzfWEF9r5A97wLI4YAlP+5b+oJKwunsrZun+Jw
Jp74GkcLS/KqPdpyDX5V0RndPiuFprAetAhIpRnJjQaN0RvXNDEVs/TGnXBDlH+6Vh0SdLOEJIR0
QDfmZIjrbOkFCxpFTHsXJ+Rml1fmmoeWm4GDDQpOTFo3p9oV/bavMnqj0bo9lhOY0CJX1Fxta+8w
m24RDPfouMa7TrDdabHFnOcw/4wi5S6ReLFhCI5meibTCAvFnHwqS8o8/di67yplj0fJKWeQGYXz
HMxmflMA7NyleZodZvQKaU+8eTo71gELS70jsrUGosMUKPDOMz467ratzOmgCuOurB37IY2tam8N
AXuJubrOaqlOPXJlACHPZYh/oJwzumSDI3ekt7m+gYkkbAbjoGGEfcV73bDa0n22PaR4hjg7RKEj
kmCZck5Dc0KOxn6d4YKlCDbn61oMHSNpyHRaytvIjitvzJdmk5tpd4iGsvac3gp8KSp57BgBL2rN
xAke1XKjM8PslW18Yl/e8ElHaud0E0nSPa0kka/r/sDP8xbbWNbft6aNFDkc5IeZGuLOdZeHWJnd
hW106Ggz8jLRuk5ndMZMxRZ3KtXrQ11yibSEkF2jC2Z9yjp9Z3U1bdPSyp66evnSIEHzDI1xybTc
8Wbu8SHGSx9ejElyD6YzXGb9zq57siMk+t5Z9uAlin7curbj3rhmdxc0GdMXGXFrvE5ENNnIeD2h
lBtYAWKlvFmmj1NnPpgpqauRUX1K7D69tBdPq9hHB9qC69YlknwCQljDCdjJWKP+nSd57036cCTP
rL62SZXxrJ5UgzQAUWaM2p5Et/Rcr8Lb1/+VYsZCgdgoDJb8Eo4jyGXLYXpwRMD2czUrNtTpEzuM
Lwa8+dZ6D3RyBJ7xvnZS343x4UWOLI5LW1uHcEp0jCtUPKUOytJyi5tiplAvq4b3yEXOTB4f+3ip
Lt1y3JXTe6rh56afx+uljbAQxGYDShN/vsLIjw2P0TwePJZrCyh0YgR135IGNTeDhEzLcdkkpiFl
0NDw6V6ip5/hEjuYGbeljD5V4ZieY2oZluYmvksM5NOgmaeQXOgvaTaTvTrRGCmi4+AELLAbh0gb
jZ2j092XLLsJ+o22iqzNjTk77YbgDDB0adx6xMAbNwQg3kJkj8+LkbRcwsg4AySnFee/kNE+nJR7
XZMO4yVVVR7lnFAOMcVEKb2HbjywNBYjY1Nl180dGcjesOYCiAHPLB++at0EkbA7e2OTJA8aAgu1
WF8c4bRb2kMNubkiv3WWiK0m/YpN7Dpqh/iufpwnYsJDIn/1CNJqJe4Ec959hKaj7wdz665wFD01
DKz9ePIrE5vvgruyH60D0uvojNleeVoxWzdDTAN00JDAikTbVaOp0QpmC2ML3iK4bvZsJHfuMfJY
d8XwAAotOmM6e1DslR+ImmcJZSzjUeGs0vjZrjNJn2yQd9PJ+cKmOvO0BgZbI8WuFcH7wlLnPBUT
1bcRnOpri2/Qw4siNcRqCtx3MauKMp5wOywu+LOWEIPOui91SRUB2fCJfEKKeIYdEY7TEU7HZpGL
J9rZaSveN+wChwDtf9bDWBy75Rpy+3ItwgHy6SQvWniaTjYNN2h1u53qY3bW45BdDJMAbBbV13rs
FqeyF3CaWqc7aC0a2NTaRxmyXiND/hqTj7xLrNrcGGuzFkeHARedzHpKNWpX6XgPkE51xyGOHt0C
1gEplDpXRxz5oJW063lalfBFb92ysn0UZns2U2pAeUCUFJKmmz5kY8vLh9w2UUbOvKkdmwUBkobl
97LQNl33bo6m527Otb3udPIoanjSo1RYj+q29YZ8FOTNV85eGtrziGobl6wcb7Rh7PYJCa0XZdbe
mD1ej2oy9Wua8Cd2qeH1Yo6fcVZkF6we8bS5YXFrUmca6ps4Vh9UHMBwbwQ1/ELfj+T4HwHrPA0j
a4RMVIQWC9q1lnDlgWCFeYNRtbuu4RF5osRP3rNooNKbo8YJw2iVVRPIkgwnetKLX+c5cTFoo0kQ
yTDVxuSmLMDg9dR73eFGyRrop+nxtkQJymdEo9cwqUgs/cm8GEgTPVLvSnA3WsbdPOGwiimPuAxL
Vvll7KC2sGntMcAa15qygouliZ5bdneEtjiEyo1Dsx36EaUQygTa73pz0znquZRTeSCMq99LFo3b
oUkfx3Wi0BYKy6xACaCW7wL7sofwdhokfexILZevX9b6D+ZpWZ8KR9yGte4Cv4EMBWzhOL3CompC
fk6vX4aVJeWuVCl81MDQAU21KyNLZy1C6yT+3DU2HvqVS6VWQlUTKvciWqlVyEhrlmz28C6g1013
A7qV5DQ0KxWsAHzVuBCw9BVERvhgdzOufCyMQ8sxmnDKTSs9y1bCfiwBai0zZC0oy2olbWUrc6un
E/Ig8Z1v5dySTrmyucqV0gUsobsNFrI/K0oxH2NgXq9H3IL3YtMmns0VRCZW9tewUsCYrDCHrGSw
eWWEmSstjNhF7PcCglhD8+716RZwMfYU0QdnBZGx6B6ucd/Yh2ylkcUrl+z1F68PCaPokRQa0Glg
zDTcMl+ocrdetzLOZopWW0fAPXv9w5YDjUdwu9+9HtbrAUqQaa9naV4haiY0NTuHqzauhLXXt5iv
1LXXtx2tJLZlZbKFK52tUER1NOn29YjX8+auJ3AWMN3kSndDETUfswTim1rZb68nn2iQ8mn9XIv0
ka28or4Ooe7bl5UixwBD6BFb/uk8rV/sefqSVyymo2bdB7w+8PUX35/y+j9n5deVK8nu9dvXF/j2
Wq+P/v6C337NbLES8r6/0uv/fvgbrw+zxGR7amXufXup1x/G62G+/u/bw8uV2VcB7/v+Yt8f8vbt
JLZzCHq7Pf7lUa1v+NszqGPimlg5g9+PvHrFEH5/7deXSFdeoQG48M3PfzjAH44aEKK1EhHfHtYP
j7Ym3cCNB1vx2/NeP543b/n7O101SyuzMX792L7//M3R2Cv3EUxIu/3+dn442d+f1ypIkih83n//
0ev/3n6e3Uqm/B+JUJkotJAl8jwQSI6e86qmDcfgv83tMr4X410+kNnd0h8/pA1VkQ48NC0lvo0W
DTP4NB7G9mvZ2iyQKZh7jV7Is2Tn7eWGXl9n7bCcwogiazm40Td5yJ+GgptvQpA3/oY33/7/aXeQ
iL3+73aH9y9t9w/vuUh/8jisz/nmcbDkH7gYXFtHrK9sG0PDf3ocLPGHg7FBoBtCUvbN/fCnx8Ey
/5CIWRwkbIahTENH7funx8Ey/kD0LlHdos+UNP/kf8fjIN96CfAw8PJS2go7A0Um9412jBJp3bgR
4A2VJDVQSxvDUdevy4elsfcxuaHhNnZCVORTtLwrVbz2xyPt2Y6Vduj11F4Vhs25r2d5aRD1cGaj
VOy7Vgsvq1XEzza1n68LooudbRbYWPEbinPSU3VIFEFeE67Hs6aT0esZkzOqan9axs/QbF7koOOO
n6Gs5E0Te46SDziPyH0r3Ya0wezZTeNnfHUvpAk/AZi6IMpnSzTChVs7l6lSuwZHeluUN4yM79I0
fjHRSagsPEzYrpA3ntPKOfSBdpGM/cNUJfd6BnIughxDs2LTFZYfkAxQsxcCKfOIaHfFzVwOaL5K
sNLoTrSPDPa5F4XGR8Moz2REkQXROJcOPwW8brzHxrEdHbQddjtslOj2xDlcGzJofDOpnisxPvRC
7U2n27mjs5OY80yJ+DlI7Lu8qM6gu++0xDzMWnxtZvEZX+yHGH9b4XQXyix3U1vvzKGlBl98ynpw
sATEaP18pmx0SAh/9agaHM3cLL2erAbEyebs24N+jJV4oW2877P0Vswd5vDPsfXsqA9RBBEwdY4Z
WD419gcUdPuF1ByCTqnJJoclN971qCv1Ur3jqqewKu+nodvrSXo7BS7i4f6MTPioR0hyycjwMlsn
JKGSn2ZHnW1yoeIkuCBbsfblQND+LDex4E8MSPp6Fvoi3peJ9TBNEaZXMqKQs+NEBfzbjBvm4mOf
IrygsUYR9y5yXCBM/RHn3KdqJiZST04UU/YENByJLDvJNNuYhfYcp/qHmp1NEJu3Uyz9rAcbRERY
bCfHVvSPGEc31rLqVOZrGwcHUUksksPjipykb9ei3uhptwzxqceyCw8YyVGYpMkGWGK/17PkFHX6
g14h9DQpX6AKptcedPETNlwgV9ZewQPIzBYUamecpBOdqjEIMDHKz8Tf3enDcIq0Beg69X0qdvQK
TYmCRXtCcH/fTONFWNaXmkZnWp9a11PQxWk0ItRxMjo1erYbKv1iduSnHugRRdByRxoJnnpxMDBN
+EM/vaCUvGJmuWsXdTnK/Gmmk4Vg7D6pWar3GchbmN99nV07hoX8zf6Yk4fjRYP7RCX6GGbBraMr
KA9meQ7D5tT2LSvykty59OuU5l8aY+ZMiRSVvx1+bOyeJC+sOLOilbrYRIdL6q19nt2Q0LvFTo8i
dk21zEfrixWwQZ3aZ7OcodbEt/ZYk9ToTvcpFRqaDR3ddJznOL5uemG1XlsSuE+bxyscE3mPrB+W
goSIpTg2+BqXitK0md3QiKn8RGCNbhCl75Y0DS4rHegCAq7mlpDZ9hYYVnE0B5XeIl9IbiuG8FNj
gBfDZJtdB6y3zqg1idAonAO5CcUtdszBL7DdUyLC8qSmqLsKpKgPYVVkyKsSIGb1BJ+nbcOSHWZ9
V5YjuQmluk6CVStTqP48qvg5pFZP3g8pIL2j+aKClhoK8q7lgAYqigKLtXlOr7svqYKayfX/oe68
mtvW1mz7i9C1gIX4ypxFiop+QTnIyDnj198B+NSxt3bfs7sfu8rFMkUKYgBW+L45xwztiiC9wolW
YYIIJCvLm66bxTmjGCkz9cGJ6HAECSGiFuYeFVjqgrHeW1JBffcGA+d/gh1Xpt9CDSpvbKHWDwPv
a6RSNLCEfsR58I1hLIIoXH9FLIwLQ/EaVA92vQACcWusPqJ40+2lbp5p0UKFsC2+HCcZDlmrqGuh
el+FU3xhPbtl0XIk2mmjxPJblHj31kl2vu099qFzF751C2T9Fo30/HXBCU3JjGucttGyd1CvSdmT
I5VTnILOIZdwc9KDxk4JIpBJsYvMgl2Ls5XF1C6MkxOWwAs23hezBx7jM29Idk1LGpM0g1M2Qbhj
l44c6Yuq3lUxEb9T/PG3yaiM+J9oedtj+157HiK5Cr1EKNRxUXS5+tpJfFrwbnZ2J8kT9BUQEX4S
UbLLHiRVWQQLBrQF6Il+XgQo5Upq4aQMKaMJy1EpwKR231THblELcJTAjMqT0RjttxZ+9rnqSPBz
0kysiyEjVVkoL2nM4EHXM/hSueO9A9hNlCNnzSLAeLMMwbJtTUkWK86ebkvFHv5Yg5VXz9lsOY51
sSnNHls4DUcDevE+VeGqJYL+KYjZFORGbm4RsD44sE/DBsVE6GZkrGfNxiiHnakHP5XJsuyp752l
XIJG5Cuk3xdDKI9WRMRhPGoEL2aX0grGRUfUPF9I9L2Y+vhOW8YL1dC8lZr1FzyIP2VGdR6jEuUk
6m9QKzUH+iV/dRPa2Bb41E6uJiO6RNFzbiTZj6pJb8STUw1IfJjN1Ni/Rk6RHalHiLVtdHJqWdrA
xMwg22gusjsZqsNTXDKtxVwcW6pcwyHsi+FnXQww4woryHpGCgvUfhYyCSQA/Vy3sF4oh6UL1+KS
nld8/6ul8f/M5otZmH//F0y+Jmrd//+q9/0j+firKXh6/r9cvTreXVMKvHi2Qe1IZfH6y9Wra/+F
vFwIi34ckDEMLv929arOfwmh4fRF8o5sxjRZJv9rxavyW6RsGY7lqIbJfl/936x41ck886fKHZsa
nlVAbJLKkvibeRbf1yBTE9GMOShMthllP4ug2i1GueDsocTzQ0ylkw9AdwdjSftB+wdRt/rZrzG9
BMxeYrKqq4YUn7xXLjjCXy/BrgJEboq5wvjU0B60okepQlag2bSgJVofgjhtNmOQXxAPByvp1tlW
S1NlHbr23hFtDT7R+nUy/8XV/qft+bNq+/OLm4yIf6i2IaGiSg5ba+GkMInGyosPjgWcNHOCdAWy
HeWtZTS30en+wfb0N2stngMyqAypsSlSwcV+sjh6mtt7uhMy7LWQIrQJD2YGbbRlz4GMsO5gvHvI
vfvhMhNCAvvHoBjBa5rA4O2q0f0HBTs7qc9nimZKDSEWDkf8Nfqn1+MWle0nlEnp9xQFOT9AV1n+
LI0U17GuaDVLe8ASo+cdIxSJ54JmGrv6YjUU4qdBW+81LsJFJYDlw2FDmMCXjF2i2Y6a7iP+Q9NT
sl/cJ5YSEeAYQiywpLzqsX7649L818b9z2/08x5PTh+sLTDU8/E60vxspcI4ZbcxQdYsmMRTZ6ch
keBBS3G6SNBgo0Rx1KpboJFr9iEhCKSvovE0/8lQ9zdH1/wysLapKg4qC//6X88sLOFeS8XVQWtW
H8melFcNH1eIQheCu3GZJAZWDxMTrQmcEXIoAJUsU0/9RzfXZ6MLL2TacDMMgQvQ+Xb/+kJik5aZ
mUAvqXPzXjGfnkc3bNHS0+FSHBaLbaiemnh4HRHtLuB0Dtsu9KqFxs7z/p+/G+3vw9HkIaZYy15Y
Z//96UMBXy+qjsUCQjqu+WLEt2sbIduDvnhILSQyTte+pkEpsZop5GsgsNqkpfoRyU5ZVmMD+blX
h8VQeskW9UeKSZGDWVTLv7EcBm/5D1fFVMn4NH7qrB91XHkaQwUr779+eE1uQnNGx7aokRosUK+I
oy6Nhw4j8EIvuv5UFO1bLuv8iF8nP7ZXp0arNBbK3nBy5eb1dHSaoE+uOf2rraHVBOUmzMut3j4a
vlY90Gfjes6m/jDlNfJ0LPSFtIqsMbavk0StDft8G+kRUaOOnZ/7EetEXjbYHJ3COvZ1fRpEPZxI
DBgXbpdQIKzbdCPG7qNRoJtUiQqn1wPprtNI8Cf1DUS3Q2FoV5AxwY7e+tEuuo+xd9MDHyZgzChQ
0KHGgLdRDC79voj/4VOdvVV/mZVwXGHs5mSkGsRM9/k0iFU7sIlfXzj0IR01kjAVc22DnBcRZqe3
LILyGKEz/WJPa5EiJN2JEjXo0tCzT6nmP6eOdqDHamwI3zMXdiWUlZ+o4UJz2/42DJeChu02CEdr
7+cehmRxTAkt/kmHzlVbsfLQtWz8QXmpnfK9aRWDgSI8glF6TRS/BwJKTFNbjwfNSKr9SM8w+GGU
dvZs9CVpLooHscgn4xufzCkPq5f/fJWo06Tz6eNRgd/q2NppY8w4kD8nJcWvtS5ByEbPzyD9t64A
vPNRNKmaL53Wlk9DOX53KgLpcevxIdZ+vFalXh/1wrrRZbUQXJty/59f1d8MTtjkNDyqVOFMjRl9
IpH8+apyAnFL/BRQJyBMP1itA/F2nHQlqUueKOkNfRJQwMjfI3K6v5ZtTcA8wcDkWXpns8zebWtI
D63KCW1EF8Ue7GUkkn5Z8N9lYHXtWigw7BRR2ifEm2hhhDh2EGDtHHm61rXvnsFOYUaTOm4AKi61
tFXi9SSc0rRkbT7eiq58hkNheAGbDqP8BxrGtMj783sBtkPN0BSmzkcg9L/RMEJAcmxNJZOi1HAt
ajEmR7CcoZljnhEFdj/xo1Ua5xgr8RaaULDruu41oAXsU4UZB/Moww6bORIOrsdQejv8vf01GzT/
7EaqsaLKdAYc6WFhpqJhBZCxVFlrG0PNL4ifHtyU7NrRn/Im+L1BT7+oiW4fwkp8MdPgWoeBetQ6
9SPRRnXbNZq/hxPMskZUL0bjiJVKYMvJ8Wi1Vs7oHkoMc0CTq2PbVrAVvHEZNTrgywKa2Rh6j0Wi
t4eYU4F04qG/0uRpFlWRN8eEZPEiJGg89ygStUZsbyAJvv3nE+7vEzknHIk7KrgPXcW0/8kNKKq0
LJqeYBMnTH6EkIQPLiKspQxsSF+Ba+6SwNEf0Phr227Apll3MGaT6B9ZH//N9cgUwFg1eY41JtNP
i8SA0zHoDHI6W/8oesKlHZfSpIH2H9kb6Z1s2Pb02+NlU+RUAUW0M335czQG48mQpdijH/6HEfTz
am06FUEJadiSsc6rjv5pUg+ggemKmtVE+fioGzPta8IEsnSJJr22DSYkCn9iC/PAggpp0y2uA9Tl
FcudUiWcPnCcS0nc4pbdrNy3LGCwzOFsqHP2mbqVQ+brCIUsk8raFr17C5PRI+j+VmUe/q3//D1D
rZrG+78OeBZjna1xcWl8wp+9uK4RtyQnJOZicEz2x7qNK6YaMAlq4wGBibUEbAc+MMZuO5B9vC2s
Mt/CIzdWQyUTJLXUkxOrfTP8Up4JQjI3Eg62RQ0WXwAZ7tYj24dNGyvZQ61g3tb1WjkFHTv/Jj9r
tM4v8ZjvkrDNN7mv3Ey/7Rel09yswAhR/0X5Y2BgOhzshg4y2+1RyQj0DJXdUDgpxdtJkh3HEAwg
HQduTqEP5ZJt+ZPcODNWth22J0rU6M0N5ngDiYHpd+bb2OmPtGTDn0jVc//rUOn2d7MKAsaXEnem
oZybwk+fBg0LeYOkJFKis84wcuA0AzMYkk6aiKw8O3aCa8gyiPRRtF/vl3oPJ85eFxos7gj1VJAM
A5ymjIyIUlbn0nrTytbbeAWQ08iNSSwr233h5FPKpZNcMx37Esr4ZaWo/kNRYF3LqXHAYKrCY0fC
ZB5/ND65K/qYMA2p4oWhkd5A/1ijYH3zgbPFenDxejT/mRnF+yofXnIC0xdUmqN9Eal3F2e8o610
yAxnX6cS56C2WJU5uJyIetQhpG8yVGH6ZEIqJm7uiaDv8EpFtdyR7gsCplGpsleY2QO64AvpYI4n
R9JbyMr4AfOeQB7GFXTlNuaXXj+62UqCI1iiSPGvoapUdBDwxJvgJmteu2t2fHZqHK2yfpe16ffM
7qttaaZrPe4osIXFpDtMg1vsDAEMOlEvQr/dksaq72yZZy9kfqEIgux9EI7cI+tKrsyWFEV70e2z
tqyI1iGrMegafxOIjt6K6X3UYansnLrn1Ne8ltCYvHkMKzRZqk8yUuZrtHpBpveZXl5CVj56cJ5v
IO7iyrKdH5kTKktUTxSo3QqzZx1fS1X3PgAKnC2uRJJOqvRBMbRdZ2nVBNN/IR9nIePAfYlSNTj5
7LwRYxPtjFbpPVaSZwhp4VOi1A6nz96R4ErYWzSHTrjpyQpqbJvSSI9RYr/biZx+1/K/IdlfdfUJ
WliLtBj7atTq37Xez46WomPjHqr1mOfBqaD2vVK8aOLB72VY6/tQRKjTOxpmo4mZeYYr2IxCrovK
uTDBNzmj0A/uqDwNod8daSri2hKlWI0lWQ7ogW8KO86jX/YHQ5TmpqoN9ckTpnEUnmIT9Q4MtM0L
MsaTdtPV0Nf1TG0OLZuGfZh2T7UHX5sEBbbeOgpyRolqnXSo2kxnDDZDrwJ8oSzK+8dtZHcetG5M
p44hQ4iqvDIZgUQYo7IDW1hoh9LsHiurwISkCGelebi3dfS2QWkPB0cbjAUAbSRQjW0ccueHVnOV
kug1LiyhRpdgnP6Qb28ctOJHrWk6opCDeFGP9pdOD5QdWwOLIDeknlZPZAXeBP0A7U/iu4jxhcGK
WmJu0VcFpBLsGzh7iy64DUGjPfrFbQzM17AmXJUzJLjDLMj2yBfLAtaDaZT5E7E69TEM0rPb18/C
z8fvllG8m57jPUeUkVU3uyLxXVS10j+yRKdkHiUA+1NPnp284IYtrPApQoNOiDcDKY1nskuUc1zQ
CAJVegWIaG+bxq6WNUncmzLyBzy/rYYdhRshM+xfIZ451Sf3h8yEGBlqjWWsGUdrB50D5UneXHKV
fUIZMEYGuvDvkZVdcLuxvbL05Zj59ilpw0OkExZryI/cCKsDzgoAxdWYvAcdipFa2t80RUd7WEX5
KcTghkJcwz1UFkeuc7GPwqrbd9otsBr/VODn27RW7zwOke9NVh7qGWn7TaVnaDt3uyzan9Cf9FgB
ZI2FflvYTEpkwFYHs/SvcVg7d9NvzKOBahRt+7eyyeTNI31g5NLo09xZU5aoGewItnNiVnjaR9Ii
DMwkktAk8YbHtii/QS0IT51g0ms88TVIVP2lcnEbaZIuSoXgGU2oHZ9GQ03WeWqMx7BvnCWBE9e8
joKLpZfR3itRFpt6kx7h5wOS69CP4hPJzq4+VDvNM38QhjAeiQLH1EBLbINc1lo1pogfNSdYM89S
AI91kOu5HZ4H1z13bdSfVUyjyIqURcopt3Bjpd6gplyz9TNI7Gq1RcLluMd79CUWfnYXFbXINrD7
tUGoAgZB016Mqd8cDQXdqBPamypXr1BdR2RDXH7pEFngDqrvg+19GeNWYqRDIkntmeyLzL7nhNis
+mkc6Vp1Y3vZ3e4jA2CesrMbjHxj8NUsgnFPgxQXWGrfbKI21rD1xT0aHxpoSLs+p2YPfYAoA9oY
G/L4okXWxeGTL8ud7UerRhjW3uBMXyjI7Tf0BCpsXGSoNBP71+tC0rlbsFJMLoyNvYpdS+JUqLSg
erRDfUdEXWnK9EdshF+SkLA8ToLHSjbhSmj2a1gF0F919TtD1odX0Bnu3SLa2sX4SuPH3VhpYG9c
pVgUPY5wpYndp1oRT4l7Lw0cYI0ZOKfamXqNPeJDs0I9H7SEXBfRsLGNJltlulh1+ahh0oa4zIXA
yrHzhwWJ7i5i3j5lUDYmD2jlbFu6+5bdZjujxo3MGddDgsm1p5JoVsXQT42XPAUlu/eWgKF1prPq
Zo7p14JIu0UV18VD5Kj1KlfgDGfo4NHnhMUrOqMvpVYDUhmtnHaLZ68S12TD13oWLDDCcYOhozPu
kzxNH8sFeVRby65ND17NF6RLxOl0ebaMOPmmzlR9keQfnOLGtgoGf6dbYbnR/AohazS1seTwhozC
pHmT0qIyKnC9WvmYoHAkZyG56WRrbCOVy8cx+xXObu8pjDLaT6NWIcFS1MVYJ+HOMy2iL1DTtpb3
NAGE6yEmFCXa6eSEPGQt+Js0IrAmMXvIG1QD38OCTlZXF7uatdtuHp+UjuVJ5XZTqZGExInn9Djf
WMDpCbc1sX1H5lIlXEBbRLrhLy2guWva1PHZyhJ9pSr6C0SlD0+r/GA5Ngzbpfxhtnhgw9jp75nS
9Xfb97c+LrNrSCxXNAY2i6rKhrHcLYqoWFjsJC3t3EXJvnI9a1tOdRHV6Egd1KB9j7o8iB6fLDAn
e1XE1VlMQnI7cm5ZgyUfPSsyDqsZHwnrcBlp8nJV5314NiTA2zGLx01CFetAN89eqXV6VFoteTAj
EMkCa+p7LH3wFV2F6Vca+D6a4LkclJAGqKotZO/FS63W7NtwoBUh967lOViNrIvj2l88L2/vsPGt
NS15HzYSoQYO30Ltto/N6Mk3FYIDNgo0+GPaLimeKPcitrPFkAzaHiLxs6LoLokzmOgYhxa5Wk7O
IsvY6iRXhsrY72PNEGe1b/Wt2eg/cFJYZznddDQFtrmw3qJw50oPoLjh0aqLtUM/ssBZqCxP1pVB
1CJpL4u4LSHdibxQHkTl+xslEPgJQ3LEc799iP59k9QuRmYny6lXHlS/BHXz+yZ2m22YQdYqREsv
uBbuZoABek5rtTr74C8kX4upmM+x2thHta6iIxqOL0MVa9fpP7h5HMT/CDUdmfpPSurmezwd7BGR
qbNilCaTTT4c7R6rUWphDAo4W1dFGeknUEGVL+TNHHJBoGJkr/vCcG5UlV50ZlAsj1EKvKKDJwFD
CtOYTynNtXAfCTBcEz6GqToKzC+FSzKiZO+pNuFbWw/aqcDzt3cDdQu3319kBeDmLPhBRrP/4q6G
mhihdBEVQ3NqY5PqaGkHz144gQr06tJIMhBbEdePxQCJyg4e+fDtqV1vbzmJ8qteI+tu/Ogy3+tJ
s1hZLZgylxbBLsjYUNSmvzILTI/tijGk3dlw+mz5FWBjTjSbF24VtyjWPd1u2VTJPqpj416NGqON
HRQECNvDEdEi5BKPj8dQvbtJcNip7tOftmH0h6AahptokrXVGPqlqfPxBgSeOAw97ykXOuvUGbHL
sV5HeVZ7RMnb7UMde8kDye3syxsb86WJhQyN0EPZ41UCRm9elU6hgJsmh9py4F5yBjem0ZwVDFnn
3BloIpfNIYqzAP5Kne5GqOSnslCRQCNdL9tSPfdkLshuo/RSbDz0RETc9CypHCyzlDLDo5NG7tao
jZcEni3MzXrtYdJhFxMC/mC9sXLInNu08O0pCARf80bQGNf1tUjr4jrxsUgTNR5YKGe3Tnfpmjnf
WeqJZzZUqxCw3hRcER7hJaLnUSky9MNorMyR4FmrNJyVrmTprqdZswRwS7QaUIyT2mJOLXFDHMqA
5V9isXKrxzYBAhPbaxdhxKJkctpIrSzu6WjgD2mM7JvC4l5TG2sjs0wes8BdsyuQ3zVOCyzCrvc6
ZB/gYAgWtCzv5GIdv7JUw07lhGiUdKtctWhhNqoYYkISzfEea6ry4Ov5dkh+itZur4XszJuW1cO+
DgBCYAEwQezHmFJ08dDbtbazC+oGBflhNxzbw360IXdAIGw2LTq56W139wgvuNVyZNQzaxV+xmXe
8PiUng9KkO96U35RLa/eSz+pmDjZ++mF3FhObdzAwkA5VsM3W5kcyRn1npEA1L1eIkswa6KCbDfh
EjGrZI17vGYaIUG4CJLksSwy96r0H4JM7adhunHqo+epzn2+Q07Wo6C5eiHp3nyqKIIutNwcDvNd
q9YcAnmHcDvfbdRhml/cCl0cxzGF0RzDrAKPMd3NLdN+wIxwoglkPs2/UPKF0Rb8dUer3Qt5RvQ9
5leClpqtE+L2Xy+jydQVg3Szne/O/zO8UF3NB/v1vOk3CNPKDmOsdRQPSvPEgOTvzVI7dSl5hLgZ
wcC0er4caNygcKJ4TIfsy2CgYqM+JBeNY2NCxSarxsqTzAflCavSJvILInOmH/Wu8jWP2vE836OO
4i/VPE4P810ICFg0Pb3czncxhAIS0Qjcm+8iYTEZPWS6NKbjNuCgz1xMP+cHhZ0o12CIdvNj84+w
3FD1GJ/mO31iHmiXFNdfz86pyQ7WMPx6nZZPW0SzRLmfH01ah/AOsuYxs/GHCodJv/KzdjU/mock
JTCTmov50Ypkn4uZDK/zm1UbUr9io161as14pIchtY+ivM+/6abiSmZB+jDfM9n/sHLB8TgfB50f
nSGCF3bzoxEdy00Q1Mp6frTLJA9oOn7H6VPUql6g5hOIe6ZXyCYofZBF8+vNGUlb3f3B//XYr+eD
IOoKNKzz0wn+fhU1ucnzY75QeCuWiaJwOlYVO+2qaBPiq6e/ZJVC3SiSNJP5UbzHwPijtv31OmK9
HU9qhidifhRnYXmlRv7r24TaJp4stl6aVlxCM5PrbEqV/32jJOxtXY3t5mjVp08/n+/2Msx3I4lt
/rQNnp//6WmVQr6d/SuE3sTY9ek5rpKeigYl0/zz+Si/DwBhRT24lbb9/SN72mn/vlsNXrq22Zov
22I6+u8DzMcrATLQLyyGX0f44zmxDEv0vcv5UL9fEzgHGzFiY/vbUbcJ9P73B/L7OaZTF3sxUp8U
VUbCSn+Br5CclLQz2E82dXKy55s4xOwyP+R7EY8jxV2GtKGXv58z/2++mZ8yP/n33fl/gPIvpm9Q
yJwOMv/o858z578kZajvywbi5KeX8PvQf7zE0Cwk3JqYlJX5df93f/r3a58PqQ/+V2I4lYn9xHuc
/+jvY89P+f2n29SrjqNznX/y+1l/vII/3kVXxOyuEjYKfxz6j8dVu2/WXhTCPqoyvEg64DVhJs9V
zhozAM929ElohOipqzDEwDPMj2asllY+GJftfBeDBYiNGCbF/ORoZIdSTItyp0zTZzOSeOUyP1vO
T0btHJ6KxAM+NT2q1Wp7gevxMv9q2A3hTQnq3fzYkMXuvW2f59+bb3p0nm2U4fiaXmQXxQfca+r1
15EQImK4Di/zkWoHNoBahfrx16Ek85YkFvBfbwCWCZI2SpCoqJJnKS1lXcYNGMLpLlOw2CaNqf56
A4U6tHvFZUybH20DB73KVK5P2uLcm1315GaIWeB3Dje/l9Bi8E7u0soUV9mXsKMG1hE9e3OFuuWH
MSgfcW5Vz12nspbXyoGko7g8i6J1VxQ1zFc3l7f5qXpVHsJOju8mtQcAPYNKXl9aH4BlOpvWTYx7
6/VkiYV99hE02DaN5IepZNYC13306LCQ35r0FfaJ0UVXR/dJssJh8FUdzNV8fLV1v+Ze7L2QQquD
wsq9k1eF9smE5LLWmzJ5DRQiSKbDU4zcpaOTfXE6KrI+rdgHwFYewbjwKEvFTe6garrFfFj3ezit
1ca8vpEQJndRYkTLSiRRtqyG6oFVin4GB+Hdg9jBGmW7iE7HJsyWY2pcs0in7pMr3r0FRLqPqAWB
FOHJdBT8u+2mj6k6FOeESIDHUpytCQEBezJ9SxVFUKJAeoB6J3krwOgOOkupUhXyZmXObf6xqVfe
TnXA9813O4/Wb1F2/sWzNeW5lTr1fn5bk411gHhp0mRIDdbCnXSf9OrLSNTX3gJmdHOY5bD+Ivon
qfVomXH32rths7Gd1N43pavfFJ/FSyry9LteUKL1HO21t00wBWbiHWKvH28eoXy/jqGRyqmpqfMq
ciPdMMlEhzgw6hu0r4HGH8cgoW5feaR/kZxLMndlEBpBJqyL5736acHj8e5EJY2sr0AfJMLI6Fwp
VrbLrPRqhHl9/H3DxALKps2ogM0/VNjO/Ou/VA6zfcYKWhuTmIi0GsWY1p3c1gkw3KPT5dasupM/
WcTGDHhWU5eX+TnzDZttorWmm/lpWkJnGLqKfEnGcNzOvzU/8OtQv+/PvxLiy9/4Jm7eP//e70PW
VZrvZNL+8MVIU98a7iL18nueYvxna/La2iI4uymGA8cK/VdDNJyzsQPlu8i91zCo+hW4entXadYx
UgdrnEAR4zITY37DQUq3pe7OxXSv78JoL9I0Zz8vTGtBgwBfjOZcE7dxH9CI/DRU3KZbJ7MugaRJ
4BUI6YOpQjDfkDUGcLXNH+saobgdO8Gm1PPiMFiEnC5KvwMHanftNql1zOcW1caBYvGi80dj6Zs0
zMKCQN7Yr5xjiQGFqXgKqp+8oCO2CDU2xXtYEirU9SmCq5iVcDwUT/lgWodAw8irclEtNTR3eqLs
NOCr+PWAO4et+4IA55TYtfmtM8NdlqQXP3Crb5Q5di29TPg3dbfM2wLRYs8edVWEw6sw283gNWKf
C2b1GOBSXTVbreyf8qYirqlV1rkIrY3qHvXWCzbmAIZsNKC2aS3+zRT+27I1EyooU7ysuEOaUmim
4YCJMKKuIv8lhVd9jP2xovJBfbrtufDQgL91aL1Bh0pvzwiG8I79+VTIWvSd1y3Yoxh7ZMiQYBsq
Qo04RH1uL2xL1MsmLQQeaUBtdkvvXtGLJ7g0YpdGItsa6OJg25wVl8MFje/tiA39bg/Nm6fjbJBs
mtYMfB81C8l1YvjJ1Rr7AU+SqWxJu8WZD3HfUxivRDZt/d9jLEErOZBEFxWxtdfy+qP02YznTbvv
s0NrxdE26XGJjCjjVwZQ1CXK33IZlHW5RsK5ofcI/lKrf3Q+eTdtGb55oG79Vv3SBE13l33+MWTt
tdJ079ETMYl8+nB1RzgehvIhnaTeJINzSXifO+zRJAd2WrF6BocKzMBmm0Ht71mCDYvRUS5MO3lu
3GQre6LPKurZPp8oiPiDM8E2LRh4fR68QZNfazp2bsVd+7WkTt6JDSBAuF1Z9BACNgzC4a7ztUfU
ZBU9e6JCQGJeL0n6AWmEF52hQmxDvbirBlaxPukOwkB+ZUqsEGmCF96NxY5KzaWb/BCqFh60GcsU
NGc1rMmH1NhZeBQJyYMot6p9ocZtLPUR4Bf1zhVmoJ6hvEBdknGa+aXH+QaxWrj1mmAvLicHd7sD
r2KVKgbiGtP1VtEYbnLT+qmrNCtL7D85EuWRS26nK19iXQdHwVZbHWhehyCW6rY65Vb9rpXAipgl
iFsvFxbvU+rkt9qZ+6p5xXvEmQZqVguWilq8j3mVLurW/Gh1ler5v2/oHz5DqIvXQG1hgGsW6szw
rWqSryOZv9shNyj1aWCwU6PB+EbfiU68uUZ/BzC/QYQXMOJEOSaXqiLJWuJN9XyW1FR63QUbrR0F
fQ0HEQbAWEZb9HWgg3VTYcsoVnnaeoeyo1zlocUjrxC6qde9qA+9ou/d2FBYTvvrgehqnW0shwuW
uQIlBNWKuvQtnHhlD9MPU0S4LAQmeKsCViiFt9SDfK0mpMAPzi727LUWseQLykub0mxNhICahXPF
tr+lkS7hbfNR5djYytTe4NN/MhT1BgIoXe7DwBR0BfQnFtD32qdxZYy5vYmEsc+0YFs5urhkqLJG
34cSj3xx0TRsA5oCsJTMrJ1QJ+KzRe13qN1FaN4KZtsFS9987eraOurKi9FZ7jaNceebRubsqyF/
K4T+4SRvrVFuib67xPrARkoWyMB8953zsoKfUx2MZDzWkvUR18YmAGa3KFwPXSj1J/RxRLEV3qkq
O6wf6VErgSfnlv7mpnl7SET9M27jc08BY+GrYuXjL9xqivm9lJyU6G2StQ0DG5DYrsm8H2bA0yzF
ORNhfOmTwl7rLnCDQuO01+SQsy7blr0VLqK8yXZjadurygJ5RJLOR9oPz1yJHbHVAra+l1r7GrAN
pVOu3QBzzcoAW7Dl4ig2nhum0Mu6n+DkrCaWF03jv8I7V/G4D71s3DWj9dYKBjZBkiXewEvfRl8R
rX9PPO09iMNhAaL1I0nhcgHt8deN3X9okAoK3FmK8hiMKawSk6yHDFyAWvfAtwMMM4mzbeiJG0of
7hnQn6oSEkIc+sUqBZm6sJJRnhqp/SChoTtqdlY9lyXLMqxh30ZP2AuYK2DWyIsHEk1MPPlrR/eb
lEeUchqorSGis1lptIsLUlClHz4pdDpcGIIXt08uaqaZ1K2nPmFjDEwKP61qI+MLCtHgqGX5Uhml
x/qzMxZpi4LbTLSLHfk0Jo3KZcbQ3LMM6OZAx+uLfDznCSQ/YwyBUbG0HTt58lhGXKxIAw6kmee8
LjJ60m6/tpu+IJLUagE8kX8mIvut1GkyZo7+0yYDnXBbiUfY0I62rzMm19nD4DC9Ir4GBpZVe+nF
DnswaRyN5F6wIH1dS0hU+//H3nn1tq5sef6rNPqdDWaKDzMPxaBkWbIty+GF2JZtRjHnTz8/+vTt
3ufcRt++LwMMMNjehm0lhqpVq9b6B7kqXIRT64fUHt+jAni8occapt4ysFVrAq7QSE8lMuVSDuOq
0ikZzqr1MtgDHd+2vS/SrH3qu7wQqjkde11tT5g7sxfJSNMVbBLnVs5Q683su2KB6w00Se5pUOpR
kV0wDLE9007fahwF4DYqBkyrIl5XNwV+mmQQMRPtrhmyLwSENJ9oXDptNzsNP7hWHFtrAEvvXdhm
bBHxZlDltnD1PplORj2icRuv9B2uigXt+m4dVKutbLPLasNCdbo21re61jv0fuN93OATlrKN04Mo
d3ULup7EArJr4Bh3szKcTKQ6T/kQfaFrW7hyWJHb5vKxiwEq18hr4fgdPmuR+q0OydlQEeo09AG9
eb08WkgtHee2oXwRj/VTIa96n86EVxd9sJchYXhVpVSuxiXfSlk3easWvh2haK3LUrWWbvlVftFI
ge4L+BgQIVoFNAQCliH17m0U06tWq3g61GgQgdIuvRvEzDWt+wj/J/AWQJSzQ627WTj5lmpPx1Hr
AhrnTbBeZbdvq18dqe2WLykmNP7c2DdnXuUglCYrBciEfbY2E0R1rMBXHbEELevSma0bCuFt7Y4j
kkctsIB9HMtvZfo11tno9em1kcf5quOWY6u9L/W58rZq092UKnfDqlLOg10Nh7QHMq3tfzyf61oS
Eg7N+0Lv0fvT8O9jRttIVKqPUh+nj6B3IrQ908APjTE/wlHCo5Q7sq/A3eSda7X00rXVuejQU5Zu
827Wrc+5H/K7MClDIGJLStEk16zrV/dDMZ90RfeSlaoI4kHlDj3yI20b3NUWTYemnwakxbXwJdXJ
K0vgHjxtJjmZkU+LA01ed8bYbWq9xhh7tClMXuv6lu6VHt15S+2pHgTyba1UE/qQyNtu5zxOXEMK
K/rLWbGehoFWywQPfJLuBh17hdA66E1TPhbojad1eWOVXZQOEZNMVoV5isqJnJQOxjYNlV7cMjxw
GiVF5d2ObT4nbX3FMrTdpIcb5IvvtWS8ndNl+6Hf4uMAcBqlxXgkJUeqz+oty0EjEqEqGkJ7uvoA
1xDsdpDaVP16SPpTr1LN1ipAR0bzVJO5vNOgNGHv9rjqrvrz3EfRtq2LB7sbpntIUQQlMHybSEmc
W5CYx35s4TJ3zRO0Ryet+vKgKdJFuhXabh7HkbYW4MV4RvwuH9pjEckiD23EwVQ7QR0vj+8CZRi2
P47G8JfxaWXdRjqwdZMUbeVxhTm0BCPcu5VMGeB012qU403Yd0thvl4h05/gYWEGu2E174LeNNAP
NK5zhaJfa8vNIzBC+DbIZekDfaTGRKA9lZ5atDw9wzYOgJywop1AJMw/Ur/yfA1Ju+mM0nzBYhyZ
rrjpnm4lfuVhizWL3j39fDNN5OtTv1TsxEtQZ9xlLYHXlNQ7pSnv+0JHC1BbB4C3EO4ZEMdSo1ML
hhubifQI8ggpIgsceafrFXxrviHVwE5y0AAg8IjTTcvGWutUc3fTUvfWKbWfTTi+TiVmDANS/R5A
bq6Xpj0kKFZHYkLP0Bmd4oauBPuOlja8H6fjuh+let8u36b0pjlxugq9+mYED5V5HNU0dls9lQAx
K91zYKCyj+J45BlgFrHgDJ91WR8F+zn5ubaKxza5eVM8KxeE9PdVnTTIbs7Rurmp6vPPryGQQPIQ
BINNSQ/fyIRQlKie2XQYh1aTkNxNMkeW2JkFGZ2XPO2LM5TYm98jlkWt4pIPdfgZu2lyG3wkxwNM
i5tXuBhO39rNppeL/WhHbCNr5dQibHdETDQxaKXHlEfvhwlxfsUaCoSytEsvtddmHuJ1S9Mopsa5
M+KPdsBNYxiB4gwYet4myqQteAAL1AybS9M6jCNKFFTFJFdTew1HrmncNMhYYPlFywdyzVqWWPgb
K1bXM6AWEYbwgu1usu7H5hjA0VyWz8JngHwk+E5vRn2U1jhuB4JYFoLVDZStPUN/mvVgbxtkSBRU
nsxkZTl936lbrFBvd3kN2MkOY3XTZCmytmy2T3YsoTig5JJjjWQwbVmDVRql7ZguQuhZiiam1pXr
OsvsPUKV/wj1DfnzT0BpYN8mxo6WaskQZ3TF/AsSPQ8rLW/BQzg/IMc0by+ItGZ+ptvhQb3pOsjZ
JvN+Tms1ZftJm4s9cB3lXtVfUfFCOWdsA9+eu3Kv2qh+0Bc8/HyLb+i8z/FBoduI/NUoAiREj+0K
ZYOfj8Kp296AwzWRrwAbRtJrHZQbVYEpoqygdHb72MMYamYCbjmNHz1IXNbtEJjXpK3zoTTRBDDk
B9BKPnT0X+g/jK/sYkZ8SzBqSY5QQXJAClg7Ix84Daewjl18gt7tWQ1wQCc3jGM8N7JQ7ZySwS2m
EZ0B7nCPGznop2yZz3rSYF2Lg58bwL4ANTnbdNgVDEsC7dBUdXO8fc+4wA/6axEiHWZrXbw2tPSF
coP1BxZ+aLPcIawV9101nutJT7Z9r+PeklHws7J2PIUlOUeYyu9F0eu/CnruCvqAGgKNjfqKTQeo
41nIbY3E+0ov35pSEmOtx48UEGp/mBY37JqqpYQCPdYKMXhwgOoAvLZYX2MFKZMRdEbSvptuB+OS
zUbzSW155cy3xXaWZalth9yZJmDXtox1im3O3tDaKhjG9gOSebLLUdTtqIjdZTpSx5riFAOGXSpw
eoGJXU2elRl+GkJkiaB/gDx472/E8oUKkGl0jJkeWNaoqpvQksZ1rl4J+BEadc35lOv2BydYujpu
JHTce8OrVrinj/otgNioXUjyvigq1btSzSe/akoTySr5is7gzdWbVPaLbABIA0yU5C57ZRKPj3GB
55l8O0+WMbw2db0lRCWLi2KwzFoHwn2VSRwoVvZ5Nu1tiol1y1az6O+tW1o9hb0dofiiG80p66jk
12m9/jniG7j9OwyNnZqxtJQkggcZE727WDKebCkFN6oZhRP1FZoD0fj5kzdXWYtrhAQ2o38eeTf/
hygRkTZrdodtkzGPvJPyVsgjEtcLG2CR54wbsKBhdUcDhWxXplxZRy911k/vfcJ4CcZpW4+mvutk
NX5VK2mBcd1JUd2dmjhQDpEqeTRBzsCpoidrRGW10AErDhKEwaHOfDYJ5UOG/w18kyi3tGfi8VXe
J/PABwys79pC2kjrpnyb6LLtcxQx70dg+HGuPa4kLYdxZURUcnBXjxUbEUk2mGkwByhiSL8CG8uT
H1bHP6USAACTr7/y///kHv4/ExL4f8gvHELOb/SXv/MLP/zK2l+/i2f9PP8PKQFFRzwLrQCchS0Z
BvaK6P6HlACPKOAMDCg/CgpW2grdqr+JZ2EQvoKbiqU4sgEy9mP/ISWAGBddMdVASMBQkeKC0fdP
GIQz8v+8+Kiw/lawqnUCmGUsCgU8/htXXh7CG8h9CWkcbMbaCjjCzcWbxW3MAehddU8bjGyRppJK
+10SU/SSRVcVvBRmrwogZ5lioNwl6xKRXqUZF3YvKLfKqeULXZP9vIqgSViOvhuD54K1rEBw/YFq
K1KXv8phj+ps3v2yQOO0u+CUSydjcuCEZefQ0EWArwdHhjkXhhI3686WH5PbcQ7AmXxCPBBQYhMN
bpYt5NseyWJzqjgmTD1NESjPY4P400kHlm/BvEDImBIkkqmSSMjW6lhb6yRsZrzFTMSloU4Hn3wg
wSjFwTXPKQoWRO1U4ipE0wSyABXjJMU8aaKEOaIwOrorCtBTifkLVe4gxRDslq5jiVNYoSVPXdvQ
Dql8wyoCe3UEn9IPinfkiVxnk6JhEbBJxlYzzSURGhzRhFgXywpSIKK0DrKZuCQ9AslMSrpQfQw4
+MMT7WnX4LhHBFEHWimA67c3/CB6O/TZ5q2VMvRvRURPJPK0Ed+Q4EsZyYv0gdOft4Cu3T5EnyeM
/A4dSrg7bgotfELOCgHPrrqjqim6dt0jbwYZVAH7N9BOQcrGAmi4LGVT7SxKr5rNQYQp0iU18FKF
agNeFXQD4ocheaHlWFaUQryJdRq/kG66qDAq78P4vZB3RfPL6mBaryonVhSCHE5rxaUuR5fWxIB5
4029GFkjCuXCMeWsaEGhOVJ1WY4yNgIy8sq5UbgqwqtEXdRIwScUIylc6Gi8DjC5V0OywRWLyn/i
qsk7o6rGe0VFyhX7VQcYi78soei11yWS3iMaPq0TciojjlT8hdI+WRUYGLDMAOV8U732FWqtQMQG
2FiV9HGbFTpA6N6ANEhQN0L0NSh3sBHocFDEXCxYuC0NUPAoJXNB/UeP4XIgywhkk20ksgAWNpW3
DWUoUdfvRXNp2qsSNY7OXrCG8lEzvIZQWyOEz34VDoY8ujSH6WqCTy4UT48ezWYNLgCJ3TcwpU63
aCg3LOvyW9vsyORRi2XwMHLnGPjfGLoBXbhVSMNhmJnr7JHNS5lQrgNEKnEn6MY4LNKujA94C9s6
hIoCghOdjvqSkllZGL7VjIHsJglrHLzKjHEtXPca+2KVbWepOWEHCajnJEHowb6gtEKjNsZKyRjd
WQGUXY1k6my7GSvL73HL79q15GBNSu2qLN9VEnqS+eRmOcMJAbZpIqKMPD6MlJYYK9bJRP29A86d
zI0T7XCbBnB+iJLrb0H89AdV8XfRCesvlO0/YqMBd1HVkJFC7+HPsVEja7ejlrarmn03sPnnIx5t
3FfNSQeGXJCtGfU32KtdvpzZat9mKlNNcpXVliKYU84jliEKMFdlO8ARBCFKMCn9XlP8LkSfsAVx
KKcY7FVOVMIMGE819FukyNp6Gf6VM6NCbJM7ZtN1mWTj+DMHmuJBlk8BdWjK8oK+AZxyKq/RNWMC
YeikW+sbuavNna/ipUN3CWCaL1IegXzVMSPysVNfm1AObyAb6mtdPSxmRVJyXWrqsDNA7YNsAIVp
mscmegT3CLL0H9idKv/lyvPb1f2rXoA1AUrQubpz9pyO5wogK81Ghj9aykkjZDjVbfWt6fdScj9J
LD365DbIUMWV99/f57+S4H/usw4t+UfrZ7Eg/vN9zntJWowvuc8Fix21hzuN0Y4UHVQ5Lpxh4wri
tMGuWN3jUAzOu2pOTeDRd2aP7BWFZ5lrE5cu6iAkwbmb4ZhTPqQYd8A4ra6lsUc6Qor5etG0dYoJ
oWxuSkB0UvcPBGiW1fo3zu1yJrCZZcbrcjbIF/35TCj3rmR5RUPupvu1/dG1GRwXk3rjXaHU/2Dj
ukgD/P1naaa1CMzQSPvL/asVuvvRiFA7JTs5Eyj3Z8hiIFg9itVH84+s7RF5+evngRWxZZNcCbK+
gcDOn89tWMmjpAYRYsXEmzlRtxYb/iFKacspFLqYgcrkp+MV/5VXSXJt1owBlLY0XgY82HHug3eE
cdJKuVcA4U+pxjoS7YEXH5Yon0PqAbV6odrpjFL5EeoveOXacfScaMk6Z5IPcftJw2wbROc6brez
rQLbUql51EjNwPFY7Haz5ISt7oHy7AZwijUadKb9mk5oMD6Ayp/lX9UcelV3HaIa0fKtzOK6pBES
BmurpBYN4PRmzxfL62GSA2+Y7vobxNMp2IxkBLqCxR9KxdRKRd2FvmaetP4xgJnWSNBAla0ElKJl
zk/VNZmrnZptCKEOIwXFtBGY9Ak6nBP3g7usvFh8/SQ2qsVaButlCBSxrHzL2YbDmRqWCC4yBeGi
xBkOzfZlPSHkLVmDzGukZXKg70JrWCyBvmaD2H1gsJWamZNQ7uynl74dFsFSKnBsJ6O1yuKnS4lo
kc3Tpc911r401alFfwOadpKsBFaabC1HF1icO+V+3TMRAdBhUwn2DNWA+UtPTwvuKMC5TW1JYahH
KOn7cl7LgnIrXmadi1QdcOSuVmSQFB86iZtKCd2s0MFvUDkAUYxM5ZKw9ezY9WM3UQZHu1RfLGJW
O6BBblPwZokqIoO6EHYFcDAXrsWIU3YbwmK/vRi0fRVtONDzS6aFgxBvo2Z1P+nSxrQqmI4Ox+Z2
3bvWAzYubpCYFJKSyCtCkkVKyEGzRuVdjxMxIl4I48mHnQZRpPc0Ct2ytQaGvZ5vd7MFp5tlBY9I
R1d5d52sykRolPYLCHNyGhPBPtZlbzXbTpP+aiI6aCSwgXlRghCfzi/8bZCCrXEKBmVWbJblWoMA
vaRHZZqyIa83A5NmWZGM2zWlxTJnF+wYsSZD8vVWOoF+V5QP1UJXIBFSDcYi9Ko0Z49v7PtV4iKt
v23L8JwpKh6YDAjpMnWL5eVjr4wwJPFxN/pDu2DDc4wCmusAXZPsWpHw0DLgpt3hGujEpLWrD20A
uaKcYQfSNsDMhpyagV9wcGO/s29+0QAPsE7QezGwY8UKkRNcQHqUoVbNbokDaJqsw2j0JF1dd0m7
MavB16aXJRUhu7HDyV1mZQwae8ZltGTJ0yr4nBbWlhuJjidk6pIWP8thqZJroPVQFOo2sk+WwXQi
XlhV6JEWFdb4s1p1Bu6/BEHZ3tRDtbndakdrw5/8tma4TEtWTRO2/Vg2EVal/ewx6mrwLPWaZurP
UeQJXbT+GsiSlyahp90eOtiRJFGDvs1Vf8WiqJOFR3bkFtBxIwsJLgxpmvk9pba3JMXYR7nphMk6
6pTd2aTVlmMiE5XXvHkp03KDwc1CfVTRlkzs0TNbZWuW8alJyAY4n15yZwOEg+31CuTjFmkhlKua
CNfEJkBU6GkFASvuLrfqHusjhY566i47iybCSosKW02/usceEdvKJVCNGKH+bCwYDcvWwWYVtRlo
ukkCuyKZA5Gkqw8GMpqWiZNP/CkFvae8wpYVLRAX/GhrgrT1sVxzrazYZF3rnLhPnomklNcPJNlp
DRkopPOSHeGAeHipsBjNyDgB4bLdEvBPN1ZOFd7YZ7JjUTpPDppjWofrgihWr96D7h29HbJ0rh6z
vsa/ExeeukAI4LbhtoJ3unTJs5J/xznCrpjPGmbmDt2Eei7yNrSqssA1bgNxgxZbPaO6vAEJVdNh
VfDSQvmJ/+OtpN2ir0ftgNxVVkQ7TJ4cbYydqsxPZYtHKFCfQB1IewxHTbAEbGfXHiMvlDeN8lCl
uyCCbnq2O6rpH/rsWTRBgvfYuMaxLsJzS0a83Oshj9fmUwYcp9O//3awRZrTwn1UpFM6oELZJk5s
AXcuDPYVrCUq7e/EGQaDJG9a6zibaz19hAaWEQ5RCIhUhuRXy6IrrwvlG1+fkFZJZ9YYjx36bPDJ
MlQMrOhW09rO0XRXEh8CKZaj5iGPPnoubfy86s5E1sXTsVNTenzq2iQIf+Hvi5sOrP7zoCNJ2sAx
xG6zBJ/UPhfaeUx+SYRnVoCA6cNmtb1LlVwYNKVrY3Yr6y7PztXohS0oNBidmyDapsrOnu+XFv5S
hqbNjqUrt2zuLpZHo41CcAbHBFEAWGAoT9nY78lcitm3hl82/q9FjI8r+jxUH1P4GWm4gh5uiESi
gAqQz6q3Ct68amo/0488QrMVaEDgNkjWp8hrW+58HO8BHuPUTl+/xuFnqXdUkgFXkTPAAzPS7HMa
3lzFpu/EnMJYydNx7cD60Fey5og2jqNk7+i9Zi3WLU2EfMAG/zGOgQ7WiiZr6CODQrfGdHTuSOmm
yktIXRV4RFovA4jC49A6CIgSUVOiwH6UGvZ2A+GWOjfiEBnOMfOLoZ5RnsAE1wDh/673b5b6PMHa
zbrYCcENgjaOe2/UEW6aMK3uE2fKDceECWirOarSGGbRelODlgoq5N5JJT2o3VWKMIStP2gYPasj
dRmC5C3Bzfql7nFNXtmAHUJox6wO8OkqNHiGovetllBF3ohbiGMBHDBJJ62cvlP2tHxwzVa0ioBo
It51UzNPA2UpDedu/O6ogcgUnbXbNiJ5SRneQHunJv1W5tdbsdG0syQDROioVUtn3I4c4DY0oUQO
nlObJS/DVDIFQNYY38tAUYlNSvA9DucBJYwbeqzouThWs5Yr8E3m96yBz+SSlMQ5fH2c5WcTtOIG
rT7B4yYYSKibbhe/5zJQDSSsQZ3ibCRjHfSeo8iJY7U315lrkxwBpvYSSg30050asd5sooY+B15N
6zG5IVQ7x47WAYgIOOAAy2fsheuevYpaeiYdxeX5mNqxA06cBISfzmyzWm+VDViq4j2PwEWKxVUa
xd6UdUyAEHQdTM5U3wwoYU5ojCc0+6jkbySiA871bLvep252G7LHJUgglsmBY4vNvBvRD1rCu935
OlvC0Rofbuzdl6fZqHrEq85pMZGT897HoMTrsP7tZZIwHeJJHT7qTUYDL3+fZgJ9QGrcIjHwPRnD
oaEqhUUtCtGQ23WVEMBiAcfUro8ZcLllt49pmE+OMgY4qmMRklFXmzUJrP/gDTOprxHtbylN+Bu4
zh7wZHLpwWzECerZ076rw+0cy+/xEBDVBxCDibvUO1qjO8Dp2DXzownKla6236OQGVDfi9FiWOTo
SXqXsmGzAIfI89riISx5ho4aVxlsNCvyl8QTYxCvGUd/KfvkaezfWM1hNriZRCcHteA57txB+VUb
TPmOdFwuNxFJJUu2GMD6MpTNec9wkK2NMaByvdQgx3aXYiDUoIFXkaXFmrLOWxeDaaSEmY5JgL4L
/Kq9xpiehmuyrKdbYL9OG33C1NpabcBKCTyKug+MiDuzv8xzfW/fIn/J2SN8yz5n69qEKoRuZbsk
WZkUbNo5xfsqO8IswX0Qrby2WkdhctFUEH/o62Oa/Pj/GwuLVdR0nsqv//WvV4BwbT09foWw7H5v
FOgqJfffqhV/11pYF9mv/F82X3EIQPu/eOV/OHRgtKHLNMMU05QVg73zH02GxbtjhXXoaiUjFoxG
ERWBvzUZtH+jHbD0HnS6CDrUzX/9m14x5h0YfRiLxKmC5o2i/lMOHcqPOuvvpQJ6lkjQYvhhWCgg
Wj+yub81GewJOAj9XNkhSEELMMhRJs0Uc02JqSzHQyQjK4g3jFO33W7VZSDeOvWgdYgSZGARarnR
WWCQBWF5Qin8EowrMMc6swqY7GesRBiUou5fDuodalAoA6E+j4utY3bzfdQFiNmAps016KN5Uupe
alpgXNvmLp4IsGgkI/Nk7do0Xyt6cQzHhr6avJPkdj8BHkU1GBxsidoDWvYLsPMBWZGDjIn4Sq1U
bC9iCqlF+9CO/V3WNr5VyRSD7TIy/Lox5p2E3BQN2zJ+Q8NjJj5YxZ0+h2Bl5xUqsiU2rpLozcBj
376qWfdHWihI9LRebWCV+gNkekHtpXpKoX6VJOBj9pCM5spvw5a1UB/qGoixERBI9A5d//z2Zens
l8fEjDAHLWwoNHTkW5TruQEsJ3FRn9Ee150Rq4ptPQ31YlE/ennV6rtEJe0odVgqo62Nx2RIfijs
lHE75RNyHIDD8iFh+7qBPmy7RUZJtk8BeHVQ1Te6nOjrronbdaznZyufYsxCqTYSX3oYHSiYNhh8
4QFUVk+DUryiSUTQzZRz0y8ERTtUCJgSy1IhPd2SBeqbIVIHW+aYF9pbnUsZuzH4cet5mjKkyXZm
TKW5qE0ShqDNlUXYjcpm8wvXPXBTCro8g4yoydzvJXuV+Y2qpsdhqAE7zkW9HjqJ9Iui9YbMw0C6
gQoB42AnmQmpd45IaxVim9wqCjiVLkl8ajLl3tZvuCmYVvdUIgNyVhDeHUFUlnHK/gPDCCof7HdA
+FarwO/KeIDmMmAhgZGr3k7zqTZVNHlv5AUdnYT/u5F06QVfi3KqfyLO//7p84ZfxRKY/vSL9xPe
HrqvJaw1MFP+1oVcnvk/ffBfvv4nQVKh6KegnP7fxclzl3/8y7YhWH7+KUz+52v/Xdnd+DcKvSY9
T1mjrm/+Z6Q0DJTdwStiP49gofHTc/33SKma/4Yso2baprJ0SvVFQ7QBCBn9r39dHsI1QpbB8PBy
01L/mXasQmz+c5UTQXnTQCKTSI5Stmza2p+rnI2e9XkSdLq7V1yUGoR/fvXFwT2+vzfiMRZsJd1p
XXmfGuIvoT84D2jAnNAv8sngHYT4eIZFk5Xx7TQX+E7YO5rvm3ytCRqZvuF+J07nTM6FnMk7m+vX
V8MdPHMdbaUN2kCu5WoCbpvo/Yvhst84ozXhZ07ofuYOLQbRuiYV8m4TeL1LxUPgwClC//JaifPs
SiIWH5CLxcBzQ/fh8mBx/P4R3UIvFZp4SJyn5z3FafGeisv36O3uhSou9/eTeEVjxSGQuLzT7FeO
7hyO1Fw4l/fWJR13qUzytp136Phk08P4Q0B5cHi3iyEeOg5jb7uv0wa7y7XbiPeHV35M3f3rAZIX
T34/YIjmnI/HL0Vc3zhaMYr143a7rcTHame8aq/mw3xlM1O+3vbKNnScRNSC4qPYUJoTr4fz9t0S
D0/uw+vBnYRzL55u4vVy47APx8h5fbWFe4w5yFcukHvcy47CQz7ykeL9eNq+2+LI7Su4YJV4//Bl
p1qee0g3M3+AZ8UdA2orTrIniQ/eQ3UO1C85Yf+V5pw4I4ImePnrB6o/vMIPxaMteNfRv4njx+HV
Px73xzOUC/5tjv72/M4teS/E4Qh1S+TbYn2kKiomPhdJWAbGTIcTphhkME3YZ9LnfXQnP3C8V3lt
vtevAD5BFB5lRUxHUlVQwYmjnyDu6G9oxPWbdo+W2RoAqYfdpWP7heD0t+/zFqsmZ/+6rzjqyDmH
4utxFucP2ZM96oYIznm9X+2Ns3fvrcRL5vAh1Fcnr/Cykoa4N7sdWCoHk2w22WThQbuhVP/rs3Mu
Ue6zg+ljt36jdP7ZUt9htNPw3QDLFOEac9/P1TZwAf8cE27scm1scV5fKaiusTXySn9eV27Kk1PH
+6Ju7M4uKjNc59O1cNiaCq5gw506lVQA709IMYnc2d2/nCtn2wMCLe8HHzb6BlTO2tyuTrYHp8eD
pS8g7rryG22j3MdC3Q89NrN+L/DY4l3jA30Iz3Zs77z84bze3pzbujhQrthGPP+rcIBbumebD39M
GL4MivVti/6nZ7qxox6lS+Crp/hgvlEsy3LRPJ8RDN824mw621AIU0BUdLbQHYWDs5BoiRXOzXl8
bMUX3VTe74sNt8tTZ8ENssThNRaP2+O6FwQOJvqFepfjvn+cj8vEGEUolkPkWHGDFpH71bgvvdjq
Dh/JbU64xLFzpVTIUDwsQ+5wZEAyqdaS83IXi/flkqDz7T2aztXkgK7rE9f7/EgRwmWJ5fSO+wPD
+vER5Q9xILhJYvlJdx+pyYs3LE+d0xdG38uHP37xy4nj4Sqt3OuVnMg7hTz7kb6COOXipeBKYSjo
BNyNxJ150Wm5+n+c+igee7H+NQhKZE7t3L1cH5fxkv+88pGXiJvzEjrPilOLU/gz72EyivtWBOKu
cTNheGtyCSdev2VidH7hSrytXKyURLDBLTb5uFEiyTd9wAhKODsuw/GVSoHgmoziyNfgeqAkiCf3
tHaF7eB9hhvzPnoaX1SP6/kxMA0IlhDBxPvrkasHxtIZXFOc0ufiMG+yY7yh3UFUWGYzEYHaNVd3
uT3cGl1I3OqbE6wJUQ1nw/DNxJe1ftH5OPb/jrKzPLht4llb8wD/X2qxjp3zyeQJFHLEyz2XGOqZ
iLkyb5L7/X03+Zrz9vIS8o6c0XIJl3vA4HAUp3NXInRuPmZOPm7cbukMjuXuaCg4b97dF9GJGoEQ
T9/7T4dZHogXakrig1a4eJmdO1CUgp0xqwS4bdE6T2Ro4jq4VNu58Jpzfbtbf3FqJ285Uq92Eufi
7J8c4Qzi/mUtfoXO5vTysovE6OniF28v3nJhcYK4AHtUYmLe/LPxPve1777vP0s+qROf7HL9SHzv
URHjD+SkhB5WImA/DP7M0US0Vdf6+jJdJg9x0gMhcQ1NZxM435fsOTOdYfNUirf750l83l9b0bmd
+2v3/b1fojJ9UCLJ5+cgnjYPg/si+7QAWDgrz5W2y6nGXKlPajri7ekBto7I1rJQ3YzDfS6f83Xu
AV8Z3zUPIhKjfSWeIVG6OXcHOUKXEgpbdQYhJ4vKn8fSRjYtnDtxf7/feXfiy/M2zst96/xiRaQM
xTk90fLY7bRd6DKone9fTu99ptziRGw6Fm3JHfyXwb3fDDwK0JEb9dzt0T9zloO8PKSECTil7jfY
Ulflz4n4JlJYYn/4zp2H7/3lYX/Y+6/v7w+7nfCch03pfB5Tcfjk2j8EnPHr6wWwjvhWxfdul3kx
xzExbDrTW23KZ+lcX2Von65KjfwrXQm6sskDavLM5PJY76FgHoojquC/cIk4GBtKgbRj5vW4rpCw
ZNDeVT5osDc4Ft+Qz97Hr+GYvk2v01sBJuhdfx0P8VENobd5nxcquuKz4yYFTknetJk2AYsYVZlK
lO/1g/U1ruvDuF5tuohLq4r7UjyjMyi+qFHybxnns4fjNqcwO2BSBOVRcxl5v0jCuNaf3NnSJTG4
T7l5pZcShp83l3yNI7e7cXPnZRD7704cQpd+mjuI3cvdnTeLay/udg/O+tHbPd1FYr9x3xzPWzND
7pzT7n7j7jluwvPnAyJsDFsaBBt7yyAjp+K2le4y7yqvdN971yIOc+mXZBCquIAVS5rHse25W5vP
37Lr/wIbo8l/50K0ZKqWpZASr0ySX52k+HfkYLDKsqgz2DWheqyobvqooPgk3WfmpYherJLUJHnM
fRwVz52HFhhjSXFzV7tT3zFvTmxBnfhh3q+2xYAW6IZdKUszqJOfEJAS2PxgDSyLGV0x1PFHdt+W
hZve10HZ1Mz2ff8JVsPtdpoYvGJXXsdj6bOOXPh5E/ilByrL7x1ifew1z7fMs/bWfGdXHqKFPjU6
V/ZSr9/Gm/J8HP1l1YgfIUXFmyUn6LyPJalZQixskf3/Ye68dptn1ix9RWxQzDwcRuVk2bJ8Qjgy
iTnz6ufhv3uAjUYPMH022xv+/dmSSFa9VfWmtRb8zWf5XdpOfr/PvchR7HwzOoy+T5ekM3o0GDri
3+h8FK66+6hZJofQer/RF4W/tbjaHAZso5xlv7GFR3ZYjvjT7+nLO31sqBWwm99uiwuVsYvgNp5O
pw/P2x28w+Fw2pwOheUt3w6ctuw07swFdx7nJ1OebUU74mlOp6/Th8ZbcWHwE/EwG8u3rNPBqyz+
Flre5rQ4N7Qa2bcv7z3jvC2sr8k9fZxOt/cb57F3809ch4t6V75xMG42168vjrHCcjiXmsPm9DGv
bx83j61c2DXQe6+nK7zJ++AzxyZtg9FYwhMUJNwPCb8w9/AQ/cBTLPXyZG5Qr+xFG0U5a8MBxtfv
/XziklcusjkciBc2+LIb77axvi0X/2Nvnbw9T++9O95ps1kOoyv/dTe48jg+ywvxMf9xVE4yzna7
f3s/vL9j/rgm0oFWNPrdRF9I7e6y+gjW8waf0MNIHD9y8GYkt3wM15XDpIBXt97G84uTZUg3Wdev
w9eHYQefZNI1vBaAa7WFQkzhBvbLy1/lgca8eJzeE8ZAnZLFSDFjLeyFHyoTlB8P0SU+0d2XbI07
QBw/sj4n6/XBCbKNbfNNayiKWOu3zroQlP3BxGm5r0d3616P24IdXLae12pDUc6O3Nz/C1joMod/
6+QbuCXs6aOULQq55cN4qx902t50T3qFcXQfr9mUPboPjirjHGFdT2dz8vDCB58R957eJt5uYpf2
MivxTtdxjTOJ+0BWGb/jmnhQw9ocyOCTcKh8yHm+ehwRu/EgPGE5/C7us+LQyiRtlt/idwufwmdr
fUNF6KrudzRZIPPU5aWb3+stYxGdMN7308n72uAGEppQ7uXO8JHtjw86ArD+xvI+GMwr8dltCXzx
hFgEBJE7j9P1tGI6scnNl3c44UGvrANr4I3g7ePr6t8qm4893L52mfVDqOYRam1YUyw0oigufWM0
3DeMlufDq/Sv1i8hEsHfdnoFIG3fuIne4SY/WD2HhkWLFcbW4jys3z8OHGoslSXmui7PdD1xbc/z
OAp3i1HiUxNxnq586uL4XCP7i1X+RZj77r2/eyz2ze1qbdfueeN5t6+P05uzBGa30+3jjUV/YAXy
e8IEvtgmPJz6L9khcjZZ4B+nxb6veD3+kafyGLzKZmb80y2yqeYylDFLeXGfPxQb7CdLaPN78DyH
MJqAkluqeOxl4Y9rLhOxZLwlFm6sryvBxnXjM0ebrw/exr7DEntcMRIqQpbs3Pi3xDGFR23fNowN
4f8ybRyLe56ULdP6gGWYz+fWbtFDdiI78s7GgxYCS7fvVBH/+RvhrU2E/EWbIm3ivG95J7zCbJsr
jC/yfilu4Yr26+rQbjp3N9nCMufEQfZqVyybOP1CzrcfOJETecl7TYfx0lJhzy0pB+K/4iDEHv0U
Q+c0RMEf8Ycce/SfIEip2fKKehcIPWt172gRD5xMPYa8hDo7lAoS+yjVFLiHX3HLgx/tZzgDn1gv
sWJsj9dyrb10dLbZkgms2VYv3XvjwZW+U680A1nvm6/bF9O2zN7ytP4+tANct4e/wSJuy9Z7JtPw
HW7Pdz+3Hp/+Emd+u5z/pbV1ravPyG94jX/296W1ZyVcr9f7/f798Pd7n59x6JeI7Lr5PdNEurx2
c776BFfn/Tc/EKd4+Au4DQKhpcVnfJ8xkCW4unI7y2pl/fov7nHG0fAtPux6Y4LZ3HV7w9D+Mpm6
jYHd/aP9QrzrE+7efjdLIMg798c9/yMqW+Hy+Da3+LA2vr/xN0uY5Pox5skvrte96/uPI/6/v9/a
n/vHdn/jBs573//du4yLe399eXH394e73V+tx54fj4/t+QGIx2I4+I1g+wyKxcGPi+teuQYBW+Ti
kZKHsT/xd6/Yyd49rnfOkR/+7P3xiMO0319za/vnHgk/Hq9Pzo7ccnFJHefy4AX2/e6uHw/3c2vv
Pw3Lt/jx+OraR17Dfnx2fdfi+ohLnY/Ku3C53/cEbMc9MY9/tI7u49O+++7+3Dm9687uY791jw/L
OtrrFcOxsl9n9773z67AQFv7IwpoTwrxZxIcjI/BR38ej6NLiML/+fZIuHd+Y5+JqZf33IlcREIq
7TtnlZ8J22aGxO/2i/tDmMlnLm9b7IoOOYtXH4Pv+Fwf7zTx8KDuY0kA4CxdiZvOFSGrS/SwffCJ
Hn96bAePd93Zn5l/YhONez7z+z3Xe/j8k2nVnHyt28TW9AdYBF/+4v3uc8vi7e7eXzxVzoBvTDez
WbKsedc/fv/yCKRJrO+R7AjaVkSHPR7yQGSEwfySfCBPwDri8vvXbW7/4aDuLuvLcXmiT8IPbgMu
eIbyaZ0f2HNJTohI85PJPX//crXN4oPdSOmw8r+vClN3VIlA3dZlJnPG43NLEMswdF7ljPb9PHjL
o12pf+A5UgPlgYhbvwU2JkrBFp3GROnLLhR59/P5rLrsUu7L9vLq8iCM+IPPl23+xbLbcr/4kSZu
yJ5Q9PG6bFJ3l0j+5WW9dc93yyJSfmD75/Oy2wJzt1O38u97LDT2tu5LYF/ojLcYzP2SmGJMI+/b
tV+xVZ8luLid7vJHIt2VtTkmOAju9rzZnG6bK2bjMgPu95UjILRODMXVY3G55ytm8lhh7Nzxo2YI
mAIGEWt7ZWz97eP1mDpbbPPl/vD2ksW+c19eCP8BC6ogiuHdTD7jT+h/f+6uLPbN/fPBOPp3957Z
v7+prdv775adQXDDg4vj49gua/jxut/iwzwekhdwvcDavqIWTWiEoRO+e8OmNEF9e1Jmx0vFx9NU
N3ywIzK2mFuHS8Odl9bno7Vc/nv8LAkwZ194uzJ9TD4WG1iMNHRTNjdOnoYz1fd9zjz/NeShPrcm
IdoyeRhIYZNxWRIhV45hRpSOifViwqnNFsln+P59e5x265fYC+1P1d7SMb/O/4lxtzLZgpEeQ5oh
oSJ962LH4CzNtkNLt61Hn7bwB4ovs8ajSmYEmjZbHy36mK4G0eDsSphubfEI46dsf7Kfkf3jK9vw
YJ0DOSDVxXPAwyxjA8u389qcczaW7mR4tMTdCIf3wl+0bj/TW/6W78odEg4YreJQMPxnHc28+lVw
BKJAgB9Ef0TTLCJpPS15yYQx5AuQuTM53AbQJ16w7JVUMZ31cnu6bzBVJAxZgXvsnOe+TNY2tLef
j+UzwE3zKyIwm6j9jbqAbjk/HKSn1Wv/ofBR9VZHNv6UX/bWN11t1qdfY6y+z1azZGs65+Xi7Bw+
smeX3P5dlAPpFbiHlmT/JWLT/kudyHqnH9jePcm/Jba5J2O9RCjeF74MoRHX1Alc8W8vVCBk670n
Bfw22HjGfzqpE6DXlv1gH1zSGvkGtOeWAse2J3P5Xrg03nkfs0cCc1hi39qhKGLYP2/mYIfwCzix
Rz9K+5psAVZadEySBfwrbZqrfMFx+efb8XxkY2odByK49Q4Zx8nqX2u/OSXbiPXvi6JFwqF+pdeK
O/nNiFB9kSTJtqrRdfXoK+k75znyCyzM+4vIcywZBCZu4JXr4gTV2gutP255oe2DK/7BQuUvr6XE
6K3OZFsOa3HNJeNTfSh4c+w0L/WHyIJDd2PZa5Z5rzH8PS6gR/JJ3hTr94oszkDebRmVkhkgGiXM
VPzArr2AkV7rm5/1X8xfXgQyaz9vf+tXNoQLJGhMOmPBtsS1KQe9g0TY87VLCOByH1FXDOmFtPiR
K/AFSHg9UND5e4kdBBWt1geXfJjWEJKbGxQD2SOAomwWK8I9cjpiIShhSTv36/QQecLVOJPsPOF/
palVXaA7dYbPxkXdcVMd1FP/Tk+LbLeeuXkhEbAMDBcbKHCtW3s7kfconOe6vdbH9rikXt7o4Xwr
b4mMlSHlvtjNZEeEYG90wfBI1F5OuOY/7zud925Z8DjwszeS+F5CNLZ03SL6IT2FYy5YH/jpJ2rn
Lqb/t8O0DuLWEa/6zXmh4uEb9vtgXX46ChRL/mgpgsGBZv30ztsbV7ea9R/JRgiot6VTrcm/brVX
OL5WthjYxIF7ilUGy4zR487RXLAA71sM5/JhLz+7n58/Pgz1U+uP8pb1s6P+hvUe3tRN5F/+TId1
ubw45CLM8JLbU5ew/5/3L7lLxUW94DA/hsAWE5smd1d39FO+afeU/qLN6meErPnWFE72Fd7NfYK2
JRuenb+rL+EdkF462dnTymCD8ZrPJHLUW/YG9Rz1trV4NW/9e18QcwYHqbbUF4X4Eye4tfsQfgCr
Dp2MIgwVgmRH66a5hp7Bqz2WFiXCbhc7pMX2ujPtnv6aQqITYB3Yoi04DBaGKZ9Vp/UYkDUq8p7i
N1Qi6ds+duyROu1+00YIv5/Cv0Qv/0co5v83iPJ/j3X+/7BEThX5/650/r+eX595/Pnv3UO8/l/1
cGn1H6JmKCqKBjq8weBr/k/nEHLmkiabqONqOkI+CoXo/yyHo4GuUThfGUvPkaH8o4H+n+Vw2fwP
fgWRCuVzvivS/6gcLv1XiNjK0FZU1iGGoS4vr4z/ok5Kv+I4IDiwwDpB6ijxL5RN++dkHGCWWUup
vpfl7CyI9FbQRZy2dEd2afyL6vW+j7WvVmnIMk77RAsvikg/hjkGBtSW2t6M3wZZe0feT4IMUqUg
Nc4f/zbE/02CdAVWmwTov3c9wf1A2xVybPQZrETlH0DTv3U9zek4mnUAG0oeZQ8llPelOYeWTkUm
mdZDLh9CxLecAc4d6M4yDqZ4WtFHHzpC8CtMz3Rb9WmEhlfujDPaAl140dG9zsXhNyjNdTDpdpLC
bSOGeWDD2VJaTNfKTpv0zYBubtuCGlZ1yHXqlqqUaNChnL9CQ0pe38jJJfXidyQA32wqnYLISj9O
onZQTPNLWekFHItpAKeXwgkNRMZqn+1HpGWQLJoTTo8gEL6/1IhDDZVMFVUwWtt8pldtbArXTFXO
yCD3i7A3wJlqnI3TuTP0kgbe0XCaJPmpVhKe1DCSflNrKDXBAkN7lIDWKTaJWIQAq4d4T6vRh1js
s6mOaHbKaatZuPXK9BlZSq/Bx8zYVKk507hDMXXOIjctw9YNUDewhS9p6Z2EW61hUMFF9Dxm1Hco
y4YwOD6LI7Q/8EXl1NeU+orcmlOKEQ1ePbk/ne7QUEqBeZSQlMCPl9mTCrN4+qxfkGyL1oK62oeZ
HG97KXi6qcGmKnYrv0Cg79msQAoD9aTNyk+alkI/4g3wXXZ82+RhDkWuhhhgMlbgih9lUDxpZIYQ
sBHoap9BXiK8Zarzta1CkwIFPeSoruyCikbzOK1p5edvoFIgzaz8WmtwlIV5DUvELgihtYeKMFWb
S9IhUSkq67ZpvkS4yXh+9tdG89pYIgGryQHSw8abqHQ/7QL+NENZtJAvC9OuQm5BuBlFQo1yuAd0
zsfChh5vqr7BU15LZhbQqou2X6A18U6jL7vVv/IF7hL2SCPSm08LspG9C5AkjbJ0gSkEtrV52mpK
yuH5KYj6D8gOAHUB6O7hE93S6wCGN9fNe3ZQs8W2auFLCc3Ts2nuYTe9Jj3teQPyMHN8n+TUG5GY
0YVet9oRtAYC5PCeJdsKMZdnEkzcQr9HL4tC91BDMZ1kuyIQfCNcnSBFvsoL2ipeAP7C6txBIJwM
1ZtUGpTJa3h94d87jm2PcE75EchNb9MT9FdO1SGWptieavkWzXfN7Dj6IWa05Eh/0u9Mg332qdbR
fqIbXIDWrl89C1tpAeCVcDhrJrgFGr6nt74J/qIBDaEScZR/PiavL5M+0GyjukMpfFTd8CGUS3mq
qCn50K9PX2Bsx1rzNhrZri+TS7k65q2g29IkvqjPCFXD+jyE9OvmbHiZus/q4hsunsaFewVvtjoY
KanBUaTBRhsWKFxLSWahYZQHkcEKUIJA/3bIrwWaKs8iwNXJSPRJ/UXOwPXIcfs+FQ0NlpoGd9pI
P/ZK24s64GQ4iiCVBdmFqTS2LnUHYR5ejRQ70FrDkbXpT4saQGOyuYkM6bOtS7ziFAsZSlhlTL/K
UYXO8cvV0TWm1W6omos4SJhAkbthhgpOnx8MiRz83A7QTk6mVdGIhxg2rEDlSCa8CA5KLm37KSO6
BQRgFWZKIxRsinpwF6Z21+mV/4RgEDDFnFkRwBg4bIYifJ0UekRpcLygeeqbJbtKO03nuqu3fZx9
NUIG8Vl0U58Vje1BzYJGp7MW7lUuPeZU5vYUQr80mZ1EhzuijJRt1sK5FA20cWaBvos0rYJLiU1I
S5K1uurvpaxXm0nYNLNBjDopFWJ5kZ/X2qeRhu8p1JE04kP5VZo5+CP4SiUmVsiAryJZb6FEZXfz
9FnK4hECek8tyvUw5ZaWwlDQmt+MDhYv7+pemqyqob1HzlocfbjugijazpL4XIujku4EPcD9luXS
7WXtx4iBtqu16iM7Nls9RIfbSJBAFcDD/WwqdHKFKyBYZSPI5EDFmPqzwJmld/qHkPe3PmuIotXV
RZbRi2lzyMzoV4doCfh4uKJ2JGyhSoKp/RyorRtn6eSoFOTj57ZXikuBxlbeBZ0TwXINRl2FHrJH
98JYYNJSMCvOIEmeKOlnuLn/cq36hKGALgqoOR3OSCgAxPszNAFG9fV2laG9lgrzrmqnH32AnVou
MoUjU9kLyVPdsi4/9QLcbRmHRL9khusoBlmnRHRzwLGJ0SUmWYsVEkWC7KhHwC9M1Y9M7qJJRA/x
u9cSVrq1OrZUb8a4cKSOoKlCMBudbiAThr6ru4F4QIZNclVJeMw9nNuNNxkRwWuLOFhbsz1Gkb6G
FwINFIH0ujmkulcWId5I3n+E/SlRPOhfakuRKfJocUFJry8KO4fbu9EF4nvJ+DLDHGRBEpHLNxsn
AlGRJM+HMrECokpqbAB/ljLnP0GFKk5V3aYApNjKAOLYS5c0j08y6u6gjaCYGn4FNJoR8AWTNvC2
XKwGKLf0zJ5Nv9XCdYWsljxQIguo2wcbOe/+ojF+WlPXPspC/+4kik1i8aE34U9p9FCMrjYQiX7N
slJ7Yc3Kpdv2MWCS9qDCP6duYWYCGaKfFHE6DHqNHljvxQDV3Dp8PmFhxnmRgGspegQRAliFUCuQ
tBDlP3kaMxvexHSQt5DNfEZyldvPgntdjdK7kpDBiceOVHyjHtKFOGQFUKqBrtwuDIJ7BJ7WIOBE
u6go50Fyea3x6aCxURpXGYzHqq0XQVMgj7KZuuW8gn0lU91synKnMMVLVyEn06KFOVcxu4op+AUi
SrpBycvQaENKhXVZKZ4WSq/RqniR5bHzIDdEMcLsL1PSXDpZPXQzSZBWvaLi8dPL9c9QhZcAvE++
8ObWSnYVJvk9VvRXpNacvB2ucKXRwyHGpCKg2pdyaKuyULfL5fWQrYyiWLlhpwOskmaat8F3F2NH
lDbPFbwZ3U1X4j9jJYPiC4CcmPPgpNnzVr/rKaJ0bRTRKql2dIbAmclunh5aavqT2BBRssNmRdk6
NTLpz36gU0YrEU/7xMqhAzbFV01Y/WU5slUT6oElSEFpaFGa6oofVHYqq1VB06lV6Xd6l8PnMf2U
VXUEIch5P72AfqRrVW+QAK8DsD+0SptDrdvtEL82FcqT6jDZXQGpi6Y2pS296s2zAgqFY/80hgXh
+/os6k8cHDdVUvICyNtClq6BYZVKB6Z6VKXHv7prwIUZ/WYI55WdCxBsKPUAuB3I7JjUdJyOdYbc
WkNzR1CjQoFKJ+qqZBfykm66Rvo25cSdiw4ZLnNGE0IpX9JV9j7iDtn1qMG/AVIa0LPTyaKxi1e0
Ss6SYMASVDtSBdo3Rp69NnXYikeDVl16EFpZddUKQtoi7XR7NJnH3GxPIhhaIZZpBjUMDyrqdN0k
JGJWmeAhYAlxZ6u+jGZwMLUqO2jtIxHVxi379M4u/C5k4h2Fk9Fq0xIoeErOMhFAQZzV57PZMVib
6PmeNclfrMikBSjkFQHSmjNNoIVggGXXUZgoBfQROvVYG/MxBRxolwj7luq4CWPzUK7cqIFINDFf
5IL6WY/bK0pfuQSHWmhUP4oe0uYxFYZTKeL6mQ0S6oRL4yhdmwF5sWD4C8rpNAX6reZEtlMRRCVu
r6Phd7qaAJ9No8qOYKYNhBteX4ZcR3jRyqRaD4Z5EUd8KrxYJDKiytUC8zeF/J6dzq1ygo6VqtA2
miZPKzAa8mcQyqLmAda5hcZHKg8JxKkQQN+1XG2tjOogesI7OSHc6LPq64nw0b+iyDTtt7G+z3Rt
hGQ6/giHcQX/aH8PwbgAncz8DAZQFw7mXyGvzpMq/A2jfgdYrD2LlR1nq+3TbJftvSNFBnN0V6q3
kLJQJFUkhkJ9IcSZP6UBueRylX5CveqWpvIF/fNGSWPRntqMHDlESs+AQmfXbtU2p1m37V+kfvW9
GrtPURmYpvaFcOKYtM1Lq+RUnabvNtV++hLndDTiFvVt5axJ6cppjQrOOdF0hKbcJGmHeEHiV3LN
vspe2UjC3zN4KGlL7i6T7oEKlhUmwLGCtoKGM7HZla26y2SYUPtZ24PNN4LZ1vvuN82RHI2XD1l1
hhfq+k8JkqXswaQtmswGaGnlHshy63al8ZUopbxu0q6wVpF0nrWPItep4Zawuaq5gWsXJdvhOb80
Tb5eCVSdG50GrEZh/zF7SL3BExfZpynFdJ5Xz3ch0nfw1B6qYfCGXEBMSdcrYtn8MczAUgflO5Hn
yZb6+LTK2g2SSjsRJr8+px1kmfoUI1WSgqJvsqq2ulIe5mp+VSBkj0BZh9N8iOpyvdzMc6zuhmYe
IUuw4/EmLmwhtZy/D0/IkacY2ZNJyKzGqF7z1MC51TKkCjr1J9RJTnREh6a8OsHw8WNGoAvrlf4W
s/SE+HnoCv1ziIQG0PDKJddii2OYr00I27bP4q8IDWFdN1Kx6cBkV8qbMpVP29DyrSzP76sohXKW
0cwimNcacrIZLu9zyFxUg/JAFJ0kOCbslpugCmQL6BQHEchxsaEQr+vGbmy7nz5gZ01SINcRTBym
MQNBuo9l8j0OPQzyhNgqdgCdDMxbCgoOrYBRN1F90Ab6NEL1E+nva7SSBRsIOzsNuUx50C1JTrsF
W8WDLVyTevUWyRfyHAakVyIjxKFisfLtvEI6Ux6CwdHpM+FVaj9aiaRdQQaVyCOrj24107xtgHEM
M5KZ0ypAGQS2bQiAJTy53pkhNz6tWpLQGlAiKCbF1zSeLypyQxb8t5xGM0JG4fQygQXjl5RoZHL2
kYnSiZJlD63gXEWcNI7TDxOd2SYJXOn5fEG7gdp/ntB9mFeq13bJeAIy1wM/zQO4ycAzE33tYm0J
Jcs+3o8VDYIhi0fPkv6RBglpbNInuynhECw0fOU5eRimP9VPpH3L90KpdlLTfNap8RBiIj29N7aS
mHEEwb9stWF8rYP3qs0eZrzQrg7ka5sG3a2JXtWQfHqkFZ/PuPCTGRrcXjT3ocoySUaDDgsx+dWy
/kJIfkbvyKlmAsYQ0Ys80uHMY/jKJ3WEIHtV635HKgZEnQlRDpJgORMjvvTPnPKz8jz2LUj4BiJe
NNWSVwIhCqJR70ZieI9rBrMJFNVtolf4pwNLiAtWLlBhFrWfiPlrFYx2XIlM9EBLEJjDUynH4Ei1
8hCPKq8LvbJWUHzIL5nSrafSfENeaA01/CExFMvM7kYJqW0Q72o52/dV8jPPIpXW5/hrRDXUK0Kx
Bl34IYfBtoPHZCsNJjit6IQkWo7MorKOjQpyUJgRzilRjDWq+uQp0uAjlKVuSjI03NrCH0auC/wf
1b5sKm0ykh+tMqCMFpoLUc6vzC5IJmjzrCGDN/UK2uEazbY7r36L0+kdsq+1oc4fOns8JH6ph0zB
ek5wgUYEeuxYWVTs+vVTqki094QwRTAivIKIkiuOBFqhUiHkajb23C84452idnRsQzKOZJFyXAXC
r/I0Zh/pmk0mcauBUNekPzqaU9WSoxVINHHZa6X2zH02iQsm+45Ci0LuD0aBInuPqL8meeyMUaa7
K8hKDPMbMSLycKuYduC5Gf6hcEvV8GVspWoZgiO605e6myFGLDp7TlqB6KhygrBUnLrWKRPollwP
TEBLKKzysPWTe+uCYTPBK57pcLjp0GvYUMMW5ICSpYaWlwbutdiegqE5qXF6afqAXr2ecsVT/goR
GCfhFG5E7bKKtAYfoQDxURbwQYrRvSUfB6S5s7VVMtgz0QrsVto1ncjvVmDfxSEodg0a4NRfBHSA
w/dsMvC4VxJSvZQSsha1btbw+1wwTzgjVCV4hIRCShUjuVTGl1yLLw3pVLjTPKUXTnXanpNnJ1l6
yoaiZzJGO8pvz5DovoZoxgqDYt/p6iacO7Clw1sfNd6qkjd90p7Sbnxv5vCzldhKnuZN03NPloa3
Kh7f025AsYPJQ5XkV5QUr1Sk10EKd5ER/5p90qDL6eRkBPEUw5Bup/RlrOqDTAjTNcN6RBt0oYDf
CDDAj4V6rc2QlJdy75ITxIsRbHrg/Q1xZa3E4VtrWt/U44spO6IEcrwjx+WaIwh7WJgLhY7sBo3W
OK7JZKw6AObSavPPtQV9BO1e1Zn91Em8yBkHe7GCg4ljRtDkylFNSIAK/TVVpo9uhjdjWCudeCMV
Sw+mKeTgK/OjnnMmqbTy9jKNEnW9jcR1K0N5ZfIo+GH6kv+bX1IZ+tF6uqmxeDSf45uygi8FMbtb
MjzE+j4J822ao18zWUHIMUL8ElPBNsZ4b5grLzUpC+QyHHgl+Y1Uy+ktJzEjSzEKuyNp+PmmKKZh
TWoLd2AusR4CSHSEkqykniLxoHcgfrHWMQ6ROqYcYonN+P5MW5/aAsChkbFS/xJE6ZSgklwIoUjo
CudKgL8zrcVXfBQ6vjNKd2JG4bXXcAmeT4gEWMpRBeEDEt4IHSA5LUmBranJLc7RY4JPo3YTBMdR
j4jxHZbVOKqk82DiKLp6L3Rfg6G9lDPzDYE4XC1qDX8mXAcT8uTkcAZyzG0oIi8EW9BUkWBuhqcn
KiyvAvi/OZPQhyPoLmrjQmFKqm2SkuOzQlPH0Gev7pTQzQPjXAsa9JEQdY5AI6Ttsswk8U0KlE2j
1Ps5azH/RdIqEoi/hPBQLdSrSPAYsX7ozWYvPeH/1mJ0WE4xoW+jXbREYf7NwW+MrnEkJZK8OQSz
nIhHlFZeuxBijL4rfkmIbwMI1/Il4xL4/QpuHnaIrOjO1DRUcWEXatCQZ8cQkUGmdV/w0V9pfT3q
D5KM5NsqTqCiMAyrKmnmeM76i9QeA+iNYLw0LwJJBNYv+ixDPl+b1bThcN7JVZZD37FsZnnuwD6o
ICI1oqQIDXeCTyo8v8Y8J5M0tdYKZlLq3OWuNPtD8HztO7Z3rSb3i/YM4nFWlRkHyF4ulG6srqZw
UWHTaSN2ULRMm0Q9znl00WY5saMZL1WSmZ0WbB3ZUUnokclRx3ek/uie0FG8eRZeL/Xvk46u6lCc
WvIbQ9TQMlmayBrLOM9GTKdVpkFRT9Yo/u2UZh+Jjdfh+LOoWqTuBkxlHKPdzKopoPpeSdN7nYe7
uNRJJYW7Z7i47ZpvQlG/Lc3nOprnx7NGwisdUnL8ufqRAD7hg7sY07M0sXsX85EU9rCuBF4x0ciW
Dq0fjpkXRugBg8TP69JbreIdEjdvGspXTiH2IkcMIV4M+AJKGcgVfTNf5HmI7ys2Cy4Y5tVL1t/y
WfkaxmEtP3MHHkyMUP0KRPVr9RQ/+rikAaU5hegYD8m73j80QT2PfQPoXP+gpkVr0CLVZS4pIE2P
LtHTqRXTXaESbBp4QEEHOF/jooslhWxv0ML/BjUbeE4Inxv5W8eK4ExhQ1pFy5Q/gfGlpjdIw3ug
h7+iPgCK5CV5Gl2asvFXY3h5CsNCjLGniLJZISYhDFYWCGQRBba/IJk/2kb8z7ubio0IYwsyWiHO
mIcOKW2uExUtM1LB53oQ3Cl20fAnIY8fZFH/BE2DHQjCB0vLDM3tjZHYW40tFR3NUIv8OGGe41zb
FiollpyjN1l2UqJMOGNX8itKCDXZcj8qxQ9tIM4fYXebUlZrzoTquCtjSrns+VpAOCNVF8iIOGuT
kiTR9CR+VyO/SMTvwIzXAPvxj8Jk2ycFDbPP+V2LNdptZbp6OArY5PKFBeicr6hHjCQ/zegXiLth
R6rkCVoPOGAxyl4XVRTjwxdDkg5Pk3/0qQz9SXswC9U2m+nXDOaPrGPw+lkhhbyatnksc8ZxnUq9
zhoMW+1IEbVBPrqPfls4XuDjppAjb+SgemsxRxik5vSLc+sga/VxmZl+0Pnw6pQn45XjUZUfetxv
qrlGRTraZ/B+pmbnIqm4jwTYCULYxbDfQqMKk0/fKRw75ep/s3cmO3Ir2Rl+Il5EcI6NF5nJnGvK
GqUNUSWpgvM8P70/drcBt2EY7qUBL3qlK3VVJhlxzj/Gf2S1vKiifSv98K7q3a8w5FHTrXvrppHm
7sL9ajr7YwDw4KF9TuLorg2bB2P50XVlgI/81iTdu9vo48hhaTjj0Qv5tuiVOfZEJI8y/tUN9p3T
g+d7rr6LXSs9GQlwB4vSYxFGFxH247UgnpA3o9j3oj67FR+qN2XMO1yvW1IUawI7NylVPpmVXYVc
P3NzaGhqKIL1+rRN4vBA3J4ip/1K3RkXiKSXSU5vjXBu2u6CnCfaDsUdzXpg8eMJmGI4rR+Nq9sr
xSvc6svwJviONnaVPyaDvmXUNm5J3X9phmorDfFSxOEKR4gXOsKCvpA/XS/eDwZhfBolzcwPNXl8
dusplKTxD1B41OR00cqIfo5odu/oMkcjPi8vk/TvWB3+xL1FDrFzg0wkAyp5Ip6a98DjR1UWDEzz
avnqtnikWkaU8BF/9EZrFaAo372p94UBHiCgFNZDYF5jep2X0nF2KsRqPZinNqnmbSdyAiIdc+fn
3UNTjB/rQZE4DH2JNb8Urn4J66NsoycSIDdV13/H/MttuOSkYNm39TfLFvFzmZyvNjMPTZfu3bx9
4DdhXeGdU85wpDxqYQ/vHhzIdEILl5+NY14nB4o9X0yM2k5Npjm27CODwc2BOIgcEtCo45viJ6dN
nliGXzzHOM8++I8e3wC7dnP91XboGKmuuFna+eoacn0t9Dl0td6Fw/BmzsDHcU217FhSwsJoWtc8
tFVHR9b80yJWeP2E+5ZPFHqBi4o4LGbqiTeeeRtWngbWMCzDXepv06UsT+Tp3Q3aJ6nKKbt9Ezsq
SCg2IollN+TqI6p1fZ9N6Ch7wsdiX+9E0lMXY/b7Fr5+s7RuS80kt4ajPYavoqUNNqwf0Pz8TYXx
L0l9/nsRz3+Oufi3/50a6P9QYQEpP/+DHqj4XTbNP+mB+O//rgeSf3kkBfmkCNvKcxiacfX9PUlI
/oWah3hhkKdVFEQexj8JghyfeCH+yLNca40d/ocgCK2QbTli/YdItfD/1SQhe41i/s+aGuESRmui
OVrDOFiJ/ksIsKkKo7MbBLu1ceXQK++KcIE1sy37UEYeCDDVYwhp6BdZBHqLtsnKk9Oe0QrET+Fi
HKiD7Y50ugRQgWdkUeX9So8lpAKT2AgmoqjSmG0SFbW++GvboRj7vdIE8kAObfIKZtPKodA5JeIA
WnMgnme5i5MJtelS+3tlKyjlafiVi4bc1+aLJMKkduhMmp/CKhsOHox6kCkoCj8mKhR6VNjpkWk8
HLGiZAWlRKUziSdDVL8bGf9cA0wL197PtaI5pPlVl+N1TA7CS56EG1l7mkmehr4j271uLtLPDbbg
khcPb6gr+/tlTP6EKqM3Fuq71KwvFbPykBnuXVrbQW56xrYxRgIozA5+xSy7Ax87zvMOFsDovSD0
p8McF1+p4RsH2xjy4+TPt6z4LUoqVywCB8eSu0+NnD/SNS5UuB6YjrNKiHvNjLrPJfntoUPtoPg9
0du5XWy9aybdbyOy3rbEM+0YIS+NtC9SWMfGm1jQ2BgDgISgCykAK8BcO+qrgtiz3mL/hVSlkPBN
SMHUyQ9IdUg5F+VNLeWjfJVx8x2mxnsx9nZQJz3c3Dz12zZ2vvuwOUwJQ1ijDDzP/Zq+aTrOJmWs
UyVhd8nSS+KVnU2VVxTgDX5x+f/j6H+V4MNr+j+cR33bNf+sT5T8hX8cSN5fknfeJJWHPBzHdfmT
vx9I6i/HcpRQLj0onEuuQB34HwpF9ZeQDJKKrB/pwWkjLPyPA8n9i9x+YQsLOouAM2H9K4E9Fs3L
/3wikbUuQLmkZZkEnHEw/ZfAnkTHXeQv68inUTcJ+lD2FQj2YuRcyGE+XaYpCXzn3WSn7sJ5Pmli
x7nOL+EgB+L/3CO7Xn3waiwGHeAMzWk/rTyyD3ZF8GPmFwSicfx4LRVZnmRCiiuceYtzsnX4oAXX
eB/7u9Ix33onexHsCx2qkW0UuYIGqWm9Xfu9Jmi5H2Nsp1b8NNj507RQmaZNk/s87q9UnH+GftdR
Ww7mS9XsT9+o2DXHGtU+AJLzmOfSZfdvUDyrEoS0gkBpCucwpegBOnoGtNybZf+e5UuzaQb1TdIS
0Riu7k4EsaJb2OZuIe9RlKLtDtXJiUMsnlbDulaRSjrbCtWB10XHCbSPOuRzRH0k+uJX2E3px7cR
VVWhHhDqIC9WrsvKFNVAdkHkdfVdWy23DCGB60b3bDhveVGHB6lTCBJQRav7sN2xDoyBGgM34bxx
kEZnEskdSPU+blwYavE8cZLvvLkpDinoTx6GX3KtQPGb8epUnr81LL/edaLvdwZ8ealhLbuGDvHM
itA1j67asWGFm6LA2GubCwWfUXkyCXWjMQJzTx8XxzWLNVHessurTGwHf9SEokJJzMibhIUbcelK
xnV/fhoE5V2xtVzjyJC7vPtNRRba+s74thakKzCAXG4p/eHNrLAnW6V59UChg6JLaJjVBbHAYK0U
E9IiExHUpLBKNiEHKegT14zRLtTDnOskRD04mMtJxeLVyukBTYnwpE1FMucClCoEwlu/Q3RFFuxy
GNrWOHLZHxuTf8mhxGsxhr09Jximo1PZcXH6AzoxL6Hmj5pwclF7Nd1LioCnUNEj4d28qPOQa1DX
6PP7DOlA1fFRmwD9A9xXZVAS6CEI2Azae/LNQu2theIFy9JHQuWQN4Hwb0SnFOKfBsFAEYGR+lHg
u+mfkHbWk9R1DRlBRbAhy/ZQxFTedoqcT9ol90DmyGy7wdmjS3kU1gRtaDJM2GlGuo+vfuYM6+BR
nXxVS/IerQt6H8YSgztKGi+g0xxrhEWX8DQhSQ2lnVEQMW4nTw9b6vKsc80iw/AMcRYSxQrKYxJf
Z2DqGDPFlkMIL6vCzk5L40aKHFSZu0BrNmm558Vhka6T3WBV0OfJWrs06H0uUGBM6IYN1HGsM/64
q52RC52+8ompJUpadCNe+zLDufRm9wQb5x8k6fkd2h5aNq1fpklw9ewOR4AX8qZqQbFmBX4OMWa4
U/5YojAj+3/ES5U1MDPxEpSCtNmWTkdq2TriZcysDQTYYGVQEtcCsR/M1KJxp4u3PsrlOaxu00I3
mivS14Svb8d2kx4aET+5Df4BtKHIVlfapi75G256r4mfnTTKyap3moOBRmCVzGKtHyjIWHoTQpJG
Zoabg+toczd7UKi1jz6hjhFOFGH60WbyM1IMU4mV/85AHxDKRCgpEjQkvTLMnaXOiTLawAxDsktc
EGff1ftpEA9zU9/I5iPRPxqJ+/DCuzp5b6yKqrUkOVVm9Ntyo8tQs4ECPXvbHIeL47DZejp5MY0e
CTJHwyasCVSMffde5rbY9xQX+eAAu0Kl8dGNkze7tLCAaF4jn1GSxonkMwSvOZsw0jLd9/VY3ccm
nrIkNC7lQL0wR+HJbOVDQqKENfCUGYCDEuEI8O5QHbgW3rPUtFbIZBuqsKE6Z/rsQ19tQ9PzYHxW
R8dylsMaZiyi29STIpBKTRssSZBOdU7BL+kPcrdDTNZ738RQUUVNdw3MXVSNYKAszFR1NRfhG9BQ
HNK+D3vbVckjUB3TVoG2MYstUqi6CBFX5BwRpRucQPIuJJh909reuwTBPCjmcd61mum8yk+LA3OE
rLSRFArWaDGbTt7lAE00XQ8xrZMPjVv7O8Mn8HIGkmyorPUN2z6Q1u5vYwg0k0qot9h9d6C9bIT7
G0vUxWnoiMVFa7HvZn2t5y6m7QkI42/FC5ZzK4f6W9RRQ88QefVpJq6DXeB2wd6yTMZX6SgIW+Ss
LS0HsmIWbJyWB0n1j0n/tycrOwvLgZItCXlo5gej4Nqk/ODBrUk/n8djaCxUD4fO89hdfXKVz11C
CPZsmoiHvCnouoQK7woFiCrgHDgYoJwmAJusmRFjkaDgGCTsM83v1aaTHSzmNAfL7OmTarFXlVb+
wOvgH6bQ+u7srFprj35EdMrvLJuUqLZ6ipslkHU67NAohVs9jwcGnwMp492u05a/o6gKbyMdnhz0
H4TFQ2MMDZ6u2MlpV4siMEpEp4Tdn6pFRBTE7hhFiCsP1zKOXlwi8jH66dRlzlGWhjrkgpOh99XO
6y0CkBaEEF1SbcasfBWyIe+j4CmI4vgWlUVyRr5c7x1JZ2FIX2yuW8TkFZk1Ho+1jxhUtk/mSMPb
tAR2qR91nQAiYifN+1e7Co29Rb8LWO6X5bSCFYe9LtV9jY6/zvfg9mwK6URpM/0RyntlykqN5H0O
1bQZ+QYi5ohKSCOIoCmFcD4tJ5s2fth/ei2S9MK/Tr7XUiRrHMfaOzWxT1Um9oG4/hwi89oCGj16
bXTtSvk+NwnNxgOaRwQep2rovCCdCM8ri3sLKCiIO3kpYs6AtQe3WSGfdPZxStjQmRNug+2wKkXn
iWpgkgTyjsScgaIUzsHdXGb62K2A/+g+UvWMZyImrxXR/6GOsAPwTZj7CetVQTdlg2Qz6HXmb8fe
pFJo8PZcSgajkpscQw9FPzqVLD4O4+gflZsvm7QOQpKvr46m2TUe9VsTyn6f5BntMuH8gxkm2bQa
NXiVxO8LM1CrYTAigv+Pxqphj9uC4bH4NofhWWuUNqY1v4q2BfAUGuHg8AgKvWx7E21WKsaPZcz9
wEotlE91hSRlnFHM5doh4Tyar8va62J2y1nTQRCMSODglnkvia4VV+pI3KMlc31XmMmlIWCIVrBw
WzdRRbVpPjJvZN52jopiaxj2cMjc+B7uwTzadhmRpgJSOnA8sEQYd3U799uRlgXXpEcwYnPfmtpS
txBFld2DqFFk+9YV4rUTbyLX+jx5J9UVyZ4CY3ol7JbA4K46TZJwdAwDrOauc5atbjdzWb2ULRN8
1SBZyuCa9+AfKN04g3es+EXlETjjqjelx9/GpK82gMA+ciWV0YqMejfjAllobk+MZtrULkI7066I
8OjaB4PW8yJv92Tm8OU8tEjKNITSdqrpqml3sW6zE2LWP7qiBaCsejgZG4Gb+5l3IgTWDZ/NaESa
QM9fSckUcbXwpI3zTpsWxsK+eFyLlbZOJQEIF4LN0Xp0YXZcnOwd7wrePBXGG9HY5c4Ww0Hpae+p
cnign9nnoU3vFvrsY9Bbf+Gotdp6Jcxgu2l5xrKnJMdbnqODsOmyEdal4HLfaAMl/MjJERpc/lK3
5jkT+CpTouaYySwpil1qT5yOSRNRXcDxOCpI3C6C0/C95heyeIErYxlB70e0Zt6wTfijfNT1MYOP
OSTRZRbIntsU4i50Lc4StzzbK6CSVOcelOU0qv5omMS2N57NudfxoWFFCloG5IA3BUp1iD5KcYJm
KfZdS7OOXTTfNGCT69Ehz4BeUoE9md8OGnNkOuW8QccNIs7Rl/aCcxnLAXzaNi9W2X1qF8HgzR9i
oBgkpKnA60tKiyMI9mR50UXro/lWEQA3evD1U1BRfJYxngH0jMRVF3t8VUjmMWOaPiUcOT+vZ6h3
O+m+0prbcJRHq16Jsjz8Xufspu6+s8KIOGtsYHHQjF0ZmeS5qmNvhQT62PAFjp/clo7MenMUjHKo
liLbfzNr6OMidM/erAfY04GNTT7PCGaC3KaZblbWY2p890X3c6r1KWE/cD1Oc6TpFPVe6pnSED+/
ZiU1mFPUXfk4y4tfFIe8wYbQWfanwYZMbLR/8hJt79vRxoajb+SVk9TdUDHUjp++Wr79cDrAUi/b
rClplo7XzmSafig7rEZWrWxbW8yDMRTaZmpzdPEGEFA9W1wSy89sMI7SNjLC9eUZMfk2HZP6NKR+
eEgq3rImfDVaOw26Ec2BcTekq7K6EcO286xADVJtC6u+tYw+O91VD1Fk+cfRpHXD9biCG2Q24oeV
u/w0VrXs8IcQReY5f6Zx5v83X6kISf2QOXq0ftBGwNAD2ZDPUXca8orE3UrceqnGi8Naq9t+2Bce
pUp5sZwmnfxuBLptbzQJkvQiVPqz8UGz70OWYFezGpuriC6ufKhZi7qnxurIJPTta1q691p5/UNm
oWKRwthWHBhb/4XTUO3QeXHhLDgj/bShUkjLKgDy3Y3D+BpOSbFD1+huC7dheWsapF4zW3EyiPTS
YAcNzH76jXelPLiDeS87J73kVbc3Bz08tkz4D/XwIonWimVCpwYPVECPFQVF1vSr9/x7w5aPLVJq
WO++m86WgVw006W8mh7irzkcb5YhXv2u/GU18YhhgTOl5zgLh6MhljhonAZ7IS+Pn/u/Sq9hKshe
jaXjvGn7N8YYjOQmk4MT+bioVszQUsjfbQopuOD9E3468oiX6aEviY2PRXjAyPppsGYgvjlS7XJM
bGmgKMr3TcaXmtMWZnjzQ+8YBCrPiO9aJztboqzwHPWwsjpMLqY+LIvNZpWjTJ9tdlcDbHkyi+qs
7aI6TD1+TYnmCWmoSXNX7z8jUe7o+aoBDOj2aGT6gzy96tRXUR4k8Ysx2tZRd9azie5My5yicWvK
gw7zJzLF9mhMLUKZihCK6epNuXGv7xKv4scphiIQlbrGU0T2ZuPJfXxe6EfnRe+e6niRd93s7iuf
xRHddstBl95heEBDzHcOelSTn6ujELN9cpnNyAxidKZuRJeYJb0ssJ0Rp+n6pbix76BGxIDWFczw
fkqnIePMmqZUbaOxuhNVc7E69yEpV2lz6r2nM+nCCWwBF2U077VCgGR7CZ24E0FmTFz7CJ/SUllX
2/WvVmK+qZlJagayaXpm8aF22Q4SHBK6P7V8A3vX0Eef/y2OhFJHPMEqAagMofoTPUEg8cye+15t
I0TnGwc2CvEjJkKTDW9AeJhmEz0CtWEjDms+FlRDm2qKk6NPfZrQ4Wny94ZjHw1k9dptv1u4aFug
Ix30yPoGIk6XJ2bR4Y7qyVM2TPfIDzj17QW/UlexSyXhh0biuInDcN4O43yyPFHQCWdcMld99ll/
t7QzoWLTdO4JnsAxsYmAO6kLat5zJJiGx1nm/0kpUcGYVAU2ix6R8YAuuU0KZiX1TmHNqRw1IG3D
o4Vk+ezLFAU2FTbbuiUPxB1eKTtgXzy2kAA7e4m5xwfvyY2nc8txhZvLyPdLUz+MDMA0HjEJezhm
AkdPuwajwr5WyQSsxq8WcpnTYk7nTCFvnQ9FrTIYgJSOxShOM1Ic5HPxlFg8TqWX/FRjt48M8VQW
voNweQCPCP0fg8Zl13PHhXNDtgIq2l0xEQzTNNmF1sZ9CP9EF6776Tin0ep/+n10LIr+1WUNYVKL
z0kpTx7dzPGCj0nlRAq1vLEjV3wqXVhmq2Q7tH7TF0OD0DFeOvoY6ARsBG6eZDrz41GwXmJos322
4unLn0fF7eEGDoJkVAmyZNFCRpnR3TRw8mJv3rqGd2dAzG9sh5qAiVM09w+l22OGNHqTksXkY26j
7xl6hEqa7Hcexu+w8P3Z8Z1vw/Yo4/N3UyI/UkVZdoabZNMaLf1+SGN3U4X5Klehs7f77pLjuyAg
5uJXHeFeQ30/RDUC+LUGynfb6JCnDakoXLCi19hO0/Tm6Ykkk0WfrRS8UFXV8EBR0JYCqr1eexEk
+sudPTGfJC6Z2p2Ek/b0Q+GzyVXoQjeDxFaBrZBMET9kHrd3g6b5q/LFZwI1s+ORAZgIty0mFFuY
L55RJ1QzcQA0NqR7VzBv+ealw8mMboWW7dSJTs4SX5xBPWX0xp5tNf5KH82sKD4shio3ulnAUSj6
RLiro/y571TAfJ+e+jl8s0dOBtPHV1gQQgGbTACjqEEudLUERZtGXGfvWkL1q37YjZTPYYpzqfwE
b+aiwwqrkGJLTNMJurtz6Cjkh/w3S/9L1O2bOYTh2aD2DWyvluvr6Ua/Pa94xi79ZfcIDd2UzySP
zn30VuNntUJxmGsDOaiDypwJn5KP7ylD5aIN86OCWCwR+/DIQ5zpjmcPCt4yB2Pbr/VNPFRXD6jV
SDjmPI+Qbh97PqhKsRy7XtIoNBLN3Jx4ixE9Gv4PfpzmwJe/M2V5KEMGdUurwLPlycLDoXJeQTws
wsBCafSUBxXKgZ0ax0un+flIS7hKO6F8veZpTsvq11JyIMVmh1l15OKU8+9ULxUtwBbJrK6NVqP/
RqNG+KxpYtnwHKoz57OYlvogB2Fs0qWA9/Qd/sUEsaZj4HMmo8BLL12VSUY89XvWFhqkITvU48Co
GKJGSjkEvEiMT+iizTNvOWngpf3hAy/cq9nDRW1PSPbdPlBqm0qgwdYZ6nPe17u2c3EQlui+0/HH
1NQ/XTB6462mXMwYUQziXTq2uN+X+HEwupiTajUzJK801rfbtQTJ4ocAA//QPf19nv/l1fMPPeH+
ydPwNXXfhs5hfBdICjMnxnCHrLe36mAwaeVSqrgrsEoJ4Nxt53MaM+Txto7mV1P9CSMLdKWDK8gF
yhFKDWmyek16VPbmiJc6bH7QCYki2kR0mbeA0+QlYH8fNdCFfKo68bsGr89tE/EtwvMyOXTGcp0H
cYuaEPt6+d7aVM0NfSrIytK7ScqjLskSWunZusBnB2hr8rzA+HTFeLH5NF7szM2JLsxWu+0ZjBmF
T7nN+tnbt0ltUa/a/swnh/3BUyTDKDYbjEijpZbLPIZnrlNOhpWnTTE67DEFibl5H0Qhzw12YyHp
bjcK98lJ01NYrN+vYyoOv+kegGLZ+ktONZpLAQWyptQybmaec1VwnGwdwKMpJW+4d57856lEeQK6
9ukbkj1l/ukk8yXn0HHS6ODYnFyF0nz+zyM6znqxHjM5HiuT7Z9J1OrtQwp0U64ZEqVb37fRLlYa
7Tuqyfobd1XQjDSyKYuFFNzl5MjmYnJnSUs9lKn55SJxGkWT7wbZ7TG6753W0UEbu+ZmuB9Ljoc0
P+AALJ+7osUbn+gBy8Z9Fh3HLAd50QAeIv/O/Dndgidc484kukzX2TX2+VVJBvPxrzx4i/8jHBRK
vhHlE1709khbzdYETXkuTJNEjCg6WDMCaT55w5ojegxSdZrVg2v34y5KXArUSrpV+hJ8SjPcYNld
49GRmBWXtoF6HpjVp2TxMRXOjwn036i6+pSK/HUJhXfzC+RkDq3Gmdk91oDk5yzGMdXnbXGIvGUt
+fIA1r0fppj6u6aUh8aJ7ooC9XruQ4gMbfJjJDevdg4cLCh0stK65D5fk5hfGm+wcIEBhCDcC3ct
H0bbi6M7Rs9hLfItQqyHtQ0eEb197e3+cWpJ9VZmG3QIfIIwV8lB/wDxxylEvEAEZUc0y/SFx+Kb
EiP0oO10zMPx3W/anV9Zf3wK45Rf8PPXxKAvfXSvkdzvqiU5wTXJ6zJ1P7y2ukvH3AoyPf2kO4le
3JFBxagezCQ/gmlgc9Owdo3d4GIx56MfpcQ3l9ND2wLU5M54qGQxBHnihCtk+jIVKnqsJo6YiRv9
CKhNz8u8sQF0b7UxQdWUO0cQl7GkF83SBgHrqqBPc4dS1MYJojjcwY3aPgB4lmmcgcoOGvrYuepX
etU6jsJBy9282pnxOUN5yD7/g4n8hL8XS9kW30wZETA2ohm1mKkqLG0nq6aKFVOos1v8Hvx2oE68
5nkdYLu+nk0Kai5GyixXWuO5yNBIFLjPqypeZyMbhRfthVT5epuR623HZfQ4JDGSE01/UtJfPVpQ
najPn6p8JFFt4u9qiF88BRjV/OjOm91b1htNUHaai7urrABVLDNfBy4pje+iLz+VmM2ji8sbpZ0C
vkvrq50PAyuV/RqKzgWaSaiCymNrW0fYUSzX/GXVVNXG2Wwe0MVGW+FN7YMUHvReTBpjLv1AyZ6J
rW3HAAg5GBpMx2IzZfyUlQtDu4z1cLKc9FMxv8u8OUhJhe0EKN8P8efguDEYTL2yDMm7CbS+GS1K
S3ziQThXsKNp8WsuvUOVYG5oG6s8MG5faycmBzxzEKKRIJPzKZ7IYDh2jsLJovhNuKuI3wtXOCHn
DEzFMSqxFKE5pNjZoxc+jO9D3z/FfvhC28+7o+urbCogYDN5gD/b9L3Ob50j7vOG06SZxjNnPtHn
g6RuyvM/C3d0rq5d3JV2hNzd4reXTQKVrPF92Qz3Ib4XZZxsR9/jZAFMN9or62V8ijUQSC+cH6P8
W82oyYWc0qyRZp+8Ox7JBFwpo7Se0Bf8tsva5FktHnDKdSXPf2yazbnokQS77lVFLaU6WIUrD6/r
agOxoAjCOPlVxI0Z+HXMwTTilitk/IxOo906KuIx66uW9xuvKUzpycnsU+EISjbVdEiyG3TFu+rI
kYgmIDdv0SYkGrB3LV1ynw3EjlUBWBvlJc0VsElsyIxJ3NIZfpzUDGCiqWtYUFxKQuPbqX3KI5wf
T030oDRS8Zj9QqTJT96FYTt48bMRx+EqLVSHyXkyHOx0eKHI/s18/BYzF9cg3gefrsV2AgzVsAd2
FCu2hzKDYceswBgix0LufSf9mCM8nSzv0262yI7LC+/BVeYHXKIKOimuVhbfeidB3NoL4CVzSc7F
LE5AjDS2W5qaS6PCQhWF1qOiDd6fjB+N4pxoYK22GPgROSEkFSDYj/HIsIeffN5SDs1uG33HI7Lx
ECXJ6Fs/XTMnCNYzGO508Tn0ixPgV4c1WlBKgIi0p5FLcuLjRYH2a1HoyjI1XGOjwiRrdehhK+tD
8WS0dvYWNSyisRpJNkZ+HujYzjh/d4btQ8l7vdiNLtuBIeCjixgfZqR/WHhPfaCKNjm7/gNCKiDj
KqIZdp73uVH/LgSjGOLwekPmRRUQVAGkF03zPnQL8haMmosuCq8md9cypIEXgwwIqOmsrKKLzxSj
7DYM0obdOZwJal6Wialr1oE3dZSMs3h6tbv3sx9p6olTVlvJoU+r5yY0oLeLNfaOMKW0YveMwMzI
PQlDfNbzi5VIueXny1evoyp/Nbp/KSImWSadcsd3IcF4hUPEhXhuXabsdjCwqeNzyzGxwYaQUJXm
4HmCdLEz4Q7EG9C6x85vvC4NsGM9usE0Zy4cfFQG6FMAOTZW2P1uMR2N/UBm7chgRZt9HKRE8hCU
COzuhgLcyG86mMrsFKYVkXcTrLqDPhYnLGXlAklJ/DzX/XJwk/bAMmgeuQqdIQ9EQ8uxjWh6JoW6
y8dj06RcOUW7hiAtFMiqYjksEW4UU/Vin2m97KVCQ9cY8jBJowWfr+h5LX5NExo415jVVtsVc2+v
sShhYxJzYZxTodJ9Se0DyM+qjLBBHiOsg4hbKE/PY2cXkb8FNoSgaJhb8GQbwxvAKsaa1cgM90jf
ux3aTMBezvPpM25QRlhplAihLd+xl5AmhB5hH0+aPEZnJkU8/dO5cjzLxV75va9w4ZmcyuWphOLZ
jJ0j76Z0fsJXz0B+iabswgiMgCB2b7Gy/gxh6sNjybPZnYslwdKcGd1uWXUIXV6zrmc6fyD47DeC
nmlfhO8xIWZbozfOPqZuwig6e1/3p65p/TNmvWljURoIQacqFDRk2bRSP8wm9dJ13gdzw1Q0RYw3
Pa9kQip4n6dwzx54w6orrFaCXFfehpwfqqw8zpx6/lJkA0Qym++MdSjJxum6FMavpSjNwKPOmN+a
VQmCn63SuOcrqC/iVBHoAjvAZ78My3lOsWMPkjO5kHZAQsZnvGwTTKJ3I0TZTg2Qs2k+Y6Kc3gcP
gx9hXceoqtDcJwPuj9URaE6TuTot+4PqJPFxLYNNWz41doSrIC3Pi2PHhylbNSMDQp0q8YiNKjmm
kGvzHO2H2SUqRQzEfVnte8RtsPPDBJbTsnBg3ZXb2SAfw1kAgDEqgHOAL088BSlxLh0sphWjse1G
90PnsJxZ1aABWJJj4rDU4BdykaVhSyLiQMHc7JqMMCcYL9qw6Iac2szdzYoIogpzXFCbYNo3Fbbt
c1m/El1xjZboavfJElToyXT1MPu5c+iN/hvMqg6WsAINthi008TcJ3P4O29solrV+JricR5sFB81
tMhQLYwuPux5ks58OVhigyj6MF2nuXgZNz4BYo4ApOkckyewWLpLbeTBPLzJjC5s1mEKmCce8UTG
zgl9xJkOzUUwjiGJ3bQxPiar82+t29wsrFJJ6lEFyd0a2KhrQAKpvc72dYTzP2kUxhgAShdtVaSr
p7GrIKgkSA+bAghLmTyq0MACA91HrTusoAULaZQ4+mqD3k141WwnyAoKqjkgWsfcgRY3uyaIEVXc
kiRlwrXlv7N3JruRI1GW/ZVC71kwmnFc9MadPrtmhRTShtDIeZ6M/Po6zCqgqtFooGtfm0QiIyNC
krvT7L1777k30qFRD70cvEMa7fyElxmj3yFx5cOYTC0bjIEFSjxfTB5AZtVcsmG5iVoFF2/I3bMd
2zVqB4UV0nYCeEgfCTCqQwzYCzbLNdYTwP3pwypLiLW5eJoGf7qio9Kkzgk1ELbb9optTJsuN5BT
wPbDtdgSpT7OBvfqsJ92XS/OmdVfoorrA46KVaZMx51nAjbomK/cAixpvX6ELJONmmEDOQ3j5NMv
3Bdig3TLwQTZ2kZF13z+VNfR7zy42bYqRrlLTRJx4YCLhBfWC+X0jkvryzDaD6vhhyxKxVGZtag6
qoK8kZ+0FaudjGqcgfZPpzI6CiuQS0aYP3RhmRxa3kQZ5z2bfOvG1b/VmsriymuyljNQUqtm3rdp
RhjdaVhwxH7MnuY82rq6C8nzbxyPFz+tjvlcPM7jeMj8fA8R4FNbnckZlTzXHb5Q7qtbnhsjibrx
3NgxOfQuvGTprRgtrr0OvaS5SXFc6li3ElllE8kEwpoYubV1o73D5PBuF7Qrcv0DiLcazBWL5dDB
LudkWxz4bLvqBMCY1XLyOvUf2TC/l4X9NLTD0aXDFqAUMcSVDbWDbwfoBHhaRAetX5e3I9Q71pR9
fYgNd9dJ5W/NjNfAg/1xyZqJz76jzql4aBNeTSRodkR15B4IfV8aScRU80UGoTctJFzQ5WqoMDgi
UHXZ2kf7NLFOiLnDIXXm7DJw+o0WZrqwHwDDxTJl9iFVowX/bcELK7hCBrYlrKDqP8bJvPVtdvxU
cB+lA812dFjtWVMJJ9eK/pQVpZjO2Q6r+jBO8NGSQRR46Oqd4S3mNS3h/Tp63LUevwusCKOfkrdD
CkPSI8Bk9urNafKzjQcY69fXLISxE4U+gJkKzzWXN9fZW9GhcQC4GHn5Kk32yLgsOy/qTl02PGF2
3EsvLDA3Oa+8A7otZd3ffqLv3Wj4blzYGrkQ8Um7l5rn7g3DmUGAWUzuEZeM4H4w3aQ1xE0jZkqU
CHWmtcAuLorXKXHOfBco5XBhcV+iQvfZ1WsJ8MN1C1BN7gyJvmZayRWeWUNuj+V4Xh7DKP1Ml5Fu
3s46lNXM7RxsCvQ5xV2mDpba9U/JxOJTA8khYOjjHGXOgJBUmUFnNXqXr8MCeUSuqmhJTguhsGqx
J7seuQpd5Q8Si9kSz83JnevjzOfhaHozjw+hz726HWtGb3wbq6jlfmRtxR1swa+AyMssXYhPh4uS
UcaBMJZqW/vJBwvS6RK3jzl7Z7uLoV8usQcb0D1GpqV2xtowbYURPj8n9Q/Cv3hzTE648O7dWt7M
jea9bVrNdTHS3WwT+13um7ymy94xIT+1zNXYGcgNRvG5i9WwhR35BzAVmWzuaBy4UAr342qVSNyP
Out5FeKRWLUwD0QVbYZKohZdjU7bO9VVzhaVbw3V9tCUdKTfxmR5yitjPNgmdm8D2KRpTOO+50xP
mcYOlHIVO8y1hIKL8GaVWd2qW5ObW5BO9BOtx1lllMNzvaqRtk+Dqpm2Ade/B5vzOxCsoJEekkvo
x8ZtiWvvqEYMfXb+2UOWDWxHw/rzQxLLXOO20nIXRKh+CSyTDxbycdByz/FLcTTa8aHw3d/1F/I0
1ccMNJCWmhrYypPnWJLGW3CHLMT1+zKjjTPnwADkusO9iG8y49DwILhV6gcr7XIotcYw436kJlcE
9tXgrEsbE52VU0C7uoK82L9lP06tCySbMFR465EeHUqUWhgZTjL+NdO6W583QcU7FRiEee0qwo7k
2SCKNz3vgqLL2WypGyh+rfIQMso8ACYM6Wvu6n2EWxqQhXhJtIbA1TB/RZqip7lmUrWBNYyktpmi
opvc6/L9ZFrPYbKCSaJIbTtLXtiuVzhCpWK3YMMmgGXZDN1tHRUoLaEbcuKfM51eLM95ilqIX4tz
O/eIA2HaDGjawynGXHrE+8E3V8h6X1nCDBrDO3BxdnFR5jSfH3LZZqdeW3vLtrDXLpoSu3JlZYEq
9wfoHEoYe+GaR12O4qDS/tmhqjpnx3+s8SrCTwCwMJZoE9zLeUA0gU+K/DKbgzy6jX1O7ZX5wAV0
E7e+DKDO8I6Q+b4d+ydbwwKe8f/vlQ0azSMZUDVteujG8RUP1jFigFu6kkfE3LK3NQO0TdP4yqA4
nhoZveQJ6NOQ784eYfSyRd6C3EXK8/wPGQoZ1MbIIWAW3bkL1W4mu4tcQxt7L2+rzI2uvH0fSjuT
zPGOE9gzJbRTKY/1gIKMtkBsmV0ks7i/bR2nueE6ixUC0kc/qYwEV4o64zNs9I4X7VfSZI/VukGR
+UrdR2ss3vueGKcdlSj5xsPAKxhg+6TcJAtnGgoM6XjHJGeyBUq39b2x2kV+QWucE+IcKU6JwkPW
uqciHOvboRhr4iBGfIiITMV89XvfqWjuKfJHDjHKAZxxN0f1yVnqcwz8sNeUHElzwrTjcZQ1AIkV
q12S1QL6Wd6/kBrGJOMi1UEp21eoJtWAiay25QMUGyIIxD4RvYGBgC3whxs1I6GuF2lW787rsNoD
lvYEeO5qjZ2LcUPKI3oFjOJOTLtQoL1MihPOad6YM75FXtenBrx9KuSfsESETgqdYUFZAlC4KNEx
LgMOEW4EdMfjCl+cbedXgK4j7INaYCtmgLxONUoU2p1xVmXmsgD1n0oDtEjdnJjrTL6k6RvDM4aw
YWfOHktTVkJlV+3lLEm3ZNNlUvZ9bRAPc1nuzvJZ4Z8h9qfNWxdS5cYlsMOtqi0xPfaYl1aLz+Rl
9y3O463M+Sw5bDwK+LRRj+0ySqf3Pmt5liocXPh8ARgNQagM6z6tG3nS0mYLECoeVGX3JMoB5NNX
FsesLyJt7Kv8I4Myyt6iOdRZdwVl3J4ToVljRfMNeIBPU2TXsILTxaTwWXjgCSdjODmdzg4oRBBo
/BycZcauZsk4NqtWkMGQuMIzk0dB4ci3YcQtG2KJdyoF8zV9r+IFKY2kAe49DLf9MlPl4IX4SIMq
hUlDuzjFiL28tMufQREoMcK4ZRV9O/VesSfpcWsKE8N66f2k0xAfPMkYvSzYYGLp50FvtBfQXuAY
KyI8qvo2ZqLjloCkYbMwZJu7yMDOW4rvcmsOEh3ezUpBt3HxXnQv3JbkkWcgwC0Pcz3Hs2qBKIdm
bXDK5czqyS6OsGSuSWY5rHkjpZHKJllvq2T8Yoll7/KY1Az4Baax9gP9W+Dm/8iX3HmYyuIEYBQo
DEBBrpvZ52JAfEZvebP1A3Q3cDhYeNqZw5YjBYySX9+xPH1xAL5LKe+gQb0lRZM9ZY7f028izUMH
knYyX6OJCFaYMCaF3l6C890mid/uQay2gJtRPcJuggcY/caMrUni3Lih8LZ+ATwYEuwY2BzcoV2c
GrYMQRWlxwyTuJ463tUZ+BubPWXQL358ZD6jGJNhiK16yRuy7m+NgguZKWa8aF4TQZBQ1GEqPTDf
uNGWfScL2LGTfOANOt1Xenc5sUFesL6TGtGHbl1x+EsPh2NWNFJaPEyrXGLss8itlgM+YO12bsAo
TKuI/enkFiXqJYzLKUYka3zyV6Yt+lNplDdJxuY8syxmxcZmGAUag22BRVizfIetMhkqOzRaXxyg
C9xZeQbjKhHtzTKdo3heOEnJ+szhroi7gxWunw+vNTfOVNbHBUm8MEAcKU1uqTSHaj/NFdakTxkP
6tANCdsAu0vpZYN6bNWsk5VZ3kJYQp7I8EkN7rXSqoLaiIg7hkRho+YwFgz3sQ/oQ/otRSTTvEfX
5NOkx3xn1+mvZ+BHHAc7u9pLE14s3qpT4t71rfvaSBd6pNPQFhetk13HGydN05cwIhvl6OSJM4X/
gnu/HwBK5VpB1wPUesocOKW1DdN0aC7qzmTBBErACaaiLo7tulOyqiev8SAiLcW3zZvUpjI1KE2f
se9uns38PjLIBYQSQ5mZBjJJ7l0x2cwz/ntn5Le+D7GLRwFqyfBigvjWuejOEVDQIBL1l5UQKklD
9wmMKSSaLN2JSaitv/j5TkMHw2/HqW552HNnYX8LTu9pYlMwNxwvFqiDXWwAHypNsvzut2XX+xYY
2DZHgjlwHa8Wi9IPkhuVP5xDC5NhPjdr1gIjrxD0qCLFMsStTMtqz1qyhSATnzOTUR2bKGZjP2Ot
PsA1b2z9prycLFHDXjWGTBv0szaPuW0Euiz9c2l8CwPbajSiRbvZWD5O4Mm8oeE6n0E76f3xflDw
acoZ+iuOowLR9VkspzZ3HwoVG0GYOdvUAAYX8hJLv9olGpccWRjUfqyOxz6dDI4uWKChruZrNKIH
lr6m6YY20rAFVdaIgeR31DQX00j3CKucV11Plz0Rs6MfUvqaFUdWIvRPoM4e5Rx+RamzxS+FqKr0
d9RAHSqJWzND4xZ39Opub3HVCzcq91nV3VbuYiOKjeMN1EDqXHJUG3MkyuU14kaaGrSl+ydqk/u6
xnUr2FLRnQAdwQZRlRVDdd8kxY3Ve7gCYBLiYnAPsnoqUjEHM8FrB6sYIS7uUBpbg279+MqMxg01
aihtqS3Q4aI6ckg12/8JNf//hJoloeL/d6h5U3V0rvzLR/n9L8efdvmJqjEp/w/mwvr7/yPjTGuK
dHxucpYrgA748BP+PeNs2v/qKqEsn8UEjknoZP+Zcbb/Vbo20WNhczVj9UhzC+NzH//v/wV0waaU
mZwzQAYh6GL572ScpWn9Xz0srm16oB1M6QsWjf9koP9Lk4kr51xjWMT7j7L8gD0iTAaSR1HzB1WQ
xUDZ/I0UXMPGGcJTnefneZqmR6IY6oYAwj6J4H4XXedfBvh1mLplcYyyGmY5vRTLIL76uOKOO6v2
6s9Ee5kzjw2AWoB2EAXztTXFLyJxVwEpWUjsxTzPHidA9psEvjbTZXsXd5joao8uMSf7an32Lg79
S2MFFnS2n/AmfWJsZ9qZM3XK8vuky8anriK0HMa1DJwSblMUjy/Wirq0K11s26JUgZzqew064bKk
HNYpK13ak0wQa5ieuIiPTw7lD1zJkhQhiNuX5w2nZnbcczu3PuRk7CkIjCVswgsGn/mO4eVHZwl+
eVh419aMMAcQHuRvtLu7fpg0pOwyPFkFuFsdf9gYI6osel3qaXyNCyZmaDVWkv1C2bnJlrwIPIt9
HKRn/ANRc+4ILhVeIbFyU/tSpUdhDBCVc7yy6E8F8vJ9gisv05H4U4iTbZDOzklpHQ3FGeNV1n22
gryZCQ4eS8ZtIuNoWyzZvJc5fR0tEJlS5s4u7ZI/Fn81mVT/ufA7siZsYALHfHAqBJBC+JhfPcqw
zAWesZ43zHFUolXZd5WE0064GWAixYNvmnGG5mOIznnsYjaCWZTowJCsNEo3D3l2zQ+Zm8ZbkB84
fwF777iRwbkE0IA26Xk4etFOC6/rzjKaLlI5P1hSwk3RfYUT6cwSTRam9zDC6E9SbolE1pxizva8
jO3eWTprl7PHg32YUmhQN6RXzUezGaerWbeIMnOC/4JVaDOJZ0MTCo2iGo/eUtZBiV6yG8fqjM5U
7KIKUreu5R0GeI43e0AOYcfndTgX6vUuIF28yxUFAHul8vRIhnhlxiaUqCV2d4qxMhCDosa21vF+
HF3z4Kcl467PLaeJm+UO50y+7frfUtd0FRjWwl6DpLUatLnrvLq8pmRsrxU37H05VoK8eebdm6He
8cEezo5jgFcSaYCxh/RhVX7AusOTlITzJSaXw2BY31sqnm73fehbJydGjfa7rtnlAwrZ0BR01LQF
m7q66S5e0d24iPx1o44CDzm50+EjntmeeJl8c9yRm0HMbRRFt/RndQCwGAWNIuNNd8tdwVZyEWwt
6jX+r5vpOe8nY99P8jXGinpq1xXdXEfOZlowCSht//GKRgR5p73DFKOcL76fnTxzefWj+cMaMRwb
SMubanTeiVbxtOmoBnJPc5P9qNTrgyLOHbbSOhib5tMO2+iip/uyF8v9ULGdtNWuthkx3Zp9Sdpa
FH0b6QMpuPQDO8B5ISS9V0VTn2zhvXBBPdVdXb9YgwswX63Ka26DoO2i+znSYheSXPImyLOyWi92
rvHg5eVbq8ZT6YbLt10sjzBiik+zzH8criZqTJpH8vwdl9DyxY7L6mxEpUsArztZeYmoJyTwprJ4
91TyhVyfectTHSOTzUN9Y/dU/TljiNrA3jCLDDoNxrLb0wAFhXZYrU0AaXh2U2u4uFeuyKjLoaKT
zejVNie1iQKLYLre2nSCDz3EUdao7gHVOdslrYm6oSBL4LJObMRBdhYIhFN1yv+q1gA/FpqaNPQM
8IKb0mb41QNmphbT5Lby12dCioiLGouI2i/fU7PyAgP+tJ0TozpXS/aSuS4iI68yY7oY91l/FVV+
UxV+f5y9kSU2TQGIQMRf2upP3CQPbQTUj6UkYu5wZI/xO4fzk2sngQiX8kiS/wih9Ji13relIbpG
Yf9XTmTSTOcp9c3HeoXiYEEI2zKIHVSsmXsRyy3eHW3y6OD8qieL0h7MsE1JZUFbsd234/ZZKE3y
msz9NY9IF/SCAdycpmNsaiJDBQNpV50527ayqoOh9UEl2iKAdhWihQXhzAJxbpjGFegGz43fwtkn
CSMZ+ZajQ+SXzETMq22aH168EklXqSUUe8Uz41AKE92kcG7TjiLrYlBHv08e2dEi2TZq5jGY7U98
QOt9viRnQ2CsxsRwzFkoM+GmgRHx9m3gNPIwNl+tgVhL2RLaNErzo2PNkijnAj0QVEHTG8Gkiq+u
bRIOO4QDUcTRfvAhjoo6hkZfUVqwkAKPBrgkU2YiJk7/JAea+7EmyJHjWy/09BlPOkRSQGJmmXNf
c7G4WIV1D8ljO+LUCMgqLKcoXX5i3OxaZN8Ywwkg5h2PKnZkY0HfVWHr19pQUMOWp9Q2yBB5xW/T
+9+VZmLM5RBgZTzVJR1f1L99uAt9kl5YsZTIk51jhLcWRoWNY0Bm8ev2FYf+SQu7P+dvXmJ9O30O
8d1hAcyPyONZHbCvf0srELGWa0MX1v9g0+qHURBjN/HfEU4RC4AoFmftkEATMTggGICwqLmIwT57
6mxYtbTubDg9N6TxHBJhQQdeDlOR7HLvSHtAccaBzaV9/pJ2+3fwF5gI7jCfmtD4EVZ8H2p1TRtW
FB0UrkDKc2Xkxcnk08qKoO+u0y5t0VB87bBXCXGjgJXdQqd5SRZkRcaToC6GdFflqY+NuD9mAJyQ
IRD5FgQirHALEkkVXtNUCe4KfE1VA+W9bV74SdwNPmySbLK+ymGS+Gpz4HBefQQaFm9kQcmFP1e0
RtjqhzQrZyodB6yy56MW04cpvONI6njb9uQRG+ArrWk/tXAKXWdi+auYgkH2YE4HnR+W90rUALig
YLHKfcHgn24rmHVPDTRWqx3oquhxRZjw5gcWAKvrj2aHHtDnAoEv0GM9bnSf/cGfAUu/ZtvguWSN
u/YX26LcdFRLQYGJcDfAg2R5gnEhO4yt3LoKLAhYk/lg2KsZqfcDC+1sl3o8lPpiDRloeUiIrre2
eu3ToT8DuryMLbkb5ZGZtaU6ca06dPk0sp2J263oqndRyt0ci3TfmO0Pg+G0d8TPpBiGxTyD2QXb
ei4gXtbrAmNaopqShIWyVpKV+fp/+yQX/BkWXkf991K8hVzISJfhARQNahnxOqmhU5nEn4uSHI7b
4q4LS6xdunYRYbLx07bgXsaxvG2K5l0t3lH5+oY1yTeh/4joOjZsViEkbPVzy8fOro3PxrYfu5Ym
j7R0nj18NfvBNPF22smMH7b/DsfqO117pCqTB2DbNX+spmjP87K2JCmEgI3dU11lJ6BC05Pn6Vdb
pU/htRPleOxIChqL/M084R0A0JtxxRtXhQ+eI1AMc0HQJLx1WtBcI1ca7fp8t9FNbHiB33o4zsb8
RGVVsrWkDQYSOuagLazR6T35HiSTEppIfDMtawJgLj79yPV246J3okx/hz6IOrxhpGKrxWmOsOqv
uQl7vDJbHGGFfd/W/p3iwh1P3oyiGeFs9fBlG8tDmTn3hm/snWzZaZ6iSTjM27qV8bZJzXeM41ZC
atZlw9zE0UPEygVGMavvHkhjEtTK/8rHbpc3y+fUZ3eNME6IbbeQWtn/kuAKbAyqYae+PbWmqxb/
c4nxjYz2OWpJtpLJ8rdOFr9k3fJgNNRQsATYeomRAK6/CDIe5DcQQoiX3gFKrSrOFrg4w0jplEMH
Fva5aT+ny5+6kDdopnz/IYnf8qAqSvGiKWJBUfGBcsGBeOFHxJcXsytKudtby0jKJOEXkwSsd/JM
K427n/zwBLhofaOFD5W/vI8hY1NTfrBE/kRmf3at9mAXdrvhLgTNtYt5MQvxzlPyYa4aWkAMPLgg
5EibO/ZJ9N774HbJWYTvZar0Je8RHsYRFYnl/6c9q3R1mHF/D5F1uNPoxoegQD8HLORiA2cB4W0l
JVnxgD8z/e0XfcUpPB3m7DBZBlVpNU8CBrNHwTm/S0P2Si5OPablk4HnMrBlClObzEYrQGOtN29t
zh858OeALOiTNa7VMeh7Rd0FSGH4UFq6cU2kx7rlT55ysDDpzAEaKdLtlbNvm+HPVCD3esQ2C5PF
GshZZxc+s4m+rZPOvFgOxI40vYs0p2jqeo+giw+FwmWY1LclhG5OiqCaiifFuenR5IHbj7cBz4nb
aV74lqoSXRlACk9Q+zbEHroRMSmJQfFoU2OaH+BDv2RZdw+7+FNp7FzL6D5XNOVcIun/wfkJRw96
RtCElbGrDb7xnpFY+MWhCxNnY+lB7zEtVWlDfhc3gjl5tDvwOLydXSxZ3vRKp9DyVFFesOBuuZmJ
hlgRwGA9s22M2QvTJbppjMghD2Mf2CDCGemmgc+Fl7CkZZM2tTBxXLcdg9GPMCv7/g/uBOtlMv3y
XCwpJ89Nuxj60LZgQvJwjYz+c3ltSX3nYDycpX0AM0odYtUel2gCbWzaB+HyOe8989KX9FXCdaK/
ZrZ/ARXHQ39LgD/dTwoXO8cMXOm837PrJusz0NwX3nilCZar6m8Kjdm6tIfTLJLiCDmkD2amLWKk
SYyHn24/vm+PpFCEmVho4wp1J9pIOh4oS0PdSF1u3037aA/cR1mKtxlIDhW9haQpNmbiHvWC1d50
/G8SsOyTqeNJDY7WEu/dxsYDYxLx3QpTf5tJ/Dp5TCdEECCousST+EzjUIuXT9VyAA3cj7eTZb3L
2S/2MWsbZujyns3iGjIjz+v59V9jpDSgYdzKh1NaS7wonoPLg6v/vmUzWGIGUQnPD7uV+/WR72ft
MRdZ0Pdxgouq/A0j1t68eHt7hFuXFjtMjg2zHWpEYcy/FdJV45CKySu6uChb26qadhtPpu9uqtZz
rv4g/YTxCR2Q3tgTaQjY9AVm8yqyT2aT+LhjB4ugtrmTNCHexEW/S1FlUt6YceW+l5bbbiurq54n
h2XsKBlKqgLPnc6rZOd68NaE6EgyY4tcIK2IiVGIrxpOVIb8n1Xrv1lYXLxyvgzMKxyx+Kj1xV9g
sqVr0jN3/aeRB5fMsI8NwjuFS3vjcvYAdA9/RasezILpudHVX+ZDNHHsRT07cca+iFap/Bk8JaOC
Br+1hM1fCPsIzAULot7GsMES/RZ37zf9jYdlnBCbS0qXnKS78lOgaMy4DmnM+aQTzln32YFaSToM
RYJ23pCs76bi95TNTDIqyb6aQuI9gRlEU+l81im25NGAubdyqLL5xjV5yHZ+fq5t/TJiCfHztNg4
kvSWNtTr0D6MK4GIJ10cdKXmHe7xDpsx3PP4/svXDKgzIVSfQjna9H149UK3Oi2zQ2/BmKLdePvK
mNfWDADVi/7U0Mhu6vV+WjbjpUVkZIG/dRJM1YnOAAy4cVBg3+KMzLxd08vobhy/HIc9RDnyfouW
cQ/sTe77cr3Yxe9uqHu2GRM549rZS0GQvNe/loM2EXN5AvkUH1JhPEe5Wx/JpmeQ6xajP8RTriBN
9N3Ote1zT4J415m4u4rmgeipuIS2y1oLg4mMygSefgmGLcysMwrEeVHme8VfuR35IXOs8TKak7n3
wwnSYE1ZQeR42HGq3l5v7HVwxdVAeipaq0NXQIEJfxY3DpiiJbZ3HgChTTq0HA4UK1S6/PWWLzFK
vcvyLnuM/HFn2V+N0UyHPmUIcETBmZjhMHMxrWZj+OypFntumLypOH4s/GzZO6AkTmlhstl3KBej
eHDTN3W4Ve4+bEPuxvwcyH4Q2O/IU4RE6qll8Odk2UwsSjd8RWhSXB4jSWZOI7+2Mv+Ay4cYUrcn
YTCG4gQjZxYnWFty/2M2eS/J/MWcIWJ5y8Imhq8yNf1XRjAu3wU0KEIVclAcgKyqZCzaQGRdTQtN
fs0oSHKpx9iI0XgxJS4Lw8Qv1mEMU/MV6sk3CZDxthx+hgm6R+2kT6oPiw164z7mo75LpikmHcDL
0fO4HJOIAs27PENOQr6ft9xGbBv9dIpprIqnjwidvOmZIVTi/Rk6vuMWRDVok/yvmPiOy6L+6HBM
m/b4BJ3QPjQ+xjwIIYLn8rZYO59tFKhybMPdkD8SoLB2S41yAxDgtljiZG+4nKVyufeatt+PTvmW
RO53AuAvWUjI0aOyXsdYWU447NyxcNZ4A8U2PtPT1AlKd+rLPKMdhr2j2NaQwBwGTKC8QHNRErcQ
06/DGeIzRDlRQQ7NOcwuS0VrJJXgeuvKkL8sivv66Bbl3uAdEnhKd6yXwkCVHLwcwFju2ug5n6O/
Hu+eoCvm975Rr7xv+YEUq3NrAelraZZvs3kuwwi6it/9HbjUuWyXtnhXgowbnSbyE0Bc2WD0eBP0
c/Bs06snTrwrSq8KFbRL9Ipax2X4kQkUGsHAnNmpwC3J+Sju1Uhr+R0QLlbmMIrxa9NJ2dPNnHAB
8uYORpZDlLksIVEyW310+FuRH9mFDEx7SzPuzNb+W0XlaxniyKm5UHppjJcmUm/S4PLBdRqz5zi/
tY1xi15+R5VPAI+eiK93y4gDL2B9n/p9SqW1BwFAcA2rcRFV/i/YEejwvTns3GI4TVYycH1e9inw
j2COVRSAf7oOdQQcS9pfaP/YJyAK2DPGJ9trMgpR7K8kexZSADPyuTBoOg5qyum3YWlIVGhqu6Lp
/M8/Uqfy+NtHiZ+FPXSS/OTrBqaRGTp6F1JP8WrU/MHpKu1rtj+Ry9rTmrAeDOR36ETau5rE4Yi3
uKjVFBhuFEKMomc0hiupfboh+wpjGNbpopkufuIiGvKsD4pS/nVn9dT3a/0OQrGD3ripBjyAsfc6
20Z+mBxMo5NC2fTdi12pr6yXeqvC2uPhWF8azvMNsaHnxJ2ewpmFT2FBEx2js7BGZjiBDt6srFCv
/RVpc882ku9h5G5b9Q3nFncJinm+dEvXlAcuLkppKk698rPBpIHZ2s5oPLmjKx7DCkbuTd/59/GY
PiUG7gmmfbCY2b3KogcqUQ7oSrRkVBHuRp834xbsEXwu2mECv6ezCV4duLJquzqb8WyZm9nbJ2gZ
W5Mo0zaS7Iz7MTx7pYGtpEnA6HiGCFjNN4m1bHEBeJtdPrv4u0ZBZ3DtHnvHf5DEnsm/Lnx+TOPF
9/mULzzNFpcXq8YnsTVFAjq3vRLZhd6zluwUtPDmbveyUDMRGfU3RZntFt83CWF0q9pTK3uLCF0Z
Py21CeMle4LnIjcTaTXcDgd3tH6GimRGxieblmz+xAIPlpxv/ymwsdrxGyIrIVvupLNsKb99NbSg
l8PqPxynuCyyejU7am5Z9nwQVJegO6vT6HFznY6ZHtg6tfKn9qaNrA0kc2Yd/LQJ5rZ0V0R+ApUL
l17W4wRPln1kZaAKpvItxXCFw0v8rqsDi4XpJn2IbFab1j+VOR7zaGgf6tb/EEW6bIEyPoaNDho7
e+u4O5WrV8NWBeRcbsjIKC6IEx45Ze99a9pl74mn12CB069woU6ckY0nuv6pKs3msu4/whyBz+Kn
HkYYLAvadJ2OHxoeKvpZlHVrNv2zHT4KbjEUUPNO7dmM4OMfNmMy/hZAcNDpYR6Akr46MUpPDc6X
tX+86xx+LZqT58nEu0CjaVMs+2zAjcUxzMocXsK2CN9m30+3buOtVQsRPcB3uT+wPSZmjd1igAal
5LbOvU8vX44WCfRtzblB6BDchpGw3p6pCiJgysRv0wsXoQSJDOTrvFzgvWG0glTp5OE9l3GINX5+
XWDHm7kFVzbDiiVTZnHJ+5RYUkCpycWs8YEt6lugKLMFDA2I8+F58ta0uwEaZYLyyAbzQViccrLD
SNAu9sEZMe3FYTETt6meDJF+RHF05xHCwo7BOWmmXYZfkdoRc2ta5Z8KxyMUpOK3UPxLXPOrMmUM
F/mNjesZXBMv2jxORDTGH4rr+FBMHKgiNW7cPv3onXteWvlv7J3HcuNKm23f5c7xBxIegzshCXpS
pLw0QUiqErxNIGGevhdOm+jRjdvznp1TJalEEkB+Zu+1eQoDLNRawmhnE5yWlr+xCr/9+/0D52ZD
79G4ETuDpvyTF+Qx+XKAAeKaL+PIGaXCMWcovsVih/hRUhbJ7J76v22U/M0mGxU7QaIm+qGpzo4A
659gI35UBdws6i20ZWV/oLbol4EEUVeY/LQq5E7DCuBT93Qx77JfMsqIliZZ+6rS6KHn8kH6lfOA
WlQ4KTFgnFw95ZVxTRznQaYumEze2ilHJ8VVyANs+bDYhK5Ya3/otfY+IS9HnqfwPjnUdnmUUmhj
Rh9QjM1aewSseCIlA/d0vVzXHi4QPdYug9ec9dn/SADurKaF75u0CWRC8zrk9k7luc5BbGYB4KxN
rPDJjD6wkZLD36+nU0NCNOKup7nRqmABeI85n7sY9c+hkiklsTluMJAQP9qMB5YFONStD1yMLL2w
qVVLAzfU8aaaeW2goBZMbfFY2JNiBkux6T6HcXfqJHdS1XVeQB7xlz6SQqm7ITDknPd54GnFZOYp
loCGl4y2uuEwKgXRjDoZeDl/wjWcz+Y3TTPN/CKedJAvjp3D5Ir/SBz7xwgRo6WSJzxuQsKZSPnN
h2dFZus/tytba1gOLqxqVxZPPitUJw5hRdj3LibnJnOzeGtKsJ50CttZLzWaNFQ2NE3o0oh5kKzA
EEL9qfKFEGFVWw2dDhJObnpf5rtZjNB+fRdbDFyE7ZI3HcZVdvA/7IT4sMSM35oZQjLd2bod1Big
4LzXIFqn/laVPOXxprwUIcG5sfNHz8KnpGtunlHpdEGsNyp++URqAG5iAg0qXr/l0iJnWvTlmOiT
qoR83yrR1nOkfaXo0F3MW1hTOywRIclJFgrSyLNeHagOK5vY5MDXMSt2Ep5dE6qffnTWOnuHbelN
byOxYlpyQOydrDgl6aZSc5cORGF0PiI4UJ6ti/WRFNxWS59dJMoJhjoDUyKTiv2s0oeBpqUD8rKZ
zeZcg0OZwpv0qbExzWzRNuobO3kwFCP5wiJoTPmXpPXPrgof5to7lS3HYTYC8cCOmRgftVcyStHO
LcHSJ86woC2sv7lvk0mvd8NafORww2MsGGtq1A9A1HCa/Fc0dNdsZvajS2JUjYm7mAjTrVs+evgR
d3bm7EXrkCWGtwoM37gqjZqGMU9mUrzxfk+rTosRvhZqXE/SvDK6+m7ZS20sO32aQQeRucVIop/d
T6ECDfqfwEVAv8A+VCOJnKF13xwNPHc7J/e2Vtp9KP11oL8HzFM/zC03ozU7X2at9qWvTbyh+W0c
DOcYY8dEzTJyd1KppQY4B4E4SwjjJopvtBgUclym3AdU++581HzVrvuYYCuXW2bo5LRvMSkwsOzW
TkM9DWriib31exth486RlOwdmTyiIzhrWnWWUPohKEwRS6BiHfec+sszV3fw6s6J81yjXahiIHGd
PUI98Yf3tsV5lxBUi5f0G0hVC9EGM5vrI97Ekx90Bbt4ZPp0GCTHBzP8w8p40T28M36l05B7Kt50
YgtsdVgn9j43eeI1Ma4Qq8U8pmb9wYbiBnmflx+Pj2lUH+uZoVkzWesy0j/LHoy/IlqJIUcE6YCa
06q0Lwk1kPkcLBxGC+CuI2BlxJdL33pLUyb4pgYRcIz4Y8KjuFZeklxifwQ8tdXpHyxfxNDXAUVM
llvDKaBWN0JzOzkOgO0R3ooiLbIA5Oia8Ger/grkktux9LgDtGZnFVlOi5+3QaEw4y/lLmg3JkmE
cJOmfCpTdNcYWxkF1vN+cnkYmrhhnAEwUepaRPJxgmRIl+16fE2mRJAEjssk7or/1d79/f/S3qGD
+39o7/7mX20vkdf987MOf/7v/zH4hn8X25nGv1xXd32XTBHLN+g9/lNsZ5j/Eq5n8seO67qmZfI3
/xEoYjv8lUCKhxfW1k3Gqf8ltrPFvwzbgS5pWAjkEMf9jwJFXGGSsPTfI44IUbJND7SSz6rfFMJa
IpD+m9iu8ZG4Jfw7G0oCoxhZ4z6hB3AvbKAePBcwiTlY8BAXX2OklXc3N35mEBJEmGJ6S+F0UiZi
9leo23vRGqec3PkwiT9Ds2WKbI/dlgARkgSftNaj8Ru0PXj6py7sbvnk2CzUHw1u63VoTuioSvh9
AN4wRHE+Swtsuq1992a7JDZ+G6BWR0zyZcUMzp9Cd+NIEr310X2Sc2cEDfjyzVAnrBQMFOt+jTrW
MvuVlqLNA2sBXoWNqYY9g+edfDP8NN4SeA9/0H2tPJe2qOjg2zTcde00hetMtx7M6LOEkxd2RPTl
rvrT3En/btdSEkpmJMa+stMdYLZw120WhiXAsS25tg2zu+5PY6cvUytvQ/k9OD1USjMwhY2IygZc
FA9VIHQyzmNTBAx4j+bAaSORD6/7wdzP/bI+B4HlG/jsLCYGqnjtHAf1kzTPVYO5HahxBKxzNWZk
IgKBPUqd09RKpyPgU6L55p+MdJbU9/4SjqchRpIWVvF2pTaiY/2ShNFhqKu35RPJ8/DXKlk0UbOT
A24lR+gVOCrc4dPyTuhB9UBTr6WYf991ArG2etQx6ALMPpFFVw2/ghSU9di3D1Utb63noNExboDz
2Egz1Q58rT1XeuB2YYOhFhdKuTDwm3o8vRaKKWqJ12A9ubQ7rvYMbIRGmXLf4GDobbGeBmY57PPf
Qqd+HBe8EwkG7HGxhnpyfKan3KeJw66QL1yVmvk8tqxpTaIV0f3ovf0Vh1m/t9rmmEzMgfpWnXyP
PTrrgmUlqd3Y31QBgT9JUI/0e9Ga9SObUZMpAYyuSxjKGxKGq6kloF4eqhl9vtYi9RkT2j4I595O
gq6pQ48PlK1smMzfmhc9EIqNb2uwgdJVxXdt43qx41s5oDpAaI2Ih0CGTWljjCTcg1RMyz0TlY2o
X3QsFaMjbQqOk6IibcFfjkWYZNIETzRoVBlR/+qFpQ4Tivsuj+0PM/TeBVfbLml0OBDYNjzBOkRf
WD3pTy8O05T+GdsItBCG49bD0YtB6lnEHZkLialxvXj4idiLek6ItWwgYy9W1sjILMaK3CfssMAz
pDSgdxl3ew1W5NrwBoyv06uwh27dJqO1m73F5cyajDihVW6EcyCXg1vFgN4HPflp7C7e2n1C4kqm
E9Q5OT+TyryT78/Gyfmc3MQ6K5SpR7RQQSgUygJpwomcNdx2k75hxGo+6NWxSmvshYaY1kXM+El3
GwrgbeckFdarqWKWOaSbivWA2Y3gvER5V2YpF3PGMkdn/9oN8YTA0b5bQ8MajcdArFVIKSbzWXdI
NcDXawfM4p+AsEnHhPqEBS1r/JOjgSGzWXrXv+Rzhw+s1s5jSogx7TehitYbxbweKNmfNG2KThVL
6Gmehmen9F6mroFXVNnfyTzbR7g/gWlpNgas4b0movYEX9PGQgTiwvXIQRTxoJ06kJZ7LtgDmonu
3Az+eJxSInY6OuvMtPCp9zk9EQ3xxgZjCqvrXvs1XA0lige/bbaMItKdUaACTiMiPDJ+IdoNbJDz
r92I+VAjKEPiH2/KMO2hzABvQ8xnV00a5B1UAy1G/IJsuWFflb01y6VbJs0ri/Iv5KkzLgQIcqBS
HW/oz6Fa4HikCJft3O+xQ5PjkgN7BYG8zki9gDb1HAPlpkjcaVVxrvq7HY6YTdcd9ON1kYZ/B5+p
osrxNzBoW3ojPJDMmLeCr9h0bn01ROzuq8g7ycmuN87IDsUXI40u4CHPZ7UD1iHcgVVyohNbRJR0
otmK9uj6PLlzmwkgNTyAwRhGD2w4kJRvULp5ABJj6cElWANwr0bYPqyRrSBu5wPhF1h4GBOv1NBL
6GUVGuX2M0kb+tjInHaW17/N1fg2NZYMehtA+4BJs0caNRpouQzhg7qRYJq6qX3Th5r3gFzlJo0I
zVx8phVP2FqYr1HjYI/uKLa92L5w+F0rZdSPU/5dengtkH8PV6KuHodEOxZ8tGheEMcVuJ2KdmV+
164Z7eRsI1xNG34HDehO1Bj9AR78Hrn/Q9OHzs0Xzh+s5MokgsDjo4b1VFyK0KcMVsbaqkJ/gx9z
lcXM2T3LqB+KhDIgabLXRrJfiHxaL4hne1kR2E0Ger+xv5XRZ+uQe6Oc1XTyU/6v2NGGsM5U5Xvu
ju427f2TRGUT2CStY8buVxbOZ1bOwLzDIrtgu3Z3tl3derfu9lVobmTqTVtfA5ZOkFkwSnv8xq+f
5kDp/dZZVHfQG8viiViPakchvGsY6HH0OmQyeiAxZiln7IkR2Vhtfag+NS6A00AMWmTmxQOSVXvd
GPp+rCaDDB91x5pf3NhS7FwfblOEdnZjTfEP8NEIFp331/HscC3y/mjWtbFT6EENSDQ7NhMfYVvD
MqjHO+cbfC6zI+G8Zxju6z1OIJWREcNaL5I4OUNH33Iiy+MsOIWZdJwlsy4dXPbGzRoSIIa/9bIH
ABvQPc+N+TgsL8jWoTNEUUuuViUf9MQWl9K1mxUbj/eUrPMK2kDOkYLGgYUdypFfFtRoKPJPZYiz
SjiTXUCYSI+ro18r6HMOSCFYvUdL0OsayEr/iSfAm57Hm8YIfzwNFW7eu+oUlmWzlkNFri3bdxEZ
f3jefbShDhNoyTJuGU7QocMj6giiIrS2KfPXqq0scl+b+uRG01HUQ39lvdGhCSIMQ+/MhdGQWps+
ku9i4BldJRk+VtZZuBUfwVqozWjOzSHWo51IcuvmjYAJ/Zn8sihKTdhDhgHieuDLZY2fuTQg5FdF
uvZ73AXZIluFb7quk+ugTAKKHbIjbE1/CA3EuB3rAliZ86FnpjVlY8N13hcBWGDh9LdszqJ9Kf0N
dqkQMDJ/3VvG75iha8CYue9TudWscjxAKWA+jWV328VNg40X5RHOUHkUmr/wfhzqhhntRoOHGjwH
3SoqLHt6Voo4nmhJkgRNOCX9xHlv/BZ0/LxAUC2WfoddPQWGV0Qcx/q8yVT21ZujtrJSEPJRuqgK
nFrBLGN/7kXtypXDvCf9IQtm9mM8j8zDWD/k9OQPFGdYxUC1MCvdz4hPzqOZb+u5lWc/0oMGojI3
SHrRTUgwKk/iG/syxs8MGhMrlqcKHpBXZPFxhuK9I4TUBdGIBrWJ3X6tgzveIoMM7GbigFTdj4xs
th7QzhK9WfLBcwYajUwZguOUJprB5UtrJBxMC8x5Uoe5fp4459elu2ewk23NkmJwbEfG1ezjneWE
yUfrt9GG25CV56h1HvwKm5rKrjKsv4fegjbZsl1hAeHOAbf4AX8Jc3/XPoTQePi43r30gn833Cf6
wEccQ5QjT2/jJzxYWSTmLKI5ElgCLw7ZNjxoNpPQfvyawxHQZ6LtZ4PUhtLnBVgYSpDZfeYiUafx
2YIUs6nTJg683r47tQhqL2523oxZqEum++ACbGHiLaMkPSJCeYymbtrK2LaOdQ/CtEiG7xYwHQiu
fNiaHSBdnKRB6ow5GKARbFKH0cAlnC9k0bBpVPfeopRfodI2cAoTMl5hWJxBDa1oGfejrPfkjBy0
BNWzMfVkyceOf8l2pYpg0st6DNKouZUlfC0hGWFgTukQogNIJgrrOAIVYp0oJtBP1KEJidkGPI0L
FodAk3m67cgwMRGt7qqsU+tZasm5QBCtAclZFTHC0DbvOZENg/VUkrPhL0k4mM2trlDPzC16TCO0
dnWEKL81ZLT4mInAIgpbIZDVzcnf6Eh60JElE2EV8XX2RiIHWBaYtsVaTHX9JcJ1C3VuO5m6JC3W
5epwm882RHnC3iYkIM2/AskGA2MQv4KNggvLnc+EHEa7TBQ/NnOvsUATzFySgLCdmYOQhu5aIFGZ
NkzjxEZhoFpFlvaU2NUbMZt9oBP2iuMg+06B+kyYJnjsosgD1xeYHW1YqpodRLuXwtaBo3vglL3R
JDKCvmAzA/De0I5lC/MJaCme8NLKol0oJ6o/NGQuQ+xmbobHGZ+9YQOT6gCNrdN2xHrtd2+t5zHp
duKvviXkCBvunrxJDWgo8okxi62g87rnotLHg1/enFZWe+oviLHsQXIDJl3xbNN0MDK0qT0d/zqO
8b12WJLHSLdXSlPXBb8FpDEo6OlZ1zfPac59XxZHe4zejJYYncxz3ICBcZBH8Yg2DC9YpucP0I0a
yqeNZ8z9rvMobk0fL5L0ir0InR2oHrQHRfLi1zGfOLrowXD/aJjOKC+R5AlEf2aefbiq20DFeYrV
9N6FC2+1vkxlvdUMDNSezoNzfrb88NVLEf71cffo6T7dHaTsVpnHyTFrjl7G1mF5ZcG7ipx/dHXN
m4xMkrlcbefg25a9yNfTVIUBkStpnSEyo8yGfUTihEtww6Bvpj722fWmEeI2+q+kOBErZW14LIXI
r/zA4yxMc/OYe2SlKRyU5DZr8ybH3xJ70zuraWzVEuuvn4PsjbxgGmFlQc6zJ+sVBd2r47LB1gZz
PlIwHqoeUU/jkdWhEedUVz7i/rT66lJmtnk5OhvfxM5W9JDdNczKBUeKGF/qeTKZIULyaVXx5njZ
I4+d90GdoT/iw8K659Jh8OoSf68r91h5xQ+3EA0X2lJGBQgMKOj3/3x1lYKMJcYDZ6NOTFhiIHph
/11fEK74m9yFtSX7nu/geUZzTpZHmtXBQfV+cdYkZuxRxyaN3Y7GEHGdGJfsz2Tk2TGklIaz5yOG
f7Z0GvLYc7FdhBLbMZmWQhXXMNEYb+bWu94n7aGo5B/hNdaqSBkCyaHeDyWZl7KDsILe4IkHy85W
lr1L0CVm4WzfZU0Yn2yZS/mMs/9R7XEWqOtfo1BXsuqnG4PyjBwKPBpZUA7ReBZ9emLzoACtsgwR
CARMieVL8TJdrUIiZT3oDu1gnGMYqSPV8v3WXffLHYZEaAp98Qdgfr8WSXKsUMV0GiuuGPpeOYcl
8pjmXjWQ0mK/g8u2RKYU2d0cipvvgSs3Ot4BtqZMpkHvDb3A+VTzENMCsofyfdRMm5IZ/MoNTW/l
6eZHDQJmr1G5bXVgZeR9+X9rBxvVLFr0wyPgvKlV4uirPwksj+usiT0w9ShIrYtUnIDYWj5DgC18
T3TO+/ICRA8mI7ELZpU+F3R4kMZpnqb4IgSJ4LbxghiCjUjmv+Bf2PXzrPOE6SmEqKN7MtEY2awd
FHAbPXVxtBvpJcV0lRc4xnTWzFtrmNAUnLpU8HCc8nzNIp/4KfGr8DaExLuQRLqjkDy19PRzrz64
O4pgtprjwF9kC3oob21w7LNgjvbFCoppVNZsI0HiS5ad6hFrqRJO0Kbuq2e0+xaXYixMRIbTA63h
xtZFEE8ja2DJ1pAQoNJX5To3FP2EFVS2upthCLwoxTCWeQcrRmHfmjyPrNxjMua567o8VHq9JDgG
dlUshhJgll4Gy2AtDfkISJ1OtePinNuNisvzpB1mtlQHi3ndiM44GojG0BohIZtV+8qkEU+sVzCo
R4/B497N5JuEqAWoA4tAVNbpGlA+mZ8+lKmUERgiP3s9RSktu86qiDZ6oY8th40oM4Yp3p0GNr4S
uwVsYehwlZJj6CVJddUN95T3Rf4waO09r7tgcoRzmUMkugYV9Mmx54Nu1PNJkJ9soAeIhouZoDho
+mzv2OlRIC5Z8ePYRuO5QwrixziofS7lQu263keWGCJstGfE2XPSfvfYBbajx6GUu8aXS/j0kz3G
a5nO8wa7grURgAARZ+B3bK0xGCT20C5lQdrXpjoW0/SQpjh6jKRw13MeVhcGtuweRSx4dKD8WBw+
bhPeFETLrWS4y0i46NDtJxTl1CaudL7iplTnvDt5I8oc47WuCzhAzvgw9A0/BREIl4MqSIYmoxpU
enjM3VfG2+oC5+IdZS+yH0O7YwqBBmYVN8GxyO+JA4/Z9DYlTZfSHwuSybwk62lvp9lB2CKjjVVw
RbApung6HpG5OpWT/8pEGUOPWpgp4Gd4c+NDYohL5eiSa67d2JyDK9OtEyT7qONyeQVY6wYJmcO8
Tc6yCFzPfcSysY0aLFSwgTi7v3gi+0d/mveJ0vuVgbQxmDkl0CdyXBnSo/2whhM5pzyGkd6DejTD
TYkqCuuv3KPZZEQYkQ8GRsndtmxrV47NR+pkkrqZy+mKOP8UK2YcI3fHDh3AV6WKc8Svs+ESe+Kb
cQpaER3GMMEetGzMTdpoY9g0d07RzZ+aLK56Wzw1rBYvGqKaIiJcjxhofTun1qOKFVNgIpcROe/a
zPa3+tw4zJOanmyJ4uS6tbzaVvHcdC+6joJFd5eIWi3ZJwB1N5pp7MsiPE1JVW5EgsIhRFiW1RXY
ZPBmwZx9TarDzp3gEkka0gMAC9krIKFbb/aw04toywuSF12nwDaY9CLrJQIUm8HA8LVdK9PH62F1
oK4NwsPEhCdO4PRgDumE49FWM0mBM9aomK5t7YC48ZPQw2eOi0x0LCeq8TDksr+FYNXXU2evCRK5
YVfDSYuNZO2g5s1hORtV0u96rAIrD4kGGiWGZTJh+zHb4d0Y9XsDF7cfSKjxXvBjs/bWyRWb8cXB
I4iOtSb+IFd59uiJ88H81Sh2yAYbLrZlfBouaR3LipGciFO7NK2q4dNvKvuCF0Udp3b81sbmMUXf
jIlQoyiFzLVrLe1x6thsdq1ISNBJ/a003ssyxekyItdCPxoTYcAopE0QDoRtRsRx+QxS3D/o5i2C
tUtetnEoCcNbxyMTNiLCiezt5ksurL2ezNB8VOkFY/pseIZ+uNkTZTBt1kPcJo8kdZ5UjgAMhexV
0PSu69p9L2r1i6xMrOw8bzYM0znEmA5YUyIPZpShaiVGiQdRio9SAbCukzjZi4USPlsz3SNBEMe2
xHczIFkK6KLXWgZXrsrly+gK1Gb0txifLu3QP8J1MrZGZl+NFh0rKgVn3VoTsPZw0LcgAwmaN97a
Mbu3CvWhWTtHL68wRw+UYzXDRs49vHa+d6zzMNmb/yB9U42oRpsJ0tDwfJ679Vy2O0o5xaOvs/Y2
tmf0NO1m8srHliWNPRhmIHzWQrBY2LEXf3EonZR1JEcE/gTu42COqdyIICOZiITelWd77wyhaAD/
oeh57i4Z9I51F4rWGDd/w8uVm6abyJ/KgCn06C29Qjvw71iliXrcP7Y5Cw5L57lAo1ju4fm1+2ZI
PyORq5Ny6yOpU1xEnv+TSjffU/NcVNHVu8IBBD84NdVfzpWeJ8OVDGtsI4QSbP3aiQN0Ww2kCZba
IA7ibV1yELLUupToeUAu1Ido8HEYdvoWBqB49bs/vV74NLxQV03ihxKUop5NYGyqoq9k8WOxlU9G
6DhM1FwLXYkB7YhXqFPL0KOgV/sd5z+p+JHVt+vhl/ugXsqKqxO9NV2JdcpjClfKmvMTjtjga9ku
y9/cLPlqQ2InTJNoUjuhiR2N1D7r+vxWRmwMElPgyGz/yDIiTKDwgTnbwDu5014qn/sbnH4wkRXE
tFbUvHRu6QrfxAYP+7YtjDN87Gzn0T9EcIRd4KKl8+VK9VPb5edodz0xnca7M5vp9i84god+mtpL
6ptsL0oULqMWO0zFVL1v2/pDJPNw97P3ehGeEtLETKjOx72RlLuJyNOji0ElrQUuLsf4RoYB4E1E
JqGY+Y6y/hNVVrtNBpfGY/zjdRTNhWMO5zxFVOcKTJWqrk0wFRy7BUr3y5jUQT8Zb1xxnFgtqm0c
2R/pF2MeJE32PTLED6M73gfrc+rTtwgbMoFuI/kK8QEQHZmVmOCQO7qHmXckqqr8zOMEl/7sPfVN
TB5l8lQaRXoGxEGcXhsjSI+0KwN0di9R9GLkGSmr1swCJf5tYvwsNuDwapQNv6BC4aDN+s5tur9V
Kx/NzLqWdvWSKjI0cjmR4df4QWEK72g2xWNegitcEMzMx58pjc1theXk5Fk82dAQ7WW/RPeZ9YXX
eNcokDc9GM0CKgLOExzEupZtJSSQU0dsi8bENyJw9Sdi3QhJ7zyOYXO0MSjMHjpP0Tyo2l5IoU5g
aoi2KLn2gwI441soAQFuIl3Snnp9eOkIrLoYllNiRuoo9fSqvagEHgSIOWjJc0P/aX/n+axY5qC3
A3ym4aLiseZr42M38nYMhgVgsOS+kwW+mDSemAYGQ+HhE2LG+jxK57EzfEhWjDSMGHGRxijlxJuC
i661nzQmFydXkPpXTmht0FdZI7gDiLtEuyZI+a0G60bm3kN4JyzVaM1aJ8+vbq5fcve5dK3oIomO
O3Zz+ZBpnn6o4uqieortFK+gHwii1EJw/jBTydbEIlh+Mmw5i6rYWZi9Kn5qb2XnIXlF67TqaS2c
stvmcb0L4wJP/4SrKzqgxZlrlkbjxZWktpVh4Kbvef5aMCVujEdQbmd2BqDWHy2Gwg57OA3BaIOB
nooL+REhUDElC6YNfDIsKl+z6FsSZqVR8C4nYc0mVrClLwDbtA9h+TE4nxWWDFiSVzQcuLqzp5EP
VZnOfgYRv+Yg3c+xcdSE9lKYwwJEWDcakPdeZ2/XhoxHxRSy8mJdjh9Fw293dREBKZTrOoMu7jQ8
15O94Yz+KD3n14eigpZwt/yZYLc+MFaU1R3oE+aXbtPrDZmc8uqSyYRX296REsIW42+Ht8mDcuZh
2BjUHx/NO7l+bD8Y07PCMR2k055+lyPMEgnSsbOfK/PmlKinMx6fVvQzTb+N6fBO/MryM2eglZJu
X0dExKn3VJ11OEM6+Q5JlCFo5viGA7sytM+yCt9BTAK0BcpgRYzKXgXjaeQUwUiYaHUYFK5TyP8a
iT6xh4oEebzL+CaDk5cNMZQcnQcpgTWkNmg2KD6X3YQXxNmP0R/rIpCxh0k4uY1T9Dph5yRnJJiq
9CphVVQg0zomkhGUbT5Smpz2zWJd2ZXvJZi/juVLI8qDLuXarcHvlmxsmt8eiXjf7Q1DvU4x1zjB
4GS3SeEcWSlt7cl4ZR23hAOxPmHPg8t+q3pjQxTi1nFBnkb6umrG59jI3gSKZAZqxcS8hUw5wb2L
X2AOb5N+N0vQ9OY+jswOYg3hxcsiWi5C6+HeMeyx5EfLJiPGhleboCwbGsDwZFrTjgKEJ1rODFBA
676GBp8dDYB4ccAHs9E5Zka9a+9TeWdufzPra4bu1mdfWTcnXz2bSF1Fx7ta7Uvzwx7q1VC+e829
cNOgh8GfozQDqbjrnccBBapONYK7cAWIamfXQzAnF9PxbhkrDZqIlc/QUbPCjS7KoOoZ6DYz4rjq
ILIfLA9MMslZsb/sYbGBsxB2dZTQvASmhN1REVqjCYAka/RIDP4BwQ7GNSvrtRL52cHUAJJmlaQv
rD4W+9VKIJtwCuAQ3e+yKnCYcEe2RICpXiiA2UTycUA5bu2942cnrFo0mQ123ctQPSYq/ulpSPim
56HH3axlp6wsT2hOYuMDn+kqY5PhBZV4pIkbcB9mKJTiGuVN3N1rk+YR6yIUdutJciY+E0v+rDdZ
e61LoiRn5LukyxmXmmukN4V/kJjRNpkkM6po/PaQ92q6MwBTvO8dsC9YU6kzJFcr85NDAxFiVt9o
7g37M4y+ZkBhy5Bg7uu1RTwb3Ime8Ka0JpQLlq4gY6SlkmgGpNFMvPl1xybexbN+pmJio2ALG1m1
9Qkjmv2Wnr0TvIwXM6LGtiNEh1qH6NaKvbvmR4zZZ7RGTjUG9SJzzH1YDFwwjt7/ujNSWwbo26ih
HZ9jGJ0N9AOSvkk95RKvopN8yUf1J8sJjG6/TBJ0he9tCrP56THseyHXCrk9EQeT8VK24pQURB70
qeFt8iGExx8bHDIcECbpOrWYtumYfS35ELMJwXKYpyBOLWazzXseqh0h7qs0Kw8YXw+D0QNtXCJf
oKkWwEiT9GbGPXMY9PHlS/7mzfZjO4H17YU6+2XHwq/L6FBgCkOKPWosK7B0APji59AyFe5OkjMR
JQBPWZisUPrf2eaRAWuuR+ZCjqnvkLYfktF9G90IvUGisTM2Llpxail7Bz1GWm591y2uXn9auZng
UhpPWDe3fTwde9/eOPXwLRkUjykka6+4yXb8S0KC37zWbfbqFJJAhSWjBxkCiSJrKoMi/lZIQFd9
YgOCSGg1LWcVte4YxP3L6Hk7u4r26DCYItvkP43YFZU4s3nHVGUu+yEfFNO46J+o8MAeERabu942
io0NH+vC+9l29VuPmNedxkOtLVks4O5T/ypoHuz62+oQbUzuVwOKbDUuGOl+oIKLiZ8oyo+uSBGN
4U/yxFVG6Z3Y3W3RTIAdejA0DtyZ2OxeMDpvZ5tLixvdIohHT/GIFF9VUn0Zs/OtL/3o4DJM6gDR
jFjowM5t41B/BxdrbV3QwUWEScXTzjZnsOmHJzfmjmjC/twnSlyQT7D37gBf1Ln1VmreU9OIS4PF
/rRAf+wKsF42+buZIKCEpE9baHyUwOybRLwVbStPeRw7a/i+U8b8c6DhVma01SUGDF1k73YEMMwx
Hoo8F69lzfQnfjZ8zTmqnHrR6FkixTNLOuKt+OxpxDSVetDMJM0AlvRZoZrKmRxsiScMYrI6+6F8
lP2hMA7MINe2vsMNCJgNXZt/H5kAgg17TnXJz3Dko6WZr2ZoxMdmSLozSUcXYpiaICXmFIIyt0mb
Ar+xfAtvKc4SspqyhKdqTk41wjsre3ASFEKkPw/CZfNvEcstcSUiCePfboY3m3CXf+PovHYk1bYl
+kVIePOaJEn6SlvuBZVrvFt4vn4PtnSdrs7uc7oKWHPFjBgBccKnVu2qTd8aUKhGlzZjZpFrjt3B
gl1m5cOGjpbVOJq7Wrw37zEEC3HKhgqvJ+0jrlHObmeyWqNcId9O1R6qxEZt3yAmNr0DwbzG85b4
NjajsIN4TuWf2IQMYJklb1SDNXMy+73yYVNeEZAudT4nRkOhmwP29PGmyaR1Z2jL2NqaDGSoPfoD
0i+XSJixlIbllXns8oStRDhtp0x1WNATpzChnjlB/gPOGcEYTAx2kGxfV1AZZlpIsKl8Sar1mgF7
DwjJiom5VWoxg4+swT19Cs8FsGezGPdhA1CnIMg6pycJsAnqXGbvyyn9UTBkelot86yY8bmom48q
mEwXOu/Z5H3bC4tmFbU2Ri8fHcizynHIkrNtaZdJGDeiHY8wmH0xqScLB1BRziy+2/igBrXpd1C1
bVB+efKhMmnXjm/qsIsJ6xChM2x+vzJ+dHN+LOXUESmRKLuAIt5iwDotl8/gnJbfZXOEYqaULSCf
xZvF2fOeRcz6RA+nmOCA3W6Gsb2V7Mk4zEk03PUW4GDLWQozhVGvGZxtED/o8/KM4p/cBS9U+HqK
Ka1TU3XzlMurMq1LtDs6jD3yGW6rz/5EE5JZ32VJnBz2e62iPytO1QlcbIpaRlUSo1f5M8bNEkKn
ZvNS9gept1/A73NHRJvvvisWCUwZmxl4ljKz7GyptBrel8ByFt5M6VL0oy8b7UYmvxr2yBwULSXc
vqqeRd7Tod8krgXdPsDmYpOdoACfNHFwvs4ztWWtL0jGCOyfhBvV6r4gGQQEoxLvmhySrOcfDTtf
l0Lf0hahHMbCHG0nhgpBPpsRnz8DKD5erx6OIz8BEpiIKOBa2llamzMyhNimQ02yJ/ZYfroCnwF3
L2szpgKrpSc6r8YFiINqiNlwMKILaLv1sWaxtAxf+JaLRtsWcrpLlkyMM7hRIi5Vn72E5gmln/1D
c7RlscX97EWz6YesK6ts1+vWvbdqerVzz2RdGyC95RGFfr3kt6DGJ/aC2ENr8y+PlQ1ZObct2JjN
MsGiPJ33bM48wu0nNkUmW2qGUxJX5MMIxkjjvhlfmI9RqYqjTj6TyQtmCO2F9kyspQm4WvJvWVW3
zBk33VCdy0TBGZwQZeDLOCv3lCIjPBt9vbYHHJXFQg6KxAu9fsyX5JjxR1Al1dR4HZxTMkOkLslu
GKfWnLymSHm7M6AfQJmKRYzQfKscvEWWTomv2c4mpRlZQBhrhvZUC3LFbH2WUraoXoTOaK/MqTcE
YuskBoWcEKXWatgdkg4jeRUMK1kTylEq8e9ycP5mKSNDlZwzw35A4D9y0yCJ4rxYjtfA1p7VcM+k
OhKRkfDGZYH1dFikAUuCl0C/RJ5+5SqmI80uLylRPNnGSVLTMtIoawePZSICzE3huipoZOy3vFy2
ohxTwXRRDP9igb+65MobWIl8BO7L6yaYAwq6OCnm85qGDJVsiz9djX6qdL5JDk/arLCqriw2Hlsj
sf8RkjwC8nI2kRS9BmRc8SW/k8Z7oZzufVbKHXYFd0wQDKTE2A9jI7Z6U1+jXj5WESt2Hv2wN9n5
9M2twXtDP+OT2CZ1OZbEB3my6/WskHIk/6nKWG1jnSRWrwLnrChv6mdWnhADbSelUARvpJO/Of2n
k71TzrBS8JqkDuLfcORrvYE/Y9Y25zqdWOB54Ue+p4nl1awn1eh1KdTCAEyDgbdYySzp0rF32KqR
WnmZjM906hR82CBzUJqDRhzysHlkNrqCLOhJbOsfrevyfTMwNpLqS5oGdOyChU3m717X+eLFeoek
mFzT2f6N2ldjrggzmtJtTumWpyxHPtYlrkmFzdX0i6mfJ15f7m7SWlgUlmvqq9ogQtvVJ5wmL9Vr
OlmdFZA0NnE/o6U9szz1jTlj4zAkm9L5Gwie8dVvGTCpigjhNTSwTlNWdYSIe+yyLPpOiOshnhln
q6SpNymjrwzWPVXC76mnVyuQt3jE9vBY1yLhVpmNmU9EP5viF/ZALITxOtpDeAR8am1jZ7pIckpq
KOjCg6TwpLbpnvAvV3uZT9g4bO1e960meAqH7qaUP1kvuJ4tOVA6ddFezNwv+USw1lQffG/fwxHa
hx3QsUN+8VK13MoMXFhtq7uMRCgl0WEo20NRzPBABnGNyGivkqo6ccXYqXl5q2G+QgIZV02Tb3Nb
/pA0nWuz8gOBtaBjIsK+Lt7lRT/JYJ4aygF6/EucakDQgJcNuzBU72M3bSN58rW62sQljoBZxeMU
H7A9r4DjrC08NvilPoqpfhtqGpLaTib4Pa2NsXp0MxU6Gs+YpvyItvWtVnvy30w+XbFRQpM6I/Y8
s0mdEpAlRcXcUpol3kur/laHPjtgib21juzZFeMNbYy2HH+C7KCsMDEezMxHc/61TYqZbUm8kOl5
UdJAXxG5ufBrpU9TXsdzf5wxgG5SNhgyge4FN8RxrLFTGsZSfmFzflCMggoC5yii6gPoEpk+A1pf
wQwRZYijVAfkCkEU86WqesiZ9Fjpi/wKeSJgM0fvDMPybqAigWirc53BXqHK3OL0Gz8A0KkR2TJM
f1ez2vqFjvcTkgGa0IYp+4wtGKdWox1Cm6+rYQDsddi+mb12zXNaogzHT+LfFD5xyapAyK8TNum+
hWqo8uvnwihHa5V2h06v7qUsbnM1nEdWzDoX59YJbmYNespkxON+FHabVoe1GI/bxAHmpNC/Wgc3
jWFsrMgjim9MUn3/WJCOszlshAoakww+rp4vm/B2y0VRm6iPnvkBGm8aClCOIKxJIbv9ZlX1J607
JhWBPTruHUo9LC0+lFK0b3ReSP6RPR4KeKJ68OxD+ezA82o4PlL1aFss8dxUAndBhWLDUrfSRjoX
SMlP2rGlqY2/egvlAUkPRSkRXpdXvk1ouLLil1BFEiyF3wLhE4P2qDQbS4F+i3CSR6O8i6NngiPO
5WvQWvuYSaSScSQQeAqKf3VrnOlQdadljDT1W4Fe5SlzuYsnKov0HVAsy58KY6sr33NAMmUa0OIM
u6Hhhq9VtAlD3dwUmnGAZP3oM9osymhp4eijBw0O2AeC+EoL9rROrrKdfiTMBX1U3tWhfVe6+KiY
c7mpujm7zhMxiDG4TaxbQnne2oHzCFPqDqjowibLHKLLXngPFuJ/wupFn8TrxMrXS1jsB9JBdD9y
K22C/h3DEY0jCDuR5JfUm5jjALST88ls1nnc+J0g1YT7d57bL2vpEsHZuOetRuSJqy136QNtghus
aOA27PBQoOhZVCRMuhEcAtjnK0pM3p3W3JCbhz1j+GgKrd/yL+kFc0erbQanG9+zzt53bbA8jODV
m5G5DT71rpLNAJE230vjc14k0+bHIeDicBMy7eQYZFj/qvSQ58atpmSib7Jb9Br18cEJ3qqx5H5G
wiUkbDUubEx9GrhSD+pP62BfIJoFUhruWUFHYUcutFL5v5muSVfNRrcaAh4p0tAUxAPErrxqnE6M
mTXGasxo7P2sTdFJEmgW+8kzkgYXXWE6qPBseYHReh2YyJWlIk21FoKkoe5aRfFpp14CFEBh+pk+
Tau+W9GihaX4IfvfgfSrTpkcNX3OnloKHuBO2xNA/p7s8Cev6HqSoMVanHitSumggv0E/yyTI84/
ECO5NnpOFtEMykLJNnTEWz7utnXkZ8J+I7jTuGe4Gk3nOg6eNI3eFRWH4mxSuwymCjfEDBagSrkt
p9SMZSblFIunzHSx29IIIrZ5Hi9iCI8h5A8N+rKm0shkKeHoWVW9VommeJrGbY/lL8npdm+05niz
q/ppxeMztbFHxLPHhAC2MscNHzQ0j8oVfRyBPj8CjJWWOa7VEQugqRnffD+ePVQwo/qkYtnrAy5f
ebOJk8iPo8Fd0tMl8UCqZbNvbPALu2+j2ZJndQBDbVqnw7ZhE21HvwInINu2j6IsXwwDPjBNkWES
8ZpMDOPOS8GqGaw/QhlzSqWrR810boEUQlbyx/Ae7fM83TuZc2p0Ak6Mk4HaXicD9QygHTLMszLV
85Q+GgsqTovYL8hzl4z6PXUDQ7WZWvmgsAae6vhZDU9hrStz3IW2cRmMcOMUyastTVAhAOXqUnMU
mfLSjcpLyqzRaJHF6rfe2AvbNfw29FNEyYrR/iU2MP5M+KP6l+b7CQe3SY/mqLM6GZ4SNgHB2mmg
qdmERcQ1veZmb0LxBRiKKIQ8Vcwx5PxUdxNZ4M3VHtBTn6kKYjZ3jiq7GbkEFKpj4+5q1hQRvWl2
0p3rSSGEFLyG2c0crJ2VpmsOzF3UBL9lgtXBUtZax35MS+/c/jHkJA8i0BCV4mx0pZ6UBDsXP68F
Xif5pDSmnxIU6q/gXfd1Mv6t6BMvS3xgk/kmIQ8NooQ0grUh7Y0jrJgBtax8aWRtG3APK43yIevV
fmri7Vgbd1NJoeTj1ATbREKinjF0m9u2tdAtyH4vTpp8nRGg0xXtsJQ30Df0bWsarucMM1EEOalV
QIHm+ZrO46NiJ4cwV4hO5a/hgEABv+XMfv8NzfRoNsYXNOLFA++1rXwL5NwbIiRUbtx8cLYUIbFL
NRvMKnS75Cg+nKke1vANV91TGAiOThxlmvUTKVwvxyK9y0HgZ+q4I120hYCgNNKXFfM08WHigX8Z
rGbfmUi8A6sKXg2leEVl5MHPHnEdMvYHkadxnQi5mY1Gv1Fod8qGjyyavlPhq7PCV66OfhBudo2W
nRj//4mAO0BMkQSRfkTZNng0Snnt69aVquZfT/euZmi3CfMgpgy/UqUHdJ51l0j+Uv4FC/BAU7mb
Kx906pGpsaHSKcU+TKDO2mG/DVRbwaRZf+MIpu2SFY5guWcQB5BiLrtSr91QTlRR7cM4+wSdTFd2
Wt/HlMMM8MsqHYq/sEvfgyr7o4/+nz2KDz0gttg0FhEMPuVNeE4G1iDNjYpz9kosuGJih3mIek/c
QyWTtEjnubLtYoTZqHzLIfzF2YB/lt8Tcm9eGFwCqBUYEmkrkSdYJ4XiS2aMwYGGbxRl5dyGA0x5
81tjldT0i5G6lO8S/gvRIrykwVG31HcakRpk8ekjTsvjxAKQ3jMw+rjhsESy3va1hPJDKL8xxw0h
b3fghEkQ3oBbjM5bXo57Mn5kdLn8ZjNX2BRMoWrgdlMskmNqdLUWAy/eS8HPWNNwn2BrCUOL9wpR
mnVCSYRxemRMfFG5C+gxKsNf1WI7XO4FX4ch/pqRQOHdRBs8eeFKzqEtl3YLVkxov5aJrG7IOdSC
u6NU8nrQIFVR8ULUewUjZY3v/4gu8Ios6ApqrYhtER2jCtxGHpSo7ZKbrxokROts81BaSVm2lRFN
ykq6WgPF2Xbi1xm9Sk1yS638iX/jnpYyZSjEzAbq+2hFKtm1Cb3lKm2BLC/rm0jTqyJNb7Q7iKp1
u6Y+JWOyi60f0pX7Sg9ulR5lnrqslEpO61C644DZziURsijqIzpaa2zywrcC9aOOeKZQGLbghD0s
hDTa5sahtrZGWf2QWjmTW8OtklVf3KvuED1Lrw2XodpoXOEEP0KE2wTc8dz9NtgL1kPhKAzWKFdU
NXcmyS6ncJ5N3J+mKHPHvsyB0oLQbOPgFy+xq3Tzh5UGXw2ymlGx+sE1fiWbLMh6A7LydA0Ll6ad
CDUd48n+s5AtyGlinDUD52AVrwXTcE3NRm044FXs+rUxExS8xFXtZyV/dJG2bMJ4OXmUQ6vcNo76
rpoGXnVWt1JaeK0xXqPBeCEgv08dbDATdQZgm1Y6ikXYRoDZpmfQAblQWSMTepn18jka2OoaFQIs
zSRYcGviO3PAYmq0HyqTDzl1671mcQH8EgNo/P/X9LedfgpAtPCLLg5VAxxWX2pibaI0Ywgtz3Zc
eBgldlDJSRqGW0Y3mGqY1bonCbNbZaHXaNm0txv7GWrPQEpenNmi2QWfc8uW0Ci/7YodGPbPXAW+
w0LWQsthkh42Y310suGuK9G6t0u/yDkds2Gdi9rtWO0VavCIuWsQLb7bSXsi0k5EpeE10PBi0Wcf
tlKAhwu7ryIfZy08iwyvoxQzHBG21q6xymimVyjCATzD0g117Pnka7e5lO4LM9GIlaSfsvQZI13X
BpXN2he7vcM4UGyL7oH5aJ9Rjkm9HD9wcTUFtifNelnGMF1e1TjFHWt+Q1imUNjD+bSDiXIhxrmH
s3qoZBvx16C1gy9bbBVneglHutGa7xiueaRZ7FKaR8xvtpEjqgTNu2XzJ8QTBSSvtCaQh3Bl1oiC
2mwhgU5V+Usb+i/7S1B4lb0hSkv0MAdc0k9sNzIM2XA4hQ5FyF4RMyEY12Itz+ilBGlJfs/hlp9Q
WKDcJe0dzv6j5MuGKWZdk3/J6CYk6JTsonmRRzHoURozZfZHC0w9LLob6fBNCbkzSKRwXYTJOs6I
/LTnrMhQZBIWk+x9ZgeSG8Dgq9xV3kCeO0J5DijjgJaVgmHMgNY86EPfKSp3+3J6EO38bgsYyBh3
kzF+mZX2WoZ7zlyU+vwio/aYOmyfBvaLYWP/cVDR8cUp8CmcaFcTSAywGhhzw7MERpgYsLxJ8/zV
IDzC6g+pJzhJ5BOaOCcTTUZbb/ZD6dx65drMF91Qt0tBgIqPSjp1DiAzyRXAuwUQWWtBFABz1DFX
aAKDb0ZgebJZjArfVGoCxdaXUDUOjGtciaehye/djEJsBp1fVx9RFqymxZyqVx3653CEILBnPqGC
IbG2yZg9NGTszuxvXbBXyouRqzej1TxbttZisYhHROpVPJQqv2fKCLu8O48C14NxljRzB4DkhzXz
Jm+R2BnJdYwj9NHu47q/1BXXoRnCBdD4QvyBhSbLwCIjr6ZjolUbfdmhZuGj0PHVD+S5uZRrowrv
G3nNnWSLatHoq5TNlcQdTbPkIxPCPSYUuYCTvmwGaIVFZxO/z9Btuwq9txtDZzESf2GAVLipuUPb
n7HlRvQSmiim5CwmaV1HBZyjaKPILCGm3isyattJljVNdJxkU/Z1A1x4pcdIZuFt7qxTNuaPcpI+
KDV3JTEcgkB5SFxBnfAcw7NNAc1n008n9PfGMI5AzdZJCAyI+sHXWuWznwkwGuxESPf5HDvbzsYY
bwaHgmKh6llxVHQBfTY9cECLJbeqHXrw9W0jEWLUt9C2bbAZzlNrY762NfXKMKxKzSPusTWlTSxj
BwmmZBNiVFFz+Fj1v1qX3hyNLUzKoAJQ1NTnbcfVKw3zhaQK0USIEx9rt6U2gwBOC69serZQlPV8
ulToFxIvTaTmLxkHYtlIu9Sp2J/1uyjoEaGZn6oBJL4dmFcVMTMI0VZh3fE5A1SNa0NqPX1pbZSI
5Osj9Q0hGPyRxAp3XVLsyrgdMDZksXkd+muhEPZIGweBNDtSe7jXGiLyS7ELdlh94DEspkskZV+k
Kd8prAUcsPzV0IqmYuaJMvVPs8uJM/t5OcGtY+PWAmXVXqdKQQ8Pi1MjSUebimtF+xDhu0MhVJnk
X466UCC6g4DMHMuqXyNR842avwtTeZkaZzPmMJlDt1SOAdXpOXJnBj48Nu1fIZOJJdEWrQpbucbN
jJG+QVYR3TagRUu1ssi1EoVkQe2ceUTouSgbdvTaJwxZzQ0qXARJtA1kqG1FarAoNmIvZa0e3rk1
bETGnFsGFyjI24iraxoqDIyKfc+i3AeuF+Dk5VhfcCE0u3NVQEt6y8fk2tLka+I2ItxQkU5Xmx80
zwUVDC6Hze/yAYbEerIlv0MAliL9VI3tnvjJHn/p1sY+EGUdj3B9Cew/fGsI4JT6gqPXEO8mhiu7
XcUdATZ9zXq1ZZc3yf+UCVd/EB9Fq/MyONz7w62svNn6SNAG/1TiI+XiLMIclblBxDY+XQyZ4WVE
Zq+xDqzo6ntNamq464MhXiP+6Lk8JtlPHjwtusaj6i9mZCrS8i4z98ZL909e+MmYv8jzJZmafdpH
v5KkuRhO3aFr30Nd7El4qhOOmKIwwJLIzCSLwbCQX0GCXNLSOadpQtlt9bTrya05BCUJa3mofoaT
8Hjnj51WeWb8ETb7kZxnwBFXkBwmhhMlhptPD4tRKUc/QsXvfdYkjID9aiLB0ZeSe4vJu+NzcxE4
PKdP9yZwvTjXD23ISqFp9hOuaepgdjGss4p1VxD8ZTn01i7HLkWnKfyM8GaJfyPSqZHFq4QwvaHs
afC62k5/kYWnmuU2DP5Roc0xCzds5uxtNhrw1uTLclJP8FqhuYQmyHHeJDVR+PPuev8hTZIbimZb
84UR5aeWyYB/bkpUP6GBM28aL1JKkC/dJg1VTeAlFSXjDdUNh8uds9Nwk6wiOqGbWMbKnHuFzLdL
z6zhkoxkpbUo3/dWsWabdWwAYltFv5YFEbb4zA8RkAOeI+eTBcY5H1/l9BRyJEtLJJg3w0zvEgah
QR+4maBgQZNMjN4DUbBNhsfyFQSsB2BycjV61qzslwOeEMUISW34l5eFL7Hq7el5Ukf8AdV6LNOH
Vl2shETrv5h9p6qNuFUOZXFruXon8rdtbkEduJF+b43CX4qzORsZYOi6vyYYzDmdwJuWazN6Djq6
0PTCzK2yiRU1rDxOIWyxqkAewMuoiTzdZIPMdBSRe6FM7Rtz4UfYmfwrhe2rsXnnvHHba2OwP48T
cvNZNb0lRf9PNVWquvW2W4M/yVwb1WKrZT/cvGhcgT6Yo0bga2XP1rafap8Yz2G0z1AL/J5I29Ea
CA8OnXyOyvJad6W5csL6XfRL2ZuR2699Pf0qdThiMyYlFsQOlYtk2UDb7GzjJe2M4E4ioyOHwc9W
lfWPOZv/EkAzkdTyB1ISEzSklFAeI18UKrYOqyjp14AObcOokycj2xWqYu5GBDIElf5HJmQOl1Nu
tlZ5gydUXfLswbZ92rCixDBbC5mqtCaHrfA0+LhOwffABxBOdGn9oE2X86fot1L9p6aPMt8N2K9z
56liUpwKrsNBTp8NtFnki8CxVoX8L1Pfu6nYoJYJmQtT4ZrOTphgw9IN1BGj+pr58NOKCBwVVj1r
dlrXPAuUzrzBQMVKGDDpqtQxNvJjD81DaLyTTrSTrZpA4qhfTPgSASJkeR14miVN2k2GvVFUHzQl
7/0+q1xgKG7U4nEqN4R5GZSuYkAdfGm42FOHjadYT1jdEws3+ydOUQefK4gJNZ3dGY+E/iwI+JnB
ThSAlUJIEAOYYfzn4i/BHgLT0ic86hogbKVuU4M9SPHM5RWrrIbn9m8swvXCMDO3esRbLm+ExYyL
D07gzF5utCGfY2w+o0N7+0mNni31WFW8r6LfVlyk2l7rVPLQZdXfU9RgMiV7JKPEwQRIq3NuB/xn
ewTiUFOUErA5LGcq8TQMCjICzCEcdjbfX/qdSK+sh+aUELLp6Hxoz90Mn/uvVg7OXz9x4VX2vCmu
lOzK6j2vBBas+FiwyQM1e2jFGeQjlO83ughllSKppOcrCtKopp6Sdwspkrs63P6ejrs3gHgrq/oQ
ZDmlaZ1nR4exW4/rTYtub0T9GrHFXbwECptqk6tuad6qGn0D67hYyWj+anjOgnNXObCCP0AeAIVZ
hbzxbMrIGFIl7epcWtQET1Dltl//PzmIGcFAslAufSVnarCXQPnWrHu8XdqqbD1qkNYEOgekzrYk
OK/cTOMzbOz1oPsO7LGlGdXkQHLmFy4SYPIq7Wgqvm5e07tOGrEWGHQYQOZkD+CIbAIoettNumQn
cUqzPHQIHxO+YkcOLYcdI74uA5/fXp4Je/OjyYnWTKS3mxnvAXx+NVHXFj+atHw3lwBv8HBGxF+E
tJB5NCnfSnXEfv6Z0Z/kMCaK6BpZx0JujlbDHa7mWym5Uf/R8lPWOaRUPlIV/3sgq9dZ19Ag6VpC
+rJWndzsbMxERfWGzQ/NxW7PPQ7y3PjCKRDInBA1U+cASSwm5UvAI4UBMdS+iqIfD5vY9AOmyFrf
NhULJzwwXBJBrxGxox6BIWd4BoAJBBy1vPotym6XETMYjE9wx/hetoORbMOZ/hQowSPG0YWGbbGq
1biOFGw/lwdGX9smUjHdm6yYiNW6sfFl8VOraPOrpi9Z8Jeab5TrrMAZiIaySP3ZcyaPCc9M/w+b
Jk4TLLgsmdgDQcH1aMfkpcZrzaZSZY2qdSk4FhCIE4iidm/1IBfZ488jxqqltmvybIPrNV+SmHd4
6bHLWDBPTGmEilRE6YjaAgd3m1M+yqh4CGV5romVGgVDiJLKbl9g/2Nbw3tNUYSeSo8iAilEnwgL
djtCvFK771YyAYJM82VQEQzL9Yx+WbHcqboSvvvdgOfFOmLDeBcLmjErcih1AJ6evJJLVyRlAglR
nQKKb+mIRYlEcA0iLAZU2HabhPINpKFc8+skJRLFX5QtwVrKdkMRS34dhhc9Lih5pK5oRPKJwqLw
8GMPb5RZE/hsfsqsYm6X6mpdpkZ8jjv5NbgHldax2kjk1xAMeoCl/9FxzToYVn/XcCMPIAcXmEpi
olyabHhxzWIOMMTAwPqWGhGOYFj0BrUmxJRy/Nz9LAH2OyrJS9HrmPItX+MX27GD486HVFS5kz16
UKt2MwsrPiZYIftDBJ25f+8IMgbqWSt/ScatwlMXvOJE38v0CVlzswtQcTS8YRx1Hl0o80ohNigb
9CMpkEFyK0qP//8P+ghwr/eUeXGBU9iSOxr5Y7nU/6Xl0KwLE4dwKIsIsqHyTc9avzFqVkhhAAHJ
GJybbBpM97H4dbjyrTpqK0dF7a/LeMZ6wE/CXna1FnKGRD1wrToYXqHSb7Q6ulgarcVd8pGa+Cwq
naAj4TsSzJ3m8Rh3p9xBQbKEpH8m0KtEzMQDpnwkDhKWc3UXFI3QfJGPFrmnFgJveJnotjJlwQvY
om5aE2kBGawU7Vz4piY+Fk0+uUNpADbsiTvOxVs0B+9DOx2pYPodeHxfJbKbUORCfzKz+CBV1SVJ
G/3Nqofc06X0CB2JacAfeJ4SDD5k/sESLkjLac6wOu+7jliQTHKrWTdYtXiHHW06pDotFhpf5DI6
tXNN4dh0qZnLDZ3fXXdUZCBtOEnlyH4HfqMQ01GAquedGxjG/R+rrbM830SRnoo8tGE7Nt9TcICf
/NlO/abOgmukdafC4HdZZywb6WItbOcP5067CjHblal2rLXIXDAnL5mhvxIYvdZc7Jbei4FmPEs5
9UwMLX8peqdYDW31EQc2WRIZ8lskDx9j33yrRoJVtqWnQXZ1oh4Eo7ErsInhYQ3z4aD2xr2INKiP
Xw2myrrm/91z8KMUNtKf0Ltrzx17JCvekngvODE4p1GN//LkSypvk3yL23Mg4k0mmxxk4U6pHoX1
3eEwrG0KeinTnYodOQctvNeEGkj8rY0oAS+ouk1+UlJ2E/ioqxAjVsmSCNtmta60BAq6sa2N9Bpz
SJOcgnjxzNAWaaZcVzL7qQhLItVtg8+MV/KRX0zvNn2eDep/271q0t+ov80h/6EAIJnye4sdMyl0
Lje/vOX7MtKwqxX+K0XQhHkUX5AmMUT8zCdBaeGw6YPfIq09ylxQvmhuW+Z++PJhQwmAsas57Yps
OmsgE2jH0jZ6ZnxR9Kcp3EE5H0MckGqFgyFFHu/SeTtyrA4TodoJEBGEknqi/1WWPcFPdh4tv8vY
ps2y8RFb44167a2i47CqjeCnbIs9da6PxDJWtTix0Fz3eJcqO3kt1YNSo4JyT9BjeT2yc6wx89Uf
U/BBUd9HL48uFT53EUCqsVnyEe5BJVoX15y0fKbRSJHG7owQWunmrec6zs4UBu11bqDFpW29Dwig
CuU1TsR7bMDnMsGY8/G2wGLU3w6F2qVavNSluV+a4EoKbkMGVgnZS4tJEdsdikLP0GDhYA7JCmNC
GCxE934TxrtI6l+SFA7eRGkylwtVPwvELJ21vE7C0w7PZsOnSxm8IiVV261FKL0GbD7UutqWXIgj
AFSOaa0t/BQd7TJAfQcZ9Q6ndAZjp2ujU6xfjaIBp8/OqVtn/JcUvQy0T7F27QqJRwXcbUOmr2kZ
qJSPnsRc2QxkO3yjRWwCqdlwtqtG/9nrk5v48Ck4tvt15lgQfLmXqAFJYey7ham/pvwCCq6xBpXi
M/t1XXJcaZ6w9lIuJCcnjUs41ySqCdd5To2iaF4Z8R0p4kdyyNWGx6rdL/v3pGcJqSI/U+1Onjog
nUDPkkQOZv6dpj+2mXsahnB+nGSl38b//kWJxj/MSdA8YRB4Uc6CvdSOOVbSSj9EVAIVCg8bNpKs
r7wo/DW6wZsKlDGoVFPy5Pu/auzwhFP8o03uAxUPJj5Gsh+XgDuLqY6XDnVAT80rvFdPiojdmQHh
dOb1qWTpiiNDcDp21IBQCA0hLP1YbE+drOxMK/BGqToGSXFZ4pNpcK0gPJZ8ywah7LDQ0gUC6kn+
KtKJf19MurI0P+Kez8E87EHzvSuMQomEZ4IWsVm2NrWa+0DuiZQ3txHCHGdKTUkTchMyScOCS4vQ
7OTD4pKWo+8RioDZc7eJ6is96F4/AevRrhQRrcgo7HwAhGtn7H6iQtyX0UrBcOJGQberyd84Uoc7
vApXuO7XKjz9kfB/AQpASg4qdt02tHd8XHhuACZKAf90zvvfH2DonBre4QIWoRUd/mPsTJYjB64s
+ytlWhfUgANwwMtKtSBjHkkm5w2MyQHzPDnw9X2Qra6WtChrM8mkzCQZwQDg7u+9e88tXcRBkFFK
39nntUtggLqlxmz65sdAMJh07TEV1q+WWmAKzmFx9SG5ajP7INdn43zp6Oq03d7X/aUoYB1iT8JI
OvLEwdVgZoMuTEx70zUenEEfmbOdWswVWVtDFIOQH5BnWNTlviApPDCvnuVcO5OClhhBU/+yZ/AI
6eB/RxSxcf8iXaLjgO7BhnrCR7GLEUp07UbTGHUpIomONJwK3hOTS+OBnl6h7A1xB0/JOO3Gz9L2
th4GIGy4eykUH3U67VoJJtJr3npFL2ZmWvOszZ2iJsmd+hhZJTQOexM394n2X5KpPNc2uT7L9YGL
7PgH138OOFZqa756i1NmmenwePj0t5iaFEZ3NfxxlfmvUbl15u9syjcD0woZAWFI8u+kLx5tbn4D
dwMPHkf1vWlCSUEbHYG4Sad2O5kE5nj9weoQaHXGJ0zVO4BKhDb8ItJ4J53xYPVoaMBgWkO8GxxE
tUN26TJyHxhGh8hWMYCcS/qUskSVy9Q74fOpN3ZkPEYjACJ32A6OwA6GJcjJkOVHt1ZxlxPpW7fZ
BgsScy74CAeLTcD+DscFL3FjU5oTIb5Okyc8hL7t7dIKQhEeFeJOHtWotu1QX4bq02/oZEU8+pQH
NbydId0L+l8hJ1q7e+iq+gq8mWq0X8sWJoplEck3XXMreR3ma0OjvhTfTf+URhJeTbroEFhTtyKq
Dp3TwY2r0ChoBLLs1+h5zZTAUOqStAq/QoIMAw4/Kp9fwvlCRtu322wAX28Jv0Ad9uwSAKIEiuXf
CDQACAV3c9aDew6+EugnZfNWEEPB9A17coQecYiLawSf9EiHfteF+W1So7vfUEgVeKDjipjWe+BS
AFYZ16A+EuGbNy0FV7iWv4202/ZAf0x0ZWHWb92Y17beOfK915zRMT5i8IEejvexoNWZ0w+lj83M
j63oUs40fYnOQLmXOx3N7feUTFQnfxclvtLEezE9SJrTaxN8t4W1IuoVTNpOtb/TSm+NnkO1aT5w
SrUYNMHh3nvyBaHWpikZ8ys0xBx7y/RUNvezlz0Y8tfoGx+GvMt0v2ZwfxP2CGO8n7RwT5BqbnBX
VnX4USCTFQSpm5UBTBiwtjHeTCxSwfwj2OZ1tnc12h2gPRy3t7XzM0UGrlNjL7HR5eLJLh8BVkLx
M1DCBuAZGdaCdoRJhLyQWC7qULhrqM+TzTKeH3CCqPqy2NykZa1tFrMI7XJG5J8/waNrk49IQKPP
x4ecPCEioYEvRjuj2gQjI4UJe5381f4JCb6zM/d+8S0VBLvHzNw1SAizbDduXO/AwBz0d1ABquwB
b8S6XYVYEnq3WZnI6G4YRsKdcTZIufZpaNLqGz9jQBnUeniRG5WiLARRDlFwlwxn09k3TwxaDA6g
2W64550Gs3nUF40r2Evu4uweITjyU6N2acc8B9E1GQDhfZl03MINPdtRPUbDdZ63Y3qKI/xuK+9d
lQuM661EmNc3zD1FvTYaVroD9MK9zUojf4RWG4f5ugPBv2XH8qfTYPW3EsTy0HJvXaN4GdYr0tZo
SOn0xPRyapJj7agt+L2j39JPcr+QA3DzoL9XHA8M+2ZoaEq28p5nivPxwHMVbUkXoEHTXp3hpyA4
rrHPDnsaTCxqD/spsqLhZmyuRCp0YXv02NBrjVV2vBXGtYuqje6Mi39MuicJxCMVTyF9zSn39mj1
vfwAcHFFuiejo2PDyDFnJOpfOl5dN/qTlD0SbiLRXkv9nodwzgwdXpBJFCSjJbeyb8gbHJPjQK7b
IY56YqIB8bItBDn0Lk7tHoKEKXPXJgqWYZq655B3greW9jxkqInwMlpDcILQcaRJLnbWWDwS/2Ic
zTpekfJcXOewNe9R1a0IxoW9geVm7SYkyYSpBSnR8Um+muiPtBa0qxSXONGUTol+5dZQxVq1KLjz
zMXvDxtrArz1ZFZbPK9EMC+gndb3xEFb4aWX4Mc0lDaWbMOJV1FYf5CVu7Bm81dhBfOmdfewdeJN
ENk/zIQ++r5IzgVUahb88GCCRz8FkBQZ3imqRoDrqBsOMYCvYwc+DYl4VZ0jw83JoWgzxjqUuXYw
hC+uM8AChEu0/fPH1gM5FqsKZejyr3gDdlYy2Q9kN+SP6NolJ/sW8cxnUqIFsIZkuoJ+kse0c9BE
GwXPj0sfzF0iO7yuuE+pU/b4Ykz/EFmVvPopNK6um5NN4RJf78jSWs3d7G/LSdHBKHz3SAv4K3Ym
6HG2/26R0sDxavTXpm0ax7aKgCCmxNbVpFHAF7MSWCi1+3tsMvNI3tF8VGX/UwDK3LS9ma96K0E8
Oo+4PKE14f5SetdUVBGTmNvdODHL02pwd8rL75Seal7UhVHqh8FmcEHy9zWKlCVCWC1QgGGoalS3
Dbl0bVLhdKg8Oi+2ccj63uAXHO4bW5ebJeI5jgA8RktvzvRBq2bdJA5hVshdA44uzQ159PAuTD3k
5NJzjzkyWW7D9q4uohKzL/5JzqOgZ+LxCnTYP3QN3e+AwDHOHsLZ5lEYn6L44o6zdSz755hs6xMI
RtHHqGZsu8ffSp/MKoBie1ZM3yGYkb71db0vwh00OdxAmI02TtG+q3gAr8qGKxOwkUSaE2ItubFN
ZpF3c3/PB+cezeZWx3Gzn7mBIXRC1BfEWQlUT0RrumfX/IFvwiJWVm/IzGcUMMZdC3yTI2DIZK8X
/m722IYwB51nTDuzsUmt4FObFRzMjloyqsZD5KQs5VX5HiO1OjdGsLPmJieDuPweJzry6LUhBgXx
sdXGQXqY/GRQl+tEOGvCtuw1pSptNSNLt10+HNjafnUQcYwAZkZkMjqLhjQ6MtiDeQMGR5HoSiwd
bs60p64lpuam7yeFKmo7B32w6wxO7KVzrGcXtj2uNybxLiqsPOBkoBFCgOvTc7rICqEaRE22j/DI
YPsaz/ikMTxRM9T7JqMP5hRLuz3GbDh6GDsyZWIRYRI/laQSgnUyzSnA+nINmVXuPAF+J/feuoXi
7S8WRmeuH12jXlA6g73Vdfvk25jZkry6QvdjbFBqAj1F4Zzc4qmFjr0fJMJNGozbMqO9VoJfrEsw
eqFzznpz2lUuHSR7gBQLB57cBHZREi5Yq3KH+asBIHWeORXJHkiEBnBKMPGG2Rs41CnSdO0sZKAx
WvIaVWbgBM2L5ECzMyN3NS5G2Lin2EvzeAn1YHQb6vIiskUEw5JsRn208UbRX4eoHa7Iij+dJkn3
M2iOsBDnvIHjkg9TjJUKlVfMluVndzM3ww06LUXIKDLeNoYrqEr/0xWs6GlkLZVjyFEpJ0wn96BV
Ax9iJCuX1SF7bPr8GWwbk01s83XU6Y0vRvz3XkR4hzG+iCiRMNtTc6P6xyo264sdxd9O6sRbE28p
qlbDW7W9C5AtpVFhlkAAehLtJ4wrTynmQ+WN80oYJW7TWD4ogyGavbQsOvUct41cC6f/qrOBefRg
EqazQ/xKWHBquSsT6ViR498HVRZvNKkfnJ0Uj2/eG2szM75IbKBdIPASAquIUdYjSGknEyBsAJFt
sv1X0XfYhYCM7wOJN5ZW301yMIBynWikr5qeAY4qgBw6nXgilg9Xhhr1jWvqLyu2IcbFhUTNXTzN
FGEZjVqoRlyrImy2xny2csq1sUKqB6UJFza5P3avsOFX0En/MO2Lvj5Wkf7wWy/DNE550tjIV/PF
HDqX49fYh+WZWXN5TqwfHWr/EFhabqvZu7N0mh48CcrW6JOT0dT0gSx7PQEPJ20Wlu/AAI6TMS7u
fhr30CCPE02vU40YIUAdErTmr4jW91516W1TYXCvAPXcOL8xL/k3yz1eB+NXalifBMge7BC8sN/K
aj8zo07RCoWp+wvph5vCJ488zEDSmB4QlTn3qn6fQrGjj+dg/oT5Fmpqtj6yiIsUzRon1gj1kczs
ejGvh5qtqc+3lt1JYHfmgWtmrpVZZCufPntXl5egqlGts7msPcbnwqZ2ifKemCt4zPGILBjqmUMh
0AyHSMK+yBGtEYquNmGmYMM7Bo5ywDE2yankJJCpG6fjTSTLw3KTX2YXbJdBYwtVGsnK/gPBk+HO
QNHmVcD9S/Iovcw4oQZ9872K1nKmiFissjOtyIHU6mus3OxYWwEDyamuMSyQ7tGYsBKMF6mdQ16U
PnYrj70g7MhQxL08Gf1aEV0Lci6vqGobH4NID2XTE5ThJdom5ZndPlNoBbv3rvKcs1OSU9OiWAu8
6lL7JLvaPgcz9qdyxQAqpx8fhuvMqIxDTgS8aw04fTNWzthY7GKlgI/HKKfR3XvUdT+Z63GCLhyA
wEW7MydOFgYOpDXI9VSAI2tVe8hDVNpW2MZrRb3vFFG0MW35XYXeS0IqOv8c3bLm+9vARPWW5RYu
TsazuEjfssYfj3PnPyDAI9R7gDcqfQVi3eVZ6geJDxEFoKr5+47x5eRXbJ44GZ3AlTd1qsFVQOPA
p4Jb3vdb6r+o/qKhdJ9mC0BJh+6uz7GupUblwFzwKnqKOFwjCKSfE+ytxVPT5Egko3S8G/qq20ap
eGyr1D0XRCqAuEEICy/bpCXEjPEOXf4ZtLX9FIRMXkcXAHLfOr9hUln7ssVdrudQnedFhj1SPLiD
2GVVYB9dVDoJr3GqUJ7cOnw9cS1TR7At9juSSZ6BEuabGuYvjrTwataQH+d05tJU8HRF+9tUxmuY
DBxrIADKsm7QQ9CHbGq9qW38G0mHKJK+BZBpgmkDP4YqTM3cDm73wNRhbxGIhYVJHaIEAD8xwOWW
ch/0LKXjqs7lCF9ZG5vGdxd4m30y0YQwae1uoMZQSXvWno8Q8VnHmNyLYyCRObnrUgc4XlPuHmC/
GACdq0X/5CbOiGyFIJtvrOza1JXz1Pgw2UoAq7EwkjVJ53jBzffI1fqN1r1BqsDKLJGfNdlQH7oC
tYQjxDOmgF8158rrnMYHl9rhAhj/wuRn2HBUe0ItT5KbQIdVtryjavI2s0QNAJgbaJ70Wh4tyQyg
PQ92eZpd7BQT+NVbz5QWtWhmo4o26McGs/0OU/VDTy9Dp+W5S7xuxdm9qsVXoXPzPCFisFzGl64Z
nqFHtEcXIpcla+TWpQT6QWEQ6/js+Qwf3UwdLdN4CzSqPYpMeonWYkhQT1NP9HPpj9AVp/SBNg+N
TbM+eTKAiwgvDti6OlShuR8M6hZ0yP1aZOxEY2ofte7SK5PW29oI3irI6uhxCMuEpTdCp7oZlIHO
OUYtB4dNDYpuBal4d95MWCY+u7dxDPKTmu5JJgzRkSzBKB6dppyCPEmVWDlNh3PWiIZ9TAS1AxIL
ndcJswAcH2t4wwC/n+LM3rTB9FWYhrv14uNAylXhMMjpfPumdyVj9aL/IV4FT0tMl2lA51tIJDtx
j/KXywccQtSnHOYq3slgvE3t5n30HQqMMgB0Fr4Lf3pi79y2FOM7ObF2jT1INLsj/E0UMeLzDn6p
GDC4jm1lnBumhoVONYxruc+aiRULUa/pz7+kVaprrsUKXKLHBj4B4u1o5gMsIfKJU0tYNIiY4Foh
8M32hDkv2oj4LepD++ohcKqMCGBbY007vGsQSuzxueowZZLmjhZz0Tn6lt77CeDdws/HHTOJr86k
oY9ABEx1YslVirnHitoHJoBAkwBF7kYuNB78vPW6kxf0Gzvm7RI+cHZ60W/n3k1Q+yokNEk17Yw8
sLB12gxMXM583MqEr5n2tuiTTSV+oXZHQYIG9iat098IxZnQG4qIuVxdGzf9FTXIVG0WmVUkM6IL
GhNkoIYAKLym3/rK/RJuQxszKuC31+pEzqVHfl26qrWYV1oS90A38xjaXfUWo8lLVd1QBGQlIgB1
JwwDL/xeG5gcug4czEwmk25QFNKJXcU8zzd5sZCr0uiHlCPYJQkipdmD2atx445ju/XQ3dVEq1e6
fTZDg3SfKrqXDtrENHQYOKPZ7Tw9vviQ9js4sGPIPIUiiFwLq9XYraJxg1Yae2/RnNoe/YqQ7d6a
5U8DwW0VzrjaaewQQjsMZFlSqmjd32hVizX1DDLO5DhORCW7UXkBChkAWdgS943JBc8mTvdPsrsU
LMPyyH1ib/7dJLOAjJ8hXEfWg2V4pwp7Ita5VYPBaOXNHbqY+OA0/bgZWSV3JfKyFkr7KpwQUsKb
6VbokPVtNqvdv5dZIoDqODOxrZzCW8WhovKAWLtgyiX6WxypnYdamvDZwnioAoQpZdwSQCgeVSDH
3Z/w0v/1qf8j/C7vmF6HZdH+13/y58+ymuB9R92//PG/UMfxn/9cvue/v+afv+O/zvFnU7blT/c/
ftX2u7x85N/tv37RP/1kXv3v72710X380x/WfyJV7/vvZnr4bvus+/Mu+D2Wr/z//ce/B7M+TtX3
3/7yWfZFt/y0EFr4P2a22u7/GPLKXPajiT/+9Tv+T8qr8P8qTd8k3dVzLSFM779DXsVfbc+yXJ98
d98FYUGS699DXh3nr8LypOO59A+UCUn3L//Wlswq//YXx/qrcIQplXAcTmSelH/5v7/3P12//3c9
/63o8ztyIrr2b3/h9+A8uVzlJYrW4ycp07Q9tLaMSBzPWRJg/yHhNR+rvhBDjxNR2u++qR7S2MYe
xrrzDx/I31/3H1/H5jf615ey+Y3wtJqOK2xbSmJw//GlQMRNVT+iRZtaMGMGNe74FcbM1SzlINWr
PuNc//RTgD7RLL4R/MAkQqqXJC6acVXfGU1yjpassgTf6q2VW/RDgbppehI1JFTE61ODQM2ocM4j
uJe0dsoEGQe9CmZj8kG2hLVKVr1xgR+6PETmaL22MdMzcOAd23txCKA81QN4+tSDqxc09osu78GR
Yn2kvp1hsM0aOU5uPjLSvwfmfqwM6wJVuNtL9B+84/6LXQxkge9sqoxxP37pRzIiP+1BMxyx0Y4V
Jfy3ypC70EKSJjKScCsUCiKQT2QlwGboKfYzaT2OIpzwA42vRT1sY5/B4kgEZFpTDnSZ3neV3JV9
+laZ7k8auNdWYftIgImgF3gtfBBuLnOoWzAygOYsY18kTnkrS/PUJ9ND2VYfdpgfRmoln1Y65mvk
RDK+Ar97ir0j+PAvGE7DPP4mHti+tU0afJgOawez45ShffzzHbqZIMJZz8wyc8IyqB9iK36Pyk05
E6eaL8DiqFks5s11nhqGEfYHlCi4xAAdDXoppp29VxnUAnlOkZdt4yxhnS7zbwoVwMCGedcN+TLS
RXIl9euYl+EWXONbE3EyK7Pys6EEbv2JFAYYdkND69iVNb0SZW/PktgpmIycOBmKr4wRWoWRyvS2
jVADJotrvbKQ51knJeFzRQqZPf67l4ajg5279i3PI5VzjrJzeQ+IdMbVND0Zqntt8hlr44B7Ms8V
ajcc1lVyoLgrQOygTXDm8cfqSP+AGkp5ykQ8gb7fBJSMrLiMOrrfDd3yMidmxUYRziESoy0zSWHh
hYPiyKiFzQAzkYWuhMFLk3lb1c5PoNvZRw0q+m6+0N2AD7c0nOlN4aPwaK62Nklgqjok1kz1aCkw
QPFByBTOeZN+tSYAyDsHswQFZfolWjDVrvtUVTTYFcm/t51XnLiKKKkyrydj8zpNLd7FoiDaytDk
O+p472WMDnEMpq0kt7l4HVT41HJxRJftDZOQ54TgVXBEbkRYWJsStOP35o/X+Berbn9cr/3FhB6Z
y0SkWoJHm8ETPD9UuyrS0BOi6ODwlwLdCKqF8pdDWnKpebDTwj+YLf9H5O7ShsYVTohzUHRob/C0
DaPLvt+62IxTFOv1lb5MdRuY3Zfo2kuB00nXWXzOEREPCd3FxLXxheA3uNHErLZImVVXZTR5yaun
5VZHYDQSgs/GEQ/bsLEZyRfKc0HQDDSsm/GjmdoKTW417Y0Ju83oVU92gn2FTmym0hwpHlkf2HIQ
jmPGENhxbuwRBUFIK2mKfzE3P4eQp0YNrxRmNGp9hJKKOLfRan/7g/VU0i1HhNRse6+4Z827L4dq
bzvm0VafuUhIHUNVjfI82FWE0I6uZJjxKzDHd9UDCLPb+X4cM4rVLZOZe1s556liNFgpAC4Gresp
DvRyFDJZ25LbuSKTIHS2rY5pd6FZaiWVBkZjbPtLRkCJU8YN619QqLqNAHgra0rdLKFWkgBGqnxR
nFqNXjOGR59c9M5q1NWxMxRmFoWPqcCJLTEKr4jFQ7ACZ0gaN7VuSKBRotjNAUJItL2huk2Cd9fu
8cq7dzByZaTve12/OIC8K2d4KiKQTdTfozWtCfZam0N/xPgEP2HdUqo0swYzHK6Yg6zcoMeZE3zE
GOZpfWwm4SAbC95c8HuaJMLClDR79e+6w1KS5O7O4iBrJopIXfVSR/Gqc3Y4lljDDdyEGDFFDuij
czH/uCF+Rg9koAVfUSrZbZXHm3HQ9Res/Sy90bGP8uNIFYed1dvYcoHP0PaPvOxgJPbvwiBVDLV1
pIyd3cN4IF7jPDHkaks4El1waHMcQDalaXjGsLOl+DsFPJQQsB7LptuW6DuFicig7PTSJzE/tW9g
rrIQrbQ1R/qv1pggf9fGlz+zEGLaunIIByp+MQh7nNCumS0oURbqS2lSFhtV8yUGRkOpes+7D3PK
jlGFwXvc2am+9gUtDlHMBFUXHx2cCMBKA1yi6iKD4qsHqWgaiqKyepONeK4N/VCPzasYUANU1Z59
yLG9t6FT9u7PRlJtW9KVKvEiLqQXUkZ5DLr7+EUQ6XfjtjQqZ8EUGtmDJ54am/hs3ro37xkwnuMU
NltXXovK+m1Z/X0WPenGPsSqvzbKPdEdu49Uc+iwmncCtXqe3UVOfW4FM5ts0RAJ81A42VcEhHau
ib6SwUMzX0SdXVpHkQggsXG4z4T73tX9qgRH2UK5i6lk5U88VgdXJh3oRvVm9d2vQVwSr96kpQMy
u+xexeweB91A9XSxsxCdA9FoRqrYuNXWgahUeeFH7bkfwjW57ASf29BWuno3Rcmmlf6madUj1e+Z
nFF8DM74jJCN1q/4aPvwlPjdux+xkOjZei7m17IQ74Yuvm1tncxcL7vPbdY1D24DOSWJp9e8ccjZ
JNDOJwvQSdKnqJWP3bhTjfVg9+0dXcrH0anufe9S2uEjTuzfwFY6xDoId9Ps3itM3KzOPijmI2nU
XOTCume73Gatswkd7ySC6tMtmEXIUv22KA+/lJMjajUkcC57lySb2JjfO2GepaCu4wjIvpmsXWrw
wJ++oiA6IVf6Jg0Q/wwGusB37gWHoGEK/RXKc7oSk7MtUf1PvvdEc9y8idsSkwG27irfZcWwQ4yD
A+6xrMwbN2V6bmo4K2EFKdPCnBk6H45R3dPK3U7jUJCfQDaSUTwhgX37M8HTqjhmgLV1WhwQvh7j
sKU/E11baunelC8YF/LwfSDwoeHyDVPwS3nhMW796hYXmWtWr/STtgwY38a0P8UNUzvOe684r+h9
cByxxaWM/Z3UyASxEWwla0yqllNfg1cUyoRvA/8cn9B8raXFCMAmECit43duc6T/hfli0YhgkALO
3mrHlcVElD58VvlnR3hv1oxNV4y7xEIJbg770ZmXeF2+s7HX4YixEqBF0fcPsPLOwArWA/l0rmKg
OIQHZwLqYo/bpIpPCkgLo7pk8eX7CyZmlcwhuwodQvbuB7GAHPIPpw/2wtFX124hLNgbJvKH5fEs
ZHdbIMeJNMQYJJ2eGNkOEHcxEWwy+ZSj+m3C4DIU+s0jomisjM8goi3XlM6dM1bbHiPA8l/G/AR1
L8eR6TzVlPDS3Zp481vDvY/a6VwB461ZaRv9OlVbwYcJqeRQpOrV0sXtIOy7ETs43LwNg2pIhuld
74xrRw+3nhKPlgfF10CZ4QMGbMsT6WH70PSgdo/3xnGmoTFbn/PUb5S11h69bjFdiINdBwBEEJNk
9humyh34mXuyhfAsAAaDHe6/O2T1ZWq6NLbAaFY+9xW/foDdyUYTQCpS3MqtabvXRvPdWXLKRHfr
hc1FjDmSvXzNiN/tzAMUvfWM8a+B+jbS3DbBp4X4XMuUvLJo3avp0LAABkLte/PcpuM2NtFTNAsH
xr+xNd5b/lfI6TrqgsAnNJuu2KS4mUkoYQRrnnO6qNNk7xO/PPkNZnTeHGgcPn7of1ZxC1AZpk1+
WP5+QgMAf1xjwYcXe+eX7rGxh+flKiyCPCONtoquXVWjuYMXDxtk5zlfIo/oi9ubhRgYlAHTMr1t
wLlFdIRGe9oFjncJIklrPb7XRoYlK0C8xSmiemjoUhoSWTRzuvAwIL6StfecGQudw9/UnExCnMhW
VW1HtzkoEsh8FIY1wjJfx2SHRju8Sj3BIgtbLKLVyk9ps/adcI8fbila5Fvo3dCpiedDQxfFDJF9
ZuYQ9YnHZlqnqt8e7ozaQYnXSFJMIG3XH+kmFCO4pb05Bw9LdnhVLbwSolnC4Toi6sBTcGtItWr4
0AV3V0swV+sQgtDFF5EiJgSPykW2Bwb1nDeX15xxsd4s11iN4XpoJUskBVgb0grS3C6xum8Bo0Uo
VwvBFRznbVthmea2sTXe9MFe1ZxC/8AesVOSiW7McuE73mYFzunGYkMK9l3w5ely79rRscDwPFNM
8BnakPT8u47vD+xyk6K7ISiPONJxw+gSdwzP4VIFl/4lmLLnyNNH1Zu7KELTtIzI4mxDTxUwyEyd
rk8d5y1qw7MXWqs0iunQkVppMIPSzrUX8izUtLIcZ1Nk8d6SzdoZiXKx9dHAVKFnJNS4xaLO3Tam
WLsG0tJmOpkBrL96Q1sdMpbitNmeS8XOhhotm8j84sGPEFhb3Dm5wSEe66QbPzvzfGvp1454bat7
Kzyeixu265UIPHzV8bF3ix0Zk7fkx925Dkdt0Ik9PfgOX/FyP3ukfJu8Q9W3ZEGFO7uMmSqp9dyg
68ZB24SbKYSbgTdHoOYQw3RW5CnngiyQFrYCUJGh3KXBeKYvCajCe/AneZYsmIvIVjTe1nTHTdR7
1x6JtquAlKR7WrH3BYB3MFgB40FkcG6zruP83o+z/QCmtygnKGukNLfwvDN7T8MI/4G3DXp7L0F4
/OkK9oCzK8l9RCgPSKbZhCfCvbWsZ6R3IgNA3RRYGytpNkHzG/URuSS43D1vvXwQdGuY7JF+gkQn
V/6mUDAeRzN7qUrrPM3vcsgPzOp2kZ+CcgI57007zR480YJdPkQ7NbcVITeRDCHaAoC2n7PI3C5r
Ye0sdJ3uMAEjEgSnxE58ppNyb1fzqy89SuH2GKTdU0A/fjXmHhFs2Zp03ItojYfOYLoDjAQUMoOb
5NT5HBSFY4ONyBTVBVCYaQJaUTQw/533qoCeV8nngkbODdk0342acHPE1snt5ZczEg9c1WiOiZhH
OErQxrScaAOEc22y5G0M73/+zbMmAdwPOEcJKyLVjzxdAmuq3d8O7Aj1iO5L5gbz7tB/Ya4HQH20
n0Pjp1r4DZnv0B6yTApYuyAnKUddHzfGQzHOz5m5dNU1NV+rHmjQ/DCLBORyikuQiqUPONaaPYAI
lFIkv+MhmXmnWHTV/AwifgFHdFurXkzGlCeJu8zBI+OI/MfAyUzXru56sU4nfo4ehmtj+GtAX8wY
mEPumGJvTWW/o5BpmESSfNKYvyxauI6xvPjMqKWcFqpNJr4t2udUhwjeCMMAws+jiTiZpc0MH8KI
lam1fqop/57p02GfMXJs8Ux4Jw/3gdF9QLGeaAnF1sLDKDLBRoqrD9FviD10mQAWYNQldFmP9KRS
ioG1pJrhtmJUqNchjfmboJyyq5t3x+WaeiJiL7Oz70hw/d3Re4AE/l3iBLgRMz2jTOY/9sBIMuI3
mclEJUA+2jeD/qlrdC0pF6Q0ZHfDMKxf1ouYF1dP/WBcOQPCsuHjDcMQ3EIdv5JkEzA5462Onf3s
oKTWaCeT0X5X03A1Pd6Nk373Sl+RprsolNDYeVOxCqNkW5rdR6f4IA36KzSGgsfQwZxUssaTgHZr
2gx0XSu+5OkF+Vx11EyyNkb5UQTtQ+UyYEiT8LOTM3w+M38okqvkwIQcmByEmk+7NbqdaaafSrEJ
yCQ+0NEtMDV5fPIj74UE03ir+24rIX3dJgZbTuKvNBVCpan1PH45uoQ34wCpy0SjRsOMD8oJN9ZM
Reb2DG2NMdqgfQyYumH156pbsihvRDWFt/fBRCOjqbJ2XSfhzxg6NjkZEk5bXdwPxtOUGkv8Tfrc
GG5xMOpzyRO0Le2JzsJQ2Ng9CN4NLflqhMA7ylzVx7lnbBF9THZcAfLiN6hyPLCoEY5GX2911/z2
4/nTbrn6qqm3YxiiKdtaTTRtcDyAhedthyEBS5wwHkt554SyPpoB9P/Mto6NXAKpcRNOASkc9hT/
THOFCN67N3LOOK1y9o7HLIwMekyRPdoifyywGCZfdUzZPITuUx6QD9xo2m91mKxpDf+eXOPdbzc+
ylQMUwFuteUjNRm8xNEs6NJxtO/4yDrOSRCyNlEMZMdj4kDrxDNXQRDXq2GpfxugbBLx1Yrw2tp7
6Fz+nJmdWM893z4iveLsPu2KiCJwlhaifnRItOXrVykq72BdC20RUqTH6X+zdx7LkStpln6X2aMa
cAfcHYvZhA4yKJN6AyOZTGit8fT94fZU9+2xtrJ5gFnUtbIrksEIhPsvzvnObslYYs8VJDEMc9yp
62J+KCikauZqOVLovz7aFl02jD19VhF9TV1XP1ZV/FRiuKvKoMPrwtvQJSGeg945y8bKN4OdBtct
+gG1rH6ciVFlmIxXokm+CSbQOXXOFHKWrqdSLqr2wJfpR7roOFjvv6Weo28xM8EacD8mAe8Kj9sW
hsNN1mEGQ0M5ZM1yF5DNcyX66RGs+mdeOPVxmblLQ9PlYOxYaU82FkFLwHRWD1HkfngeQ9fGpNeS
73EIIQqdA5q69afg1/A4xNRH0lQn4qhvrZHX6FJgbSX2iiUubpRfQbeXlA110+6DP0FSYSJ0nWHX
lskvz6dtrzq8KrE/gCpSxan+7vD6IzzFmQWzRMT8YYnH0TeybijWq8Rv9LCbXaSj3EMfYIwAdTgc
RCLk4XKd9fEoIYdDvUCogW6FESs8gIHMwtwwy8y6/jQAiAgbTignxRyCcWcg195aQFWLHoB9lP/0
dvUTuFiurb6HRL3ss4Jv8ew2BxEZ7Cmlve1jtziVHYbtbJ0KquAXYw4uso6uaOrT4+ibOzvNvVvd
ZugTgMmVS6J2xhACsq5NZsYx41xvl9R3dwRGqo321ye1JYqk9yGtUDvIYvpBUeDuLNs+9au4O5VY
IYHAbjwW7lz+6kR00Qpp5EcD8rjMUCqcmrepdgAq1B1SmWH4NWSGE4+vj7vYt1OW3oC5vNMl4p5U
cWcAOtkqxV9gCz/weaSHJdaKajd8oben7ij47EFUASyYwuoWk/Xsz9Gx77CCBPXwGjPbPzctU7oR
9QKQNzv3OlxS+seHJze0M6FtDQhjK52+1rXXUjEuBcfunxoPsxEcgwIFlEIYhafcwn27CbnnNwZP
qM1WCs2C++4P4xPJBG+jJNi0DWeKV8JaYNA/+aFdgckf4qtc2xQ4ntUyzWg/U4inu6R5clYHux7R
2S2K7XS9fHcY2jaBKn7aCkBMPcvj7PKgqNXzWc/6dcnZ/0wDwXaVpmQpGX/plXdGpuIrmNlD4njn
fuSQXh8TF2ijJxRA9ZwHWUg+fiCx4TasIuwcKZxOjfjJJmjbFwT7sgLeD1N7DFNxB1jLPuVJ/rhY
Xx7O473jgh33XHe68jxyAkgrKfdZ79YszoZw15H/4i5ZAm7uCX1jczFATt0udY/N4rxZEvRIxAZ6
ay84ROqhf8sMCTBq9cFAC/rCLWgdHVamp97SDx1ylgtvkX2JY/3qhvLXODJdJRsrPi6rMMuXeb6H
aI5oIGSol0SAkdLhPDMc2Xs54ZQRxlpYC1jTMZZMD/6Yk9XBYm4Xr2NRnMa3vYj7B1wuFanBjAEK
Sk0R4W4Z/Ax3Xrgaa/N+S2Aaj8ac/s6i3mE6kt6UffZms9q/L/InvUwpEyerIdLW32EK4DJT2r1q
7G8POchF+ti9RhfYaBxB7g7Jvp1Mh8jAQrWFrIMeAfupaQkkH/4KmGYO1BXJgxtHGENaF7Y30mbh
9eDv+vGJxKkRoG/9mafzjRuzJPAIJ9/WNZBEOrOXqeTyjDrANo7dPUYzbbI1YISNYJwRdUUHXwbR
gWcHQkw4PiQFFqZoMRg1tPdtJH3Hgh7CHVDCD0ybglI7XEhQfSawBmke8qNAo6TWBHBdueAFxvBe
eO6dqt23KbWcTeJjGnMa+TQWJU5EiqVmsQfmVwHhXvpUzejDB+hLs+rKK44BAuAvVQYUS0iEFL0D
JrFazgPJEl1FKzZmz93AbGyuunOekR5PrFp3lN1nshCQIntWia6FyjkebpdpZW0HvtnaZBQh8mUf
guDupSHyhAmkRgI9pJV7mlouDOFZ19ZLxLhnGz6XEzLRxxDLzK6n5gDxhgdY0Cugh0eNFJbrN2Ef
iomgxLd5rD+sLF4JBRRyxEjvncnaDGX37Pmjc46GZ/TmOGYs+1W2DYFRFNfbIF3e/MlRB9m7WC+J
VgUk0u1HpqmWl306gs1QFGCHcfVn4C1i2/sVM4Koe5PNKHDvMf0IUE8vxKxAz8aGjX5v57ZAiuy6
J5PcZ/CUEiKjR4g7IwkgjFDScp8TwUTXs+6yKUoX5qhjw9UJoxYouqjx/3MWMQKHBmg7IEuoFGzU
khGgxF3crSLmYKsLgVSlQDoVwB052Nb0hlsBbfqKwoJcc2OxSy8RFLG/rt/tSEkyEll84rDmYqjw
ahgaM+w6hPi0l6ErlwuDU1Tr6OiBmHg7p/+dKgm/pUqineER5GFqTq2KPj3eWeWm6YnkYGiAXv45
JPiv62a64eqJTlV+7qVPxYqNl0bKkmeZD/vJhm4yJq1LPoA4V/ZSXlvwYg66ZP83ozGflUO4gp7e
qlVbFoZ8d5aEWLWS3LS5ohqoGKPaSb3PGknmnP+zOBlXLK5GgA1f4ZAtB1Oue67QOksBVKpXVEtq
uBYVNVprd9eZaB/YvJTnKf/jJN0722liB7ndtqIQv6qejHl2iDTpXfk1+0SLs7GZfMTVdZ3cO8iq
L+E5bQ2sjmC+QD8AvRsCOEWWsO8qOzwElvfamcrZJeJqbHr7IF0gZ2GfpBfVmC0U/irFokFvR/gt
EHgowyV1zy7CnUMie3z23eixqWE30LKdIA51D1OVfGE6mSH+1WRsKXkswxSF8iIxW0M7CCfVbBrJ
vF2P/AshzHu20wVOch9dspctr/EMWMVSu7oEilLUGiP3EB/Zhz5adUEogMgwsqakUDPVcDXWl3me
5C6pbXaUAWBqBIbaS4HtuhnhGQEWvZjORkBgUFmlr8GI7jU3356jniqoBZZZAdxaMReBxDoBxuUx
1PLO1/Nq9+6avRz9s1frpyhi6DymE3RA37rEFYECsct3AYj3HtFBtQsyG7iIyK7sKUPZKjwSmsLv
JF3A7hBpv8WtyjWKUcAcJ7s2DCTqGv3369w5/jm2Rv1S2/gUILTvJQK+TV2kxGWO8Cfybl4OSuTv
A2ri07xwqJu03sFDGbYpZtpkKPFi95i1mY/d+PVw3YcUH5NpkHSRDKBs0GuF8M70zLfGsKdrrRVe
mzUEO9i0lZkgXg8FxCUgNmOTG42V1oT1rlPmqS5Q2noDuZhp1N0FCrUhTK+InjdmFdFM122CDdvB
EtJodogsFC4OvhU/by/u1DJqr5j1N+S17doEC0MOiBvIr88MYw/lZgdA5Vm0wIbijhbDbvh/ddQ8
W4BojpphQT2N044VC++fiSyIQPxpac2V5TYpAcWWe/BJAG5Mjnl+gQGVNmw0mCe1hyzBeJMBv993
Ng5KA5G6sRpyTNjkoC1mPDu33rKrfG70ycx7Q6RgbLkCrGMS7RtFkBG5vrgQuCv4nq9zrmAXaYTO
dM/4XQtsQ404DhDXyUtczQLTPWu1eR/q8UzY+CmwunMy1SGK5hw/eQfkuuko+UD+IXyf7jMvfGIa
iaCozRDzkcy41wrX+IhSqFnwIlDC3YzeGr7bAI/XdnIRojoFLUEAsQ+jeYK+tVbHZWKDlumwRcBY
6A9jadindmBX07n6IGEGu0aUfGEb3JGchKTcEr+BvHCXFwiEGdPwAU4wUYDpwGoTpceYglDoifFq
7I43nl8++628jE4IqRbtIoRB+curEjoLoifWvrcM2FvY0BO2c3UTi2V6RBH8JFY6QwonyHEB+Pcb
PywNZpj05CXFRan2iaJZHrwP3SiOoOXWEENEiFb6Cmt5O2WiurhOSYaOQnxULAr7Vv8ThxZ5ocn0
OSA1GlyA96FHZ5cjpPZTJECSQ9Fn/7Wz/TjeF/Njg6FvL1vvO5LOPWaLI5W5R2CYbids4gKRjAPZ
il7mfSLNEfc/YAqtV68JlhS+G48SCRWWbShHivxQH9UWGtWIFT6Gnoli/ZhN8EK48H4Jn2LHIdpj
O7jY1p28uMriCrzyyH9TlMVdFQLt8MMUDRVVe15iYmpptLfzwnjBpQjSzXUaTufc9vy7sKfMSgf/
0A44c3yTfMOIg200i7s4T5967FL72bIncnaxeygmaxuSV5gk468s3AoSm39tF9i/pJWabY9sANiB
uZ0S4uITi2o79M51pn+XSV2fmoKtTjSQq7DI+LsWOIwrqhriUA4cn0yYShwxQsYz74TfHCufoYnF
z4g06QvQlhBktQ0LqCD4ajP/LVzQbAk9PABTrq/srPuBNZzt/cgFNdLNZ6Yn0Pbax9DwTALsbQnH
wto+v9p9tm8cib+4JdpEqRGbyoynDMn9gkXMtXSwkxw+wEzQKasIalulD46NVAthx1kBwm1yKGDw
TdYq/HkZoyNzhwDY1+rxwmTY+qjMwe2oKwc/bg81Rg71foDou5lDifkfIbrHOJoSUJ6CcgU1tRRP
C7JZ5HzJXjXFn1H4V6WpvwEmvg0dK4NV2cLpVQR2eTCZQgwwh80JDeApgmx8aIqXKm7YXvbjGdXt
efHZjY3lfIODyHis6V2kUtTMY84+IAuOQ2052Lxzs59dc54Xm+0E9rNNM11GNXPUs9qg9ycVXnJW
w9pGolt3+7QkVkUac8gm6B8oLQRD4oBRYiQ/ppyUUrcKX7Ihus464V3GPP3RSPbBQgfeLi7DZ9nF
YpuahHhZo36J+gflZXHF4Un6YX2qkvERby6nZhQUhCkn28h1kz1Z39jZfNoPzueNg8hsn7HoqtIQ
QE/qP3uuupfA7TZ2w4Wc+g3hkUDR5jAfjk1nP3fmayLL+yp0IBZ5bEOV/tMnwPmJjGcfvURnu8MT
l2SEsklnufbYjklos32j0GEZKj5dFi6jF0BY/NsPZP2MGK0ysx3rKGGEiinGg6MIONHFobNj0wa6
OHzPrejdpgzMosq9KBeGJu+1OpD/dEjEJ/NBEjW1LTddBj9nTvy3agTW7dOu81Obd7ILtzJAICfU
2OzB1wNn9d9T+tOjinuyRHwAGwYlf8GNt3GC1aIsvT8sTO+Vx7IKrR+UQ0h9EiMn2V41tGgPD4eV
YnrBgFIxWYrJJWwjl28MQx4mF+sMY6L24x6PDXavEtWJp5EuMC3fpjamxd54cFeKe8lyqlbiN3Fj
BJf3Hvue6oH5bwyFzZYHWdN4YBHJALW7eCU2hT89KTSAtKt3DqM4GRqi6eM7rw1+FBeiKN8nC2UQ
rJpfRIlgsFxYhjq9uS5JJPYbilAqDyYAYXnAhPvIiTScM1GCyBjOkj8kAJQdesu+sWduA3qvRd9q
36NCpOLEMsp5DfYv6Ft5GojmYWVnXQuHUHccHmsxiWPdzUhrcsgcHfk7HT6GGQ+n7QfTAf0UeALD
bj2C+8tPmwf9nTc44zIWEn1MHRl2356BRiE7uVkoC7pA3LhdyEbHzwkpd7gGBVciZq6eXgsxX8jy
Mid3KlKFpieuiXMK+JE8qXt7RdcRqvJWEB1g1fPjsHpDGqT6bBuWDdj2EDUJ3rDARt7BiuFYJCtA
qIytbUBpuJFN90pPBHydYX6SI4qDNIC2hK6/ChnPTqAHfOfTSI+xWzJcYyHnBg/rFiZ185h1NtKJ
mt82hek3BujH4gBQAgIlApdiRAmOv1ss0HfGCr7YugNhp889VC3Af0Np4cTfueW5pMnoR2YUkPVZ
d2eYhIineeW4OqEF+0OhWVMWqlvMlqysuv008LHbWFIOsBFbq9iZAIaoWS6SWLKNP7r0eFVA8F52
nKYp2vUGeIIXh1ikcJ9uRxIWFwfVIY/WdVfTMcm4Jug64CSDqH4ciHyiSWDqmIREuxRATG0OBbRL
m9ln2sSQA6RG9kyh+Sv19UfUIqDSSf3WKYShCtsWK7Td0kUAaPGJI1Kd7qEJL/TK59SwqciGckW6
oCAKW5xRDp4etQRnJ5+ebZA8CUuXTeq1vMd9dgpT4NGFx29Z0wp2c/HAdGgFvxDPodE8h78bxfyl
6lwL4FX83npMfeaFry7N4nGqRhg5oblvM0fvdVnPhBBbLx56y9yDst4GrceGYL4rlXxZXa+b4mFe
UQc5Rj8ouCUR00wE+k7+6Rb/rU98+B2ASAPDnLArSEuUDmjfvxKcFinoRPVpGA1HZtVfRNVwMwYp
0uKk+O3OCBLR6jzBESEIejeSlIQAKq8QTfio0FOGJ4pZL9MHC38Un0rkPkAjc3Y6nT/VkD4jMNqK
Id1XTX1TGE1GRre8iRSl3QRN0FPmM7KojYLFOQe9IihL7nOlb/AJ/vacGyvDNu5/WBFyO7Le0NX9
njN2ngyJXtExRSjS0c8lPELbLn/VA+NG+iZi5LqFsEb/a1zqw5xLgz3HV1B1RnZQfyokpnu7Ct5n
HNNrjJ3qk0cBk2xFD7n70dTXNTLVcMEByxb51iAAyR3wghKuSmA5F2GTVJUrc6El7EC+Oa/pWL5V
g/022iTQOt2XV3kPBnxMpagx5vVvVnS2SwNdxEPEw379OqhRnYmKb4epgKQvDIb5GnPb2nAHbdn8
Nso5k5P5ECBLjSowCeX6Guwkup5BCAxTgKwraQ/Q9ZApMK4H6bkY0gm6Gt1GQ+DP1LNSR/wRbh27
59KjJwQe/sq26QnbzrWXAEtiXHGiTaWijADLWJThGBIQsKh7MywJcvr0VlvipneLc+CG3xIC2Bz+
Vj3OBOD6T3mbQJpm95XH8kvPNXJIO3wZAQ5vWne+jafptQh5AlqPGc/si7MrhmjXOhKQ0b1aBTbp
wC+FbZzevha/lF3uWmxtkcKDrmT82lj1m14KtTlzIX7logeLDHAGRLW3C4vhXYwQOHzJosNaDNwk
n/SRJn4hxO66Hgc86LHGKdFeALsMyMOvnMLHM7XMp8yzz7hw76OYJI5c0pTQCDtVB2N5/q5Kwje4
PcFecGku53bu7wm/Pot6/Cx66seW2J2giGk4r0knAyLjYrVehuCjC9kW1u11abOhZookTIwE3fpO
SdHl0EBFpVT15bx7FMXgDh9LeN5hSMWX2nTzY+2dBz0/dba6MR6BgE2HD0TAI0LldYn8kNyg8jFf
0uuRrsS3n1xUhuy+bkbd0FUHxKVU35bbPrqIOSYG5PASmcy+lgPLPjVNRxofZ67vXM9cGiOeVTHe
RV3yxYCodjSSHP2rdrrbwhmORJ7wPLaPS5K0/LoDnq6e6ZgTUYEOf1QwnEMNYTwLCg7+RvyakWNb
Tn6HooQislBvrE1v0WA+6BhAvm/dxjjrx9asSWgeAiakoqpWn0Pfo6wN2bP63EoO8XpecCO8G74z
kIbWf5jgTWC7Retwojx6QcQK/LXgpE9GTAC43AgeD09LFv8soF2bWF2G+E9fOLeDA545TnikZ295
t9LkCNqMJS8XJuvp29rrkI2TndVQNbYje8x2+qxkutKo+ZVHcsYXuv2+jc95h+cbc/xzHgvS+f5Y
7nxjhx3xDvaxw18bUMwtfYz8v8S6EFfZL5yyYtGfMW0JnzQJGSzCtuuGICvBsY6Gh5Gko2Qrr/Ar
rqkF+VfUVAdBJBctJKLHqfNPkiQj6kMGVSHdDCUDf6z8QFCLbJlzwwie2LUlmzsuQXQJzEMC3i9X
/GGVxRzATq5KbiOC4HmIkIp8BAwPActGn8YLma+a7rfdRddB7Nya6UVnkAqDin36PLjnovcefY3+
uyQmarUcsXSbyschA2BwyCPz4UGSwYrJxCxafiQxA8gylivSf17nSP1uXYddw8KOWjNUXqKQxzHj
pqwwYeYsbo1k+lXOzaaypi82I2bToqocGRXQjdB3EOX+RHDKeZzWNVV15/vO0yyqr7hJ+bYy5LC7
8E/gJne5cd879kDk5ezaoscignGHQ8i7wQt7D9i1hTcAA7YhGnSltPXw6uqxuJPkjc8JQVxpC4rQ
sYZ91adsB0X9mOPy7UKHJ5IiC6V6gliS1EhL0zBQ7FbgM7I/gVdsBKwRMKg3Io7xdyxw3vj9IDqD
P2lbDypbn/wBgYLI4WWs098VotzcTX6BxvhmLXcY7dWCqSa62O53xW1SVDn5lzYd84L0HPXWvpQY
mODLOm+aMS6ciGOVN2fTqbPrD1fOEiHZXJkIKUNsMEpHqylf/by5CUlWUpki6n1FMLGgR1IkqFyT
7i4xPVJgPHUbPfFNkrZGjJgeB9XAX1/39YVh8x6/BpF+pld6kPyxmasR4ujoiWzAJeh2647IU+6V
jpanIZIvHXwDZ3ke0UQjv78xJn/EJg2wJxc/3TC94GfBP2VhogIz9zBad5FZbrw6JIErAWHBnxJ6
2yqHq+pNH70mQgx2ErshT9zZzYqlIRDStVcaLV0citmy2FQtSr3MY9DgUpcVcXaNhtZhfmL55rfP
xvY8QbHCV+Agiu62lRrJYp5ZXvSZiwcerHsZtulhdN1b3+HYgXF1cMruKXYB9MPCfPaF9xlhUlc+
nzj7PJ5vBT+RjvbWHbTGDhZQWhKkuZSIhySv2SvtnccQaFvo9nffpixeo/4UtdOLadYzB7nmpouy
5xGynQvAlm8qLhcFBNqKpv2aUZV30UHCYaH/rLjiQBVBZUl+A8B4iutk17Edbmrf39J08Fa2EXXj
8tK2736C87rsn5hCvVayQiNWlh9unlDyzcneSr17PGVvRXgn7fiHsU0iiMzR02dR6AtF1KWVLlNl
1Nl5nV7kENziybbggwfP3uRq8DAZ5Tr3u0/6HvD0mdSzBSbhcqUZPGzKIftFOUyudIDinu58MxQL
LO2OMGOClFqPoUpl3Y9l9K69gEDU2nrqe96RKcghRnlBue/9g1Qw4rCtQesllboZjxOXExqLhzrk
7upIUMbwDnMmaadnt3MvGQKUgxbtS6QQCXjsk3iXSwY7tKPO3Aqm1/FZLcPv9eVNVQi+YPpxKuCE
c9Xfxmvh1veUHuiKGhnhrE7b6tDUH6iQymtXcAk1HfYW2+b7y2AedftinU1+LjXLY8QDa1oEsPsa
e0O4upSsbLjNbbRjbjaQT8BwjuxPjOtKFtdhpknUmAzzFDU9h3jpeTuxAzCyNQe7TxyIq8/FBMV/
6kmM6BXWkCi9HSR5w+T9RLbh+9306EGmO2HBpi1j0oHNY4ijb8cs/bEdyq9BMz5VLdOCgb6Kxeeu
Xrs03/WgYiokA+9p3KF6DdmmkXf4aTXpfcO4P1H9A2paL0imAwIJf2+T25ZE56kd6O6jkZiYlHdY
1ktPBTfOUPNbbx+6eMFB3ZChmHzVLhBHGA1f04BhjemRtYtEBT6gs5e9ZodoajYFDKDJ6yx57RXV
o12N1wlvrj+QiRpGwcVPMZguQOQQHdqXKoBuCQiDDMwetkOyXhVV8oiC6S4VqNlajFCA0Ue1W0Zv
2DqufpAJLbFUE4DKCyJAG4JpcD0I6kN7nuYDa1CGBIxJMA8ghNHZH6/omeNKRXaK96ZKfiGacLOt
tTxEjiuOeZFfFP9oQq1DodP9idZQQv63EE+wWXxWDWFpF0fgC0zF7G2xakYacck0uURdbR65V27o
SehQSUFAQo3yYVIfmUNx6JoKsmBOQlvnHlQ3OsCU1sJGYLeQhOT6yzEhVi0X8wG1FmpiwRlfV+rc
JPMt25+rsbXfXLo00K0XFLN2n/6eSfre9BXI7C4PURDRedMr7VJ26VPuTJtR8Cl4k4QGy2WQjhXR
UxhWRPhlAvIOc3FFS/WtGJlnVfKUD7DT4giBDBEx1UTg4wpidZZLn+pLEg0HEWQP649Fp/1VdrRu
eXeHyQx1VAvWI+fzAVBw9GqzbZ3juPQ5+01C+crZ/Q4LJlVV9lXGV+jwsq3bUKqJDBJ6CFdnzV8V
f6wletZx/e2HbNSIKQ/Qi66vsbHED1nnFquyh4oB9qlLnrXLnpUJ0yn2BtZ3oBMA9aMRlCkOuRgA
L9N1fAlwTIKAUJ6QaYj9nDCBDav5KUrab0EebVIISImGCYyDaxAEWIw0iFgrIS7LJO9rFHekAX/x
Fd5GGXzE0b5hfXoXEmdntdUvka9VVoNevp+Wm4mJUkmadDU8BDltWMTjQCQhXTVxKFKQYtyY+rYK
yz9jOV564i1GJPcFS4eNo7PD4sBc6sr5A4PFF5vIfdc7L1RHBzLIf/kMBJqO8UHF1Zo7uKf6NR/w
uRHNLd/uU1syNyTu4zz0QNCDhedvWfHusn0bK39jo3jZLI71K2TbiuRbk33ntpsQK+DWdmMeI5Pv
2Fo9FjqfUOM3sA4PGQTK9XdoGjh+9Ltl89ZqdEFz1t91enhxDUeRB32FpJ1vKk/MthlA4QHinevn
44ayA8Z95j3SoXzVuXoUJZcfpR3ZFibchdaw6UJQa7m5Sqg/Sq57UgS8E1mdyOdsTtLGlztyBk72
+j77/aQ2GfG3tBT5JYjEoyQjKzbiCcXOs8SyajnNbV83d9k00UgEycP6Gw2KhLsRvl+0fPdiOQbe
c1JUF9Y/X22ifqH6P5e5dTMMD24/nwdjvbcz4Y/NXWeRe2jYtnu1e19G5rSSqVoG/XDWDDImHw12
H7y7PpkdnovHPFAghPr0UXFkMvsYyJzwj3MPxVyhx0Odv5mZ1cwOopcWtEat6Ilg7BZApdVNbFeH
Xipwm59a4yoo54vHTtCsz3RkFa9Tk5980mkXre4dBzd40p69xb8a/P5mpJ0IKKOU3d6xbzlXXYZy
j72Pnm7Zqzv44NKWSWbkNE8jO6WO4X0XlfcAbrk9Y27YtVWPZdTuoYahk8VXGVE35bV1cSZ0KeXA
zByRwl3O/9qaPK+a3MrCsGFN6TN3QSzuq865ypbkdYDxrSwPn2Rs38cjIiQ2W/Tt+Y1nKAB89PBc
24RFDUX1xol2ntLHpR3ZcyfvI+odWI+UcIBYkpW4+WCQRyIWehLBvpy8u2pAsq3NBJ7FGlE8TCMy
EUXGXvlZUbBnMc/IKDLOf+kTb+UTDci682BQOOIA/4Pr6ssu2DvXTZPv5q8YUck2jMn0QmWUYUD3
M0ZYQXkUQQfH1Y9s8E/1a87Ysvck002Nlj1hPnuweqzx7NmZd0Hr61+AH0Jfho4dgHohMxrgLrLq
pyIn+q+ar9yiwFuFbaEQ1NVxFlkbY+Nel/InoUEn14BoPlECFEXz1achHpN05xIet+0nA0+paikL
YrQ6EnvBiCuikMXDMqTrcbKCGBdGJA43Q9lY2yS8yoFG7WWfsXtSzTG9M1YeXsUlJw1QDYSObD61
/ArSiEG9tE52l8LjWpuASLL9JePiQNP1XPrO/6e2/PzFfnn619QWBc3k3/4JR9kBhfk/sJeVOvO/
/9fup8g/m/Tv0Jb1P/gPaIsj/gGyxfZ9rbUQjjL/hLaYf9iaqaPtuIbGRBtH/Ce0xdP/0J7A5y2o
MpTrevI/oS2e+w/PM8LxfdtXSvvAT/75uv4foC1mRaX8F7VFrbgYB4+mpxxeB2Z0ftDfUSrSTQMX
WaZNrsQyX9Vl9zImmTxxTAZbvxgcohiXT657lHKBc5WM9AXCeSrCVp+aDjVkpgK2heVd23VrGCx5
FWPeX0hYhS6k0+u+IMcjY/F1mPr6xgNcvFcsAgRdQ34IZTmf+tqMjGOPxfAV+ZjI69RwJqI6R4qc
74PwVSoyuFqMZExBUJiCGjoOc/wtixdsB2oGviYMi1Dhg1oY/PI6pQTctK2CMCbDeJcNpCenDUqt
uDEzuSF6AfCLh3KqgysPkNNZTJpKjgIOgf58qHU//PSBJJimooNNurfUsPNiMOrH0iGnyaL5RO+a
Z4A7lqXv9kPifmN4Ge/T5b7wX0RKirMMbDILJNrQGMDAvECRthLQDaM8xxLHD5C1ZuWs5/ueRTsw
5HvbRq6iaOHaTtz/7WH8H4g5Lg/S3z5kbcPJAU+tpG18uhmh4Qb9/UO22mZu5oXEnr4y12ETR+ce
9W/n6mOYAf4wqMxvuxLVX6+u88iFrpISUuOn4WpKRihREkMpp/qaMWSyH9moE1HOpjye5UdSBG+1
zMP90tEDD5mY90UbPPYVSXN4zB+AGjCFypEsdmlyUXbxB7uri0XY+uiivqS48+7VwuE4q1bdJMZs
K7DrARqtstS3sc5efYWy6l+/Idr+v94QxwaFxK7RVfQKnu3CRPr7G0KR5liZzRpSE9aNkCfrdp5F
u5KN1pcxCx+WHH4M2bpbP8o9xucMbOYYHvgC0K02HVbWlNsNUBmbmAUzYZ5keCpKn0UlG9FhEvuO
cBhWU6yBCuZ2OcqG3kAGlk6/zr28dNf72cVz83pvuNPZY/z1FzCfqKPdlC9IOrA/R7INZ23vAVvl
ghDhTrhzflmVJKzL0IfFoHBGBabGXXS9TV073hl9RPve7fsBi7iM+FATssd1pPdxmCwEC7H2XLLx
4NbupfTtlKWOhN1X1r976HhA3PDrj/G8tUakB7iwcOrZzXEMpoc21M05JD7mXa1gI1XjpfnXH4xY
j5v/Oo4056TrOz76Jd8YbE8eHKu/fzCuFfL6IoZ2C+Llw6hjIBn1U9SOC5JNiI1d3jpX7pRFwLCp
n9gsJJr9nfYi/xiietOF74NfG3sAyeHNaDOrdazg3i1hrAr8LOyseLQR/THEAH2x/9cv3/nvp+l/
vHyGcsbTKLURAKzP3d8YWMx9A2cBlbwm4DFNDgUOnBat5FRQgHBHYHmCNw/XkEdJWct0OzqHpKTS
AajP+Rbk98g4GRkQtjEnq4XeRYoadiCh7OH8r1+rt37p//tb7dnI9218lZ5hDLQeGn97rUkrqUz6
AUFFNvLtt0k/6JmOyJJO1870ywindRu2LdJ2GnYJS1CL+j2o9ITOlAyIqKYPtJeDH1c5RhJL7qyY
k5r4mJ0Rc76TXtSiZzRkOnjU/F6URljiE5RUOakV+3Kus/20VO9ZUMGkovRmOedSyldyY1nlcCQK
mlKTh8DmeB5prdIu9Y/D8MVI8COslTpEfvXorAcpCpRfw8TOP0kR98hsvLG9qLtYRr9QPjHuFgpb
c1n8tsKIwCu7Pzr/Tth5LMeNbFv0ixABb6YsFMrSkxKlCUKUgUcmvPn6txJ8g25dRWvScUNX3Syi
gMQxe6/tF+x5ZVfd/PdVNXib/35VLc9jymnpum+jX/n3VfVXZx2SGDD7MvPBcCGAHVvN/eIUrBvc
oT13BCor0R7OURSpVsE4kt371xJk1PZZfYuH1PfWy6ryiGon/MsH/MPXbvk6fhOOPtCbxm8v/MyG
4gWFH62a+mxNTMDNhDEDQhZGL8O7QQzJkEMyWo3dZZemBLQ4kCfOQUCEiB9X1k3XBi+eXxMKnX2R
pfW3h8j8/W1l6Dw+bFQ9CyxdENi/XULMPnFXoXHYodC4lSVzp6D2u72OZIvdOvBPPmmjam9h6W8Z
Ywh24/myt+IeaKZmoFqaNsBOfqeb3ERL6VnkzbhB5OavSTpcRguepskU9i9XVp1Nvz1QnmUSqQCx
zvBNW1Hr/vFAjVM38GnLCX0muruFbgWDLw0WW+B4eCys0gInxMTerUGq0HpjL2G5s5NlnByIl4t1
5EfejLLRnJa/3ZYKvvfbZ/NNwICUiwa3p/77Cw8lfxezjWcEKRXVJ2AGD1d4CoKGCgwlqsTAh2pf
k0crGH7BGiG26L+vj/mHO88HkA+mUPddsH2/XZ+mXIUcB2VsEC+zE1QHBIBrhKT9Bf8CQobBPPfD
HaaT9toI6yB9J5r43Lt8tlpWIXA3SBIpgQynb17Zzw+eN4E24mYUQWWcG6+7GPZAEM1EYgzvv94C
v5XajGKLv/wmwf9eTcpl3+aL5oqa7L3+/U2vhjchyeCb9nN8G3VA9mbNqMAevLtpEN+pNk9uzB8A
V6bCqftDsax8esfs99ufj0WMASIhD3pIGZ8RhFeDSjqIwfmhcSTi/qSqNiUoeyOmcvIxOpI0Od+U
dgvRQ/HajRFpo8bqZpbfe/oHBoe1Cx3Mg6aZUS4LDkUM5FddMWXdnlymeaIyoEABT4GolPUsiufI
m/NgN+oVY45mfYmXLnlMYwwHm3+oFfLngHuizgiLy4oCo1Gtv2xHgBtrN7DbMG/6qXLIN3w+/A/0
xUhTtLkAJWrKlbHN+glNJS5k1nSWnazRol7rpUwAJhO7MmriEbTZGnlOT8pfhVtKMzWKLOcrXArj
KTPW+EvHilzYTX6bkPJxKB2+1TwGBDwMTnPQeoYzfNntTEagXPllA6tlxIjMTBlI//IY2X/44k2O
J8u0eMx9w/rt8OTS57mJyIzNHQNsvdLEFVLRRaO9ulY/8aU/NV5j31W1/+5Mdno2Z8jfxCDOljVC
Fur6vcOwJh7d9VTr64tVBGtUeMtuJBj0JjPjR8cI3qBsI8XX+RrZ0d9QEk1hs+g/jLHI0PdA9rJb
3iwOc54GPe3NyObxZnYX4vvY1q/qlTlKr7nxFfkZeOxujJnWy8We/nI1/lDtuLbvGSYni+kB3frt
agQo5UUgBCEkxTLfIVQmqdBq7uIVVZX6HeZJxaVNyTcSmQfiwchWdmfQgt5SvfsVGbhydt6csqMW
UvVbVnkHDciUJjLvb2+9/32nuBx6vO8Cl7cLKpx/P7FDIfqlSbQe9wmiZ8UeB/yMz6NIJeCEiaGi
2uXq4gdfGKh6h694oIMpmDLu/vsYdP5QeLm84BAyBlgSmQf8dg7iu7DteC4Y9/bkkyAnZ+us7uHA
JzDWdexvqZ3cryokBS/HJZ/kfgqgtdUSIfuSD/dlUn/7KCxsom9KrfrRlcetobSsgXZgvWWm1R7q
QtnHNcEYylu+Y5rAhLBCsGRZlkSd7e0RHnghjE6BuisSmu7eyDl53k6DleR28m3XH4lDNyhwAtyQ
PGi1tX2vZT2eaNeRSOmIfutxxRGhCgb6G+o4eVgQpt3kOuTFWjsk9C6HPE9YR1VLFJcavjKsaBXK
+ZqI2RIdFtBU6kMNfZE/PerkkMLj4YfV9XQyhrTZbw8DElQDO8Oi3SaF/e6RosPSxbyfJmBliyDq
btnNuPSuNA6EW6hQIbs89YZvXBGiHdulmu5kDXM08GDd1O8gpWECFuSe+uj2hTuDF6pxU9i8SHZi
jJ1z2YnnQkV7rW45HboEfFPjL1FBxSRIeAoNs3hPcypLPKM8bqXNArDSvlaAUS/IgYF9Yz3cd4Wz
7AF0kRZc/zI6BxOqnJeQmf5TinuRCHYyb8viu0mhrbckD0CVXCIUbDkZXcgvkXx/ph94nQpEMzPu
lbOTte0eJMbraC6Ezwl0gbZfD6Hl9ccE4e451aaoyQzsc32bXFwks7Tq+osOrQaPO7l7sfKCqCqu
NgkRBcTdsn04b63uvEJh8Rj7IL22NCQAGfmqI9lsPCSCQgwtXcVBr2EfZudiv43stQ9mwLtpK1wF
u8B9r4iNs7IG1ITHg4fSIBi4UYtvn/qduJpkITt8aMkNVbf8dsppNTpEAiseVvUe8WL7sel5aawd
ivwhNcWuyvImGvL4YkwUq+CzQHgRMj1qDF8C9W5cVCuHsGDXG6192A6T1sQsYPicNYiD2OI6ZB+9
i5RPgK+2C2ly972b/UhWenyjYP7l6/KIrofdt+0+6SXQhWpu9rVqR4pWvCNBIAMLkDtKFo7VYH4I
Okrj2sFT5eroMKmp+IEsfHeJrndh0aIpb+prMOb6qRkLrsEAfmJ7lPzVeqUcREyOOuEeGPn3wfW+
GhJJQ6aBEVvacc+2l5E1BydGSBfx4ADe1emtV3M2r2R0aWFb8aEzvs4nbBzivlFJ55N/X7hJ9eRo
U/OQz9+hN19pR+l/bbbhhbMyig/EtENb5UTu+JgsCjmm49KwrQKdSx0c/LW5K8bBOM4o5ylZJkDA
hNdClSSTIyMcdzvUiTRDZWs4u97sx4uWgqpUac8a4VmL5aIPXGjDlvttxuZhij0AMwGwmkzGNW7J
5iUN8n3JGHpgSuYu8JE4Ed/G2E59rwga06uWw0DebksPEDmOMTACZkHaBloRF6SUZmH1T188wh1g
zsnImOlh5j5hMZx1/LxFqsImWcJhduhFmekwykH6s90vVaoeFZmdnBgVRxk7WpiQAFbrzvdE1zC8
qxfXIPOAwKjPWRf4+yFLbovYfMBQB+R3kDB7Bh5/sMjskOr10VvXH8NigmRWf4HhmLa3ZgwaSXCI
Y0K+zQ6Oj0WS2A7RMXF21jocSCwHV4JxGJ9Zp57CyRi4qy396LgpKt5SHHRewDtv7N6pR7kzBX/T
1i7QVyJptPFZ89vzgKP2HEiYY9tEaFTsxtycuvtKsdztCjEfQFwHRgfdsQdZioApp+9WglUYNWkj
J7Q1soqW0Go6vzqChWD3JogwGgUSzCGw93OQBQfPRc3tlnrLRsl6tgbjzF9EVNE+b0MoT31AjRds
W2GUl2PQ3lk+01IdpaEaO1WcgpqOu0EKk6ttLl/x4vuHvvb5RxY/IVS7sBb3jkjisQKnpOu0YK5d
PZnDgL1uhILhp197T9nEx4BtDMaajWnu9kYUD9XnzM2+diVxcOpCik4RDUt+f1WGZKtxSkwjWmwX
+pN6oLcj4GMIY9/Xa4o63UvkbkzBM21PNCBz5l/dFHUpz3dtDOze9Or7NpSqW0HAPclMUHLC/BAY
vBg05J7vmKH6w7wyRuZ1uR122+EoR/elUKlKUwFKSVVKUIezQ1lab2Va34rGeBKDz7uh4KswCDoT
ZXw3OzaxCGpWtJ0YKMe4aeqpPWUGbgbV9CQ4zUva4Kgz8gQdk/8dUHP8RS9SVAA0uD1/R++54baT
BF0fCUUxRk9RxfA7G0A6DbKVCf8bPBrvwOM+hBXLJ8fl5i4tfseBFfHsjoh71VP58QWrx3U7M0dY
ZbqEnr5d0F7HvoUbBMhaiViWJ2M7nBEi8P4xnuI2QBnssZhv6OVOBbESesWKlFAkXP8sZecVuo7W
XWafOFzcgF+3i7z1FbrqgOY8UdAqsu7xHKkXx9YczQvLTH0qDtVUVvxoEs1MUz/62MqRXOc8dWnD
YFnyVOWSV6jm0qzIjlPOYrmqK8dGDmGIw/kmsfIh8krYIDNDGgwJN3EHiq4MkKKXfnUtgRxyNnsP
Zm8cLUQ2mWMfy4lrtl1Khj0Lh9pS7d3JO05mhcpIyyK0lij/KLgwz3TZx5x77BuQbrB5/lbiqhb+
3y0+ZSWDB4OcIpsdtCqB/zF+KBC7QPMa+50Wl+aLdI03teAubO73wU2hFTTKZAFseJ9UWJzLPP+i
5Wm+w1aE8R8Ewd4jD/2/i13jfwftLqsH1lQGkxn18f79odLOiqG7sO4emULvDMZmJ4u+jbh2xLsd
43EMzcanyS+w7XvZnuilOfrvj/CHcRKlP+Bn6n6my9a2AfvHdbFk4jh5Zfe7eGRekJfxZfaWXzZh
YNNCgOM6QapRa5ztPOCcmI/r+KmX3KdowxFy99qvgeybNYbvaQ+fejAVN/VK3BkoLRiabv7krcPb
f3/oP4wRXd9gCG6Qo6AzDfuttUKggDBzmQbYqqhpebNAycEXumdlj/ywAtzRSR1ctF8/xFpcHXnc
2mury2s1ZLeZNxS3ftb7e1K5SC32qggnIFRPfX7678+5DYl/u+l82zZMJ7C4tJ75Wy8jst7G+ZYy
q/PAqK8t7/1WNPjPyu6jMTfj7sK386wlOZMcZRWYyKBnwht3kd7K4QDsnFAfRussIzg355QhiTdT
og2NtTP9dYi6kumAu7ofR03XkGMeO9NTDwPoxpb2d0i78PKpmdHk7rcjr8FgSYSR8TE5IYBvb5ll
up9j3ng12mJ7WIgEFDz7hSDrp/ZfUHfgJBp9LBBdPByszDl7JfAi2ug1eVs1pFJgy6zztFoXm75E
eXgZfZNz3OXa3i3aT9vrFI0TDMyUHt/3RYjxnHd6nR5HxyERgWNLGmRUSPK3DKj2o2pftj9GiVDT
6x/++8sx/nAi+I7NhpmhpGNYgRpY/uPOj4cpq9OAL2fb6cFWGHfbuUlED0UrBeGadPeTd5qr994Z
LsbA2TA1NBZF0X018+zhL59H3Qy/3SycAwb9LWEhuv1748uurSoY+LJFm1cnDMQMP9kmIZLuIMpH
xAutWbNrHvrjAPfDddqfHQ6F294b9qlgWGkbpC2kvvzLyfmHpRNTUYupDrMBNqS/Dwcaz21mpG4T
69HO3mvIrpJEEL426HPEpAtym7DCrQHU0c4ekqD4BsE2ZzlSVsSF2iTtJdaraP1e/RfGCJijetcF
LTO3bEFL3yEKuSTjeqkkb++/XFX9fy8rY1WdhRnpJkxVbbWS+MfX3HRCIjFBMF2RBI9AfQgX1UP7
xsFvGjxjwnrbxpMMGsiPs+xv2SyYyZX506Q6uM61hxN++K+TVfRE8kFIlOVyGy8I6qoxSw6lVR0y
h9IB+J/4XFj0dPyAL2ViEU7aQRgh55ewy1zB9ASUayCUd0wqsVRRffh51YWr0/4amJHtPgYCSftU
lctniP8WZiqmnGNWuVypNg+DegUH3z1VmnnGAoEBpqO3rrChaapQhLUWiuZV+UEOzkJhsJUmplZn
B9v+bDjWa8NqlzxE0Lq2Ll7S1vu5GtD++nwa8B9R1Tpaz2Og2nY7a8DOV+vVtwAKs0NA41AAsDCI
+hV+154I6WuxJa6v5c+tUZ3jXDsAG8DJlj00wvT2tjv5KDnnoyDXbqul2fJbEda2Lxkcu62KwfoK
FLGnaS40DaWcL99asthwrlT3pOMSCu1Y32BADhELrh9NTFXcpB56CJVGVcxfrLqq/zKDMjzjf4fx
nmXh+7VRkpiM8NTZ8Y+bxpU5BaQPyKcW+ieDaQuu0DVMJvhVEjjqlcZy3o1+wBIu6JFZEW/lkBp9
90knjvzOy77qcUE23+gI1sr9Ed9uft+DKtjKZ4J75h1rvsClw5j1fr9tBnM9/wr8CpHrkkAZI+fN
afpTVrAG2xQi3G9OL+V+exmgWTTQR4Iuu2wDJog1mbuWIVGXtEz5kVBQXtBqmlxrK0lekgWRGh+Q
IoFYrdJOnV35h6kvznnN2sPqdMaRSX2aWuOXiPGuVMJmH+OMP7feyRqrMUwGMLIQOx/qhAnKVmdK
DFRRnkywLdb7bQ5f2+Zl9bFBpsN8ZV1No6A6wYx7IjS75Ikw1m1tiZH8LiPLhekFn2i7LOiHSUFH
/3LFP3Sa8mHaDwk5ddOCcF+ad2Ymjj3dcUDYTZT3xpdAmF8qj0hZSCyws7Y3SE7/1xnlHiE8DBhG
Lj55B0ArYJFtF2CrclY2yTMlL1xo5tQtaYBgP9rPXWscpwwWdt5rUeoRLEiTc50Qk83Ag/PU2UPX
uOklraW+rnspqxi2LVcVWwrrS1VWW+k9ZTIZAQgeKtnEEfuCbicL6n5Y8V04Bdk5W80rLRM4bKkx
NEMNjRPgprKW6YhSpfu8fU7bgVuK8nsniLKIMMFYYUDY7T7IkAUn85SpIELEOY3W7odJ2mi34R56
jpShI/uvTuMkoeEQyGvYcxO6c7tGSbsOYKBgCFqG93W0mZIIYFChSLI9dI0l4jJOGLDNaJJNEWJu
qy8FbuVwRWQiu7vsMXHy9jSL9FX32vhSMgEWBE5j8aSvRTp7qgvQldacPJp0eLsE7+6BlAZsDCNi
503l4mszcxioSY0x6xHxfKzuMdzWqXEHRsYk63Csn9dU7iWw/cnWn0wr6Z4nkqybnqEMduLjNn0w
0lHe3GA7KqPWYlCa2SOnsIaPg/zSi2MvwTUJ1uNq5grMVlyZgLX7tEetDtgPow8sbhodTHO8iJyR
kOWlxiUmdfTCBRv13da2aEM1hwOMx4q4aTBSnQEImno4W9nhQJ7oeZcJYkG3J3LoZzRRWAQUigdB
AFWMr5GzS5TPuAISq3ggGQCgEJHpqZJwEvVpKo7bPbD1YKprrQNZ7CiuPXhYDWLJDun1No3RIOX3
SyH3GX4W7EIWDHBGjvvtYiQzxWNS8Dr4EOH4YNC438s2+7Ldnngt3govL0NLTc08nNbjit+Uccmx
sHN6XlVZmnUblaMeUAs+kCodhL0JKDxrrUNhCfhc0o50nOtjhZ+K7VrLq5S9WK80YczhjwY0tIPd
88knWzvh0ZuAGYROJ7vHUZy5bB2wVS8gI7tZozWPH5lTGUigjANaKLBSRnp01pwPJfElbmMv063i
cwOcMm0yal4/Zlg1UlrmmhMwQg+YOeQ9FRIeFsbT0farxw/UiVAHVR8uBHD4xGluWj0NKf9qTGPZ
ZRvWCOkvl6x97xavJzvc39mqonZqjuWgZaXKgMo+QP3Fs8BSsa4ftjn2NhvLSZLapXNfHVc2jmY+
z+EII23bFCNqYZflEtlD3Y0oncjVofqFrBuQmaczlq2X+JizVSjw8aKah1/XZWkFQYzrPxQK/FgR
Juho3VXL5LrXAHYxevc/uxL/tNYZdTSmZN9SqDFeWknaUi+P7SBu1FpzWhlE1HX3KqzRZNgqAKFn
dXFDSEB7Spc7Z7HrczJ7L3mTfHdWhR3r1XzWJDmqgN9gsRLjpeghgkI7X7FMlfNM7+S/FLrHUMFV
wWqUTNi2O0EuaqG/lxVw7KJLvfM60E4TmVuFW9kk4+GpKAM3mhhfh/gRGMKgtNYteCws+MKFtiNM
pXt2zUyyZsFwEtSFsTP7e6MCGpAj8t/XaXukGWlP9tSXzwJR3vaOkYYJ39+K7y1V49gIRPcAOO5i
f58VPM+Fb37pmHJ/vPHSmcy6wKQhtFmDFJrgLU7msQPmCtiBeJA4RL0HKJR91uKAX9z5YfDA8MTT
a4HrYVeZrAdznFu7bdlczPF5rAyCnOWXxNXH43bfjTEDXTH+qEvgeak5Whc36AAKq8ZZcpKbEw7F
Xg3L8gxTKNcQL0+ZAcrEkIUfDeDGVukFm4DEmD5Nlik+puHb0d2zVtoFI7FyAW22Wo5Id0WEDx8Y
MgHYMgffbCcB9jQmNSCsmG8xMnCyu+Ld9nVomrvrdMs6eRkWqeUtL+Fwm7BJdokLryK3zh781xv0
oj+2PfykLS9JI1/zijtsezs7aT7tOhfgbt2IJnSCDga9V7y6G9YcV9yNjv7g1vbTW4xa9a4e9bM9
VQ3I2FKemHR6e0uaUIldXprW0l2C9v8fdDAuvxbXBGWoRp7GQM1UpahpzNhaUH6EcrKYF5Vx+zgE
v8Za555IqFAIO39rYvOuWzhZ80DhM0xU8FNM7dr6JXgxW+372KU92vCXimQhn028bkuM7R2+/Vpy
9uijHVxbDnixfSUYxFa4wcJcK5Nwq6DGeZanuqcLbdxOi4wOYa3WJw8x8ouD5SXuMV58GCbwpjmT
bB1GFNEWruaxAzTLr3zH42X1MBmLae/P4xRltN4AxvxLTjwcDDtxN5bGZy2w4nNJpRjlVBA329eW
ZlN17BMGBvAkMjUujB2Ig37v3XitK1kEot0p+kOr5pfQk0g6wCyznSdewDe3nXY0LrBcFT4Uc8sU
U69spcPWCmxn2lSSqgbqT97kABUO7XF7yoL7FkngQeQYFnKj/OJ5rxqIz+/A5whmVUHqRDG4zM23
ScPWPm8bDFnjAx0nDs3WxZ+b6D8dE2QJzlwT4SS+gY+1x/K+eA0bEsGEdbH5EmaMcAedDwsugnGU
Y9AjWVV8ymveQ2tQY95k9L5tdnXJfsWx0EEOAqKXY3QLxV78ktZoC2shIBCO49s4wOjwPAZrdsUK
aPul3Rqzfl5jpV3iLwhu0r299UnbWJxQnNkykRu0EEy3G1/Io+OZ4Dw+Bsa+T8wi5esRrqwS//Ec
Ijr9JlLte1ZjvO4qZs1YRokhJMdlP04p4JiBqI+FJLf5HkcMCSyqoyNhc40YCmMYBV/T6MP0seMW
S0Hw5ZvtindRAdghIJB7QhW2YMLuG+DMYTIaekjvcjDhbqTBVal/8kwfdmlIWg4bqooYpRpwUSkq
hsJj+cBIYSbZBkmN+q9ta6xMBA+WCaBiexqqTjt4CErgK9kYF+P6Z8+qoBe+caxZV+yxJL5Mi3E2
y8KhkRQvribOGTNjwKdcM9IqwOAUEM85StJMTJFfgYRtQE8OCPii7dYIWvHDy0gw//9vkYWMPr3m
a5XtCrXyQc6s2lX5Uohf2NrIDlfCl9lYfg3Adk+zw4vc06cftcqEC3izHCQ70V3dy2ey5O6KPuPg
1cBt6Su/pJ+w03CFHnXFsW567itVphcYu8D1zsdZbZK2UdhHF+NpWJym5i5v0n2nKprJcPD/mdi1
0PkpIeBWORVKoqFOUln4fbT9+8E6XHqfKGBXabgTb3xvXOPbx0agQ9DjOTjC8hEXqD3DMqmKFgV9
Wh23s4ec7x9O1X2BH46m3CuMsDWHn9sjaWnyHVdutZMTfJ12cC3lnmcYQSZOvCa3cTWfGcugXuHU
OPT+tB+NIqp62X22AkUJH8zXhcqffs3/vs30kZYWN5BlIptlsOZQhW299HZCWIN/bZjinTmTYayv
+Wn7fEUKIsHXxhxSH47mJoZZshUaS18gY1/7Q+rFL1uJmanaYStG4duDCqFeruDDM2vxIZMKVWZ0
YJwTSYrVcuOooB48qWB64NtJIRg2FJ+mgVTBsZ1+bC2h68n7GDbYjdP58RlCnR22HZzfJKlDhzVI
zDxpL7JgZQastATcMr5SvBHb9ASxjmG5y4RhZSc0xM1brkOYAEVBFaKyt1226JvAOasw0hOfIo3e
D7ctVyb35Yxqs5sYcdhdGmVgMHYFcu8P8W2rJhDlCkaDWuOSTD6Skrqfd3kvTq1nRoNPOgQgqD5M
O9LDVhMGhhyGMB/N7h7UyXfyzJigTlo4Z1l3GvphnxDFBK4bCkXcTM9enHS0/YhZCL5fKpQg2Hz5
yvT42TTkeJrb4DUbGMU6tjzwyE0XUYPv4F/QpvmAube/AFzKTfwKkml4w+sKCJZ/GFJ0LMRiiAhl
IMo/CLPbf9io6IiSbPZDA0FoaIGIjrYaYMhwRpst1S2JeK/+gmIv9gcmCrmyeFkTA8ER8G9u5W/b
M7IWGe58zXjdCiWpDd+znAgZfzyaC4N2rVc9SZ3nx6aonj86Fadbab97GOKcIyDMacaW6q6exvtp
oD8004z3gG882T00r9X/VpImfdD8yrgmh0Agxb3RKbagCGHzbDS7QjvplkjGNdAxsXYVCUp3y9EI
tPd671aXPGKLK+J2D+9SoSh4ARkMksLRnTV4hvCwm4HyYdEkjaQvH7vR8REGtDKEvZlfnJ4vui1e
spixXtcg4dNSAehpZrnfMxc1fdIk/QG2ebOgRstb8GXbeZvji7kmzngshnY+FRx+Ajnrw3aZR7On
mm3d74tw1T3GkrVrVypUfr39ao0vW90oZPWMViJhGdMh6QFKG41jcS4n+8UmE/ez8APshGW1b4B2
RMs4j2cC4fH8NsKJtvZFmgtfJ8d22BaY7726jFVPbvCDkG1gj0Fuza7lAKVLC11RnfyhQYwmZpbu
fpGRF4WdqW55ZdCtEPjQ79cYmqBRpYBW/ZogkCC39oOtvPzpCnuGmc8np8UOXU7pU+6011Lqw627
2ChsOZlI9W0OuWj8+6VzvjkjdF4GU/at4/H/V3n64K0G6KiMt2kxmR1YEDpI3z8Jsf7oyDcA6mHv
yOsEr1c0Rsi9a+41L3cvqZzPLTrJeCzH81qZV8FE7Qgv2KDlzX66DYHUOczVsFkFqaBrfc11+vL+
tCx2E5ou01KtaB4aS/AnYNqn2CSn2MeJD6gADt243Pu1QyqfhRW5LAByIUUHRm2fAhaoy7K8FEaD
Ywb99bnCK+lOt5bRAubwJ+dYxwGdQMX9bHdkoSa1mO41eC2YhOD5ATq78AWPYY9vCwucs7dWrbwo
vMxsEczlEGXCPFk80/FP4WjwvjJSbmLNlzntZf842YQCBW078W0EWGOLeoBj5fLK66aTtwTtJ5IP
UNKC8DLj1T869F2LVzqfWTpVUGaDon9bG1Bg24vRjPWIXIQ6CoB7272mIzQZ5kNvoZMzNHY5jDyP
mtYUkSfrr5vPDFnIfljIYzUGDWD8zBjKxntw0HNx7UX6FrOGf6zU4NOv2lfPeHRKO9mb64T0Iu7X
Zx32L26Aa0FZf5vGffXaN6jbPLDyZaEnx2pY7ZcV/gTGe8igbXYq+9J55u2bhlkJidodvW+z1qeP
I0ybCDmFv0Molj1MRmh3iOVLUhKOdsphXBQc7DlDHnZyY3ypA+t7ba5k0I11fhnhp8bpKJhwz3dJ
MBiXAu52l7Adz3Omg9CrD5ADtZfS6BFPWfz4tS8fFlET21iLazJ27aGsY0hBoNMPksntzZw4PHfm
0hxzNuc3wMggHhUwve20R4uXPgmw3Ozbp9t8UIEWQGKfJnRdXn6CB5ldKyPIQ91FxcCpf6WRIkxO
aEez7tP7Ml4h4uI1CY3R1qKpA9JjF/lMOHJf4UFWBPypwwoy4UiubKidCGnYdLhXaUmFJDaX58XB
XUzsoofsrj8yreiiHlT12RH9F68rfdBoHgFkjbMc/cpMdwke/MvoutdSIxZ5YWh0v8r42o+Uy5U7
GLe0JeOnaUyvSVb6D7ip04zB3CJFcB0nWLpVnEGqYxB0EAV1nBqSQyAC8T2kAaCftvDO2z9c0UQg
wcZjWZjeubFN6NsFe9FszrOLppMbM+ZdGXIN4suaAy1CYl0e2HJwmHTJlTvIOm5f1gol51gmcMuK
pqtOluZNIIqAjaw4SUgVzaJalNUzmdzIIWZvPFarYtgt5npyNSQKrGvUCwByJw3rY7za8WW7d0a7
+dqaBPs1iWNEMFx/gAdD760jZmAn7UaVh30alOh05/f5fFcO6RhuwiA3GcZo5h4gAUx78DtN7FY9
WO/yHICLGcfPVe7rb5IdX1AgD8rjyrhb2/RhatzkNOJXZN+rRC589NQGGecPvXMkzgl2q2DKn+Xd
A8Ojl37hO0mS3HwiA31ZzG8rkg5CMhHyDIDIj00rJ/RkXvypwAixy6vnHEvIc2frdCaTkR9Wt+ds
BK1IVHpVXdHtwsylQ2FKZ+waHfDanAsYKs18TMaAwOi5JawslpEghmpXIFa9Z+q8U466M3Px/ZRR
lA+myjCooBMRB387e/qJWK8ybJ1Wexj1DI1Z+50ZsYUDwoB44mW3rtCeS+H+hLUrbpexdh8VOhXF
K1CSeL2t6jFj0tNMe2dA6rH6PA+NrV+8ujDPjAOcSNDvPSSw/KYO/FzN9uC6/S9R03i2ZUr+n6uk
KZsqZdLR5vpNZ9w6IjNuzeplQL1zyR23uo7wPUKthl/kw5Gxb9I0WcExkXCk+oErLXWEIoBFuyv1
Q8AI46I1Lc0AMpzj2FKL58BDk3KaH6D7dL2dnIjiiPcuIC22rXdDASkdfsqrGFr7aiDeiFKcwASc
fSN4Ib8vR89E0V6Nu1QFQBkBtH67bbydN8TwoHXH5hH05iu7y8nvnigD+qdVFqFHJjrIqed5Rnik
JcsJBQzLRVi7MDYqD9AVWSD4TAsAzJI412wiTFRLlOiORMvWiccDDUZxz12NRcZWAwXSHivmwHcI
KeI7a8S8nxZiPjVrDyy/KR+MuV+xb7oFwcZs20dBOKPlpeiT2ZfKInuvFL1mwpXAhpsAiyDGWKtc
zdOMIzSDrd+CiwQw7rMnmIu7HtLEWNDkt6OodihY6QwTNP9bNTUlEuzGcMEnFNAS5LLqQ2Ew/6wM
JqGZW4fl7M5IRqiI8XUhf2NlHLJadeprrRwI7kg5vFWn24KWReALACbn1l76uzVgaoZKTMNaoL8T
i2J9nvD5asU+a3TzKXWhl9eZP+w1RvJ7Zn5XQb7MHcTLB49OphuM/AdvZmYSRGaiKGqUSHWb2Em5
fLP90b+Wzep/rHYGDvhdG9zbhDici5rJgxK8sQUFmB638ottQ9vPq4wNHQ2qWEi/NKv6G2vK1GX6
3HZwR7Cd76o+QDxCYgB225ySvauPgaafeB009G9MD7bedtGV1YXZCVan5o01FV7CvDqNGVo5bUWx
a1QOxOj0OMyK4JzMyYnRb7gt3VbNfYEExA4h0LtjIZcHgXt8V/sP1mPcGxrxpD8d/9kSr7nwh/u8
nymqACctoGteAHnszXE6DY5VndOSbR5NHXoCyWirX2ziYRYXbeeofUb3Cog0JqrPdrInFirpfeKz
XFKbaanxu5WOACS2cNviADZoDUB2xClRNr1LknfMEXyCEo/85OBj4LRmsyZ/et7Td8wHU59uZ78+
QEXTHxtdQWfLEibHqPs3gUiSqwY+HZ/HvRWQyWp1xX3TLt1B18efxWqs1Bg21gH2MGz9dmWsG5cZ
+RxZgaRspHLMd4wI3yq/IIBjIJxySLP5YGj1pSYR77r9w9F4DxozfcNYsGZDlhn9H2Vnthw3kmbp
Vymre9QAcKxjU30R+8II7qKkG5hEStj3HU8/nztzukvM6lSPWWeXyVJSBiMCvpz/nO/0GqbfBr7J
NQ2IyjaZfg4doZ9JBnIOrewfjLW6U4/8QulbfZpIjG3dDrs4NN3qJPk6npHRI1RU2Hgn4gL9RP9e
XszLNtZmaxVqo3ancXTOntMuT7emXxeH3/gvnD+P0lnmdIt4ieH/G4NZYiK16RhRAaah6BjUlwI6
7wE7YkCdJbE0KK8Nv+uuTcXFLSk34mvxoFFgivC8uMcwANpkZSNeoiHC3zAMOOU4a7K3F09GQ5oG
wHrzIKCeHpcMpJS6RwbNYO2WqXpUKwmdY98yb/hSAI1ax5buHQyjxUAd1dqqZEhNRTiNJ16a/WwC
g/mq1XenwmhhnYUBeiAQmHVmYBGLByosYPTcav1njisYNmESUTNMR6s3CG2flgVIhcj40kD/OSEa
3GTMWuBYI9hWDZOt3DCyoxLdVB6BQ7w5OOYzZvChNb4aVhRulCWEBCrnxcK+K1vQ5jIBkbqVuP+S
RReyJcGpEt5ZVDag0Npq9xmFLQSa4k+RlzHDJ9gyN9QDLn7ET7twaMSu1UNnSEcW98jFljWYiIiG
6PexOXxpZBEUR7tx65BnI4284PIP2fwnukiczLp1i5YhaJOdMCZDUpa8CmC1+HpBFM9bC8b4Wbla
Ww+OVTZ/Vr/wm+WzKK0fSsimKvapl6EM6RXEWIjvRpuCjTqABNIDgxEaf1XzPmQJU6QXp7dWWSIl
Aaf8Ytf+XTo30YE684Mxuc/sxwaBHWhPKax/TGUNw3nuBQ5KflH11BqzrebSpxunBdUiM5q91Bc8
PstTWtLJJIxpixD4GEkhswZtIwFfL0NiPIyzST9PYL6GCXkrZaUY3Oozw5QdMstJrXka6DBijdho
uB+kdvE0iu59amwWlnaA3vVmg7X7zdMk/mQYdRzhmaRD8T7qrvA/RCudyOmiyKIRWiTNyRDxtMtT
ujiMwqWVElgxhqLlRRj08k5p+GhK2qIcKSE1B4cs0Zt9KWCzSQcyn9o2H5q3aCDDZUsIuudjutfD
46iBFOZ6r6zuyszPOQQNMId9ZVv8ZdbypMbZf71SiD+F0ByGoMJDu/YdlouPps46YgATi3Bcx+5w
qapo5sI0xfdxmrwFlH0fdPFVafhqvKFkIbVNx8hFa1gUss9uJKDhkNkwXgUO6sRtfk7Ub0wuDMOq
RPGF5W8aJUReKQBX1besGE7lYjTo3Lj/sobzRuNDSGXCWP3Gbmj+KRzJjydcPjv8x8LxlE/tXyxF
wJYiI2o7hmjV/CmtnXJjNiPFPdMS7q1qoOqpTac1Bd1KWFISsvJwuXnDwhM2FFdJ8SwN00dobyPh
270KHHWuRF2bhLuX6PWvP5I/WyR5zZZL8AubPtlk94NFss1zn70M61+k2RRuL0fQoE+EJay15mfN
oVoCAhOMHmeBfKrFNMLTyFeeM61n94E7Txjqt7FK6e39xSbpwCQBgiGhDPi5Pxq5azObkobh1VrX
c2fVwTKvmC96wO3jsPW3GYb+QxOYxGDpoT1Uurx2iuBJC/H8JUtz/s1bBE7h37wgxzRhWhg+3131
vf6XD9Zwu7ZNGDtId6NJqKWztxmrwUkznROPD5g/u4vP+E6gHdqGKfuS9O+KgKGsWxGWJxK8tNqE
Nm6CMcIO3xTDJ/U14J59yQwm3a37uTQKkDokxDY21gpwO9E2GYFPGDW1ny23vGMzafepdHiJ4Huo
c/zt4+qcNvDSu2LB2eEt+i3AtSP1Yj+SJkTnkksi/wQnJRG6OTNAyUVRhsiklGhDIAJzV99Wog5u
J7owW4EpstA4pwccZ1dGlFureRi9DbMvoCnEfdsy/ZbakX4eQQOtUrPQnmbffWZcQ1JrCYZDDeb6
pYjGL2U+dielHfdmrm8NdE94MSw9iV3tE/sBvFD/PNXhm910BRp/Up4dNi2uu+5JvXeE9ItVP4DK
D53KOrU//DATayHG4bPZt5/QNdmrssfaa2AoRc6F69bPiYNVY7ndufRFwRGL66fup/W5YbJKE+Jy
M+VDcVP7y5EcmLZz54TmgsUNqT0milJjAi57pkryVA3Mgza+SWyLBqDrUIb2fi4xN3DSebXa18bz
s0sTSiuYHiZnj1gcsIguh3yp4UnvLGR7HY1iNCkFkZAQx+dOQsMfZcDtbd7gKTCG6Aq9/S7Cwb7i
F9hywtDbRLFFSVBtxic12FoKio8kf7nuuG4QiDY7b36fG+qNIJHhHbG8rqOm308meD4r5HhsJsm4
lVZztE/pPSpNtI2ROeHJIXyQy+Qe/2XulwsQT8eOLynWnZUyQE8ym9Ynw/AeByImccTmxV6Ta0+D
yL8ACAYdL92HylpNw8KAiFJexs76Tn0VWhRTk4mzMeqRdmOZA8tgx2zQN29EuwX7v2KGbHHKY8BV
MApbDda7LUHaeZSvp9cH0BFs2kQCxWYYnfalZsPocfWtbc3vzuanNK+Nd2tTHBDyUF91ddVRXlmE
IH/fFNolbYrXxiDL5vBP42MLaTvwy3Zs3g9LNGwrrZZcab7Jc4gvA+/I2s3qq9qEtIUK3zIeT6xH
u2SMzBvPHPapbwc7NRQnY8xPI/pV0yzLXaiffJMMFHOuL3bpOOQp+3pF6103Dfor9U0M/s07AkbJ
1a7qu7Dv9ZMRkWOKNXunM9hZ04GEILsslyXl1FdMjr2dG/FU0yqTIqPeiaa8aVrcGVWXmjuyjtau
b+rDaFM06pAcPnL3OQw9LBsqvosDtVzpFheBMmTGpgUcNMReScUJhaHWl8TygdPgatjXWokXou8/
RRX3dmEFr7m49lSJ7BtwiDs7RXKr/ExDS+L27zbzsZVCkUnWj3GYxk2RYrEkehBuibobTHvmJ/E5
0cJnyShrrPFolRjSmrF/DeI8P/dLcQEvfyxHLT4m2YWj/d6qrekuT61+my/hIwPM8Sg//bm1bhxR
i6NBCoKeT6UGAyh4EUsU3ZbMGsJKXjSI5zNMiZbHmnrTVJBu8trC2pmJRUzRxXHrWcFLg5ON6+mN
08BBicuAASWI45OLH2I1GNo+Ixd7Qw0ONZRheD8IUVM9rO0sMAt5ZJBENubxpjSiT/pCXtIItkih
QLQqhvpWbqCV9t/VeUoFvwZpVBGEpx84hqEqy3iaWry7avw+9IJrMUPRd3dXVf9YluqroLh71RdF
eEyqmLo4jnF1YL/qWutgwre9/aFYsAeiKX9Th9Qa1Qhlyd7MqVWeRhIvcS55xctpNuhOVmeMIJaO
i5zuRMW/mjyeldjwnsDioRpUjAig3up5rxFJpvXSkM1e016nJbWnFOhohd0xkq6r3MvAm9cD6c6B
DN/EzH4In/uOvEoveodoFTXbUbJs02phcZe71H/aZNQW4I3ufTIyhRos5io9TwOVYGt1Q/jDXGAc
Gg27WStXJYbAYpQ9L7jD1M+hLlV9x2RCD5jwej4u+wRbrlJH1EER3ZCG4yLZRkXL51n/0PKpPQwy
YpnLe0ZiOlDIWAGPhSi/BrU+bQynvvZ+Ypy4aGxsjycrcYCRqmlrX0030iBdJ2l3qJI3yKz0zlNq
aYThJZ+99kSnz6XriuEQ4UQYOR3tNdNr1m2dnQOJdAl9bLuw01ad32ySDoOmkrCUUTamZXkNJ5M5
Jji1ZOi/KONI7c8Xh8zNRiXcw6l/TE2Of1HIVayVmW7FJ0jMKL8dfM7FuoDnkC1wNJKYLm9dvl1K
d9YwBOMTRYz3lqNaG00YTCfHKt0LmMZVQbXUrYHBqZBhggKhgX1WniFAnr0H3c2O0wgXa86txZfc
wv6baVhQgd0xOZSkq6S01nGJrrx48dvS0/PdLZWkrXsW5XrJ91lP/XVkYo6Kp+WBkrWDxlPOkg9c
hMmNL3tOuzbfmLk4k/T293ox3OmaiM9Z0vhMoPGW6ZRfzUFmrMFV0AUwBZAOXOqWZELZymjBpor1
2I0GCfqOEU1vDfVBGqYEMRnk8p/SNUSKgDhzC67fCqkD6n0GlRiz1XfGnitMMkv4o3MQw9ynNCiq
PXrAWy7L3ETNEKIm6YE1BbisXfXP8Cn0iQLjfqHAK8btIc86eU5Ayp/m+lyI16ae8jvr3n9cdHp3
apm3ZOz0BG4eXIA0B6mNM6vpvxKJRtFanOyrVm+wVyznStr7SrzKm9zLX0RNbecwVqfcuwVU3IOg
nW45lIwnw7BMKEVOvjfmJtwVJg3AdodxC8/ayqiS7FSZxrUgZ7KpovYgDxwbFbIOvOylrYxiO2E3
w0zTHeoi7lcVWZBSF/W9PpavtB4c5T9SJuPSLDx4rO33lH9qPZ3u9KC4ZmxrzRKaeN1YG8j+f9GC
qtgpl0yCfAH745CPcC2m8YjD1t9PM+aBhOHXqgmKgGJcjAZ2ot+OhbfwZm5jlzWS8fuPoppvVNyk
K9EFo05wVbfK5DiGydM4hf0RMx8tmhylRqD4qFxvfW6Ye5QL2pMMTwqHW8yL03WuMLAA0zo7po6G
Q77mCFtrxnjUlCoGriIvmB0clFx3p2w57agVdMFyKAvt+DTMy5P6cz3fvBNOF3EE9HaJA888REVw
UMfKKKyjVUeN/HrJ0HCzCAAA0iIAJqqJ5PHU3zIoj3aN7IR1XZKepZXcB17CyaFuthaEyF1SRfHF
51K5p2f3WzjTPlT3HYAgO6Ob3U7Y3V3cdcq04+BXR8zEChFozsEDU5xYd3m+HN5d68r5qK7RVk6n
loMxg64SevI0+z6ao/JKacM2n+ZkRyabvRxs/h4u815ZeCYbIarnO0v7FIsQMry0AdDMAQDkaJfa
HxTIlCKfYTK0dx+2XwERXYJ6T/MwujzbuTH0NEhJyJ8Jiuzr1JUHtZcRUNhTSoWbB3MGCLtB1kkA
EJUxrNljxiJasMIpMU06C2oOql0dio094D1Vn06BvS6Opvb90e16VpEkiS/qaWZJY/JWMtBY2IYY
20kbT9mkhEc4bo5APbZDhrHBbZ3jAqB7bdnaToW3m4iKEL038jWgeyKB4Zovb7cnQHNR/55C5GW1
VPhGF4sEDgMTGfsK93i5i80w8+zAhjv1rGZdZYu9cj/GVnEfwaS6w9XX2X5H0J8es9S2vraR2ZzI
0nIS4B6YJdbajTluqrMUVpN6JL2RDtEj8tiq46VfKFraTj3jDmsWIPxDdzLXI8ievqRtqGhdqjgQ
MVeOBcbbCPKSe0K5w8UcfUp8hPCBJoIiomAzsIKLeq6U/jjozYJXkT9TuFZ4gWgYHkx5yJbHMrVd
qITEhP2ea1t7gPgn+SDUXAjtmE29f9AD8z3WM82EJYbcn27cRl/bdWVdnTHEJl4zAcmt+hugivik
RUzEmAfep+A4pz5kXY2NN2vJ7TvTxi5Tuu2LkbKquz7zdqDkb13KwDqwzmr3D61x3hR9/RAPTn/T
LBpjOOkLVo9EzXaxN2ith/DFVQ1N0PH8u9pybxQrysizcGX5wWWowwdl+/Jm+6XJbPqEpDMPdxwc
VnB7QpwUoGtCujzBEHkc8ccf42q6agz0mcxH35K4OyT6vG/aSb+mLoFDSbqk7KujgSXJDonP+FV+
85UmZSGYtG16jZiK8lknj2DcsnNqTDvimHTg9OKeQd5LSw0y51O8f6E/07phZFwR4+JBxUYcGWGJ
7Rl2jw5wvQ74zMRCI5lIoZfo8BDWVVVIn7dXn1AkCpCqBbvibiDmtGtQazqznq5M6p8mJw7Pvc2F
fiqHo6FV/Y6ilemoEAmpFcDgSqNnZUifLKPaB51LPYfV+FhSRn/N5JzG77EUO4RnqnMbGyFEeVf7
qDwsvrhf7LbkMhCNvAI7W2sVAnMbzNtOzNghEurD0XuY/dBPucrZeqjsLXCzkMJRe2JkhhgARwT1
QsPQQErl+wAL89AM+n7gCn9Tc4VJsQ0DfiAaJeAhG3R8b6JeInmj4W0IQWJIjoRaV3S6zQvdOodp
pnEb5QFvrV5s0AbOcwBhA2rCiwYYf13M80UBRdQZs/C4dcdg8tW+NbjLXSbpSH3MAAzu79NsDRln
/+Cs6BppQ8xiKj/VEkjSz/1j3A/T1hvicpNrFXJeLN648j3nDe9RZ7CU05EG5sm00gv3OwOKQv1Q
BS0X1dF8XwacyScxydHzmgdkUNKEbTb1cmdvVDzo9/Lct49CaoTyLivPfcxowOHhZkLMMpBgjJjc
8TbDSrhudcMBJxdaByeQKrJMKRi4ZXZLfJcO7EdxykXdZG4RV6Q7wC8zU2mnJz8xxb7gHtT3dvPu
aO56oPGRfMqLniv4eFKPjtLWi6TGBRO/lgGXx7lMzqTHyivXq98gW/+dgCzgrDhMmkwdqMEHMmaW
Nb0/dTq7YdFuCflzLIleDTmmScE7nsr1JFkyavNXWD1GeXLjx78vqa0i9r/kEt2UAxQukk+aq4UH
ousHvFb6in6WiMSL+SXO2Rv1cHC2EXxUJP+MO9aS0rdmBoxD7OYuo5PpxtJ/m2RW+LyPyidIRWhE
nmFaZMR/DaVaXeYYo21OwK7cz6TKCBtky1EfvafE4NYGzNTcGTpyrLeoCtmUik/duqjxtyyf30Ab
OGmF0zB8S62T5nHucRuNjHuSHier3U0Y0+6poaG8ogdB20T0ADCK79yTM+CUmzv7OEdwDus4PKoz
hOdM9zkblPxvgK7JvRu9Occ2rZoCjWgjLzshFwOzzh/QHo1jlxdnNs1yS1EbiwM3Hp1p+KZPHQ24
tnNdrB7DA7lyW06Z9SHnOHeXuQFqw5wUW03TkzVmvVWWt/2+HujT6cK+PqeFOABYIuxRsriXMLCg
Wg75GUjJTTExOkfAYw9y+vR+ajUqxF3ZSwl1A6bgqW6dJ9p0DyZ2+oMfUubeip6qAZm28DAz2gG+
U7//KiTTkEaBiWqXmeny0AY3EzDQ+JaMKC1PD7RBPWNKbDaVj4U8TMsbMxrTrZCnHcGxpzLNnHoM
opBDg1mLKc1AHDOm/NSbL9EYO9j7SvtK+g+fDB6aQ+/Z38nc4uaW59UsqUghw3MysJ5QyNUlm9no
IdImE7uetTdFVWJsK4IdXdnjPmGtdKucGp2BA3doBUwNsnZbjuJdGIwlLrKbITCk1qYup89YMtLf
BKnNfzPScQl3MPOwBF8/7+M3NmcZitFN3yk7SM85EtsSbSet56BvBXQFURvjSrxhKkH0kbRTq5/W
wBDTSum0xJu50t0Wqlhv3CTTsM90uljjRg9WXeK/ZVwVNhBy6u1fC/vCkMONXx83jykD1wUJPYCM
+CEDzv5fcNuHWKZ4ZpHbO9tgHjhT+/O1JRyUtV79mFucbnqNeyAbyLTmNr1bStx8QNH47gNb4oum
nZumC9fZFL5pSwaCyyY06jFpI5JG2izDhAU+3iVLUj8ESeIeIveo5gNeC5K792IHNzpcJ2FN9GC3
PErLKa6Y6dcxEDK9Ikj17kN3sq/awu2W2wM2UUe/7SSkCxOXPHaR0c2Sib1WO8yUotxY1ldTq+68
MP9sjtSomHX4nJjeV6/FRqYAlX3HSpBxGNrwXd+nlW+sqxZuXQff56fDQZUUmPFIGPIigWq1TzCS
nrgdvWXqOF4VjgX1J7wLOeGTuoMjZM1OhkT+qXQY3s7tiIvf+cGAFQV3/kZ4skAvA06dviT1yLXn
qEJMShQJAULS5W6upAq96yo/wux77/jTQQ15EwnREtVLxpO8tZvCJdV8Mn1OQRJnh1pKTlBCopaC
RA+WxfcrwlSnJ1Q+sjNy9JZ0OIFH3O6S5xTGBmbspMlXYyc4jUh8q5IgK+nokUjF1mf5KZIR7aCi
32nptDcxCpf678il/etHGbpfkjA4Dhl+Dw6I03Xh2mAQgn0X11MTwOyMl9Kym5cohQ6qztW2tPu4
NVJVmqKhynT8iPdyZVXxg5qgJ3Tu1ShKa2Oksw/qAMaIEX2WEShXE8X7K54Rp+JT5nnYC+J4y/Qi
wuUh5nO3MNBGnNqJyLnvwd8f1AW2FTvTLEkXyj9eVEGxw/nbRMN0F7EB6iBbA53ZhYxKpXTwbZdM
zonMr14yNnu8HWy3ZXRSf7p2axSnZniKqlPR8TfA2F3Nne4c6YGkcXVcLzjG94ygEFaiIKfMgBbk
Lo4N7gcQ/+n+gtgCypF2IJye7Lwy5Fo1RG8Y394LhiqgQ7KHcEHeUu0VAAbE2hE58fSKnER7Y7ip
v+MBuqjGigSth+PHAkOzAbjBcv9eAJBIc4Br4MV/fwwxJoS0rtpL5XG6whOQJnjE9X7a1D5YEpX2
ajoRAeALvoQLU3U8pDi0dJf0UtCQ8mqM6EqlHIUP/hPkhz9A9oEkoE2dra2tkICgOv07Fo3HbFE7
rRhw1SIGYLN4v6iqL4GSOOmomzZVJmtvJUNUR+AurVia9eRfGKDa2CHNBlIxs3SqKceguwYdS2ng
FN0q1fy7KaRI2XTH4dCK/KFecLouRfCsh1wN24wIQesEl7DDK8Qsh0z1UNK52H7XphkTnecSIktm
BH2PKPF6QBW6WyL0PlHr2pM7tG9RM6XnllyAOgv4OgnJHhrNNQrbL7E/x++n9orOU30yzIfCLp4B
bNK4RrRt40jfXiNIT9od394oa7BtDWidoU5IjGKq2yV3yn2UlN3GreEf50N3CYvoWE6N/QjGZFcl
UnysqC30mB7+jhujEB+/Lv++oEXJsm1h2bqtf2BzLZU5wuTl+9oBxiC5iHybzpZxNfS8pi60m7hX
+O0ul1OOKlm+Rlj4nxyENuBq42msuVSFMcKVza4fEi16MkBkai1ExSXPqdNaEv2cCuvV1aYt9/fy
1OKS5SnF8llYB8hR8AJSLg++FQcbm6DExhtxhWt0aRw0p8eNVtjPmvY1pKp1g5jgAmuJkl2BzLKv
3FBWr14HOhhuO5PjSrq4p67k1uLOnnGIqSRXD34aWRZ0CbdZV2FvbZOcKYxURtS/tKSXMxzS5lT1
+cM4YsCM5PdeiOdq1LL3NBAJwFOmoX62kZZIiGS2H5PyxVq4pimNwM3JpWgZL1doayN2vioQBraC
YiPr51r7gWnzslU+lSqzg21DcNktw3mv1pNRghOUiN+bsl7Kv225Cq+TWNbZTEwJWpc2P473NSxI
gg0tbbtps1Eyyzi7ARfPbJNj4AqW+GraaJlqfRdFm1MQ6S8rs+yffUrtzm7w2hvPdcrmQeee2Guo
6aT78TCBt70t5KHOko5R5RUpoQNW9FDj9k22Tbu8TOFQr42GMjpPC3f0magDpAIaQlnvz7MV3avx
o5qgatUwbk0tPfqW/70id7guappGwUAy6Qqyiz2j6vdMy6HBshTNfdquTWpHiYF0eECZT4Y2wWws
ORQh9/vQanj2eqaySqILR7KXXj8eTZb6a+BUy6qMgmzf6OVuiew75r9IjzHCL8I+5pJ4pFFEJiRx
wCHFCnFT64KSUJknbafhbWpivByh8R4nXMzJWYulkV7XiBcTI0cEaf3GaYdJRICRZhQ9xWv5bhkn
cQhMNwRRVEAarpz0Rp3S/tfr9L/DH+Xd+/PYqgan17KaG4qxuw+//I+nMuf//o/8M//5e379E/+x
/1HKKqr2L3/TJX5F+yl/dh9/1y9/M//1P16d7Ln65RdbVZV13/9o5ocfbZ91/695Sv7O/+m//NuP
/1HhFhSr/75w69j8yL4Vb78UbvEH3gu3NOcfus712Pdcy0U7A4b497+NP9run39nfPwPotb0XFme
42BTEpyJ5Wwn+uffbfsfwrNsh/O8DqHM8PhTLWM4+a+Mf/BbcQnppmF5lnDt/5/OrQ/cdJvmDXna
Jt7GfwMsovXh0uDn6Od+S6tp4WnFIxzRuylasv0CExz8qbAxbiDULnENksGsZXd1FV8pGPsR5plE
xNin0Z2Dfaj1nIsdYJSt4MEI/Xzcx81vXF0fug7ki3WpUzUtw+Ynp+zgwyXBy3KdbEEKlmRKb5HZ
sSFG2UlvPZsIEYAU+otRc5LpboxopQNignJOtoS2kLspgCExdPeBG1ubrrO+qp+r13pz7eqQADXD
PCyhcxdWLfo7/2v3HhtBSu9tYIhzMkVU4eZ4oKjd6PdBfdCLyT4jkGxrLSfHPfL09lxXkrY4Mu25
9QUaNffyahdo8c/WRPeOsUgzZWLMvjJHHm8vgA9a2mI9JvkPR65PjTP2B7Vu1c7FnBi0GF4WnuMo
gBNoNC9MwyFEU3F28X3TfyC54R8WnYaDtjO/+ukMISES9wMBoWMIfCav3fJK/KNOQf/69Vyt2nl0
buyJgXy21N5mpnc+C1zGbz2HFGFX9rlZbPvs1Dn1xcTQgniOWYuoLR4jkobVaQmmg5Za7qd2Lr7q
U3oaOt/eJj0bXp02LFlBtPmXh+mPNedvRZ/flXHRtf/8u/mrBU196J6lO75t2JhkCV/8KsTQpuBq
fsqHbuDaXUHzBZvEPAL6Qtie1f8zKwgXtAadgtqpzgzKGWQJEMIMGtZe5CSHQB6oi7T5rEehfe74
UfKljo5A5W/jaaaeNXNw6rrBDdOd3x5tfrnY/vHyHcBmON5NDH4fqJS1RxMzZCRARoZoj2VWLFfX
TuIr6XCu1DbaQmyB0ofLNA/3eNv8feSl1c7VnKuaeCTkbkliQZzu2dfrknqw0vothI315F+u3++v
EmOmDh5Vtx3O/L++ycSlm9kkPbSe6uVOqwvg9pzVMXfTlTGb8XHSvy0xzTtcDGOcNMfCaOxzUDnZ
tauR1Fs4y1nYPZFzuGZM3s4isLrDX38R/rxU0dTCSikffB290f7wGl098WrONiXj58jYcXP+Zvd5
AJJKT286V7LhpTA38UhSNBDtYOaThXIxhROgV2/lnMKH8sgIxEnW7cP63hQkhgrR/EbNUObZ/zrN
8m56jo0w6lG+5+Kx1eW7/S8mRfD/ofCNicyk5f6sx0o8B9HFhlVnZCN35X5TzBAzrCT7JCN/G1nP
U85kwsMRPH9IpDg2WhMGAc3whef8MJbmpy0GxA46sQaKkrv+1pK4PPkhjKZch2hu5V4N9T3p4MS2
FH+Acyvja1zgu4m88EkHfK4Hot0je5FFr1ANuVfCYQ0y3G9Rfpel/bwrrPEZnCwD83S073IpL5bi
YPRYFr2fduj2D20E59+2EvscmQRwM1qTCVH85pP+VQz64/3jafepQZB75odHnhoPximSRoU/r95n
0GnPXsyBXq3Z+sjSBiLzGRw4UnlWH3JGXVXqeKfSCvODbiMoLlC5t9aubbT5+psX92uvmnpxliF3
TNM2LV13P+6YvkaYmCT0uqj07iAKbs09O/WKxfbGKwa2nGl6dciPbSIa7Kr8NIN7Xmipo68+so5D
OO6tFnxcrNXcvwRowgGt/3ZIAD/+9UtVGvWH7yFvnm/w0OCW5SX/+j1Efp0TMVFmbLTh29jynhWD
BavHLIqM52P6jOODJJvJOTTpBv27amSYZgv9JuJNLutJ2zVlxBDU2/hJQ1K8EKei0SHILtlL2PvZ
b3Z4Q76iD6+YdB0JFo4+SO/Wh3ug0BotICJfrMsCiyJ7MPXPEYDD1rgdCqPbDTqSBay0nTe7DPkt
12PMlnaXOSXH/Zt371eWqfygPcOyaFTSfVMYNOL9+u4R6MOiEuoM93vNXdV5E98uZjofUb0+qV91
vW6etSk5ONU8k5Qz6Nqw9U92CpNHPX25nf0c5yTYJAE9ppmVoQ7pOBz1GU4FloH+HHo46+LG2/SO
4e7GWjtYRGR/866y5Pz5iaK7jB3UNH1WJv9jWZCNcdxzkFiwTZfhrmPMTi+qfZot/WhGhClifJzA
N0AHJZ1J04Bun00bvJ5DoGuSK4zols9ZGMLGISO5EqOdriHpVDuMdSbJkrVTY3rL5uZc9D29VyFa
hW5Ud2OVHysuwl7lm+cBu+6x8mvKqeW5K+vY56AUE21JMba18uQh4vjZ9lBV54SW9zxBI8zcLyOs
PA5TxbZ2vrVNQMA9gIkUTeF3cxYxHjD3iOD44C+Ld2t1WI6zMvlWWdErshl1NF7BCSfqb9QNmZEp
vacgbK5twpILYRk42Ii8ZTNo22n1TCKicy+BlyPb8RA4rlZ9Kf3iSzKU0bb2CJOmbfxYT9TWZVRp
rhp7G+BIWvnVaJ9nvNpX+Pr0I5kXLZVZKkQfns0dhT/VZoxzwvwjseCmTB/VAXWcw/iaBO2ty67C
4Dx+ibBZHvzYeKFqRmM4wwwjlCFC9QbFC6q+N5SXlD5lYLPQ63WqtVA6qH6BMqIIVxTFf2PuDcqy
0m4twEcu0umBZhuOgbl7L6TK7Pr1Kz9DdFyWiSTKROcAFc7PeVd8zuk2YeDK1Fd9xB45YE66lD94
LHNRWXxXr2QcnQucZzjCnA5xbm37DKxlbRffLUub7koNIGWHmYfgDjAT33FBpS32E/P1/ozMCO+U
CFTAZ57HwY1abyYyS5s0qJ9El+vS5ArzEXuwudd8ANjlgtLgwZEkWN0coGfCq7DLhMZY/npKGoCF
jgOTC7mRJvX8KJFBm6zLP8UmylAdg62wJpssNNrSHLjisV9wSWTjUUGI+GH7Hm0/pwl5C7keSGUH
4xz+i3PAYkNcoNm5XhxfwW5Vu7TNAQWpEiDbM9YlkBYaK1oK9Kb66M+BtqvyBBRI4x16IWLGChMf
BmO0aYJoqFVt+Hn8WbtVuNZ5MvajvLwMIAlJG+WbXsPBCF3njAQOh9pBxAs8KOuFN1f7vEmsIwE9
eH6B4L2tX90BxWNNjkh3Ym4CtvGqTpEJ1ivWNrGp6CsGfTFCId/VeVlI4AovZvG+Gy39SOpLHgRN
+ejo3i6qDfu80OKhPvk5dU5VQEjGGy9LSJssmyJ6Fpl+LJ+OfSYUyAOydBFoTgFnSV4htQhIQpjb
+9GbX8x60LFpGbdNNrnHPPDfCBTOK6fEi91EibNNI+5osyiGXe987qz8uaywj4jWezCS2b1l2iO1
apIkxV69+5WVb5YqL1ZgnJt9K5rg0aOuPV2Ga4kDe1W5bgPNm24WvyKU5zUuNEtIIOHiilNSYR7E
H6tDgNEokMufRGV8MhJEe/X9wwDx5I+6xeRJZKsCBOI6I6a8F2GA8oV9tI3r0+jJXIRR3U7hNk/6
lzp1f3J3uIHaVuxwZ21xvG/pvJvWHkVeG7sKOYVS+Xh6f3cmZ8BtyUQD+hg8Wsv8ZFIXd5sdQf7l
uzSKr+oxxZNCu7XdpExtdCYPVPKN62G0l7P/Wsf6qpvi5Bibi7WFnQgPB6akPPzK4eC517EA4AIh
XTyXj8LztnWRi4e59a4EJae7rM1lC+T/Zem8tutUsij6RYxBhno9OSpYtiTrpYZ8bUFR5Axf3xPU
Lx1ulM6Bqh3WmgsbuC15luO60qjOBoRy2Z/1419Psln6h34JBAlKafKmyacOzASj8J6NgwT3tWkl
UBsbkcMdgcWQgFjluExSAOnLQ+QLSbJyUx6+X2Z00NlDA2Fa+TzAzNIPOaleRUaE5nKN1Es/C1J9
PZ1hiB3ISw73SZN8LGrJx4SrtV16oybKHjpzQjQjME3LQrtnBpiuKdjqNYTMLDdu4CFutO3pzE4R
D77P5U0T2Z2BnsEXctDZobHwpcL2S+jJpaqmDiFLLw/ejKGV7uZRcAluU1Dch5lAqG+Sq0Ihfao9
WESVsk8rX3t9kTwHFprjEp7txsegBlFQBsYF0VGTTt5VDZba+VaNm1/X037922g+3I3oi+DYwEPa
h1FHHN9hihLOlS51z6FKv6bE2ruaOBF6qfX+XW9Mv0Rv1gMaCieR7dx5zC8qZOIRMFY0Wjb16OJ3
AJlZ4yQSBI4H/TJUL5hD2detZ2o3/ljHr6NEjBrxmJNSiq+V5enPsK2zl2z6L0HPIYspeVXe/FM3
lNXeYgTAg2ND4bOQ8JRwi7CSdBnbU0zTdKUqpLNaRQADw2kTNhh7nieITD36vuI26U48JurVjgZx
70eSkitP2s/Bu2u3KRtfJkxWP5gbK0ImWTZQhgzT2qGW4G6Xi/RQY5MKcmPciKDi+1sSNxvlfkZx
ita7AnAjknm8K9QHZxyHyH8d8Z8yy+Hg89rYKIP9eJZ7x0G4tZ61kauAO6EWR6ZWyJMHsqhGwAz1
FwSHl/bUyOtX1SN4xWyAhq/K5TFJWQtYnIlAa9xTJjjYx8EiWLjEL+02WXlOl1coyOzTGI/hoQoE
7C6L39RHezWWhiSqYaac0SVlUEdgZJSA5+dLHoA/EWcU3UmrUzsjlCDBj6mwP43E9F78Ov1yMvSe
qBN0bvbfSWBrh74+ER4vcI3M9cYnRDEjmjPhFvoSRsQsFQ6Nio8lvs3wp3JTTOcO/CfT5Po/VfR4
shBV7aGu9dgcpne0HjYkj/lxIpPuuP7T1yFAATSbPDPCFAtJaViO5EEN1lGHIVzvLsIHYEyEejPv
2kPz+F0EQX9ypT4580h8eDe2P8DZmzy3ywZQAL4hUWrvcjofvfA8qCTZWjHn9XpPkuOrrj00lnT0
zlXe2DfXaxCxJMO51En8MlekjzaEyOWZiwi4jj5MAGYkcum3LuUsSRuqa+3nGCltZpGQ2J49acUH
0EVQF1JSzKDCwpNAFEZC8l64pEbaISJICcF0aBPnoOFKbDo714+gUIbohc2xgxgHcZft+6/rlW1Y
n7ZAh8dwFw1CtlyoVY7MUmbbLprVAQ908L3HWl9fHUYzctjptEKM/XjJE11afIe1vAcjZFN6IsaJ
ZBMbDrwd3YrCcNpaQE+W6tnnLe+hMR7QSZHl7VjVuQCS9wh77+rP0dZhklXMXGxxRtZHUXgcRUux
EsvBO4QsIDbSEcb9+9yu5vgLO165IWK5wvwVkII7TXq/HsSmcCUEle6hbjgt15Cc5Uxd20OUI18O
5rh7seTvEWq0/x6xCpQO2ALQUApWmZ6vnmF/gzwjRXYpxnwrfBMwCsE5IUn2UpoGJ7+NBSbDHiwL
AaqMIuTwtN7BTtPUKI4cvV0vJ2/q9zZZ4Me5Cc5obsShtfeoIOtroZ5kamb39Udk7X+jvWJ/Y06P
y8BVF8XVlhBCRNPMOLSa6gwwaH33G7T/B2wmKNQsF/++bn8O07PNPPQh9AmW0AShLQfJOppZH/ei
7rwdCOg9PSuTpCEGU+9ugpgyCkN4/ZDP6i6XK6PtosesbIDf/VoLG0A2+iLt4i+QIZMBpHoKmDee
vQ6Vej8SaW3FE07UjFzBtCAZomvqe1/Or0aYVmdonZvY6S+RNNiOu+kh53nYtq6HPjKEdp1beXlY
v4AqmTZVz+rPMrWzyyxo7aDmo72VlKe13F2pANNUHBtpsivLKwbVDJ/b3mUWbfmY65lD8xKgcGf1
3Kvz0CDJrJwFEcFOqSF9CvrZf+WMT34LwR40NiMjjHpp/u7OHqzU6OfU11dQwfLXKNXdmtyf7ig/
jCiIDwWjKQsmaowvse/dH5i+oRQ2HbhLIAQ7RnTSdMo71mvk2RNvUsRXNjCo37iDSPYuAN49a+FN
4H/YFRUrCpDo0Qt/VhUGLRqPow1JedNW1Zen0dDk7GO2k0+onNO3pOLRmsUNKBxWY1vLrP8rGsyT
s1+e6X7gpJO4dshZexC+ERycrq8PtUK+jExs02ERGux9Yo7F1rF+d63PoL/Q3W5FlBl5vfWS0oEK
gWczcfJyF6Fg0XSOyOb4W1LYsSPWsJe0VVuwJepsSjhVoTm+EQ7Y7NzQfscPj/HGcZM95FFhR5SO
PRGagE48OqOJ4QIv2kveQM0AJklchffHqygrKzn5iEJAvNt9vtd+RRKTj0p9dKq3WObxpS+RMmSS
aLgycI5Ue+nCHbjAvGJ7ktxs9a9wrili221j8zcbyq+23ilIk/AQ0iZGqpI0/trbVGLxLPbeJmsG
KN9F9IGI68sd++aqupGhK8hD3gmB0nox9FvL/ex43IBSAUvDC5R1hDu7gY/1Axky+MGNX2flviXr
IHajW2Ybzm1KfWajtOmlJfW28CaWIlUN5GW2562F2qLVPxhcfCVFgSR/anrQkZlEw6MACywmgSgk
0AnYtciszzCcYCtgYwnd3sBMJn7HyUQ9p9S0rWvvNDg1T12tDri40ZUMFKzO0F39PARODba1o1GH
uNRu3KT5rc1hN474QkMiCQjrU7/93nwNltUOrZWkaGHmf25z8oLtBUNfxA55IFpwUdLzt3jH6zl0
t/UcvwEPO0J/mU5zlR7wDf1R6smtexTcBubZwOUZ7aGgn5yGDDj+dA7H41QV5tWPA2uXNXGF51Qh
SC2+6Hb1FRXxoU7yR7JrPQwu6t8KWBlSse102W5Gk5jLMRO4XlPGG3A4U9vj67CmD6MXKYUucmYv
HraOnwBC8fhrj/zAu74Nr7kV39Oe+W5YHscI9xHjWJr56G3gd5kSFgCFC6utU4BRWxoN98fsbT3o
8VDoyosavojvPvp1/QxocptROGxau3BxyutrfIcxc7Msw7wxW37xBdJ6cY5nTokum7+CcTm0OzlC
1PJeAkHObK7TcxfyxVS6OycVqqgg/ttWJmIWhkQ2VBqM3sQUuAVDg9oUfwbP/VURcrkN+vCtxEqK
IXzvpb89r2SYl4vPLpWvkdMxtQrlWWaEAKcQlamVfvntEtAzjz/N0H4SXEoyS54pMO+qiP5MwoV5
MYhL1REcYZYQwC2Uc2SCYYsKzMMcxs22kyhzii7kh8q919FKYBx2hz6gbRp1+ijj8our+1FnyMeZ
H/ncwk2+sWFluh3fVaYZZ6Of1XHxHM+xRJIpcIOOyOlgZex8beKWsJvXVhSAY/kdi9SVuyzD0g62
39lB7N2kaqi22F/QDNjVp439ec/KYAnTUS9ZjjZR14OxkGQIPImoymI3fCWPblFmkwukRkyLKH9l
SGZTfKul/nIFfJc5sV7qJD5wBp9b/EL3Ygr/dr4DIAtpKOaW/CvSNqApLDO7wmtILrQRN/I0S4QK
wBaVabywbSP2DjAEGtkJjw5eWruuHyDwn+co9RHgU82UQemhYMFXQwxjOmfBrnURjxv63alspDhF
SbkuBi5xyoSsmN6m0Z2IQkt35ez6pzIHVT1a5YbVh6G/6uUoC4eca8BHdNd2xQPfNiNZmldKFCtB
UOFhXiJaZFxbxRLCmAzx+Q2XhEnERrYh/J5s3slG/mIjj6yzUgedpda+aNHmxf10zWXiUJSWfIFz
+e53bneifP+ybVwmVcIB6dt7MzkWQf1RDPZFKHDqs67OZiPZ49Ar43soJvzD4zHXQw952Z03dRY9
aju4KJtztgvCd5DeJstWBWuYvJLaOjeO80S9McBzx9JEIXkRQUxW3OTcmTOTLpKbFCXTgGlJw2BJ
2XEX1ROsWbr3DME4PDe1tUcu/LolhwVgCod3/uX2Lcw5hJ/Masipy7cdtOw9XyJBxJ1xSlHhckYP
L2mAlUaEU7ErmRoCHjjTgxe3vhhJS6aL4qMpOd5aTJHktOCI9bxj73UcgwAfIiFxcfX9n4RsFqxU
/aXHDrrJ2h/MsRFmtycYLZonnpZb+/bBjXq0Qap+t3lXdWQXl6BV+ckM/JNRPqN3mk9EdX8FvbUr
pvJzSsqfdau+0OKTL0CS38U2ljBpwUlS2Sb5X6bFVZR65b52/zHZVM9F4AVbojoDDESDwhCTgPu6
MOtbCnWD0KPE/8xCTrShsH+YCgde2H6hLvhoB8K6e6smZsZnZeeSbZyRN7UdpdFeh66aLmP+SyiZ
XGX8aAqsC8yJ5/3YQEA30o+5zaKdh/J158ux2/pjeyTmdYSSZ5FxrO0Orbrk+LBtbuLpqiuNsh2b
xGgNNNve8MxdGZGv6702HikAvd9TSGXepUK9STHM6eKyL5+i9laGJoS0gJ/aA5zN537wo/mqw+nf
ML8bZhWeEWi/TPIyowPYewM6yha+Bg+LAkgZp9eO4cCAUOCgUxMP7zWAF3fLEAhvGGPcDZeyxs9t
ENCGy2bVe2XlkcL1wput2vnmAhevjLzFIp9MZBq4ei/dnCAtc94Hflrygdlby6gJZBhIWSpAn2+Q
sB/IZnru3Ue/x8rc/9Fx+y+y3ecp723Sl8O3Ds7JbnD7z8K/5j7nW6E64qEwy57sCWx5ZO/GOjIP
YYmC2xc+m0PTxFm60Y9F4ZQPwhgW4iU+SL8B5uRTM2/tH4UlgcWyxdgZhkW+EA3VPiHlaec9xtz+
7I8BnDMbE/e4BlHqxTG2b9HsdQ6+Yqx881LG9V8SjeYDg+KnrCrHqxDBMx4D7FQ1FLjB+KFL5W3K
yv3qOgoOqSPsFejVi2D+pGx6lImdkhhevbkDKR9Z0pLl0hf/6qAZKdlNIhJxuOVkrQTdQPFipN4x
6QOLccjgn1PYN7uhNj+TTs5HI6ju4bw1bG+HND0l84XxCCSCzzI8S4v4LwxmnN2RSRitRrj+GZUZ
UuGwhaRv9gBPKTmhsIcoYYv0BNr2v7myX4DpUs5I6qGIIUATeRxWnNdB1Lz2DWO++CUZq4tLAQai
utzR/5PaUcHXg8+ExbRUnFrFAj+pHMTHFn0C8YKkLcn9pClZZab7S+dnj2OaZLuUFwFD0O84Vmfi
rLcVGFBU6U/sZH5Z8VheCoK5+xLRf2DPNZo8tOAOkYQ7TXAvOwG/Plrh4Oyqvg5+zqXnXYpYoYpc
/i+LUuMhDqvn9U+yWhYvbQIgpSJ7IjDzc5DG89P6V9YFzk8yGxrSauAQVRQ2T83yH7XuydUp3PqU
9MJ5csTsPqHOjA6V1exHkjyw8aTBz3yIhx1Y8UEpSkVy2RkF48n+7mPNlCNOBHcROIdF41+HSXfh
cB4wqZDB5+tFJyKlPDXMC7ekL+yHmeDHPjyoJHLP9lS+x0EuDhxVaC997MXkm2juXxiLCTyAtavv
pvCos3J4lJ0XbJocQ3TolDwSY56dLf1et+Mea3D+JHqszVY6DQdkks1j7oSHb1UBG3ogjog4OZKm
Ec1oloxicftVR02y9k43lbfnzAnHxWk7Iz+aKvzYhU2Cd784jPUsiLrgD32rnbJP5eC8p8TVtDBz
fxwqZzhYMxUxaA6h+RCJfUOdMoB8mN2W1CR2NGBmtHuas38tgWO/uJhW7dnS/mejQykj0+ogShRM
+PXy42DNv/uE35rRHF3aJ22Ut2HlkzJ9GNjaF+NV96N3cKYIq260hDz43NTN36hWNrVTAJJ0jKjg
4+k8t+T45RVFXi57dTvZKvTOPkyaDYyDf7PtcGN0dbOPWgrxouN4dLWV32Ij7zYBGbmXxufHdzMz
3iugQk92bUQbM/YbiOY/MMOGBHuiwkvb9hfFm8JjtAfAYSO7SR7zdFKv4fhGQ8AGDIs1i6zkDkz0
L0TdaA8q7N1AjvrstDzb61hpyT/TUfSqlV+DVrVxqir7Es32L7LyxENZxdXRF8k/Ms/GnZHKxXTd
ETI1voUSWds6NcEd427HGA08nk/2bVJEJEZ193UOP/lEgFhFHJzXecQ69ckVapRAJuPRdcloQySX
EfNjPhSNQ3vpqXMUuywAl4m2lTU8wra0HhsNzp/eAaG9lZ1KKxr5KYby+7GNYnqHwSX+bDCQXi/p
jHb3nnSihioRPNBHBveZS5xiVFFPHwRZGFPm7FIRNUejYtk2O7CpbfklGK1fc1aHEXtu0qTiOpow
JIc8BUafYtZt20OMig8MPv1/NEyYnHV8Kcl/T5eHmcXc+AQL5J1woZ/SD0lFnidM/274xej7MC9S
/XVRV4ICPKRoBio7Tw5USNyTywg0xB5HH0t5g07vL6omcGJU5ih1WIkTbsHiQHOjSxGcU8WUOu06
ogObkac4fgmxr2zwRhDf2wHi9kzGGOtvTd0M4YitIMzHdF+UfrJvxYzBomx4CdH7lV7Y8enhZVz+
PV4CIKYl3oWNRkpGn8M0Y5sQOLVtVE9M1SJULBi9HoNYbCpXhqf1SSiH6BWbhXep2ZS2qvtBESlO
7bLRF3weeB6jTTlYLLNGDPWO19gHZrHjrpkpBcimIAmZA3fb4Q3fKRIk4F9r6nkATKgncr4C4CIy
xT1nloosy4k9r2PWy+3Nfh1xAcoJUozipE6ISA3+tZb5FAdmDwQaqlng5+DWm+UR77iGFjmOK9Sw
izCp1HK6eXoeD6HZvjV5UbJNwD3Uxuazy675nOL42RKq+9SiQryatfvg4tcPcVtDyjZi0hkga829
Ipah1/6PZSxqx3UCkYdhd2cjJleN81W3IG78sZtwFfCLxBK4Q13GN+Sqv0G4L/ToiXnYu5pt+3Gy
0Y43nYeDcNHfMIeqNkVbAxxZZtgyUh7JG6WHj8BVcGGsk99PuKgMD6xZlJ7kVJSHyuASTYohffKU
3z/AzmGTzOkrdHJI3M06+2OjW27KmQt9BmqKkf8Zq/aIH4AZb/CBEXC6FjamoiIMbnWF0kwjqWoH
3+U4zy/eoq8MGiehciCEAXddOw3JtQVOEIYZlvaCx0OEJMgsSUXQcLq5hCoHd7Z3MqhZjf9iDwxL
w6r+2/g+ORm+8Rg69d/1oelGDPN1VP1idv8W9dmrGPpg9/0m1AIKB1CwfV1HWOtxObld8BCrGgkd
nIb4pUkFVrFUvrk1xhqQBtaCZIk2DoLb08gQYFs57psTQq/yjKk6kC1cHlpnicoZUTEl+IDksssU
DQUpcIF4H2dctj4xH6jc2F4WYUZWjffHZq99FX4EaiFroKiE+1S7gtaNnpvm2zvC7vLI1AhwE8Bv
rUv5p9C8cutQO9eIH2DkRY9OOT/Hvv1pUfs+BJbqLjnQ5O8viaGpdYSmZ+FswIy2bCvdOflptX1+
9/P6r9OokwrT30PB6tsV1otPvuPZAZx3IFnExnEYBrvGtaMn1RZ/Q3DMi1RhmuFp1Qh9bmFMBmE/
DycizcEIRsa/xKqwbIT2MzqTKXSYT6oBzUhmYHFkOBDVJRCblmtyUl1wX3+VyA0BtlDBRCbUMzcU
ALSryt7qKYGxxjD45NXte8q79mx54X6qcgzQHdLjWBnn0GGZ30/ufdSNcQ2M8LMAKr8+Bei3vCvp
Z+924f0cqOcrVyO20NmfqMfXq9sLdO+BuWf1X1ZjSekTAicbwRJ7RD1pOubPlm+IT7PPkfK6SG0w
AncSAQbJqhpSCQ4YAxdEQcCJMW2cINS/2l7ecocNRUW6ES53fbXFZT2DcMhJpJHzBP0RiprGfLSx
1fhvHvRX6cfOtkI9RtHN2jlGmkE+kz1v1gpuvdCI1q73bIfOaVY9rkVJ0Rh4bTFRbUCFDBvi2Yg/
hEYMSDhvT4vljaTjEF0TF1Kt5N0U0xfGkui3yau06jzXQmk95tfrouyqLysM+6dhYlUiXICIoXzO
XNJ1nZG3xkj6XQMxACIlbhaRM5tdrG9+yFwB+JnaeTKhvE8jbx92mKbSsnjH+Qa2B3W0F4C8Lr34
d+fDtuXzTVpyxsp+3K3fVQa3/hR30dktw4GdcPa8HlfzImWJnXyXt4a1YfXRMfxgq5972TlidQJB
pwKsbSdv6z3yLaBHGWV8WEoZF0PPv2cEChR0iydqKQwCLyyZsQ/uYy7s32JipmaK7jRkgIH6Whkn
WYsbs/3okixJ6Qb50UfZx39VZ25q1UEIdOoHEFj6ofPFv9A3zn3i/jTsgTfetdFF6hJYhag6OP1R
R75C6GISWOrToJWsoWpO3MHt2DFTmbmyn16V5sRdlburas8zjR+xIHR4ZCoDI2MaHzsiWSKeMu5m
HixMXQdB75wwjgBY9pEa8t+6n+yWpX051H9H3D7DEDL3MOpbVBItQfDcU2/xGXyrhigoCqsGttws
uD/bAlvb19POyY3hXJjRg4ji5pAa8I3o7hH0LqI17pjoGJTisRje7Klx0I7Z+AFqvHQOu0qILgBc
FmAFMm1WgIuOuF0YR11v0tvoiXym5UvoHOZNg3B/kSa7Aa5V74cSiGDkN7Dd+PPLFUjGVhkxACNS
Y7t+rz6lyaEOpNqj/hh2hpPGD/Zw1ckVdsZimyhO/ZJrS8cW79dVftpR5iTKf3RHfHMRqmcMT+Qu
kbyw/hMjxFBgu3iwluTLQLHkKSqIYDPOk5PfTPEBqnIp0U+Mhc7om2IY1VbpUm9yEzAEYy3KE8m8
KX3Abnkc5sq4oOJ4QGf+y4lScYoK48ntMHhFHtFeLqo4d0jj4/pF+yApbsHIasZZDroxLk92NRVb
y3aIfBX1WRd2DxwWOBqL5QsoNxyVnN1r6c13A0hmKD7h2Q070Y4pk90KhaVHAVlhMaESxmnaiPei
yF46PBcPeYAMrWpG2DRBW2zbEWq6yWuacBzsUq8C+DEm9aH0iodWOuAE+BhX68ZcUXrGJiOOtAqu
BmcxGAOeRNqy8gA04UK8dLStGfzt1m+vcFr+ZCYBKjlVulvVye78MjHdeMr5QbuQwB9gKGonx4ph
uqeJjV/KSBxmDROTfpqMB/BIF9VbZ1ORsrTWGjm4SIQyqBZLsmKWAKlVfD+g9Nxjqb01HJlUnyGG
IdPt5GH9VK00hY469o8B6lK9hBmBx6X2wk0PNgqJheVOF48MNlpe64SU4rnh9rzYZfmWwJ5XbfUB
5P9uub3+vnJ5vUnMRAKzRwiWbYkrqzDEr+uqj6r24+N6mwl6RaMa/6+cSVKGuJgB0bkwldH+8CK0
a3y3OOS22dvEcEBCRsPj2gVHXX6sPL3w2sSNOY54DJNnT5PcEIAC2OJXFbuG2ej6Rk7kdw8C1oTj
yft6Y2bn2Uj843qaR0nd0Z+L5pLVoTrKMbu62BSBzxDQvXSnIxcYE0aJTmgI5dZJi8/B4EX/FtIS
yOXo9rqeXOs9QuCvdzQLttTUtPyLZ/IizYrWiqywfZp/Mjd2zl0FxqnpmLE7CuCUHRGi0nbDYT0O
VnEuxxfwSRMumgf/oPf+CyNgY0Z3rhIVbMdWtqcOysCuLIbFTmm5qDQakPDx8E6wFgzdOQ9pmuHN
jcXZwcqGJ4dFeJyhfUoiipC8CKe9ikJWjCpC+xlFbx5x26TO0RnXPmJcnnXnSKrRQwIPb32STcgb
dsFPxRjrh4L9+d1qRUYBuQLWzVBfvxfbUMwp6bv76odavwSXZStz670oAvuKhkpuSDOjZ+cVQ0Vo
7O0aYidxtv7RcJi0BbI8kzf9I6ig/8QEo8qGXWSoxg/Lip3DqoJFim2TXxzug9ZjoeDAYkpTcUUG
+1C2IKm+P0zTMPZtaWOa53hJAt2SUEHy2tSy+omTlHceOG5UFx9m0+UnozGde5Ymu3IRuHgpYZ5L
bq2rSN/zOjvc5xEOZtNhL5Q7w11MZ6dnVL34PdKlYg6Wrn19U309QMp2mfQFQQNYWAcRZS3axGrp
NsHibqu6Uif0EfZmVOOriJDeE7mgTuSGaJQjlCNTPvxNiwrBpMecD/AGykd/OqZ6zL6Yy3tEhfG/
8kk8sYfkkBSUv7LJ/3mp3gwOuz2WYRP5IH+K5bchkPFXnLTTg4/YblPQ8VA6AqVpm8/1FfOXonu5
V0iX2KrB+VxxTDWx8gyHq/J3iMbtaj5REyMcroiMzROcFuCsjF0dzCAPQj1BlLK2AWfBhcHxe43N
GvP+P/S57H5H/qlE8N0ypMs7p4ZXRS7tzbAc8OlRfVciJMbM+i8yyEioO7Y7640/M0/YjCFGPzUx
ECXJg2bVyO+jDOqrM4ICNa2eyPfSe0Zu+1MPcAejEWx6hgwGuS4Cn7ZOn2ad/McSJn0oqloeiizd
sFyBSCnKXzVv7GGoC8Eqnrh537m4rVESr20lJ5MWdRM51n+JnzAwQgdNxRfoXQoGlh4YZyK50N7D
IAXiKxcrp/a/AEbBmBzSfeOn3OaFZOa8yL8XReb3oeGRp501Y731pfXupqxsGOf5Oztg5QUOz9oN
DMfpFzl94pG9VGZaYhvNLTtGHn9kPnKRxY2bgWHrrq81xwSU/EUlnGeLD2sRaIZjfWh61hCx1sMJ
TppeUPzpomGOWsztg0zDXe/+l41SPBp2yzCGlqXtrA0cH3b7YxYemdv627yjP/tuF4v6/4VGKdRf
jyDKpyL5QAIybvpYAxzJ/1ZxF1C3xem2gRJ+ZWe1E3PTPk/t/NtwDC5rwUTKBrLlOV380hK8URQh
iBl6bsNuDk7KGlMtCgLh52yTrOxHGrfmtnNa91C56YcYcGzMZIS6NqHK8KjvXVfsO53xa3UwCQZU
oEzSy2ObwX/qrOHmjFN4mavpvSmK+E5JQoYmmp8KtuAFP01IYpIGJeXU6NiG5NAgIb8Sj74t5qHd
OTbTVoe7qRrpr2qIviRePk8x9qc0eJ4sj9Q6v++Psz38sDmQH5qMX8JSJLTw5RlJNNJRIpxh+tgQ
Md3SNSNNtWVFJ81eddJzu3WoFi8J7IEm2QnsgBxCHKycrreygRbVnUkYiJ7wevrePS/n6lyhRIPx
b4A4dlAVeODGLMMTl2+d6ar5R06F8LAfTXH2KqkuBUsJw0W+CIaNyaO9r7lC6VhZsbCzQg44ieWQ
oVIbdYeGKWiRFNnTxeRjJLzSCi8Sdc0FiNjWwAN5qYIwv9miwJFDhdM644spW/ORj7NkM2cTY4eM
A6TDgK+jDz9IOkrP8cgVy+MHBkuF967g0g7H6AIp4942IoMZ0UZ7kqvOsgRgyQJ+wHOw+KOWIqrO
6+bi0Ytv/Zbkx2TplmPvk6Bu/14xjIaVTxScGFBl59DN1r9HMLU41xEC4fWpGYnWmJFQVlnw8T0g
a+Rf4i6PCqHSdS2H27C/IM80IHqhq5gH8up9n0hyL2ZZK8vor5BPCAWz8yohzMNouIJmUbdqBOho
TuOxNMmgJMjgPbVxCCQIhIQt/1hmiYtusk5T4H0loXKua7c5zvZjXRbBU2ZUh9rs8FgkCKgjET22
r27uVE/rU+Q0AmWlSfaO1aLfDGSeXNKgxMTDsDJ/xVz7gVQieIF1xknZZ2dGKM1JNUwVxvKfUVwH
0uLQwGtooowZ3RBZfOC6yDPRpR1q1XoMO4S349uv86m7jMiZC2N00AgVIEqX57XO2Ag7yZ0IOSao
kf23W4zO5JK9Z71T7RB82DvSrY+zAntXaPsZ8w9dBIKn9SxSrdyZQeQeHEFqVG+7JAtTfVG2SvSE
m1XMvVaqHU5g8luiX41bPWSerR/WDzruOolXpP8tNBCaDJDrbeii7UqDq2IlriUlytaQ6qWo/Eeo
m68EmJ8tz0AitMwh1ejVRzZGL6u1V+EcEi3NLLr94zq6Ni0Cn3V+DouWea5vjNu1nssVyl8UsQwG
13mSQKrAMumooDcwR07na+Sxr7V0+e34bKs5oR+Y2NwDxbg4KUsCE05ImpLsiX0Oq7ubYOKwpvOy
KXHIB9x4uLjP0kN5th6x66+rW/Mysh/cT45hnoTp7ZF7acLQPUIHRZ/dGfu9VoYgupEaBPXngCKB
cGmYJclD3pS/ZsgppexOLj/uBaXQWzwuJT091L6VUfxoO3/9rLcvqkj/G9JZo8tiTSGtP6jZqu+v
PAuS5FAPMNMZJRMZR9xQwrJvZzCNIzHn086Qy6/lne6IBRMWNEU0lMQJuyK6e1FxmQaRw26nN52b
+Ia9MGT3USJWmc1H2fzwCj47e5kJIsT7UBZmOMbYfdE6pz6s8+3am+BV3BYhmajxIrjSNQupZRQt
0UVuU4RtJyDABffKFhPE7/VwaZfnldFvxx+PEEIvLXmh31fkL/+NjeNnRh4fhzovS5NhVl7t+LYK
vLPW4LuA8F3K5NuN0aAT3Jh1LpYginxngkrbC3JB9r4B4HaQt/UDQFCgHtb/BaDTIXqNfqdHde8v
YaDo5F9EF2iYmPEtkIN79Ql6u651AB1BcS3RHm1JygPOW/TZBcXuVWuNMHx9Hqre2a0VKJLHnWV3
E41+N0Pt8ovb7BYPNl6vo4Enhr0z74gI5pe6Az1g5RcrsBkdJ4TWrjuT9YqV5Lg9EBVkskxJPKDz
7V9eyZ56KBvOOu5vRYiUKF7QyhJxZtVS0ogSzU8ZqN06HhAppwi4ti0jtwrNHts9z681JzXvWR5D
blnLQKQPN6GgqY2zeXNazUbRsylBUf5480cxil2AB/A3CMONgiO7ZX2WnAYhwbzl56S1oCgkitUJ
Y4Dt2JElFnrjvzCKUEfyHOXCdLZynIPncpG2W9yRyVDFQJ24RuQwT9fRdY5lqhpipOdxJ4Vb35C8
79bynpiM+OQE7OpUMJ/WWUFfe9Yj9rcntv5is37yvbRZnRIK3pnEQ/RGog59jJCm6kEyjW5XXFEl
qIeZtg3JCIqyMXfcsxyc/zF3Jst1I22SfZfa4zdEYAhg0ZsL3JkzKVLiBkZRIubAPD59HzCrrarb
qhZt1ovepFkqUyKpC8Tgn/vxv99nLKMx9XGY6RitzbYjDN/nhxQQ8reMmPgThd9rvdzzctNRoeQ/
N5qmH14ZInYnRg3vGEqoLtiSmTl5+r3DfA7D9ozftWI5kUNvHpLEucZ9i++K/l5Fe3Mz8vO4w/E7
1+FW8Sc6p/yRA2qVDS19ipbowBpTblrmuqC/050r1+7SRC5sASYvqZE9fAsU42D0D6B+7uu5lzQq
GiBmZwP8vGEPV7VyEP/O/i3+oElfN7uu8Z0rjkZYWAklultKpEQXO01ZOobRwtwh1bSwyCTF2oRu
RY3Hnccpyll7+cOH3k6h96DYsLaLBkuYtf/+L6r88umspMWajvuKABpdgwbN46S3kzaIJ9NDDn60
sj7Gs40qVs0Nv8A8RPrxqYtyhkNiJgeCgKDTWF3T1Mye7HjyDt2mE3Vl++obrMtDN/2OBWU1MGtA
QWEkx1BdjthnjCK0J9dk6MWMv+0EgiRHrYMxFy9Jp/8wknToZlpOioa/fuKDqeYJaryN4x06FAHx
PFi14d/o5Hcdt8dW8daw75rPVVuaz8DM5xJBy6w7fzf4MYeuzpwhGfkvDmSiS95zOKtMjApMVYCi
+MjFk0VMjiN6ezPr7OM7OVB3fAIbX6SRiRN+/1JMNBvbemNeW1PGdwlSOsNUluDtXLoBoHvi3pjZ
iBBTjQCZWXGx2zzp9EQYl8xpuIN1y3s3rbTAF7e967+7HFZ3mLUARUbFzxk6PF6qEWiiO7xPcdWf
4zGZDk7SAVrlxM1fxM4toXYbKzc/OVsIgoYBIcGEjdjXVDB/58umtU4C02WAKOPWu6E+des3sYLK
RXrR3pGpScbdaQFuVTjTNe2FwjScPSY68+/L37A4q11OQVNqM9uwgLsOgxtd05eyXYZzbaS8GDm2
CLugg5dyxZ+JXVcH0jJfkd/O+6owMUrxEdneVWajGbp+rL9Ivjgn9GLvhtBQSKPHc6un6djANnel
Us+UrjVnBu+33/tq09XqWpjeA1Op+BYZAUqDamnrnX2GZq48dat56UTqPH0/dHpaNMVZ3lvJzPam
VQkQQF/UISg+EYJiSbnE6ZBF3CIgFO1o7+ZhL9AX6Ok8Fmq5w9jLT1yaF2tx6aXnJLcHPbruW6Yz
jxS4ri5nhTl/w7j5iQGkux/x6NcxTUkKJG2wDkbKfZDbZ2LscaYRyhF1t6vNARF32qA827oGNg9G
cLbgsd+O36LB5WvplT5ltN7v66njMuKbKyZ+YDUaTiDkBeysvni4fh1tWj/sQrwXS/2ckZ44ku1J
98hW/i7KpuoYW4XALCwJknbFq5gl1b8NQ6dGfpqJnZ162c/8KfWhAwH3wFxaPrajZEZJY4M9qffY
8C7f/Iystq+6RQpZWWFxWONnpCWhJdRmUbixupeqw3oVL5oaIH7Ys2GWBJ4WUwUShwJvAi787c0h
QsbUJmMiBbZiTaz4PlvFp+gnnIw55oZ24UGOHdYjF9kqYcr9fRLRLZZjNZzojCjO0vQ/c2fByGtP
zx4VITZu7e8DaJt0b16j2stgjxj/sHnw+9rH3KomaqG2GktmDwstFTseUyApA/ub6FV35YL0OAIQ
Pbr0kyC7UTsN7BkBkKDESa2YygVh7z0h/fzqTLTgitmlh0KX7U22RE/p2d7OXa0qmwufKqlyKovJ
LEzYk6X3qIYPHEgVZQSjtc/o4HA9ZpV5D8ljm4Z9g5h0Uf+oI+KnGZsrJRqy45LK0hRlCrUnp26W
n5shI+ax8qXwvfm8DnAWbKwEypvS/ZI5c+jSxru3x57v1JvakxHnOBgB5u5x+RJ0qFHqi9oe742x
ppnEoZh9syNYVvZXYfa85M7443sgYEy8hoPo6htWzbDqefEoBcI/YdB+p1x5/u5m7oDAMFY2hr2g
4jOOSPKS0at4D+PftupgtFsQMr9FO50KREhn/Jqo+TOYJkAwBWu3aEuQAz5IiFgXQL7NsXZWOAgW
S3/TlPfalupo1frpO0UviIl/XzhduuNc1LOnjFn+tp21Vn2ctumglTI4LZfCOpAluUGcJVO0RbZZ
KfE7MGUVbCSnOqd4rsonfelxbjOwxr3aZz/9rCigj5LI1v3n928r5fIWicm8VBxvKZKP7rQFoWmM
pTi4zTje4j80fwONABzdM39uNE8KOfs5cbnO2+3wOpF8CCDaPVNWkZC11ywclGzYhVkQChz+/dY9
S87nbmQ3Qe+r0KwtzLIDsex86Z4Ly6HhYADeOvWrG+AEvVZ4+G+jBPl5msXM7TU8Rsz0b4m38oE0
tXPtOu8mZxhySxmWHSRA28OSEt9jYs7kNbfdmZDb8CjKo6eHSweO/eqAcr4yNrwuVpU8N4ZxE1lo
OG2JIGcPQ/+wOPzobQRHNXaeog5uSStbSpWzkemMO3cIadg0W2vhlcRs8PuffQ6HNaH/ZhqZDWCv
gPj2z36k1248ztsfyd49MM+Hx5sx9pqw/uznaPXv10UE1uZ4snlrrZx6EIdF5WRAfAkhIq37bxCE
Zz5+kzeApbhnDKuoVktvQ6DIstCdcWzqIi4wI+5UQxCtMDHIM9HKz2ZOvCvxyWTA8W1OG4jWrd5q
rEFaReYTH9s/jo9xzi7CNuuLMPqXdvSIc7BpkUmGe+0xrlp+tl6/3Htm+/R9Uo7Q7YMx8gkDGnF9
zKNJHYaKIuVkxbWUJ18A3EZs4la1r0hMHOyF6lTj3ZaQJAtiTYw4mV7923/Q+v4LwNh/wZzBzSkJ
dMDV44n8Zqf8J1oTQItpbtngA0lZKMcxm/N401r0208VORdOL3Rjom5LtMqpdzF3LGZ6VNMqrtU/
jKv/14TF/xae+L9RGf87DuP/h4RFIIb/8ZltAMd/BzNuHMn/8W/B+vczST/+M2Fx+w3/EBaF9y/P
NSEOKh/JBnAQmJ5/AItC/sv0Ia/5IBYtvBA2GK7/xVcU/0IF9Dxle4L6EXsjeHX/8BVt71+AkgBP
YU+By+LY6v+Gr2iZ33y6/0AaKVMK3+ObUB4gRYbNzv8BYeIIyreWeZAFkpEXjaoIQQHNddqk9x7z
9dRxmOHoOYYA9x+rDmNnzmE0BQ1QW0PKtHTtdsQO2co99GUsHrt+iV6lKPNz3+PTSMrn3nDgeSFC
hUv/lJl5EDmm/pk/Of706QyVuHBvYj3Lr6wRZ9UzzXcavB65J7m66QbjDmAxNI6da4B+tkz50mIx
ECLnGFDsLDTtsPLMjyGmDImRs5EWuFIToPCDwF1SNZDTCYeTmbbS+7FNnCe9BSxkzXTL8DB/RkUb
LLM+rPTc0CDLmHetCDRkKIKOCcwhz59IkdMnokrGSa0iggGG0e2YRqqoZ6pTd3eqpgOtSK8lt0XG
YP11sAqXUHfs7RbfR9uLyEiRROh2hZ8bu362fsZwq2KHQgXP+ZLAoi9DXbBlVX/AAuCg65Kvrit/
MpiTx2lh+5Bc/3OElliW9yDVph0Hzlsfjls2eiMGecZFWlLzQLMNWfIWbxlaEBLTsRHr76ww3qyy
wxLsdQdBR1VHYZcvMUDTZfkTU+8pskmW/03ws1BASABooVAJaJtBrLBEZo7BfGcaT6TgBp9dkKvN
oNTDjw57JJ0B7zaFEL77waPmbKOOA7XjxbXEd+3qjPPQAtO5x2k8xOQowXr+Iv6YsJHn7olQ22NE
5eXUlu+5Rbtc9Vjk4jlN82JjC6JNFPr34DHjYt7xlE3DCKi3o0mlrMlfwETUK3dfHxO9dumadHOa
UOwmg85bAY/LjPLQj2kZEm6+dLP/6Kw4EseCpvDVAr7o36XZ8qPt5AlcEd5ika+kRrNLL+Z1+xse
r6U1BiO3tHAqbR/vd7SLHcbfxIrrfVHxVNrG38qlmV5esMK/xZKUCxuT3Mn13U3XiwmyO4j88bbu
Y2KTyc1qePo8TMs5iYiZGQl5Jxwcv+B7AzO212Ena/62sXszVG0YTsy35Ilw0mBrV84UYFbchjGc
YNzua7XiO5hkJ+7ruQliHm+3jlV6YqYdM7+rf9arawdZQcN6z1teWiQkTe6wbMyUtIotabLiZzCK
+AKiZi8s+33Bx70bIg4/lmGTNWYESzzqZOaAhgpa1RoCdTdDgx48UDDkmgYTdJK0diZf4wXBL3Zu
6AfclbOnDsWC4Yhz777CPojNF9C4hkQNTHwrgsnVm6EGEcjevV/r9sp47bZhPBI3HdWqOSCYjlMZ
3VMeWhAm9l3Z9LzwzpTtpVBwpOFM48U0TrNM5N5Ir0YcpYf1T+EkdDVtNX4pj1Ob57dxnPX7iqIy
RAD3UKeruMVc9LhEeNuII7e0Y2L4IfVWo0NoZhKp2pqtb9y5NO7i+YZxmbjNMs5bGCVPXUE9ojWD
6TfLKITpwWDGeka5tE5p+tKz5u3ZyOtzI/JfE2gPOx5MkggY3UGZPo8+dA1TYUSehhyKN9ns4yQ1
5PV2IJ3ajSeHyuQtP82ZSx81idQrLex2sKqWJ96BKYvBdSdxVIbgUTfULJpbwcnNLHF/YRcQUuOY
mE6AVvDgWx86NSNawLhLzCsoP7yJKvLO1qwo3DAsf9fZwtsVdG+RoAMygJLLpaUbXhFf7aBwXjD9
9IEqvc8RasmOTt3nyKRRyR9PfT1AeeJDUR7mJ88uPjNr+TFH05NQmzgZV+JGGkSVFijpF/uuJWwb
2eIBSfHOsuZPchXdbpQT6pHIjBecRDBUX9pFdfdijMeHou4PZu9wcxvl3Zy01dG2hj/0UDr7kZ6n
K1Zygr6zdgnkEm9vO+0G/sw6NY7TD9eBtRWLek+VnrFvLK8EAASZ3FYl4upL1aGl8goYAasOWBM1
3GeVexet7s04iOHUJuMjFmomPjAkZWvf5NmAk8IhJLcYP3uOzJDmWHlH7a6k44s/wzSuAMsaKJkC
RhD25lKVM9Y4ya7HIVnadX9uKh9yQmHjo53UEtr881AXMZUGk2ucMMT/zQZiGfArVuouoTCsv3gu
9E67iiJPmZzixPKYf9b3VBq0YWk1T97I7Luj1TZz7ZFr1pqF6n52wMRQqJDv6zb6gXl4N+QelJgp
a849KxqS8WU2nGKfpNFJTdN7ihXeMZxsN3XMvhMT7sKS1jbY/TJQM+7WvqIhUKdgDWg0cXcZVZ2B
iuaj8tcvs5s+KF8oAqm2Wtj4qcUWaXilfXB8Elx94u3rRn2UPk1q8OGO9lLUV2ENN3k15qfBv/pp
TApsvGaFc9cQ9D/SYQkoJzmX9vieGV8zmSVSTUzL0gk0R4W/2O3PzD5RfDuHCQ5OQdy/rxV01V1V
fI/ooxP0iCdVT3BkSp51Q5x0QsLMrmRBIo/pBqax/CZdl5ML/OeZYO8LTUduMI+4/1UW2ad2Zh3v
VhXk5dKeuLEHVi9AnXqYXdqoBzdE4bIAXwbKGYo88h+5JYdXIaM9OvNy5yNVau9mg/pYXOOIX4LY
jGY21BsXpkrks3Iqm5Zu3pPnbMLVNZAJiAjvGW0uB4/qiDBetbkvuzQsZ9A9eFZagkY0IEX8M/Qb
OhOtNhhS22D76yB3wCQ812Z6ribd3QxFQ8lv1mOzwXA/rTg/dBXdRSa7z0gdB/YWFvgu3newgs5r
oj9KRzCyLhiy2lV3O6adDvF96oOVzqgp03izCNVTdoIxlKwFdrm6vYW0EB1AsQ3M6ryP2kqJ4OXk
C9acGt2JWzCvfxTm5Aegt/VnM/b9c4plbvVN+qFlRwMkXw63Ghu7S9kTJWrY6cFSpfAcgUgQLHRy
KuEYf48HuAegehKkhzkxnygGAPcQF3e1b7176zAfx1nlh7llwsSmap5kfzMZzFWBLmGRy/Lu8E3G
qylo79Yme2tHzSWXixQiLEg1IIANajX+wchd7rXGsuuU4jZW/j0n/H2+EvenJykLPVLvhKLUSSTZ
fMBNxWrn0xOVcZ3750uUgx2qCmZDOrvTye6F/VTRTbTinaNkbaKvWzGE1CrbslZjWC4/MuhKTmNe
ipIUhxyn4sluS8qBiTJdsmX0A+C33cmfQLPkkCUJwE27CLrFwV3XZ3eJup1oivxUG7ytRhldawwa
J+U18QUmv0thPaTXOoZZsNxUDBePcBfPlVhH3Fp0FFMMfWcPtFa3vb7tUJkfjJhXXw/qZrXWg9mw
/2f4sslsE7KYcNecRJ00QbHOH9wu1lt/ErcNzLJ8tfWJGEDQq6Xe25Z5Nsf6yYxy7+phNC9cN7ti
oqpC+JbNcHVS8Efst3FAjK+5N9L4Ns1LfKcMp66uWxC/WckzDjZ2HdNuyh38ZeeQj/iql3YPSNKn
O6j44Bs1TkOrzk7Z6ctqyr+FyLy9rzflbcuIZHZCsZ3laszjqXEkVvrZTWnPUN/Iw7HwTnqiHhzP
nQjWiWlYX5sXWU0tBldiAm1j3Gdtn92tm2mSIm080hfGoX/NlQle+Tb5AFDgctyUHV62WWCZNF0r
oMzW2VWZ8UpDHKrjul0jZiT7BKcqsVFmsFZ7ddzlPMvopAlXY7c236u038J6DlH7hfh8OTuhW1YV
WBICa61vBbHBMjzi69hGDDEN4KKoUjrGKYnYlL1lYfUQy8mx/fYQCeg0HWMRQii7tnUhqWI8LStC
gotRXfqCzmOLus5F1aHs0hLbJkw72CbMhyErsDD8HRoNcqz5y3m0gGAV75h/YiSy80vj0ozDSOo0
GsTzCfu0sBmm27aPuCMUr1Xd4E339e9U0MDUtJCwCkmdY2UMUZB1Vh1Q4pQHdmtaoeyz5aO4Z9YJ
s6ym5SbC3jSwOu0M4DVCYjmpzTkkAMnyirVwpye0oS7yfhc2rTSTszzCiLgnBwesw5heKeFp4GQu
P/yuhppI/0UID47OOo+ejip3zzbBZ1/DGTFwbGCrVQI+BGH3saXWKqvbZ6UfFu5lluG7QVfjna8n
cwzSFQCZ4zXH2YWnaE35jWIaTKPhiBt2m8qjAyYtswG3nz9VQ09NL0m6IGdfhoHJvYdFcIleKBqP
t0vkdcAPWPnLJpd/2YY8VQ6n5FZQEOQYOqgxCMYd2ACxcKhuRPVeS7Xn0l7DFYE5nFMvuZTWc4//
4c7A8MI98cv+YXNGDKe6ImLFNO6Y1O7BtFAeibaHs9ntBUXnutzZOvsxJAAc/AQ7btNy9uxwFmzf
AW4uRoe62thvqLfWQoNBgZZKtnfeK+jltG9xSZ9dMHBUmo6escnL6JqT/TeCR/s6zXgsO2qSgyFv
ysABkKCzrUMtWpqzvZpk1NUvfzSgF5Hp0VP0Wpv57wJsCtw7rv7J35TSW/zpTEWt8XHt2dkVqZ9r
Mun72K78s5q7i8nOajnrzohTMuZu+bjAcoW8zYtVgV/vmw/HsN/bIj/g8jqmcwVthNSDJIqSJMid
y7h8dov1ZTCurhN+30Jn984w8Rq6HY0SVHji9eIVKnM6iIglpcVvZBbce33jIc/KVw9mAxU3HMHi
FaQMun2OCXusMoueK66hqTlGTLPqsFb4VCvlX/LIr8/ejD7uVg9NbiBkjySDxsj6rGnkJlqRB5Pb
csZS2ALigXRK4dFrlHOYCnLouF5RHa1KN3s/yu5nkyBcurESGyY4CYKEmZYv8Vrf1wwO7NL/8Bvj
V6voNZuX/M/oGOjsTXoLBJxbhOxuorx+oennZDnmXdfXTIQVdTzjROzIIJSeDkeniz+U3bRnz85/
zqs/HBjc/GrgT2N5Ga/GWn90cK/wLeG9rKSRXVv2vbKofvSJ+BP7HOetWPS7NGkWxNWaH8+pqAXL
I7xayDONgTqSTgWxBW6cTMTAQNVjDxhhgLb4zaHZHJxSU6dToKGQzGQYTNcOY0n5Nrf2vZMRBvGa
+mFRzKRl+6Hxs5Bfqga+jZEBt9tygqXGR3gfuQtqxLMGzKriaDrQGFD4iz3dT1R+xhEG+YfZ8weO
rXgWkMiDPsv2CdfqwO7GEt+vYuktX6u0pGzWAaDtquYrBwbRIUBRimbS4P2stbR4Md01mHqWOoHb
GiBGeVQITUYMSweHyJ+ZseKl48waAAd7z/M4OzYSd1/nqZM7FEkwkG1fp70RWTBZkfuztYYECN+b
8gv9izrWe+UwF19je2+g22ET5j+7y660tL0nWioA4+DWrUzOfRHGvn4cz9q23PNijjJ0Y/oKlGRc
ndj4uFhwCeYOF894rFNmfa5cnlvI5QP9ewnfzFrMzyDDfuPDE3tqqHBYSiPAeEAHWhzaVnEddfzH
SjfrfIrMsW4mQi7Hg/iSqOZQik3sXnie9n7HZll77XXsqlemmtinGZUhJT1NHuKNBsigHD4wu8vK
Xenj5CsbMR5r+iJb0g/77/9DdvCVs3jLq4kmNE1u4XhxB6eGoxJF+2Rq+wM+Q7CIMy8QA7ofHoNv
OLUpBHmcxhcO/bfNWi3nxe6e1m4dCHka0SGvenrPhzoYYLK+WGJPQcYKwLWZLmM1XFOfjrnY5LY5
mBjTF+ndu33WBq0dv7c2NumsfVV5zlxZ3nXUOdTjR1GkeTgU0BEKCwahr+84UbCCuPT/ajS0Xjuw
4pycu4r9nuROvp90dufZfXlwcOLs1sr53RjyN6MVLygUgAZ+JSjEr655z5sKaj/1qfRMM5r3KAhj
gQ514dCgXsYP0UCq14GeBTXrqChn5bTRvMQFGpHbxA+9ndFX2dIcuDLZI1YNqLslsdXpeV9LUC/u
rnfL/DWehq0DJH3C6AqyIEnmm4T8J8LqFlJO471L9vi4eBUfZbNtoXZCwmoJ+zwmBSXuOo99zMvA
cqUS6g4uP7hII+hAJ75dhfHgeDIBRtN5h1mD5lnW+WtODRhz8YRdjKAnpua9HFnbNn+lgXiza1Ya
GleqdGKei4d5oXYPxW+3zqQj86x+dgciFCmXnDPnDuQU85PWkG7HGCs5qAaCS2RJTjVeEtKgTuSO
k9bSs5bLzrPDtdnCL/QjdARDU9i9tu8nEBFRr1vW+UPR9KFR4wkEChjCfANQvKYzBI827CWD3doo
3gaR4NS0T5lJ4lPOBH2rBPgINRrZwDwNtOe1z4tT0nCqcx3GqQUFu8wguViNGb7xmYWVP5ivzAbR
9gW1K1lok4S7GR2PWjViu0M6rcc85hw0uMia7KPwEpmxmdUWE+7esrwtbzUEx4j4PABgLGezS5I0
nh5rGxNnv+p33eC7E2b8Oo39X6va9aJilyGJHale3xm0oU8ZFzAglmjwYt9IBcfEMz6qCRyLGDiI
wYame6/cF033NuTjV2fPCOx9fpeh+hx6v313KvxQa8cRt6zVPp9rcmBIyeC1ygOH8xzLMpC+NYe9
0ih+7qgm6dGhK3kICoFrWQF9ixyJl/lrMvL5QeZUA6TjhU3iTtILcojSLmx8A9+BURCvFchbqiSG
UpF1WvFpJiblhCMu1yBf6wf07WcxzGxjtcbW6RhYOvyZKJk5o5wVwJuWcvzBbeQUW94aphKcCdXI
Xz3PfpwvT5ihONaa2RePSM1kroUDGGG3dtFrEi4sjECwf5mwqQzL7OFju0HP9nYCr4D4g0QW1pR0
cMeE9TrMSRqkvnjQ9BmhZfFvc2K/m6CqEq9+zAcFrDsdjKDLjT+rqx9KxWYZC5QPbx3RTMvDLOtb
b+SmoioSzlq/zIVsA1tmxR6rZ0U35V3hMHmowInoZ4z2COzkfLfNEavbq3ShUSD+maQ8ge4sYCJV
3B89iFpkqdOTTbFEGCMxbABBzJ5LcRuPH6rx8lCn8yGR2ZW3r9qbCptpm41jUD7mFTEiwmsfcuDY
5jcEPukyOM2kL810NXbzvFY7kvK7MnaLS058wE9rh7yk4KvzeHBjKev73ieTC77w1pRlfpsNtBeK
oWqPMbp5BNvqsKAPVu3IKYXUDiIcoRX6quujUUGUXHOBl6C/rS1rPLazvId2/OKwRgXa4NG1408r
ydBHTING6CqSR2UUL3rgHiMkRwZzzp6giLOsTLoO0hkHWckXpXGxHeEz0TWM+fOSpESvCM/z6iMo
9ZoaQSpZo52RuH9QymFA0QzYuesZh/mKVrXKs8XF3hXLe90xRJZpRmcCLVmWMd1wHhgCIdBgh2oB
sSGiJ/6G20NpgQc1MnXLDgDXTVRPUzMV2y3sPZYAT71sClLwKH1kiItyXrlb3Dq+e8+Gxxmxda/0
9ni40n1xZOV2CAsVb1jz93Kyyn0v08/CJiMn8ikKzNW6j8Y+CQfgSsE4IqoLtFfotRFaTFeQtYEI
dkWXWJii5ERArXl9lIWF26E/ldVB9cO0Gxt6F6DCE32J33C0z1BM3oSfj1uom7aojt8t68cldt/S
AYkN+zfcLeXddSnnUNfkmsFZHtyrwrXG9NAkthYQBHsuqBEKKslBoAFJFuCITvfmRNuYVKeiYGwC
upFcEO6HBBs3J2XegXzeWsA9rlmZl9Gt7HFL00a7hqJvnpLfJmBYWJ5b+zaEsF0NsoUh/8JQRP5u
xDWbtNqPOc/I1DQHTxPCazJitkwv8WXrH/Yy5shngPNl8Sag4Vzp+XXIiW7V4iUREndt1cG7EbX5
p+tRl9aOIaU78HAZRsdhIMIrzSayTjiIxiHGOl6RSOvSY6oZeczSei37e8th9EmpYpwtb2MF2n5l
3BMQoXia+tHleuwDG1xZwcrMf+hR87EaEehdAY0VwxWgA+26zUKOLKUZTW4VmF5/SQWjJ9xffHFi
qCEgkx/e3L+IRRK9ayp0sQ1fChd2QZeSRxaSndFO1t2KVynkJk6B6QIYxUKeCXXMwKnksoFOpXfU
wdUOrW0gmzyOaJeaE/pc4RT3xuUw8SxObvmRpfZn4zYa2Z3XLYGg69Wi22mDjFfPkokH04VVwXyq
pwcrnAjcc0fCgT4a/rDPGCRxcK+fVTI3+zmeHtDnb1Qsb4XgLLlFfKsoQgdNnISqcYBAdfqeGPVt
Xv1eh2NOfPRQtuoNpMaduQ6kH+z8HVvbFz+5gD8qn2PN3S+yxqeFoeZpjP2vop1JJiFZafXTYn5J
M8VjMQ83voXClw/Tk14y4noLOy00sGJor7i/aZaAPaSdiYuwT1V33FlvZsTNzGnroNq2q023hQ4g
d1o1Ch7evNBYA+u9TORdIvDSpINg1G679VF0piK5OgepsdL/m2NfQrLeG1DKd66PA03Lq9uKYKlF
6JXDeNQe6OvBInlMaOPWrplV4KQtMMlHb509cIMyrbc0dtiGKROq1+y+sCK4n0sS3/EH7Oq57q8l
55F+ISu94HKxJEMzBoVvi0mxazuQK8lJlEJjLT57rNLTUkRhNw9fBdAABAAOJeQBf5iqAREVPevU
sNhy/5aOX13wzrwRPyxHkiZVF0yULDjL5mRh4+OY1rIFGTjGsMfnYUOJxb5M7Z9jZYu9Kzq0WxaN
0f/TjxOobJ5Xkg2fbd8CHk7Wn3VCnX2mAcnWiQfSx8lcsuTmY0zWmEJTX8HZgl6UtbDtVrf5yKoI
8aB42TY4RPGa/cm17SOLQkhjkup/aZtcgxqQPDPZ7spkeoZ4uxxzonw0e9wgyeFwqNMLC8xnR2kI
0Hj/KF0P/b/0jvDOWPP0QgrH5oAupte2MFwEJ/e+TvQjPq032+XoXctmOmLQJKPdyUsRA4IoyHnD
Mjm3E29jn0U7aq/AoCrO4RECHfUoIHyd53mGYhXD52kramFdkdL62pWvekBbyH35lhfFl5FZ13od
XtOy+jkNSUlYmxtU1yy3pK6pVQdmg/V+J03OGPOWf52XP9Ramij452wZPrVC+27+OBNHHqflpum2
8k405TUzSD6na/lZq/6m97ErLgqq4eKQqx4XblGpD6CfAzpRRHz5LHsD4ZgIkqf3mnCscgbjZ0sJ
777ApRI4HTa+Mv1p0Q11pOYSQaKCzmAjqp7dxp4DsxxKsmBCBf1ch5ZK75UgRIikemklBAaPDrM6
Ny6ig1sKK3BPByomLi4Q/gRNYJySMKo6BuLnwcTFzuaOUBM2CQb+fgYlIZCXBjBg9DUFsy3lvtTq
S5Xs5dYq+AjL4qGmNmEqATr6BZGrgjEGU+aY2sSQXnTeQJvD7NwV5znxPtXgXmaH6dzke8me9Eq8
t0xm8QO+4KsAgJxzh9pVpcfQzdnQdfF5iQUXEoufY5xINs+cLjqZX3uXK4FrMDUXRvZnUoYTitVN
GAD3P2eenYO0+Xu2/bLGC1MPoTLXj7w2+0AnGhe34rrnUjoSuiDz0Em2E6fXHAASau1VMB6rw9hg
WKbBoMSvgttMOp/ACFXAyprvCdHle9eJ7aMx5G+dBbAzJ7Oxp1rhYSDfsitYfPaSu/TB1ri8U52F
aUFSnXPPsqsLCMUGgRmabSRXGo6wxe/WUJhttpS9wzQY9VgydHDqVznj75kGavZYmfj5AZDmbv6s
Z28OyqmamEhRz5Fo0mbSi37JA4G/t4Uw8p7k2spbQSfE0subObaeVhPauRtTz6RNLIXxtjzHbOD7
ym3DOvOeadCgAwM/AUNCzmRek4WR2zjIovd9p0ATdCT6uw3tkXTkK/PEDzW+IDqjMLcIlcFY4dsy
F0G6QRCbgNuOOzFGKbdV9OwysiTECCIkG9/AwyAFwTAc2qfJniiXTxKOO7r/UjXd0i6gy6FdYWE1
6ylrS6B7JJ9u4HdpGa8Brgpy20Kf4X+6F9eghHyWrymMT2xBEe1J4yefLAAmgn0STFY7x2E7Dh8R
fbgYOQffCAlB2gBDKyugwKYR4o6+R0kPLewDRvIkbtkuoQtTzU6JDlYLf7B/Mtp5wjOgD80gnqfo
5X8yd2bLbSvZmn6VfgFUAIkhgVvOlCiZkkjJ5g1CtizM84ynP1/CFVF7qOMdfdV9s6PKlkUCSGSu
9a9/AGlL1pP3YYijfHBC7agjxHvhQR8SrXzNy+Fj7uVWdGgNBN2kqBi7V/iUraB/ZVsZv4U2S8/C
zB0sQ1Ac1cNuHM0THnRMvpi8rorZTVdWqO0rE+Gz3iXn3DYftDKm/sSgQeucD71hsEn4GYHGvf9Q
Jds2V+1UV9GjWNfKw/uhkzCceAnp07cD+WaAsWG+ETCmVkaJ3WFhWtDRjA+NvRE6Rv5WzOk2t5gw
zCOsncxlHotZghbOHz0WEDYiMOpzvnqNaAu3b0bo5hXBID7bmvGQuM1PjMsN1ECSljOCkRp02pMf
hZ/x7GBKgOgj9wkq79sLnZTd4MaBA92zg+a0ZVyjNcWjJGwWlbU0L4MJ8khSAtkAp6zKkG1VzbvR
187WdoO10xO+U+rEgGdOvEt7GUM+xssVE1WubA3nBj6xZYiNJb1gbdlAqt5IZVuYE7M8gYYi9Jpg
M4+y2zOPC3uSLySzK7TJ3i0xgo/YlK8DpCrDK95sqDyB8zEnJXoAomFDgQAGK9OjXZRXAqh+QBQZ
7/s59hD/WT8003qBLnjnlzhmRnP+nPY2IXiRRfEThu2aRcd2wh5ji1fbIi0CR5IQOF4gRmOyZhlm
9pJ44wd4KrY1lvmA5yRQteN+TIWFXwBQNEydvgOQGknzy4K9FnTfR9JX90DND7V6QGx+BB72aEvd
bhQrx4QgLsh+zxOYjZHahGq3ckkDagtY7RSlZf9Mhi3zhhkguyKqqEAisMYL0bsbu/hezKD4kB8p
n6AaMt7aN4qWoQu13dsBVDne7yKdbXKCGmSymoaB0nwx52Ef1MMx4u3hTUZ3MsW92gmBFA2r/Ri+
waP21hOZ7FvN8OW+Y1WtJOVFiatN/Ih/KamrLph3LspsZdgFW1RaPsmEPX/guDV0g5IxnqZ93dA3
Ipa9etijUdEkw8pNsOINwAr9jKSoFPu7Vcp7UqMGWRVl8yxiC8MTZDqQejqxgnp5BEsL1gy0vvhW
cJ+WzNI8wUdlA+lkLU2YLx0G+w9p1X8dBeOSHDbYChKHgQ1kSgpYRawgxHP8vBPGhLn3w7YgEib5
/CVLZ4uGnag3g6jstVN803sIIDrpSaYsCDwIcKjuML5sKTgAbb1NVqGrxRqmZRheJRs6awcbO5LL
4nW6w547csJD6ZQ/HEn6gaaUM7EDc6qVbK9eYz0yutyFxQjkUMAcyXxzfgxxloUYUD0k8XyVdYFZ
jMPdaV76Pn6MqQSccYhOsFA2mdc5RxRxNi6RNExWHX5AzHnLpHgcojpkjOVgkyDSB25+vc50KJOu
hxNU63HKeMZRsmGsaMLxEKBz4328G6M3I0ReWOWgATLoVn7fk03XZ5vCHhp6JNR3fX1Fnany5w6J
BIzLMKQKOa924xSWmL5hwagx92dlR1uptJxh5X3HA5d4KVDCCsdboPur3Yfkl+BytRZz8TU01Vgy
sI/4Um0FFppHS5IQmw7j2wQP4MgUxzGYT3U8oCdCplaVeSlRTwzhVwgQcAfAWY0RppvdVnsta0hs
C0mZib75riQragKNgFKG2cIzyTFBqPgMHesuptg74l21sXQ4ZtY0SZyQtHnbdznGJThwQR/MtqGQ
xDQQjxWEZ6wB+tUEJwY+C4UDEtL72Gd6UpX003JMtrBog3tBD4uEqrr0xL7sza6BXRXKLSphuCad
u8K7gwANSYXlw95NTDChmaluEsAIZgisTsoWo+/OBSHD/jglCsmfyJQMc/8nfu7PtAzU9E1zNNiZ
0tx+TmfIdxCQKPL8PF9lOTLG4inzrgB5jPMnnQEMxwfZsOILSCHF3EiOIoy9nzhm/agHmLPQIlbO
AMKctF23Hk2A9Sb+CDQmzoTXwdnKMHXnj8E7B6yRbXGbjIGWwXqz9OQzTcfXTFoYRXUdmjQBhYGA
zeAOPuzLbCJRY6we2/inaSNRLNjFAkQZNGSFjp91ZmUH3wDXHgllC/Fy8whE4bpiDT9SvKwYVe8d
zJ4TmYqdPhiYDTg28+9hvitbxOUGKfFxjVAlIiN9AznpKBKvP+mYuI4cUrrebk3Zzc8Uv/Ozh2MH
rqPxipkJNgRy6rDa55mE4B5kAXY7YQ8PY0f+OXmv/ALNM+gJlFoEphzaY9rLruuPkVt+z2qftwQq
30CQFTxrDFzbETp3DWcSO6Vt5nbFftRiPKm/el1zkkZJGoIZvg0l3NQmS78ZTn3PjPE1teCW5Mn0
XfaSJPZ0j0/MQ83xZsKKncZxz3F49P2OYqm7YUitb31fdoCgKEEga4DOOt61jZGZ5ai5sgb0pUud
j46Sf42nEnNs94ZKBuZhVjLSA8AcYKyXdVzd1bm+6Syc1KOYpIH2ZCVyZwEv+Nh/gw5lyV6Jf9gq
RxqoIxRu+NjMaNhQm/AAm1HZeGTozugGo9gGIJiL7/irrqcGQnNluRdpB8+zhXm5P9behlP+66jJ
kKw1VFiibo91gv9Jid3MTtZQbu2PdtCmrY8bxCZMBn0fauLNw7CF1QsH1iTZpIyas+iEszfDaVgl
JV1zKqBOdc0P0Q0PDnwjSHkQDxLCH0TUdDvkqrxnlKv0BfnGNIDEg/RhSMnhcjppbWuXdqgin0XD
782MGd0MofWNfAG51aTOAeU4m8Sox7t2Lj792CTrIwf5iUvN3M7MOsmAMdL72J6KbY8TcNmyZcET
w3Slv+ONfxKk+5KAzL5TMV0LSw2U0bX1VRljjeCLeDVZpr0HSqW7tVL507X8HGTQwXS24T/VWONh
Uodv7WChmNS/IC3E8VK0P8kHuPnRKHd1b5GU1ZMKAU8kdCwos3Q5wPfKzbO5845DFimri5Aojh5y
13j2QlZjkoPYTR4aAF0O7CW8U4iHiTwwAAeJBIKiiyXoU1CR6jXGWYYLa+TuJxIhLXte9zgmrp0M
zgAmCyUDBh1vXIhhHXAGo5Y0YAhfh3svGcO3lKgMGNjqipZhagoVL6KlHQnKPZCk9pINnNBlmTxP
kuIrnwjUKIJwhyABDKq/i2ysl0vY+q4lXaajCkvdTqPBkMN6bpv6OJkwfV1TIF3w9Zjghqw6TFp4
Az3ZZLV2CgoMeuK4Ig+J4IoCQQAz2OBo90OxthRf6GFs2vcgip61tNGPGaxoEt757BC/L3brZi1D
KlbwarCMKTlSm72URdYegvoFg5S9wkq3oaUI0Ezosd8vsLAKLBgfdCyjJGmmjB4dDVu92At/CNdg
9LVPTQc9PKuITMufYvbjbeWGgIzpu65jjxv1tFLELtla4GwMgnxWpmjEoxidnS8C7w4e2amymEAX
ZrYngOu56ZL9KDzy6or5VbbxvHH75DPyqOXJgyFuT1F8hLhU8xwc02Bf40WsYUcN88EXvsC+ItXv
/IipS8qhNFU8EqbV9b5ItZB2gbmaLr5kBkV4SmEBQE6Sj06ICdx5ZP94CDh1BRexv4O0F2xnM1MB
UxL0PBEkLgPIRfOrMIk+y4AuXOiC2D5sG8pufL3lSUZ29pgW1leqM/YoisA7qqXhKUwgyZf+eGDs
2K86XFv29MxbSNIfTZlid8fAMJgpwsPoCmMy56UlswQ9+EqHQkqjNFd7dsa7UJKfglHfqsxAlFkv
n3rAxuBW5nMMG4Xu+CMcOHqQJtprvHpo/ovyR6PpHGkIlTdkup6IjupWGMTfGxMng99F3WbWFH/N
6CF9Yizemh9ajmoUd2/khvZKtPm+aEdGdE61l732rY2plbv5SGxGs2oUTIJW6dCIfCYsOyVNJ8aR
kojDTaBFzakd8dUTcJD0PCRvSN87RkKKnhGNbMFQVVr765BGznb2Pkc8PR4EHFe9hsuBBNHYl86p
DV+7LLyrOHcDLNg2nTZ/d2T+EjrhR6ng9YyombW/NoiMxGKreUXfAUpaECHr3UrXze4W7dn/G43e
/6rk+/9QpOcavxPp7d7r4uf/OTbpe/7R/FGqp/7ZL6me5vxL2CTQ6LqBTMjxdAvZ3S+tnib/5XhC
SfVMlHJMnP8g1nPEv0zPkPylcKQtXSXg/LdYzzHUX7notzzD1Pmv9X8j1nP4+PI/Uj3bsg3LFo7F
d0T6J5EN8vd/UILS8BM2ZKXWuqmAakI2lWZ2PMhmLQerzSvFnrVCLkw51j6hScXEImdgqhwrilI0
OKNYzkYbAnAuAG47s5QlTbFzifDU6/REZ0QBzpgYPuB7zEilFQicAguIoVJK9RG7bcvqMHpxCRNz
kB35GhKgn5PFHA8XZkpLjGgheNRe9sDYm91UVmcEybj+0jKCyl+wk+CFmOQEJbo/Vnp6G0V6l+nW
W4dPGu8hPiTmvnLh4yJ0QikQk64jw2+tGjT4QX4zkuJmTDTR6rdF0w+zqR/+sCz+i95W/E1wy212
BGgwFQLPTtrOn29zXkdmWrq5uZ75gjiOpCfTHZKdX0L99NkeNiQkiZWccKVjIrOWAMRtRSqVD7cE
vu1F3QtI4Mkmktx0r8jv9Eq85R53lhzDCSrY1hgo3FRqRm0/tBO2UIFH15WVmHpl2QlhOg8hYixS
M9Sbs7BEqVZFm9r9Ulcwu4eQxw8EBPXbRyeovmWppT/S+c3x5YVW45OYj0sXyatBMTFYsMJJY5iL
9qtog6tfkVxDYES5jchWTuz8mthngkmJhI5nlbuHT5JnMtmfSlQtAWJBOxiAmDmGyBomEoUx9i73
tUfs1yfwa8Zt9q0usnMW+yhBXffd07JtAELK3syFWORyr8Yuu/e0dtoLMDTLOhBy8powL6WXdS/A
KDfyJ7O1+h9WjsfzUA2bkSMKiRJzNahDb13XRdRPXEutDvzE7lBdAEuY+B0KF1qZaldgUzy3Nt/d
S9pvg+3ekDw9kBzwpRvyM/agl7DRfpq5y4wfGtBYXJqB9ciLB2mIOdwaz3hAQGwr1y7iMmrGo/rh
RssfgznUUF2EM6Hj8qKgZS2MzstbRUd/o6rYx9r4IyCVxnDiT73yLwXg+dqpNWZ+wNzIRNauizXg
ZAWfTs+z9Rw+LPdy/ILak+lRd1usMrWuiZ44ixSirNHyQjs9XK7hu40kCj2Oh/ulaxzwtfp0GmLg
GQJ/Tnlx6DrzWqur6RJ2AjIcIrcGnscgXQZy75QWfar/DHx1i6is8O5j0K9LWLMG160V0dfJNh68
hltrBdEnurVTZ2uke0XPvR5+1fyXxslUFob+qS5AizyMjOMBqCXQP3tg5oHak+4cOeHUBJ9VCcPD
bLuXlHArOSGvZShR7Jo6vk8jZimT8pfOjHVp840TTbPXXT88VEHxsqx9igg2j4pKYix2FJ73bmi8
L1c32snt9++7q/9tV4UmLXWU2ZZjo4H+iwDa0rS2iTpcvZsE8fEwdqs8yN89nO9XM9guQ2sKJ+dM
Yu5u0pGTDIxpY0xgGG24Z5KGAgDO+F0SNBh6tYYNIjVG4VPcUODA8y6e7Wcdki3DqOSIxSdvt36q
bVPfxL35XEbQTqkCqcl/thYfqdfuWf0UJn5H7HOhM6Vw4KPom+35PzIv3A41SMKA7QXqD7xu65UJ
sNzhtdKjUsxa49SV2XsIToCu0EGBpN05SfZOxUUrN/6UmoHznbiIsNrYESayU8vUHktHQMWRDEKj
ByrgksiUeq3IeZznArCX65v5XlpcB0yoo6P6GDFAcemaD3xM81UtDSQpzvjhYqC3Cpn+rAoHePb3
j8rQkdH/5QS0bVOaqN/hZ3PWqb//wwnIbRPRHLlwy0px9bgudZuw8z+VfhFupXsdwvSAoPyWWi1d
L7S0iukCYafTg16OF/XT3sxDGk3cfb00PHqQs2QtbmjKtFUqBfUtG5Sh/9Rk8u7QCRkaOe5MzlZ9
ZGFERdQT1AaCXCb51JBOZhbWVXj8dcLGHlU5GDTjGyBaXITecT4llU8LX2CLv0tHx5RdZu+tKY9U
kN9ShzXkgT6tRralVUGWVTB6W/jHm0Zw3EmfG0ihATikcqC5pcKfBMwkcW1CNNKyPxuDfRYuV7r8
DcaST3benGdTnIo4C7cgFpigjRNcCybimcc1w12DT9uzT7MKSWw5j+xrNLXbym52tkXYpBbyY93g
nMU0HZ1yPriJJN46cZgacgU6ljZrfG0YpjUJqWvXJkgJAJojKDM0sdQbSARt8V0OLPk4FvOu0sk5
Ex5p63Mo2Py7bpuUyTcI+Y+/Xx4Sw4S/rQ7LYnEYxCRa+rJ6/rA6dEybAjzlFJbEAZ1jOWq752xw
zzPmbCARxXeX5tzXJ2/d4oAKKAc3Ub10BWsa4k9XkqrgCOOasgEUiX5a/tKIeAtbVOcrBzY7nClb
lyc9Kd7VT3Y5c8xxyt4RXrDj6awRYe2DGMA06dL3srWu0SSu0eCdzVqeST6HPxc259iAhKYn3KxO
41mrLwAIdu0FToAhC1QSjsH4XRY4smu7eYDfMvBJbX9NKnR1LaAAfrnuXSZe+XfTukTIvUlQ6OUm
ojSibyRU+VXh6cUmnOLjMMA/AcPGFYRfYvCf3uc/eQMFviZcRW0CmlluJqc7hGxreNieJzY/ozWu
v39I3n97SNI2DPBuy5TQ+f/8Ck+Qe7gSTJJjp3fhtZMDbRqPoJXnXuL8Lov3UrDO2sli9hUHzEhY
j5G4B3XDntNkoyrN9F3tzOrnjRlUgnHBLqvSam/irYSKwP3ug7rNGhWLrbPR5vwDKMKnAJskPXhD
O/rs+cBv6rV0MtCY5RlofvKtqMZn9azUho+hGC+k/Yys8Rwnxgl/JmApGzUyzyriXxXOcE08+0rD
DChiWOfWp8eEud5P5Mm1DygODkLHkhkqzCrvgGH6YUMS3zUc2DAKtTT4tTlclHyIr1jPsmHwlucF
IeFJCo6Plxun6fAzbzRwitSqVoj/q4KdxlcpVnnU3zSCdlC+9NgHkdbpQ23cRDqac1jYtBD36vmh
iD6rDZukGJCYrqTB1681Z91YsJ0XKf+kFeRTufa1DgBrnqqeBfj7p25JdYr+uXexMSyhlPI8y3Jt
1XX9cefmBgaDZ0Cu0K3ijJLnplfZrYGJi9v5mcblWocePBGtoJrLTmWvkb12ta35rjfzk98h6wjL
M9MPNPhEilE1jDXclapqrzC8hJd+loLUbhCOo9G1L9Qs2Ro3h2lf4HIRkBylt+9kGZ40Jz1zzlOB
eQwNVjO1DEoSmLGUURX+jGu3iD/zOkBSGlNFYzTMJDiARsRFEVNoMPUhRRNNfX1O8G8hnWvAEl25
ECDZJIY9gOraFZcpDohJcPFMcP1x/asuE+VrMkIHQrityfSpJWKJpQGziW7IOqK007c5NjHLSUKe
IXmS+ZAcyIZedRZhctXUEW1enGDRbJeK1fK4C+UAFRUdPJQMSAeFzdwwbBHUYzW+ZQqGGWV3mSPF
Q7EIZUqCq9YGPzrtbXTsQ6jZB3RzLm89ZxY8PsZQWKitE3ojRpopfhb5eIKm49xhGk3UOhOVgRnr
WpNqKKddw25f2/mZOoOtvoouQYJHnKpB/Z5uApTnrirHHxrp5L0eFNsJwzZr5FLQ7tbrpg72vowZ
aZgt3HuKZo6ykrIPU4tVq5qfquB3h/4WQ+oLAz1iR93w08yoM5e+osyKg93LUzJx0kwYowOqFS9a
A8dwLum0xEEtG7WSKlVljoI1x9pzy/zmjNTIbhdjVWOOB99OPhmyArclBur55tIH8i7uggf4NYrN
cAIipKzFtNlNbjil3Yws+2xH1YWkxh3TCIZ6fOcxaL4SCn7s4hwpZfRDazPm77REHpb4K5ytT2QV
36KeD1JtyNJpzxAG0GrS8jlyP316k+aSI40bXca4ekX2RDN9S/z5CHyP9jT7hPKFEw7ZWeT1PdOH
gXyqVl4PoR60rBTk3fPB1BzIDeorwXy8jM13J0ZfNOSYuMR4Q3FADXJFKc7TJq1+cG5M4W61Iy+W
Zh1Ude/zfAdOsCnSHvLoo6K3c7hrmpWe8KDdVdzSuIsJq+4+ITh/Fur26MbXuM3eQt+9LOshmlFq
lQb9MyQgGcznzs1ug6rrI0lTox6NOWSvjCjMNc7hOGl6w33bqtgAjRc5wlkPOU3OEyfaHFFPZj8P
XfzWModaDephtyRFpZNBrnNyW9abar3HuHhB4va9Vj+merfJrCBL2fA4INMn0S1tUNsb7kVgakGY
Zify5wgrxUJzt67CJmyfx1pX4TMmpzgNIDTPJXcTOTCfWL5KHT7FkMG51J3vfWN8mn5zCGL+YaUi
ztXuIlt+XvXfIS4XOWyMYFIXDfGijJx7swkJzGp3mpm8Fp53ITjiVNPyL1vELJN516T5bVQXOJL9
BF+Agp9DbTS7l4jsa2V8/pkHzKWI2TzZBk320kwmUYIAtCVKgv6xj9Kbm3EHtJi/N5EEFNOPsmle
jb44a4UOBiTfiuA+ypuv6uNSaz7DNyHJd4afZruXAG0xhHHo7hovCprnz4FfHXSIlGBei60nxwM2
u6AOXU3fwPURr8wrpmvn2B6+OKX6Py1/nPIO82J8upN2Qbd1Z9TQaUrcf0BhXQ5w7UVhQBVtf+VW
h8yZrsvle6xyOXIW6Sa8QkZnK7RHRsYyGzmNCQXh2uo5/FSIUKKDtHTRF8iFJNJMz1jBsZ0bYCZE
ojcMVrbWlN/KqDh3dXW2pzuryc4NbGBcCVbSy89ND+xU2Ru1YtWy1Or87EYQJUteRtC9g0zttWxK
PonfwSrGL/SM+cxVgTitEcKjyfW3HvOCjaHBKQUHOocifR/LDoJpDgoHvPyJwvtLqr4q80KeYt98
jKtWfbtGIS8IjA5hzHZXEDvwAdOPPt5H/uamLkkkPPYCviHWioxImZmlUIVg7XKT3Fr/UUgTz3k0
CNHG9LTggH8dyqI6v28He+2UCjXgkfpqk1aLg8BWgL6HmPHwsndERnIbOljXfWkdMOKnFY+8i1qT
TIEPasU0eTNscGKGsw1ck9zEd3tAVKN2iuUhC2Nu0BwGu9/XDOK/NXueTZVog3oK+vM/lwy5iW/J
rDP27T2fM1xPiOdgPpEQt1eMazy5SYjh6EY2d8Md8pYhaWWSiNf2MOOrpV5K9Hv7yu9e6wBNlWe3
ZH4NsAmBe2zSu2hfwS/mhEO+2k8hUOM/XICuvuFfih7HMql0pYt1n2nLP1/BbAsr92raVV3MJyeG
DNg0iD+FfrVa6tyUXoxh2G5M6ks1Ps0GPYY90wsGgwtPq2EWHCqgQVWjBf7KlUZSGyWjn3lnX+Vm
MzqdobPB4GyTrTmPF1VQYkqLiSG6/YZumdcYijEv3GapG2fDKiD6ybOJBYHfPc769BB7tKB4wnpr
2Me0AaqRyakXFT5T2e2TXdEhlTk0ObfgTtJzE3z8qxNW/XQkuCxfWR7EGFVaJm89ioVr0hqvPoJj
b8jq3czAbY6oxGFgT2s8UDZFzxB4aqsX3Q1fgoHaFTHn0R5J+0R9hv8WkKr7KNvwCAQFCkiPNMfw
hVP9MyiNF0ZPrRbUO9OEZL6HgO/sZ9gVlAH1V9QY8EkcEa+heKuEbb7+0EIsBfy2cCAOMZpYjZp1
VfDA5PcvmvmqUJcFszHsOFob3QdvJleFPvJXy+G64262JZ7gqvpGHqqQKfex8BuqPFFsIFPeeTlz
nibiUooqvuIVKtpnsofu1U2Sbbu1M+fcJ+verkM2gexj6VhaJma9PPpRO6mQPiavPWVpOCKWkx6I
b4AiijYTAvP7RGat6iHVaiDU4BoFxjXqHrDtvQaF/61yvzTUOOsSGTbDSPSGIQzQzGk9Rap/SMfx
UrhGt8Vk6MNJLhUP0hbFe9Qme4hrX1SHoJnBsSiU4VexU/9/GN1HF8qsGMB0Uqzllo6hTx5L+63I
7DdctkBREHIjwrbPnlm/hKjmq54b3sQpzj7104JbEEXEzYxYNanOs6lK/RoExSmhj6faVY216SkD
m3+3pmN/6aFMw0LhXkOigb+W/gQbJbknL84WTVuxdIiqjY3QI069tR8zIjxYdqnD5ttz6CzvRYwn
nVUN69+/16Z6bf/6WuvMB6QFdVIaf53D6OYQAJ+j7FJg7VJkppNgcG78wo7Bgz7qEctfatplLtNb
A+o85zEQOoIs8atGHgaSIpz+vmyo+UWUnpa9tHiL8IFczZ28S4R9iFVta0Esicbk0+KHTExjoZqt
anVqqA06a8dT4bvW2kV8NXrWTR2g/3C9rpp4/PWCBTb7noOORfd0BaH+AVjBfIEM5NDhk1X5l8Qf
fQiLRVXLNoepVMf9Av7XoX/p+drNZB1KM7/FHRbiVNfqaFVN1QyjfeVtB/HSuxT9qrCvOJjVjZoM
/87y7GOdVme6gnMVBNcKuFzNQ4hq2hFoIyTEbabRkDoYNqtKdBkCqULT3mLG/uAF1Jtp5l/MmJIP
Cyf4kXyMp7uvdqn/COz0pLpJE+vNlcBslpyl59TJzqHtb5MA+vdc7wkmILjb9S/QEE2EETaGVWuv
AJ4XvfUQt/YXZ4rRpScUsappLEr+R/w9sDS6UMQky1Qtdex7/P9uy19qLpOMMqeT42yd9BS7qWCn
LotDI1yPdbovHKCZyu45wkcOffaYxzCAKaNKHCuC01kn5CQwXd74DfuYbT6P2MDDusAjBYYaHEu1
grBbyaa9Os6Xgjzo+LgmZQeWMZhwcXR1MHt/po/NyRbLvPpu6dUyuva1FTZbLNcZjpO50gDWQfBt
tqNEiNMIBu/VLImK8IBqqKkZIqGAM5mGFdicrWWJAmscH2IiuFedQbGuYaNoawQvEjkQTAzMHGU+
AwfoXr0sqjZWbYMH42EqHwQVRgA7pMi+q5Nc9d+2IOGRNmkkFutXI5MFHCvqu80tv06NiYgzINQC
EdyT082olRgP7aM6PXrUkakqAYOEcZyhHjW8ewhcGQhobt1XM+lCzpPfoj9cxj2YOh1UkygY4yyj
NMfiy+px+w3e3AkEgnaNRnny4ieApwNw4aC04XyAqjBUDajPc4I313rwwx++Guo4PRkcvoZ2Vrss
XfrSgHrPpV3eWx0WgSwAN0XbHhVXv+FrFji2sOgfURGod6HxnYNavWHPx/hiuKKO+s/vMTKLyJga
7qVL0o3qmHkm5sx64rWR0v6JZ5PoxjsDHz17PLmGvJi8l786ZH5U0sqxSr5SOs1qnLQMsZBrnvMg
PavfpbrTkP1myu11TlaQaVbEShKWta790sclH2X5YB9LR7trAvYnVSu2IDnYVXwp8vwhncMb86kz
Tnu/Jl2q7AzjMtkt1agrKTZdt7B2hGPj2M/ISDfHB5HLH3Er6Z0gC4UYk3QTsiy7qPZ6wHs4qVu+
dEma3u9m0/1Q7aj6aARN+IGoW4XLTAh+C6NDjYn1DPB0xDZDYR1qpygdfrAJ+7MDLoIUhBOmbr7m
erdZiuOMDWrpmpYOQtuBR21EBQLZ1+y1y9JYtmMHN2ZsLbnwecL/tkpCvOFZZgpciKnhrap99AnJ
y7r4ey+/e2D1blAfVFOd85x9BXc8Af3yL9Ic9nPwmdCUqnsEPfQAmnFTlXVb0LoV7KFRFX4x5vSB
cKtzYEZkGma0lfn3vMxeCmHoq0Z/xsoz4mX0o8MyG1c9lcWC4EhU04ilcTIy8c3qKKdUW1Ya9b1K
WleDRtUOaW7xTm4t/SJ3qPMRKNltv1+udq5pYAL1nprDC4XAT8uveT24Vn1uXrz8uYpoahZAJceM
ZMm0qt3gIW/haE+y3HnL26CV2NGCOijIYnmUdkivGcf6fT/5Z7XRFYwaRstF4xt//v78WiDlPx1f
li11WB3M+fAnoOj+8/HV1epPTcpZ9GOsANaMI6fnRlligC/MA2aIlWVc9fAQIYRP66dgMA/m1O1c
AnoXlGWBDNS2px4T5PYvfoDASG7zqn4Ii+TTy9J/OHTt/3bmurSXnuobGAf+5czNGGboQQYxNsx4
z8P0TCw24LbBFdiGxqCw+iHxBMiteR3Vn46XnUaEi7wS0jo4CiAlGHjhAdQapqdp1247lSrYc7px
Bi0YjTpfl81c/UngaseIXIdS5xFZenfvpN2xyiUmIdlJ7UrL+dV6yFsF/VUk3PmQJiQe5cYX9bpp
SUaGQvUlFUxzA9e+qC1gac5heFIfVEh2MvO4dF/La4a85A7KyJPnaT8zjw/9/VO31FP901M3bAlp
x5KWcAzayL/MCiMrHeau4VVvhXW1660soaZ0BY2KGgn5xLN42TfXxlNei6nJAMQdNXFzsE4twn6z
zH4URwNVwk5XXdYkXrBwfOmD+arVDGOyAb5i3MEOVP2ApsamatLgMBdbeiY1XlBzIgpQ8g4+1Nwg
6pjbNiNuHbHfHyoDdnSbCGQI0PaxQrbQO03rXs363Ibi9/d3xPxbO2rZjkP8AiMy24VNpJbcH8q4
eehqjEx6yMf+lB5Ne48PA1usKE5dwYvPCGPNsXTxkwm2S9+9lHJ8+oXnKmjMmPIDCOFJHRH0Xt3a
hWvpWVhMu85BV+fgFLG1uOUKjyIGm9GJ4eYjh9HCExgC216F1kvd9o9zZOMDrSrAMKVIwW3BR58/
qyG5GJkfMz36h8Vg/A1LUFsAV8z38QTD/r9sAZFe42o5efoay6vvhlZdmIEC7BD22aGFI9lm1UtG
L7Z3bnCQTEnVTQJOFDtEQYG4chdkyT88DcP7G/GA7wQPlboa+YMEOvzz48AaBUylSxF399nNSwgr
U0wehai7Jul6JF0uhZwiIGUcpUuZt+DUoxN88YLnvmy/FvhmSgWzFpNzMafqHClv68E6KUREgZ2z
cL4U7ml22TxyEzCo0pBBRaW//VUtp9GnQfBpkM84X4ZHfVwoL7564Oqfkwfx1DnfFzR5qWIWYlOv
iTuQ2I1fahdVO7X0HJ4CHNXmo/7ARWvNULrN8btgw1rKNwcuk4oUxc/Bv7QtwKLhNg+eJh+zAShr
TMA9s/yEJ4s9oWde+iII0+9MLoAs2KPVJal6a9mhoqg7tswJLbDLBXJdypguV1uN2aDWVRXjMk9R
VVhT7AIDaroqIXXDus2Im0NeAmxsQKU1B6tQ/OMX6lBKqNdceN/UsAElmGLm0G7Z8RMlEuJMqibD
G77FsFkI++SeFsY9fmY7b3AOsQi/drV2LHt/nXvjwU4ajld3a0Y+gYGMHdSDWsDLnNJSUVniKT2H
oX4M8gq5NtXuNHCid6N5c7BFp4syEGAQWB1tFkxVQPnrfAsoWU00GCcqiFeuVQ9TDOmnGRSftp2c
QnoAvDG+dFq/bmF+LYsmVIOH1Axfp7C5V3B+gsV63uCMrROPLIZngemReo2FwlktPd3naYWpqndR
456lwpnMBANI6xdYPSApynycHpw240ZZ6yGkWxl43xH+vY+5qImXYVcp1HlS+f5DWA74EyGUxM8B
T2XVwGazuHU6QP6seiNDscWqKYWQeOzDf9PgJP1AqCYGFaaRsNH+YRxt6X9r5hlJ6pZhCBMtvzCM
v2B0IKWpZQGKr9U+GBP49z/UndluI8nWnV/F8H3aOQ/Ab1+QyeRMidSsm4RUpcp5jJyf3l+wj/Gf
ATiGrwwDDbWqW2JxyIyIvfda37oX9fz18pQuixNZBsjZi5VR1IwHYII7HYCepRjPeVye5jx7jLlO
prJEI1Se5CSr777AAV4tGs+YMpA/smQ2GuM/AptbOTiSQwvZTpb3ihxMySK5VsOHZSXHoXLGZGr2
ihkkqF9VN/1OvcZhiz2XB+o2eVr/yCtnZE7VL0+ycWsb8R85OJXPwBX6M4pOuZze71usWSH3tny4
P3/V3Xb83bcQjWJb56OWusU4ZToUwoiYCSfGi4wvq0u6ryw1mXIxHiIxG1o8xta6W3ZcE6XFcFxq
FgcaOfdvovkBnfbHnLSfJj2AdT3JzkD5Ka/iwkSgF1HEarM43EtnWauEku/fO8r9Qq/vNTAHkgxl
gxc2t9Fi4bh/8uCdxMqunzxG1KsmpyZ9/aEDzPFdzglkvS9vcdeoHwVr55wjsZpTAMX81kj2slyc
CCQPLHSX90VKfmp9SSM0cTZGc26a/lmzkx0p2NfBmfWNrJYULsD7FeFQHnJRA4sCh6dpz+oIYUbO
1u6l5X1JBJItSc/AE7z8E9g0Z6P0KRNyxZI/iJj9MNwJ4iqzVnm8jbNLBv9RtO4l5VaVh+n7Ylww
0YRBeCrkEYrOGZVLto9y2vJPjOuYtDCZkDWyXqRfrgJNjXvDY6h1HyVqcpTokKTJjVdK5oIjRYby
xeskjKxa2qG8lNCBaHL/eVs1H0yDVUyW7Y4bfaJ65n8dBexXxWNp/GsY3dBd4caAfYgYpCeDsjyl
AOuZxd7fJ7nt3GXHQEoekoqR5980kbzw+3hBFpJpqvxog0WLt8HCLOeBXBfyUh7U8NZ6T/LYKp/c
0jE+AwdB/zMFayVeXcYz8hYxkCTakwozS/tVQ4FZS/FAx5Cunk9Q957uguFM4Kxs6a6u8oGXlMvX
pfKzY3X8q8TVaR00Ua7c5JMeO+elbQdaO9YHuS2fM9ssuiE2SHIGaHSaN9llUEfscyqUYJbb+57o
AH1yQ+XXXz0QK3JW3lk+/dyTl7wUTwNU11BZBPeqC0UY+AFugNl6Rmp9l1lDZz93Jrb2+8SQeYqc
t2RufjXbYZOM4YZB/HOrcLZSwWAgb11c5dhMx1I2W+5XlMYwfaHykINZOcHq5K53n1x2OE01Nd3X
DQWMHAPLIlmqI8LegOQCL1SKk+81nW10V+AerXOQRbTcEOSYSP68WnMm4ES/sN+O6XMbxulKCkJT
umL6RAqBHIbeNwR5McvxosuHV4IxujfTRjpcTFhru/6UXYl7zR516afcakvZm5+T7ZJeMmiFSxLX
4PgoaOWdI8ons+jPUG5fOC1tUqBHGgRHpUMuzIPKuk0+cNryl3awWVir5d4lJ9f2BMVNkPauybVC
vnGhvITvleZ9Ptob+sHQ+a27ihtc2rvdPLnmb7pIX2WVBdHgHX9bFsCHe8lSLsZucIj7LnDgwj+F
R5MO39PEAxPHXqQSn1/azxjROHhxAxJKtrZt6VAJ0UfIZwkl3x9GFfcXz6zzYLh0WF982YtInZh7
x8U/yuVyH9HWQ/ybpIa65iHlzi44HMn3MuPuKzLzWYPNeq8F/t+4RP4/SnJyOfj/9//5HwRRRT/V
vyQ5BVBhf/38gzuEn//LHeKRu4R2yUN06nk0wQ2EbX8zh1j/TTNwheAMgfvr2pqBcePvkpxclc45
xYelGbbURf3vJCfMIWATbNe0DWBJjm3/35hD/qXCYRjhOoSKYBBRSYVype7u74o7AEwh7bmSY3sx
zrsB4TyJQFq1aomMwKrdxSeYZEZQ9c7wxOJNAusnsE+sIW4HuslZlvky4c0/VQuTr797Ex//qrn/
S9lzyEzKTvyP//qvz81i7qfhkocMia/O+6czllookNsqMUADqw10BDDRrLB7bOJZvVZEyFDn6A0K
fiOFcbI4FI6DsitbtPPezII7qGibup6TbZQamv/vn5zFJ/APfQKY1PAkTM3U+ZQ8x/7n0rC3nRTJ
JWKLwZI6maT3toynzlFtLpgHWjOoHcancCL8ZI6rS5FDoRosbSIYBTjzhAiFUwn5POnSFD5sN6jF
Uz8f8RtbT3FSfIPfe4Ca90jiTotvbXbOlkKnFfHQjXyLbTQW8zGmc0g6TiQeIG6g37dyPxW5itW7
jE4iXZi5JanxopJZvdROzYCo0/eRubQnbYrW96TQJl4QBpfDQ4cDyFWNJABvuvi1Z6U3L/PinRnl
VA6p7gujL56NHor5v38r5S3wj28lwjMXkxJ3ivzH4T74+2uQoK2kClXEPF69QPEV5D6oy9BeQjh2
m/lj7NT4kpImhQB4mkmVUMynDHxRab0M9VBd+paZ+GQGxIZoSOQPIWatlypMiOLQmmZvNHiW5aR5
P9WtthZj3GMhJaoX/ZHY5ibUCmW0DwYpMVuFbtawlJC3hqKid0Gqj6GN8cP9i+dFXsA42kBrhfDj
378J94Lh7/tODmYvinpVx8eCVv2flY5GRbYuiVYoie9/tRqpe6PyJwLV32Knci4tZVCem8/ELxsv
AKyOWtG4eyh9RMfIV1MINTmDsmivWRrGZAVrt3//DK1/+ZhsLnUueNtk0WK1knfE3y0V5mQCALAZ
9MZx+5uysLsJCySykAAqghsPc209gt4vH9s2NlYmmndA4kKaWsaH3ha0/boKbZCH0C1sGWuoVXsu
CD/md7EizHN7zpz4GzSiOGuTwMI9NDKIGgl55QIyqxC4/uddMxpcyaR3kvfbTPHTpMs0zbY/UZQ9
EL6NHDqxHqN2A1ilAmMMCUwO5waj+VgccIa9wJq2TGEGv0XvAvwHCSlme9VQxM2x2+swTOUDJ5yn
ZIHSYIOpushMai+fXnJ30g6R1Uen/8P7i+f7H24EUhoxEKq66thMh+nd2v/cvMXo400WaaREWS4Q
BmzCYjrvMk36tckMk2YhtT6HQpCKrvBDPfYIH7mEoCpwnJ6SylSB+NjGCYgfSi5vTaBMca5B2zlm
QngoB12zctBsjssGOapzzgWA615TdH+ote820uO1Nc1AJmP9TyyvvkUPP6Yx3zgOppRF0xSADNk2
K0d8feoMvLH22pPdwOSK6VCGaQ2lUtNOZFPoR/gNz1AC8EmQlAR3+uZK7RYyBT1TPht1kdHqOmEW
bfrSdkD96+YAWp0pCmMESwcBieu4rzf4+TYt6FsY8O3NUbNzAt3W12CemGDNkIGixhW3uBivNd3g
9bw0tJ0F0eKhgUWGjIc05SPLn7IYjoDEEqGOAYSzoolOVY0YQmTtkwMPo6YzYXtOCB9bw7vSA2LU
02thD18VXX9ylntkv7h9tOmhiP9AAzdfNcpcp9BQMZqkJIPidRUFq4iawBwdcBuPCfXzUFlQI0qA
xnFuZOsUetyVcZeuuunNyh4mfFzLYzhI8axmeTU2C7veaCVPgsVa8xUFXl9ruyHxgFSZ6KGZfKvR
toakPBaqhztqfsiY/zykdfm3L5YOwINq7oEKhizjoVjedQKznaaPgaOQu2su0Mw8pJI3QXDfpoc6
8ODMUOSZ2VknrRLermzwvjEZ2Y69lWwtTA6PrgunFwmbQLm6/Ilz1/09QlXV8gCRCtByRYsf7l+8
LkRbQVQT7I6ImIaBdLcijAyC+Ex7wwMU66IOcZnA2q8uVTyu6ikzf8zsrQYuEK/QZO+zaY5+12H+
kaKM/kws6HVwmszXsEjgGpsWMdBDSM5ZYp96sxQXVaUZWGoFIzEFGWLt4b8KD1puYt9TB4ZY9XTR
Blt/KaCB5otxBNw8PHZK1z8ngFixgZtvWVMHCei+oEmMZtso9I0Ux3slxdrZmu3SbuomjrGFTFgd
O+vaWt3yMHQebrapuiBHxHtgGZ5vt8iqDN3dewMM0sJFCpAnaM8WJvdBP9c67ewZbhXX0IsZRl+T
I3s5jX7Fk5E+GgYUlUgZvAPgfm1jdu2f+59E6taULvJ/NDC9SqATqFUY6VTCUMjill905dIYURGz
dlimT3Kmc24SyJK5U177KgF/XRCBofcNfAIV+WIZe28ekOcp8zZq3aGX85ZDZXkd9DqY+FUIDtwE
5xjQGx24sKcIoDHA6LWDJOr01xdsx/jw1w3cSUyOCLD67vyfX4SOg2eAfkdrnw9nEOEWHuD4DhiP
zidPZZ2QrXVQhiY8Qe40GKSZw9HREZLR4bymKi8QP3G/1/M+3Due+ZpoVyXpfpwCIdeUZFdC39sH
p2jso5WZeJpi7aQ1mv5lDwEIp+E7adwQS+mCU8nkBti2hpqd6tq0DiRCre5/Iicp9Gtznh574qGU
dBBX10i0UzpY54qHv3aNeRRJ1+2TTJWB1HMUZNbSICmo9J3mMXsvdF3uyrg1G1ROSfxUz+rEmM2c
SVLEW4TViuIstDlVqGovtkXbdYeBtKuD5g7zTgXigcUFZoS1jDchw9KjzlS3U+8ruVd/qN34o7Xi
O9FH8UCQW+drVsmRR1fzQ+Ny4YV1oV/xkR7qqe3AxkA1sNutN+nilhFOJDrvBuX4VhoEVgGe6B6H
SO0e25kBFYSJcJd6pYfyIo3AaRFWZ6akqyZVuV7m4lfFJnwiqkvf497bqNDREZVJHTcOriFJ3i1L
AstJPp9IyCOZY4zi93zw5s+gNbryGbSYCnSiouEv/5gVGUf3xXVu3pz8DD2fXrEsW62Yor3LqEcd
6vl4/9I7jr7VqiZ/NSAz+mXRVyeELx2G31YAY/QaeIUzmX2TwcFiNIdunSaxtzXd8Et1jerMnIoD
uZ2Q7aqQawFOUSWLjZPv3JrDTXfm6tCaXb1i6j3cFIBw9CTzt8Gy+xtBQ/0NttDsJ5CUaJorZICY
cbNfZHz7nCFNa1JgHCo1whE3xYQUlO3ag0N2hBLHqE6R397/fP/OJbBh5WrZZqr66DEfk4QASF5a
KDKmr+ZbazTDl5aKbuO6YyD4SMeo1U9WbRIND6M7KDi8+CEcgZ3RUBZwd3jbONPKdUsMblADjAsm
NqPgLqkKQXud4KGAPLdn668SYZFOqFwHd65OmwFB9pmTTrtdevT0YelclWlxrrJbKne63/fXqUY1
xgRXtmTRCDoCx66XOO11GRjbkke21eBobJqxNl7iqqaILHvoWRBCvfGga1YTJHlO3qzjlqcB43tR
kxmmNEV10tWSBXYmr3YEcfUcNqTJA9xIof/HYRDRuSffNAJjZhvNUzT5s25ot3ty/bwpWNsZELUJ
t3b8vLTViS1tuKXY9bbIklr8g+61nsIYaORY7uMGWXqzGP129JZLW6v1FTveUdh9fyK2crOkUf1R
DNnBGjaGPrzMZe0ezMltA2BARVBVDTuxa+QXZ3FImVTqMoi7+cmjqjtzN1a3qPzpas1+y8wFRCR9
+sdWr/HeF6p4UiyGMOUU/VatsQ3uP14AazpEtjx9iPG7x8F+ahq9eUKE+0lXaDh5XdI+9QWYHjRW
PlVoFfRudVU5kvr9mP64CwOs3nxI02V6aDob3DAlMrtKPRfi15Lqv42xip8NC25nbJqkovbWQczD
pR1aJlbgrs4OAPZTm7F1UScS4NkE0eh8JGkH0EWHONSVw2NJN4PYPRW1VFWCxGlvJhvpgSPKeEF1
G+MqzE6qR6ashCzGNSPFiW62njylBMeSRMDgINqPMFFRInNErJcuCQb3wRh7b105VMQTocTQi5Kz
6nE0zdvzGKfZy9wNZzFUV0G8Gv0GooerxQimEE9i1WSvqUZOrKAkxO0DKRAM5pOdGq8GFIEj7x3d
68CeGAuleXdszDk51CPj9sAZaiL55vlspF21QdlRrKZl+PZ4nCga6PAjQkMuwacGhWDqlaBrSO8F
vVOHypn5/cZTKd2dvhhOduukm6Sb5s1Szw+2y4HZXEhRVFN7Z/ZmAPK53AlCCTMyf4NJWAcE9jFL
gzdd+ugGkzsMdI9sMg2YPHhG5Vgb7rStqgc1pxUIOv2aO/BCaSuSt0UNg4ljioaKa+sPdi+DpJVD
qBK9YWhgzTjc+XOm+t7SsAtkeArVef5UMzW9QR9S4KqZ1Y3KFeaWSsivXvFU+ni8NgsK8tqoj11W
B50eugc7kWc2devJWY7MyqIUYTdsSVJuj02i0ma2/JYalLjoAW3cBKAWXthOWbQgqqvOt73+0yo9
Z20V+U8/RxfTrpLLxMEMQFoZ6PDywdb7Sd1a66RTEe7kvxev9hVU+qfSWJ7jyKoIhXYHQMtI2DBL
7ZI5P/VzhqCTy9KZudrdeCJ4KR2ftR4mtOV9OOwtqzapIWw5posRvXpL8xikpKdAL4g5xsCJWo3t
Z2tA7k2sEOKp+KABsgrzUUGpI4pgyecfb0Z4PpKyUqjaq1U4I0KjBBKcUp971b3i4EdMaoCqzdPi
HGXemaC4F6czCHiurHDbiPQBrrS1ASn0B1ShC6IQFNDYclqbtQ9M+R1BlOl7MisINiqrh2m5HAyX
5CAT+5CPJOfQEGcia9OB+eCI4/DXaLeXxMuLB9xJDEjdLee66ako1U/1pee6J9RxAma8EEzA2DRQ
Y8KB62Y5nUNimojXcyHZCghfpf3QA9I/uTPp5Wa6fLvuvBN2E260Rri+Dcj9MGnlZsZdQJuBEooY
jry2soDEQUIYOuOmzRRoGbK0OTfk+b20WC67/cjYeF3WLaDnvFQvaeaehVY/E4DdBHZjXKy6bw45
DcN+4HI2WlB89TBv8lKj01jOJEwgRXZY6lXG6XjM8GnN80+aZFs9sqa92ZkgJ+qCTcRrj8JoDGIy
8A0aSrWny/eSFObjPNUANnpp2a08RpykYMwNjlsB4LV8dsiYWMed/hlV9NWbJraZa7KcRjPtMIGw
a9bcQ43jKkNSv1OXEeW6DdgrosTMlxp7Iq82zKN1bQj35BVkUSxaSiiMBazUbg9FMfTboka7r4Te
k0ekH04KcVMIc0NqTZS9W3yPC9YDEbnG2o7pNeE1WyGrJSmMmihVyCoZVYcPP+UmyWBKodQKRjeW
HAUuYY/lCLMzSDiNzduOwluKuuxoNySKW/W0awfW/7hXq63jKV9QKPJ1CaLDQ010zIWBcMkbF/CI
5Z+E3oLPuIn8oInUvcw9gS9Z2A2MYxiZ4bWs7SuHKlVXqi/XdK9y8KxX+Rvg5GsKh35lTBBrcYuW
29nlNOIapb+kJqmfOY1YrNbQK0eKqYUMqaVx6WBhB4iH5lfljWyNFFRck/NKI6liXYZtvXImorgS
p8/OJFCNG45BRuWRiStTtPIwn3YxUYgNEA4WhGZPuowgcaIwfeFerLRA4j+UvxHw3SJ4pKty4Yht
Gyiy3aqgL8QzX2M9IzFQ8yejwTNvqIKhCm9rHOprrapOlVhYIkoZy5oW+0H2I0I7bv2MBKGkinkk
2xkx1DdnLQ3V3ZJlxwwM9n4e+cwgUWs7Q7VQHkFYNNuoPBid9UFToJIR7kKbIMkpeR90kbIncQPf
seXtIxEWYE+WflMuxa62wuxWYq6q+7fMjqI1hHIRuIt1dUOOyRHnuPWkl5bv6iH1rZVQKjcIYUON
kdMYAeKIBT5g2YjQJ61elyrvQSEKGt9aQtp5AXsUJiRaEBjyuZNsSoUUWMLSsGgl+RZLF311FC6t
C4u2V1s+gzl5RzIQD0P9jTOd+1bRAxtkKtiiygtqTuhk8BR7xYBWjKRlUPwssn7mpGjWVo/PGS2t
m++rlkl5aD85S0wJM6YTJDNtbxoFEUa2GzTxqO97vCB6BsIfV8iaOfQ2VTm/9jHRdw2pKu7shYGd
mludxsLNqedrhHwbNjED2cJmScDNakF/Yy0bk03cp+fIbKZ1nIVIZ0f6wlbDVuSq1QbN9bLuKoIK
IsHebSvdPhPULMRcso+ZqAyMqceHV9sbAtZc/IBhvMPTttfoAto28a9y3AABJzykA5w6YC0vowbe
USyQnslm26pxkwFYquAlYTlk2n9uxRbZiAjGgnd9IjicokAcaQ3ZZ7r3LXmL4Al09AUZTXtTrQ+d
G4Pm1WDremzwdcl71zOVNlxKNBCqJEQ4ie+qC1uKbp8W5HG+aqDPbDVORlmvzxLvfRw17gq3dgMt
b6HcmRUQ2WQY/Fxeldi0pw3JlEgBhqOp559lIshBKhWegSVjMBrzHJuVXww0yl37qZs1M2DM3XPD
wX4K4zWE/k1syQWN2YapC380XATehQw+fbOt+FtVnN5Pku4ZXBfW0uY1LvtwVQ5lvaFI8q2ZT9ha
HG0XIaBU9IitITyb7A8Blved243OziwHdkyrrDappX7rtL78ptWImrblsU5lGoEH/gl0e8DhFNyn
7SnYmKkdFs5BqzJ3gXC6wKrHjqiJxCWkISEvndWBxT+i1pomWqfuck/n9LsJMmZRNic31V+wjTur
vAZClI1OeS5wns99qfua0st8MUc5DDFrnGtipBzn/iimmASyCOhCiSl1TdjiThRk2rmpwPaWaWqQ
qfyOMrwYXtodYrwHsbVom1ETmS8KSt1mAPttQQPj93ci4SyfjfjOAM0fcInhXuNYzQi7uggVK61n
GQMTCGnjrAAiW9OyKdTowkmfdiB6akQOIGY7oldJ48bFwk7YWTssNXNQ18Rd2LHgb4CPgdMfIu+M
+2t8VGu6K6hsSIIqrauYp4fYzQB7QvmpFR0qXIDWWtnmeuwAIzLPNjk2DAkslrRMbN2kRrxgwj20
GacEmr2YF9r4G8rZZ09zF/pp7CVcSk2jbJkAtX7j0CWh3hMHxagoLnDOsPxE9qHMEdV2OGrWSFzK
o1Yv5dEiKJ6DOQtgO3o79GLtjkDBliNM70M9pxTTw2mTVq7rZ2rrBXk0oZZI84PZNR8QNOIzFuh9
ZsV72BfVNlFi/TxlMFLngsAPIfOBm49uaueD1pHUVNsFN71aSF0uWFJ3fjVAqvpIJbGbU14ClhxX
YoiUR8rLZJdZVRyYAuQBoQWOEmlkymV7Mnkx4djSt6bljxMMqGWyVr3o/kQ2SI/Oji8WUSO9NYLk
bS8UB74KqAFjIOy+zseH9iVULHeta1w4aMCJgfrYnePefBdN/eWAlFpNgT0SBbSITRo7v6aZ/wQb
dOfa897tx30/s1Lb1XPfWL84jd0yak829iG3f3Cex0wGPmoucGGYGzcaXoUVogSJnFNTNES+yxfZ
TOUzIx4NpIwjCdQNijKIdXnofKRzBmlWoz620p++SG+Qt09aurbD8oLPGtZuTlvZSxm/AZmoaUva
yG/MbzFozNqiFGlEWNGvLW/zL2fifiry6Q3dC9lRrvrcCcoWa97rMxJXqvjZJ9DLTzmXreyClwnA
+ndsTvQTtWdaYFx3rOND0WyiEbXEqMSgwW2eZDrH/ijYhLrG9ucZoOfg1ASCedsmU1+6CkC9pcob
I3kwH7H+1YeQYBeiyULJGs6fO6d7UIprSjQ0/JsWeI6XWgGptdY+bNSnPCtfcwerdz7VlzYLxbp1
yWmzU8qKXmkNvA7C9KOw+wV559VJMPrQZJKbn8m6MjyFZdaeLV3ZxVpvBwZSfjaSgRmKZpB9oeTY
l63qMBIdQomn/fESW5MNF3K5HN8ZRZAxUBPIbRl/kdkjTAc6OEc/kmqiTefZFqRE85uzzhS08Tfj
pI0xuuaD80tYstNid+Y+pi3vz0m2qRi/rMkasA+KI/fX9NJzit2nIzO4kt0FQ5U0AucczXNvCi9E
AP10S7i3J3FW1ClIR+u1o3/O86lbtKKjjdk6dFmqQwitVkcOeQX1MdZJ+mMBu9ZNaPnx46xW/TmH
DrBt+N1u1gNebSHpUr6aNJ8jTqh5dMWDKiTQzcx/0M3vRzX7CilPOZxP7zX1qVS808VguLwJBcTy
kQa57wFVSLtkOuM7JubcpiivjIVZsj4DBAqVt9DIAscAYwSQMDlY9vhmjsPRc2YIIFWcBHFGC7gx
utuM5jmQGv11akES7JiUn8Twwl4e7UTlBhhuM6f7BgX3Yk9mdlNL6qsoyl4bMY7bRX8tyS59UGNU
RdHQskkK3pM8nshgmKckcFSXppnWv8YN5Ss8ige62eic4i+zpZ/atxlpKTGwNqYQTtlQE4VjAkOX
xkePLO5k2IZfWMXGHTZ20o3fKu5SQwr48gizXtnGT6HOjSPqFD4+OsInx8l/C5cBeJMv72keHu1s
Qcc3Ht3qAA6bxbNzTpOevk+zQTu4fepyS/WRwAVV0iiPJrCwleg5hptzeBN6PxzbqrxVOgMAT7gl
RGZ8XZgR5oEkmBhEuqkRttMKQkqjqioCwp5mDuojlWDWH1CPEAplcWEZd0p9FR88u6Drp42XwVEP
dv/iVCT2aBnxGKbtsnhGHp0Fl8MSEV5di5COFSsNGloqbo9UgJGx37D8mmH9JeeMofluEHO/0wkD
XM1QKRdTeWucCRCvnstjImgxz/vTxV6F2k55wU52AaEYHdFGjNI4fKrK3HholbPR94emV5F8uViR
URWKluyA0A1KfMs1M7+V7VB6FE6Etzd8zx3ivpCE/oloy4w6+/xAPmQLdv7Z4qSqatdisN4rc2Ev
ysilEl3rK71FwEGWclKnfRZ6VjBrLUqba1h5+ibVWIT4cG9zRfOZc+yH7XD25xl7BIISL9Dcqgz8
C4qed1PQt7TPWoJd3sZqBrCGLtZS7twGoSmGMYuWBHlFnfuWqd2vvGlfM7dG9SHEVtA6Wk+uLrYj
4UxlTp5CQjJCEiKcKwZOJ9OYHYchfbZDceNMug4n7CCNaoVBx7wuwCpUyvrJIGkk0PWBU5zBpG8c
9U2ZliXHERfCTYtKRTecgUwdUh0Ks6826GBx4HemxfQOMVGfGeNDVJd0x9KFj2vGL+7SkylZdKcl
zU6GSC9kmSdrdXbIgR6M1TTVjc+wd5XRWl2FU42Vb2WO4bCOELAGudr4s/cWx87VCT1tV9GSoC3R
pzRmKw6ZKZ5ZbwyPuHSeEEBEh0JhUmnm0TMYusIHsItmYG43nsmQT+tifZ1UkAxyQzKc45b71wRZ
JBzC48qcVFR1OGs09hRpCcwEncbRrabHuhTbaApviyNNmE0RYHFE2kG72tOS5Y0kVYEgiJ6fBuh+
TTlyE4rzaevdH5YGZ80iCcuHltbKK7T3nL7y2urKbJOmR81hrgx73Uh0WknqM8j2bazQCrBnM8M6
2n/ky3CycoLxgB4U6eydaITiCTOX0K/YrkyAQ2G4HJJvXQK8awta6AAHv1fUcNNM0bVnSRQ581Uk
1LAUOlm62Oo+djm9MhFF3czA2Ib+OevFQVOwelnJn8hgF1YTWnAhyWRjyuqUUIpNcWfvlprAD9Sh
1MbFgJIWLhtVB7OU8HHUw2/srCrhtLTRShtJQB4t8zYS42eqlpt+ZNrnWmQp5Ut2FHNebGwuB0J3
pkO1mPohNZNwmxJ0h3B36xBDdtJmyBex/tUrPTeayvDFJtyTjt8YVZjqBcY1nsnc/UIBR6yb41m0
ffuXmDvD0jjlOfqs42iEeexXmfWZM5l+jYvmsREEHmLBMLcpjctNk5JB0xsD6hXV3mYT/krPYaHJ
iICJKk2ejT8sQyn3w2PYZel2pscF+KZ95sRvslGDbq2ETVyYiQiIdBeDARPhQ1GpXCLVe8isieSb
BbyoZ2+iwkMnhA+SyRIObFoGhoLdsDOBXTRHh4C5+79hrXOKEbHftu2b0uRUYmbd4d2S0e9Fd8A7
Y29BUTxZcXrNssLhyMR0lCnLZnRryMMeEb/LcaEl70pKOxc+WouUUTqsXB/eMLnMZCusO9T5B1G8
cYIqj/04HNDwEy/OEJWblyiLUdlXzfJlVQNxKiqH9mXFEIdEC7N4z4gtVDL9QkXfDN45p3jU7OgX
WaLsgcq0CW3kBwn7nt+3WhIwxQ5XHhGAIJZNrkjwBpP5Q8ntk7HA6a5UK+Xa2O/QLEmhDlF5dP1i
PUxRvrVN3nQ1CQOvtWia2U9xQUPIdupqI8VnXleKndqzk8/IQYSrPHf4/jauVw14/Md4TYVa+nXe
/tR5QysNFF8SMVX06Ejz4+8EuVV4iZVlKxl/JLghgkgTsDzMe/ftc53F+GJrb5/lbYuTTNqwSLRa
J19DjolrMsd1SXTfCrUa8Rg2dxstzA2q32mViRi1RjnZWytuzkauKafRfW9EE530jEAEsmvzddb0
D/mIjsOzfxNF4BycVnxF3lNcIfNGVuoe8tYmE0ItXpeW6zKx3BF9RjxcTC+6xi0dDqH26nuqF6/E
t+6IWyAfq2PiWz+CtqBHXo0LEabV76z048Z+EwqSFIA7hulaB71ejmpmAQ+gTo/778iKOMiF6BST
mO9EmPwugFl7LVnUtl1TmA9H9p9TXtqdr2as1QlJedZs/mljN97HOYkFTD3WjVevFSsZLqVl7aam
yjdRPz62apiuHLtYAmdStJ3Xhse6H9u9WU6MMlEAGNZD2c3K15zRInMjzlNZYUVXiHqJy3LPgJig
ojYZDjH5EBtjmkiZdI664x2KXoPlryOMMMWbXdI7BoW9VpbuggguqIvKCMo+MXw3gtbPEJPc2VKG
+rkUvao5xHS01PKqIdFZaXZpAzMfOzpOStAqlB0ZnqqNGXtn2GVs60pEWjhRbUI4ZIaWSrIv3Y+G
EeOxmx08l5RXtR5PfpVWG3tR/uRp8qgRuDdyYQdqI3bpwpytGhvuDZLoaJ8Zq27S4tWiW82eeT3y
e8JfG5Ct+VL9L6bOazduZe22T0SAZBWL5G3nrFYrWb4hLAfmUMzk059BLfzY52I3JMNrW3Y3q74w
55gLAuNcpeNPjitv3Wf2c+Fr7gHyJXdZ6RC7pT372jQYTjICW/gfxrzD4MRY9RRlgDAZ92J75dKh
pm3aLFpPI0r/3B53TBIg0b5NiXqd/OxrItUMhqpzFUzysAp5qKWYEa/7ZSprpM3McB9LtNceI2d6
M+E216zm0jBmLu4BfPO2TYHkkEC3r8Ii7K2KFJtYWjryq6gKJo90D1YXaYwigiBHHvTxOcKLx97Y
3uPD/xXP3hMwjpwRTci0FlOK3ZWPUnZXUjlgX5ka8UnG5FSZX+OY3KfSMDcDHR/CYtpBU1S4nKYl
4r27zpI6NPTrm2mYZzPpTm4kWV8RH34xnOCGUuohonBfpoqyS80/Ot7oMoJU4P9wl162xkxtdCtp
CPdaqJ4UjtyuN9bSqrZN+t628w0e6aYsmUnZQ/1mzKemi945JkAf1Pa2ZYV4KkhqoUzq5HY0Oaxw
GayH+iqlf8pG1rZNUnONTdfWqj6JMLnEGVw8Fn6vmBeLk9T1uZsS/6hS9w8ZJejhLArdnFn5qs9d
c41ApEEZ1n0oe6JT1dy/SezBr6xHJHmQ++1Q9MeCXBoqVQOfi/L3SCvRxBry4TiXjAjS1TQHDH+r
7lA2+QG+L2cSsq0D/e86QGuGUUcADlGLHX3Kl9yoVq8kRBfHJOq+9n9RnM2rQVU+W5IcsRFFF7At
7gFw8tUuly5rPWNnSLBBNay8VSftv5mKjUNcoy+s/c9BL9qzZXKK8rvYSron7DJcCQ1bSooEVHsd
95Rr3Gtl7dWIDDKafepG7jEkBCfBGIlxo3FuZP0REn/ODxJSprrecZrJTnDQwcQgFJECBWS9DaRY
s2WbQuqz3G8jtJbOQUQHL0OqCHP3dxm5BIPY1X5MnDPDHZJ4DW40jap+NQzlk8XYM4gLcEalQ2oW
w4Fz7MXvvPlQukITzFUvsbYpjCqjSYYtlmsH6QPtxyZYEq6Skswka8yiPcvRYMMyfJ2MhA6TScdD
SuBjPlydDjmAmv/msXXlPJ42GnEmz8DPtHE/WnKDAi8Ux6ijt2ytZBs2C5J7AB7ZR1hewmoDAvO3
lzv3uJJy0zcsnfSEECkVN1I6n3tsydhZY9aORJeuMmNO94x4ctP4hwtQ3ZnIWpj5c9alxBczTmEi
DCaO7dR6bgLn5pm5s8rJoq8JOF21EZ4wIwnq/VQs9m70UHbQ88C79gVWYLJpAcfRwb1aufdr7rK/
rGAS4F4F+axttkFsf6KPkutyEO7aDIs/ulavRFGwQxZ8AFl67qPoly+RIsQdrNc581qOobA7JEps
PYux3JxXT4zB+8nR+zrL0fYIonhEOrbbv52wd27RyH2L/ZZ1CjlvnQc7DactT8jMMMI3a64av9gm
y+MqteZtY6SmAqIxQrSAA2bf1uVnlnHzpkKSg92I01uzXTeG4DmxSUi1l+JUel+1GC+gAdsV+QTl
lsy0Q2mSED5n/2It3F0ztGSEnZsouEUVkmkkLn8KMs7YZ35SmCFRGoZNL4uCCrJhmqafxwT00DIr
4DrC7oSiaRPUms2Lf7Nj+lZkP+x90jnf+iPkoHquPlLGjGYgi51TMx4Pw27bCeICilaiUbDL/CD7
j6DGsYxeu4ScPnAH+cUhE+V5jClLcxZIrWv2GzJPW8Jt7AsIr0dput22autpVXb6cyIHbVVNxrgS
fnsxEPw3BnNPQ1D49OpdsyRnRfYjxbPajuFhIC2NQfbX1EAoTpdAY+EGZCnEZHbFGK5BckB9RulC
KHn6T1eusYlKtc9lj7Xd2CC7PRuZme9Gp3twZXDQpcvbJa2NqsTvycW/RmNDz4sCfSSCdK6O+Dsp
irv5LccgTYQitFPQ3D8mSSxoVbdUZdaWLf1za0d/u8g4z3hYUKK4/8gKdGo+CF0LmD2TJVoFm3Z+
5HLYsPb1V3IZIpvFb1k81++5/IuYiWAG86Jw67KAdBAae+EvVnqDH6GjTbqfUwuByR8zpPY6jRG/
+w3WMSJOUOqtoiWKIxEKTW16ZgS1DQOPh6Z2fvkRpSZ2JCBhKiJEIr7my0C8LRJrN7TEBLbu+C/t
cdjJIP3hZaE67NyZH9jBk0yjBPnH119w1D9B8Rr7QoyUF5W/TUYka6VSXynLo12v5o9ZoxMYmXIZ
OQrYGsgqFZL1qxtbOCjVw6rd+uhUqK4YA1ULe/M96OqdhfJpY/B8NgHrl24a37ueNRp+iGb7QOL8
o7DI68wcFwzyiHbPHRm7TqY8MYuPb3FiPOwxhjvJv+fsd8HH9z68MaYXqx1/Zl0O2CYhpcPs6r9s
/9/5V8s2LfobwplrjIBkka0cs8R5H0N+WY/vlfCf/MS6RS4RfIXP+K6onGMpIHmULNXgpOJ5nxUN
LSteHL0j9UTIkou61aaYKVkHmBxscx+Rf5i8FymfiMiv+k3sSTKhqEz2DT8PxWG0zib1w8+MdD0u
jtjeXCI9/vRc4Jsw9J5rksg2nT+8L0ftarp6Il2WETjgZ3Y7hPd82GTXbi2vvZvJqvHKh90yX+vy
4tMo4Y3A5vgz1zRdC21nrzlqrqUuz/PsGrBx5bipRMfFCh4vKLtx1Xe3xCN0JKy/mBaC0TVnnnu0
xbWYyXDIhXHQV1Mky2g4wAHuqJGFb7J1R2RJaQvkpC3ll2O9DqXi5nabZzZa3TrvhgdhdY5U4cXz
SEyjJ0eKTXuXEiQRDMWb6453u3GivUeEZ13H56FDcV2khOQpM9tk7rxNjY+8KF680nKZOs/0PRNP
f6DPyTyhkRFb6fI30DnHqta4kMNFbJkB12/aA1TPs19TFFfCPtgVkTGlpqdsfE3Gu12skRLczQlp
Devnk8m//Zyrk6nGkOz5mCm7xcxXaP3W1OILFRhHa+Rz99cF+9ecrZFiFxH4nGtxkm9YBTE6NeyR
MOnSIDVOX3rUcm0Ph8Lwh2VFxAqmtp4JBY/IgYySPcCcrZXE3T6k/CcoRz2iYmRuEdBDlMq9F2jv
pSQ+GIAoXYWv3xjAMzOdeax79aVbTT8x1sjytPWKU4AqA/g55PYHPqJHzKeI+r1miji/BrbY9pUT
csEyPcFMdgXjC7sooL6YS0YNOg1/6DlSu2Gcb3GVvJfplv1odsTPQ5y2553JaDyZFiM3hU+BWoXL
VXn6nJNmPxlzTuSJhQ04s+N1083QJd2sPpcF8lgoE08Vsv4lGYfjDyiYpnpyzOnV5n0x3REx76gt
+FRFeFv00KWL8rXW/hPGZooY7sGeDmqKEPRzbTcSp7KVsg6yaSj9ovuyloSTwUuL9Tghi++pQrna
MxPd9RSaEEC8nzqExJUYBWPvtHQAlCMHSKzu6DFnOinHvMpww8Ca3b32c7y80ZcSyFuqpbGq7fbe
WjRdHuvJFbEI5Bk2bK3a6uKK8dMGRHwgGPdImu90LBz9Qwf5TQHD285dQd28o9hzJ+tayX4hRiW4
3yANwGdI10hFRkwq9c9qEfWj8V13USjhUTewa5NuTUb8JvOnrT3n02ku3qUohl2f8A+N1eCuatXv
U7dvNoJMM9w92JfyN8ebX5pBIwD0+INnsvMqmjgEje6xhx9GB/3aSvtlnskenFMKnbJtP9rJ349x
/RRr/BxcCdtgsN4jpwdbTMg0pR2QZqM6asV+qe/DjRu5766d/4vk/MmMPFrHaUty4PDkBWAR0RHv
sBAFC0Idiu7Im6BRvjuwlgKKNkAtFLK6PgV19wGJoL+iivDXc8vcw3NJNZLlocxnsbV9OaCMauJ1
1MQPwjR5D9xp62UmdSoeUY8SgujDbqM46VcV1QEl2fhBJYVhjIusgujIXYt4O8HfuC/GCZmk9Y/F
G8dUDE2pkR+jBTdBCegH6fCwYoadjIvgmQj/MPg3o2bHpUgU9c0vCKfPKpUhc2amjMRNr+qpntYG
K8NtUBLpUmfGh8LdtJNuCdaN8lp4yTXy9FGXQl58hikHZ2T1P8toNXIZM0Ly87WryYFy5HUIkNm3
dYdIMFdr5RMXXSk+QBVVrAuKvm9oVTuHB6wvZcycFN6mcnFwtkiJKFfn6lAgJAiJNWQntnRyQvwW
LQyJjo+0ImuKvG5GizDAl/9gQHq6cTWFctmERM8vtzbmz3SNKJQZhDdQvQ9IIARBpOPc+Iv4+M72
JoazmEIz9f2db4Cl6q2c2Wv3e8R4uSuM6kvkPZf8P+VCBDYbEhEABEgcnzFUeDfqmOtTOi3lc27Q
K0GqBfKRxCev8tmDZcSUh/I3NhbjmjfjlTh3KvUwf2Nxw2LJ3bZtijgRKs7Q3KLWoQo011U+3jCn
ZM/pHD9PgD1OokpeeuM2+uPD7aaSDig+R0TbbKYi2NMzkGJOpNWAuAV+cL3N6/Q6peSo6zoium7r
uGezTIL9JBtjVS6SHkN8pHZU7Ck391XRbjEYXiZ2yllDy1s5twxh49ZJo7depT7nKjMZ593BFbbP
Ms5rPw7XXjiEOOfGpxhpJ4dR9dWj0GxDHkc1b+oAYaWjkkMMxmEjsSmCetE86HH+yCOHXXCClS1y
fyaZOMg0nxgEIfeavPk6LoC6bhy/3GofKK8/h1l4GhimL5/9h4zD+JlJEM+fdySvISYXN3OTehf4
DGy65H2c42ZL6HViQ9cLO+8CTRnvslce+x6ZDUvLbRSRw+7lDWzVPNm7ONkQmrprr4n5wsrClxA9
+aSmjQnyy2PUz/A9yk9T+QbU12DVpzZeEenLhAjQ6iKxMcCTYth+qgKr2EvyBWVrntH3FFulSOl1
VUq0AXyOcmYcO1b5MZLAxZZSI0960NeuYE6zqIv1qOFEWlz2ieddNdX6IouRp2pZC1R99wzwZl2w
TF22pZpIrpH4FQOjhGjW8YQXB3GFTe1qCYIIgp8F+p+1NNQnphcf0fjo/3OdXLy3rNcEoUZ6mJx9
BiSOTK/panTxPTcl050aIDuP4dPYOauRCAoyGFpz57vhS56l6igq6ptS/Epjj3GDZRo7S0qN5Cg+
5nhFt4ne2mNbbvY1NoPtUGhidkVHkDs9Rmru8jA5GW18z2aQz6WbLPtK3jDyicEnsXG9ldUvc3D+
ZAJvecKI1AhkduZnQlvpgKtTTPBp8jGkeAwCRvPQ2FV/RnmyJ17ut8ZifRxrQZIjYeNMMH/jnHi0
VHi7hqt1bVJgO0b3q3I3c7/s1msX5nA5WtuexL51NlIgW8xIVlP+yh4Nn/6yyyQR8qvOS8SgPtoS
Qa48TUIGNCghqHj68myarhhvFCkeNQCMYPp0qrpA1FVrBnjpKehAyHMzHxwu7RKIIEW4ZWwbx68B
kbFnTErKMyeLg3NOpYmPHAlwZGxKq6UD85nAIiYU+2KwdgAHQlhTFdJBS5o7o5x3c8PNULUau1JD
PJUiMXJduvxhgpLKRm9qm+Uv/jQJBKkE5kwzOx5Mn0ztagI9GvGnrSwRX/G2ZBWaRju1/xihLtdN
cILs9eCzNu9NcS+Z9jFf6uBzjc2wq7rorasVgB99R4BhjoSXx0Zf3+YIyzungjEgMPXHsx7oIeIa
I5LcRg1rDRWlJnud9mo29mfV8+Ex+W0gzy9W0F1gt9ZPmWFK3j5KsbStf1ilJ7a1H18ZKbvopjoy
vZnkeeOrRa23Rs4PztPTD5t1wz6QLsoLQCK48/4mQkZHiW+KXtjeE07R7xim4j4cBu8pScXZZ/x/
wPHwaSAdQ07k2dBaGIOsvcnSWzMFXxRarGzHNLpbRujIg1FgbakX1yh4YUWyIVOVtKkjeGlcNaCS
905f8r6SQPY89HhF2t786mk0GR5FJ9QmFcFEkPZSqZ8HqGpUT+lzKdtrME76XAVtA1Cwml47qQ22
+8xHWNWeuGL1wQgMPCXohCarPWdZtHDYDTZIoT0XOPRaP6RhzR0yN5K/eUrMluPP49JRpgfhIC8o
2v5B11MjCxiKNa75+KdOBwjcgxyfFOb0W9qKn5K1eJFd+CxnRy+tf6MLDI+EGF6cwDfu7DC+KjVi
qVm+6x3I3I7tn8u0Mq9N7Ie7nsl2wGLl0GJo1yR5HUKnQppVM8aJENxumYCgUEyTadvPRnFqS+D/
KDnD7IAk3t+xxSBeL9XlTSwv31/1lhme6j64/u/Xa0MSU6387JBc6bKaF62w+Mwo+NcdwhcLEc5D
jiiJUnPcN/2SC9va4Z55MqStyA+OWUucuPapHlChY1GFY7DJLbu7Iyj0sL7y+3AesXFJk1+N79hb
Sn6LDK8IAVtueLgU4+BgttTcozceAVlseJ7zL1T/nHUI4FIDaM6Uz+jlxdJ/N67zahf+zzqOl/rH
nt9FxsLAtNL4Jotqfi843YY4bx/x4Ko329t/S/lYb8bPApbE938C1d67DJNPJJ5dTw+YBnu7coqT
u6A9rboQb//ft1x7N0O773Vn9895fRShVTyc5QVBR3lE7PNlIpQA/ipvgemVZzENe5IVkalZ/rkz
SL3t8ta99UJAchiDXYEK8xwUvjymtvmap7NQqyj3TkR8ocWf3ezqt5JkQMs5A3AFCy4l/7Aj526c
ue75fy9jn3pAwz1EXW48b/FMMKP0ZHvElCdJru/UzXLVwde5TbJVPRxiVWRvFe72NBjFYxzM7A2g
yk2mg3jyvSy6Kbt/1xNvvDI761C3xvhwILE8F8FHOs3jo5mAuMl8bHaTnbhXwy6x9GLmaHrvUTl5
UFHpB38snl5PZvlJgpc5pnNKagoJsrtZue1WOV5wcBYpk4tuZNtSnRySLNWfVcJF6NX5BwazU9n7
zj7F6LHJo9j6jDGLr0rSuXDVugiECXtEX9ewu4qb50x4v79RJwj0FpsvGWklRlUgBSQ94YNeTz6S
y9R2ioOOrOTQtdK8fL+0fIj+++r7W4sVwCqOq4PFMOxgDL6PFAolsp/3b/4UhVeP/EcUF62z6WRD
GpZlpjusESZiGjW827qO0UR3+qhku426qjvnwtHX/724AR/qQi9/3+JoecJCI/J/L+EiTx1881qj
Gz4W3xZ5lLENrRE0AyUX8PuyUyLnq2HF27YXNEvbDmnJLY275a9bnVXIynFllhiJHB/FONKoLLqo
vDlgSQ8PUmjnZDSRRWbE8mUfw2PET7tufIARFglwpJfbXBAODJGmap6nDPkdxLT8NCxwEUMFX1CE
qj1Z19bZG2brnBg/7Apywtbvh+CNi51Yu3lqn2nY0LEkCywISVV1cabzFBTFxjQYzpqjba5Lp0if
XMHsbGbnYHHbfG8SdNyectzKOzOrLgjru7/Ajq9uLtUzWMgfpT1Va0Y65sPjfEOe7m3zcTb2tnNz
8Q+985cjEMUZBzDs8LQT+WGlnYlnNcMuQfboiW6eHK/C/zUOUXwGfSlZLkysCgN71xfxdOyxEFA2
RLQxBHIuLpYjfBrkdqMln6qq8A72khqTY+tbuwv08Pvf4fslNJHgdCRENtKk/FjMwr2trijq7aNc
POBhwIw2jrHnWdbcrDP8Kru0/fzvsMhwD8xjygWfZO9sYJgTLLAejaJgQzxZv/5+50Fod6s+IV5e
CoHAHyuRPrO7qpuDXcOLxJnE8kvkdxaNclvwSFIRKb1JR4FHPC2uCfiwrTdG49nEd7MmmWqDMw39
D8uRM1rf4GzZuF7npBg3iW1iEU67BwLyCJGZEz5QzB3HhU9n+HN+LSPDWsNjjc8Gqoqhc4nTqfeV
uqnaqp//exnK6ikmlTIDW4AEQN8HZiD3pJ5N5tmxv2/m+VNVShxaJyj2NqUfkzL3nhMxgjynW1C/
c3WZh6TkJBuPCUj9d96o6BTaRrTDE5AfMm2dBiHM943MW+ccxnqGdBgkF9JHCJiZ5GdaDQwIlRjY
O6nXWoX9W+WSZ6Zm6spWig8rrvEKcqXKwun3IAXKF8thbcRmIW6N7t0FPCmGPkfzkuU/xEhQbtNU
2dFpk/dYzCAgJvultob4lvEhCuG9fM2ZvCeMa49EWOCXSof0Q1JjbY2JRB9kcutwnrOzmL2MRpRs
zw7CDkpzvvWWaKt5aA9yBBEJbOU4zPRAyN05tUs8Ml3RY6Ka7E0Kvf9easlMeGhqhre63ncowW8Z
Is8bJhJ+ls78A3dp3mJDQOhCi7BkNEPZiyp0SS7hd98MoTTzQii2Ho5SBl372Zmc1zoeFRHU2Lby
KU8v2sj9fR27lEr5eJYAuLY8jiy1kna6pd475sXhWpiOsc4GZKJ5SsouT2HjR+9wd40rhWj/KohQ
WuvquZ88e8vAiNpERQ6mnonowhH69vr7Y29lc8dyrf3lGK3zIpM/Q0fx6zCYrhBdQPfBK2cjhOSc
iLDJEfG3D8rkqhfAAz5U+/zf4ZOCX+gWXBGDw1eGrowSg6FBjROVT/BSicYU5goF2PRTIfmwhZ9t
66WVGDtwXjOl3YmPZhbwWzriPIfhGOWpeS+M9o+VIcuqQmFd6hgULCIt58XW6TXCeY0wC2yDxLrq
LhlfjT+mJ7ABxX1OomxroLBB6Y/RwLHaf24l0GLxt7xOZpFfO4gRhzoXj97GdtTUBX6hsg/O0SCO
sSKbAxsyg7wemInyTOgwpUMZX/iYaFW8HWKs/yUakxUWMnvz/cYGXv8Q5oAPXufzOVCT2GOezKnS
yG/jwA4wEPm0wFFnXCIxFcvhwBjUbKbLKKnAEhUgmWiq343NJR/SBHyfUB1n4Y4K+J9txf4mSjxw
JbOL16D1gqMVkeCI4whM7zBggCCSNFxF8WcI4eKlDBlgU/y5R5f+ZG32woL5wIuRE+SAGnDBj/WI
kp68xqfh4ugD5pzhFLecjUX6w2nMmJBXoMDGCHCFxUjw+/CfohngbsNzAJOc/HS/A7S8vIz2RP/t
5wVDGJ8yObVi9vS14ewjOfxAw4E5rI44Q3wHOlLUomUmeuQEydvfTmqcL8PyMrZec2oZdToBdAb6
aHc6JctILxXJTTG7U5CVryQPobUPNDBTU9UnEqN+ZKDkrrhLilOB1mfVEJjDQwotVrm655JFQeHg
9ttnTTPfpnIpo4fwDuzH3xOXIv/rfRpAX28F8IvF1PgO3MC59pZqnov5UCuqv+8jZ4yak9O1mljQ
7CmYgvboiIHBYFSPN3NI0BNzFO3b1vP2BrrXhQ487BiHsYoJyBbqSBc+dGF10egBHkjAjXXF79qH
BAyv6qJQe8I9VllE8dH0SXvxRzXQi2UvOQfPBkPT8E5Bo3cZ6QxMpxQsnX4iFX4w9lXQODsMIO6j
9zgg5nTp6Z2YZlNFG6XseG9natOCuJc1KPUioH5ocBeXwKpnHdeXppbRTiz0i/9+8jEefo7LCYh8
9z47NjXmRIMDOiICtLOUeAbyYJ1gcivqatyYyyNjYeQ4ZMu3AmD7fjJiINqVH5z5QqNZJyhGFwnY
C1TNltN0VHwl7LImQLvZMhSMTRuZRjjv1ZIMgPM5vbD2TI6hLj5KyaCSECpxSnJF5EHMOh7JtbyR
uhds3Kwlv37O3z2ccgfcghmtPxgcb0I5XwVzSBgOgA1F3tDwORDm9OSUzC8Ig9+EGPWevp85166s
TeK27jUYZHGKTPutTuzTYIzmx4Cgatd28gUTbf0kmVTbSoH5oipd8aONd5Xl2UbrclHx4hXJUSBb
efgzn8FnO35GarepeVJ5YBkIJuPl+6smuozqa/ECzSqMn3B9qbtFWXpXKao+XZzHLLCQ+fzfLyOP
A8wEdi0bc9r40dkmaZ2fuqxPV4Nwys1kGnszVuKmWhZjdArikPS+uFuN3k00Z1emaPtGJ9UlWdCG
WBCCs1t3B+nWlDywLTZFX6dQEMP0aqAR5DjbzGJBCpe9d8b0Q/AVc+zPqSdv3FPb3C/Us8dUet+1
mAVqBXgV50twmZxOn+257u9eUuZHj1qeKPuwv3+/aEsslPO/ZjY/y9xl501x6VvjPQvm4NxPDRwq
B6WNP1XnWLXnMnGKc510/rOjht33ZTDMhGf891ntSknOa/RkG3wcrDYlS42kB8jCtrdBCyz38D/T
o/AdZzMCgELXPEEnqslLqAbnbHcAq9EI6+2M9wkyscXK3G8o/qDnIZe0i0dSzsYn0092Fo4K96qY
k3WQY6bSdbI4qerw9v2ihBXeiBGeyKCtjyxdzU1ZQc5ngAj3MxbETuV2Yjzz5FFLpMHDt5DoWR1a
39KdNQtDPNOJtuaNEfrG1ujj9CEkUHMoDEOguA+hBbVsSfd26TFMqXRKCZ1K60zKk8l+jbu6Zug0
JVEZkOVkqJ3Lob2Kls80HljADSAwtoqyow7r5jTHIylny4vqsk8OhZErJ07PlVvqnV/NmLvRYbxO
VA2d07EiHb1mVw2df8B286waKzh3Nh2gRHp9avCeruLlTxKLCE+7+mcBaO7siC56iXGbr7WdR4e+
7wHZIJ7aIxlCmWu6+NgZNe1cEEBIXwUUdSVvfZgRIRb5064OmuzuW+r2DYJKe+IIiOydznGHaKuM
pbtvU3YCKmtgrNXFu+70EB4dp/LQVfTlOm+z8oxILNz0/jysDXqnVdW1/a5iclqUdn7Lc6d/xvZU
7Rc0DNIh+xrEzjMjnuZFzMwy4oS4u7wdPlO8SYORZQDxfG5WaEqGNdF72Zk+WYP/L5lEfWkj7eK4
YG/Ffnc+FgFKs7y2oo01efouG9Pdm/gzT7WKgF1MoWDybhB5UuRPReB4G8JPAHbVnrf6/tE7BtqM
KbNo8/0tBhtOtCJiztsirUCAlG6cgsawU9ia+JmueI4Zt9v+poTYfk4tt8Q/LZDCKgPtdCCAfbqB
APccgH7QwBb7HJttMhrNvW8hiokQp0fV+u+C8ABqJ/bw1uyhTlgU9Wth1+pCuaYujiDoe4zyF6XL
Qxr48X0urPBVDBEXUJMYeytDMlhac302o1bvoshhH++pTWfa8Q9UpIApEGjeptH4lajG2OaOU9wH
N9p/H6gG2MnUUgMDiOcqDM2zcuf0YkTqitR9macuf8sY04nDnbIxLIQhcyea12+6ks6Ogz/KG6Qk
CcmcUOvcleFV2jG7fZ9tMarUVk93qVLxlHqfgWNQvdQDSHZDHbK4u1lWzsSq5c/AQMjShe6FkYoQ
p6k5V3miQEeaHSaLZ7Pr2YIuUy26FiLgG+Nmde2LXwUpB6bzg9iY+ehEuI75f+xZlB/pa4PNf42W
XdTrmUEB7hc/3Ndetmg2/Xw4WOwtKaw8LjXOaYbJ4BrF/HOawWp8Y6A6279XwgzPeeBEJ5VRqoeN
Otph9ldDxg+dBJ003NNm62TpQsov/Sc7iJOrH5sAOGh9a7sHzCDnQ+OjykEYX24GWpfTN7dNCfdT
zzWbQtzY20Z77QXi6HuEAfKWLC+qUU8EgRQnDU9EhMNeuJnzxAMwgBhaBpn4+PKTbhQjR63+NHYJ
biEdopfpq8POscsKfqdhdvPZUt3W7bljKjicU2sZ71owI4P5FLIHJbS0zcM7kKT4Yy2YN591bWc7
G9HBLk9AZ31bkcnfiq4d51pW/HKhe7QW2sp1Y8Xe0/++zbXsCTto/f/IZ6nZ+/uKNS5OnizYR2pd
dG31Ztlobx3DmLYdkBbeUNmspdl6e9vn8m1SZMkEk4bXHhY4KIIE12tcvZnhfDKiBFVY9rIoVm8Y
/OP790s6URCotBJnPMnGG+KgVW7ejdaNvgC2soINm792ijexN1LyfcuRMZvcR0PI/AjGFRQBbH+b
oMCbqQxfb0ujD3hfKgbu5J31p+CvHsr+VOu2/cGGmmfV++E2GE+rLMhffK8iGj6iD6+LeRekJA8E
nq4PjtnXz1mxGV1r6VMm87M0Be+XHz+8nCW/2/SvadofitkAZqeRBHiR05w6j2SlSjvTlbYr3IUS
PFyguuCEKBwzjgvVUBD5WoddfwzQVz3FNMfrLPOhp41yPqdx8I9JFZpx34e0xqHJYYz+jMgbD+1Q
V9yM8eQMpgbLAh3YMDJ2Q1TDxsqQ9kUaMD1yS/0qXD0/nFjcwKzKJwtlvwUV97/vMgyywsrKnQmd
4MdcPBihup+FYzJMHbNhJ8bG/eyYDcGedN6Yp2FTlR9g8PptObniJQerT6xyFZ9dCqgtyQ+6i7NP
YUz6WGPi2RSc74QiTC8GPqjN91dxwqLw+yvSddm4m8NWtsiUEye2n79fZFyjGHRRMS2/1I1edlv2
srXyWFLq9kyxmD/afDbvSzh9lzQATbnBqZbrCeBAb6ITW15mH8AAs+h2TU3xPKjcJPeT/T8cuxKJ
DpZ8D83ABYmRu0okiAY1RP4xj2YLJw0dQTsI9r/GcC298WLNCDqlTTk0dkea0+Qsl2pCE3WB4SN9
VRCPPmGQfOAzNigGQFTEVtZe04nqe2A/f8hgJROuhYJdQEnBCuH+1Vhs7v+PuvPacVzbsuyvFO5z
8za9AerWgyhSlFf4yHghwtJ7z6/vQWV1nTx5TmeigH4pICGESUUoKHJz7bXmHLOnlC6DD1qP0c31
gbEtqQHLCzJyxbqIX6OB5TMSgv5GU/AkhnTsb1Ats7tcqrJkhK9SSCPhg3H2nqCFpcfeJOcKM8Ga
fe37UOjlfS90Dmo5GOGpb0EP03UXb+NFQ3lmpH2HqLlYz6L1OTbkGClGUD6tiXvk/o+9/FZvOYjl
CNKhWC6SIqlu2F4Fb31PPVbDgUKf0GwMrcweCB0kwtwAq5olEaJCcBXi3DrjKGBaaAxTos+oQoCZ
Nc7TAHxBOyH/SHtwgz3KQbKyQ+0wlujPE6N6TnC32Ur4WaNm3tdUCFpT3+Qi/t9rHdwXzQkaMhsA
obNUxFulzo2SDZdovmJbRrZroDql9+Y7/SjG+2q0YtT0BkLjgVW6L7M9NceekZALI9bahku3TJpD
okyW5nYTIXHxqbydVCh2fTpMz6q4hDVkFuMOiotEgNTczOLEvR+d3qxaCM8xlu+wYMn8/k+xAhQy
jFZ9r6GWhGyS7WUpE0CmO+QzDyuCEdXdNBXSvYE5yYnbRnKvn/ZyDkOtlu7AcMFDNJmma+FovlVl
f46UvngcmrLeNAJBdgUZ9/ehOb0qjaSdmkTLVvjP1FM24W7K0dR4xYxkb90VY+okk3hkFowzZOmL
VkXT3CwgGfaNfE3QguZmlPV0B5toST02+C9BK3h9xtuZCR1xHOMEWJBeaJa22qsYT2/Up9UtCbch
gadnlrvSA+CZISUuOYAGC4wwR+Umk+mN04jCsbyw4NWGDRkwZFyIE53nYTYfY0E5koaavTdQswJV
dkECibfU7dItYgpk/iLKa9ViomDAGLipi0UGWVnJq1R0m76iaBQVpg9mncyHXjUwHS2HNTPGfW8C
GVKQ0CGH7WS3VKo3bCE4A4tgy9Jj7kLGvOtgNvo7kb5NjYn3iSEuAhYJi3zQxPKeFkvmzLhxL2P5
aTICs+GEDE8UAbCpDaNSN+bIGxwVRed2chEdARxFR9MvmJT+8bnSxXc1TQvv+qU/vn79qAhbZioC
WCUr8wcXmI2Gu0mcT388GA2gbUP3P2IhaL3r10O9HxkSSJ+i3CaCN9GE3o+ol/eT3shbv1OlWxik
/UP3WssoBHEQ4NSs2+nCkWZaZ5KrxapWn/0cZJLVWtFzDx6J9Fc12UoL5L1uGw/TlyeOlBYQUbRb
nzwsbg7Tc88glDpDAj5WWHdFjJRHVj4KBV9FIHbqgxxzg4+GxtMl0F/X/SqSfHXbjYZbMLflckM1
11i0DK9NiUqE+zHhibmtFKG9SfyN9AifunsvJ9Jj5JhugqQX6R4pBaeDDheyp1d3fRjEEc4GAlsO
+ANtga1VdNbRWB6EXizF9djIX5yXKukIciGuv38Hh/SmGUSM4P/1v8F9zeACZsqQvikvozF/0PCQ
t9fPrg8VyGiP22HJnaaQSuxQaLlqfdzrUl2sVQXXZY/zF/lArexom980ia+er1+6PqRFKHHxg9v5
6RuG3z5IenWuS9DbZhuGR2FWAogr6ZM5V+Qwib3qcHRnCi35a4in6hvuJbr/c6BvKy3Lvk3rdJlf
FqoubY26vFCs0hk2ZPW2UXp237OkPqKY4QwTxPIhMvLbuTbdoiunl4FwOAerNoNteH1b2HTuhKP3
bh4K7tH+pLjX6jrO96ik7SIKlF2bVugd21RYpVPtSzhFWdLpVX2oZsgOTM5bL5iQScCR+4JjtRjv
6gK6jVI/iaK4FQLgWY1U3EFkaWyl5DOQowy9ATUxQp+xjK3iWr0kpNhWovI16k+0/tmayka8SVtc
gNSXSJPVWEEw38c7RUY6LYj1zljcx4y0LHSE6bKmolE1aCPU4Te2FYQhjRrtYLUjfI6yaEz8dQYP
DSPoXLtC/KYwCfYUgpQkNJ5bRCvr0ICkqse4zy3KTRPNHMNtDB0lMEXQLMVeVJqLP7RImpqwtAsS
vNqWC6QY/IUYiCSYwDUCfQjiZoisEI/ITlToFnsaXTpk7+2N7lcMw5cn5iA/aVEkjiWY7/nS/VQ7
RPmM+O1OquF2sDF0KkIBxTBkjzwEHyP9b406k2hMIIMFkOK6z6sTjiuYxrT3fOs8KQLZ25lpbkVi
uSIVZAkD0HKXasrGhKlim3UFomQ80MPszxnmtSJWq1VVzi3GVENGR5iFzqyxte6Qo1lSAxATw4se
U0BxJ3sNfNo2Af1YpBCL9VOdvvnI31a5KJXHqUSqHKht77XYkdMBWygNyN3YqNnN3LJcRMxzS5VW
2GKBt9R42/vZoenyQxU0g91Sp69mRYGCEXGPpP+2nrrP2icmg5oawG4RXDpBsQ4iqRil2QFU6dnl
RyVObaoZOpbiuIrID4a5gOy8K7axJG6KkbQO1WwEt9CIytKjsWLBx9SlQaO326x6EUUAEmlP9G8g
kznpqyX/g9amIJ0iIyntMEDDqqOSHnVFfSHameCmJrabOQYeLDXbDCWHV0Q4NHvlEjK7fTBDHd/F
1NFrQ7pOouVG0Fr/glaY5vdCFJ19UnvFkTsamyBXTAZrW/XymR5MumEYuRJA8m/9Ioq2fSWsa/Y0
a5OcAYxe4NfmFAjI5Jvfwjoj6klpnWFWDY+EtzD89PGN3/oQLoeujLZzBytANfmTW+yBu7zFoxDE
0ipdZN94ZTTCofCIZOs+N5LDAJGxDlrapZiOqqkD9xIYI+BWxs/Tqi7GGvVEcgvdgMlV1n+AsXsB
wjGBUFRat6zG81hiksMgmi4cSwll1noyxm+mGkJGTMjNRuW8M7XkAcGe6kA8Yy3qKVwH7ZNNlCPL
2oeOJmJt6TMlzeiqcyK5St+0y5CUBGc2wSu5K1WsZJkrKr2/8ytEk4SALrwjcIsgCBn1zRRxSvaQ
CIyOcyX4hkOVVmPxSWyO6hqD3J0VdKSGCi1xLttPHOfaY8lCWVjKZp79pzjDLFpPDCo1jJi7MZK/
CQY2ukLXLkEkZZjmMGALofoZGQZHOhReLBqlbj52nhH2NyVUYcri1E1qfBY7ybCSs8UOqZytg8S2
/0UJ203cxoYjsfaCiuJ8U6vPxuw//YQpJJkhnd0HZGKUU7UBLfAaGvnbqKULCGQBI0Fdt0PUXMdi
uRRMUZEcDZ4sope+3gIDfpq5LfeETDidcV/SPzgrMQT+QAa1AMXelcNCPUSRj3C6HgGoECzEDYCl
Si4h2yjwvip02vqEI0Ls03TVFGRGDCpJBr3d6OUbCT6nSNHLC2R1esYxgCO6GoAi6+SjWcA+OnNE
urhStZZqAwm2Rg6q0O26QT9PuXooJWTwzIgupgynXLXmaNvKerTIuxe/MiUHUFCUBv2xI5tqlcRI
v8U+uyXoCM+7X770FTqMqcIE6s99tQ5l2ZnrXN1BP0T0HO9z0OOLmuc0GvnF6trIKfVgn1TSl0Dr
x8mH0kuGVNjVk+nvdC49mjrzvMbAP9DZqSk7igHhd4caGfD6lwD8EfSXta9aM0KTLj5xJj1VEdxC
tHOuqcNBURvJ4FIbcvCsHLFGqteFjIpPLVCkCRo8kS77gLkGqzCy8yrATC3J4HYfmxKgbJp1d0kl
WLvWP1c1Tmt8IqWNqhQVksYEw0pADo6DcU4riDRTMKCBY91xlYvQcO+gxxSQUohWUmYgT70nb5VG
SLeYDHHxh/WBGHeLxPcicnyTsAb1tgtIgICsfpxlrjWpnuKjMApfY9qeS9xnm1IkPmIapK8yz5/o
vKCL8sn/7PqHvJ6f61k+KSFediw6pYr8mYpwIZ0qcG8sNtkJJOO6+ja2oGk6cXiuJt3YSQ3etIGv
Y6yFa5tSMc4S105YTLsbay4YxLdi7mUG14fRekzYHWOIpD2X1h1AH3YZKWmZ44ShAEIc4vlNPBF2
GiMJM+Nc34KfJjR9OOmo/3foFOCC+9Eus0YSKgKcJq1Q5buOUF43yzmXEtyo48Q+w6+yUzLoLkaG
jzkQL21fnokvlI9mk+yqOvB0gvKezEUegkwnRS4dvVhWxIuKhHXM9+4GP8hpWrGso5mTaeGuCiGK
3VHxxZM8PUzShLg0PGiGiDixYA2WFSxKsopeBH66IN7iw8O7jhvaG6P8zYLjEwud4WhtZouiTLdZ
LtqNKVN5VMIg2v4UoC9rNafD3XxUS/bvOTgovZaRiyAZ6YvskxZhf+pbtK0qGQo0sGxrseMjslzD
Z70hMFpxZyO+6TGB+eNhbt/ykhCJTFfdJhM3ZRq8+GL5kWsjaiawCLTe4UJI8SkX1cRjoLBKhI0g
dDR4hSB1ZPwXGyYtN+QuP0Kpi83iTY7Ll2js38tRQ1mDJcelWTsgZp6OQw0i1kjLLxx5X7GS3+CG
wonATMAzRyrCvrUY71tRuZPGutxRMzFCPlb4X1alBeFHqckXQIiouSazivtylJ8k6MJYufN6TXc5
9QFv50nhY3mebxHX4qBOci+JAJOGvXkTp4iircICyQSMwpHNARGYhoJMUzu7Lcdt1tOdNSTyYXwK
wdtaZXYgifAsx3USYytndHUTSeAQOtqntqYF+7Zu1O0g9Bu9MWy9NudDnSWoq2pLP2sl3dv5HCKS
/egH4QYDuDMQR/PQsnLVC4BS1u85rZtThcx+TqH86r3pDl9tILWOrAJ1aFGRFCiF255Y1lLGrKKO
4SFuCh6qYGNgj53xax0tiqtVm/TkW5S6W2sZgEZBfDWDUjqXmS+ewXe3phB4FgzJnZQnLmoqSp9p
fgxnCKO1mrxg+RHuVKlpSXYNo9Xo608tY7t14ku3NBB0xGha6qE00bypMcEpEIljcJV4DGqhG5eQ
SXxlHM4ZrtYsa5Ud2+X/FQ4MhtRkQai0uQvWcthWeFHjgFSfSaQLBmMuwtQu0BDRBoTqxMRkQXnC
6qfc60W57w1oWKOyRt0jK8h5R+k85mHs5ZGxZS/tFqnFcIVRphckpCgU862e+GzkVXqOk/vr/Cxp
yaEv0iko8u3Hv/5Bf8hUZB2SkiUZsgb57qeceoRXBvg9DNr1TNKM2QHOCROC5k0SdZh+oSsxuCMi
Ggxyp+FQo25GIZB35p08aW9BY5typDA0Q3mSROPp169O/ku2l6loIr9AUrBD6oxgefU/pKeBimHv
M7W8uoD7RhKTiAqsx7/pNBdzIYeyMSJXy0SH5M7pVlJalA3RkyaFR247gtuUUPXovh2wDkigWVhJ
cpnOciZ4xH+ITzM+HrzI5W9CyVRpyTH801G1TFE3ZcPQFVE0aKP9+XXXjQ76J+1A710HJnBokxN+
b/Rn1qQf0GlltyxOr1hJc2+mwvquiYGXAx9MUEkOwj3H4Fob6MPVkytMtb4bTKvZ1WPvoEZK7lU5
uQ+sKXMDdMMMrTqXVbxD75iJt1gcxdsOY5fQwKCbMWuTYgEZQaxMII3pYy9qPanM8YCXuJFhP2jh
WmtBgmJWAgapEmdQFOAFfDM6IPjO9kExj+sKFwWFkuJ0flVc2k5q7jgAKuAuEiCEEtBXE5fMwiU6
lKmYR/sI7qGNfk7DOjlELNkjTJo2jlgVobV5DVguGHJ4n6rSNHl3NahsFTZ09lrtvs8hEyWRtAx4
4W4WVueAYGNtkBNrF2AIhDgL0pafIeNzkoVNXCjNcdaLcKOGU2CHqdq66OmrnVYKMPiXh+unYNQf
Y3SM7h9fImg5dOmdPcJqYC7WJrTRuEmQR7U86/r861ONUCfHgNwY1Z/Ds748VDkWYFnuDnNdYsEg
Gd6WwHSvzSlnvMmYiTVAfq+Gxrwg+F9VSzOxDgbzju4Q4R4SsHOZ3U/StxOQdB7SBu5Ep6HMx8B2
ura+SkmZtlKPlCSgkeGMQp5SgndEkUQyXYUCb+71QZf0B/TI6gavVOzg5ikgrVSGZzXCexP3GT5k
SB8kNRa766dqEp0nxjFmI467Octuu1arPHq19FGF09ySizUr8rG3kIJCEHuWqAW3U6hAbJfKmEQD
MPtjM+k3cl0i3TBJegA74R+uD3mVAqkwGrCmaigcMrGgJhZbkmOos27qoVQeIoCKlhDPd3OeywgK
Z3kdUEtJYWC8BJY84NsCgaIEZPTII6OmthpsPSK5JqXjzYwThf/Ee2HN6kUuj4lpmedWLtRLM52M
RBVcrWutnTkiKBhq4rRZ/Ua21JqyI40GyntZT4fLyFl5wKNco3LWAvgBDSnIjED8bjUbkXpo2ZcJ
y7AUq1e6u+owudnSgZn3oxDkJwLFKsaH9SfQUQI4jazFk1HacjVIu1Gx8JLKk3BLt4SxKN1QmxZl
TKOaOIW8kkYCkLlO2uXqyB0r0FOPJL/iqS/zZBUw3lLqrLxVwQrCyZiJUlhAAkyUrIOGAcIZWM5J
1Kog45MxBlhXfDYlwBdqL2PPgmN9SQPcAkVeGOtQX/YwUQqtrzEQss1ZYxvGWO9k7LYrkhearIEu
W5sYqWP0FYxjo91kBh8NdwjUKdNhntUlQt4uZLkiKEMvtq0Z11vZKinN6X55whQ1p8hv8JIWKMn8
ymJisnwtZr0hvwzrSd2YbFUooVGAmlXF+yooe0OwTgTNJbzaMjygoXj3tWRkmH2kaFAPvqohX03z
b8zhtb3hDwG0oxpDYNJkTq1iiZzYe/pLjKlSqmxPxLxxIlK4NmOWI8AQpE/UFNNzuODSrSJTYQsO
DHBgBDfaiNUYNXiGlAqdp2mFX7h2ZY+5ZbnNoEiuB5Ybu5kEmJ6DWF5iZQ48LLN7I7WasxLVGsVq
mTx0IZeI0O4KNUsPiAtjt29M8SQYtDnM2kp3ioGKVy2Go4ILHEuqQqhLEUO2mXaJGcffugXgPCWd
QYyBRFcDvQN2dLQcst+9XX1ApJTOq1h4Im5ghFG1MydEQfBjte4Rte+ehpvlWdlobCKx/erDPruJ
0rE65ZJorFpF6U4oGFVnapXooA3J5PVy/63o6Xz0A2bh0RjXGcbMydebpyZ/jlQku4HCHqMe0oL6
BAJm2p9arVumK0Kxwa7Rn03d2vmhdIyIUDn7vipsp9ysCRQJV6KvUDtAzTpRSzGRm9l1SEMu4H+r
ezcruuWALqNK8u255eVr+v/6Rwlb6BAPUKPaIBh29fKg0kGzu17WHGgm3EGNSvIYtmX3M3Ruz2DD
QTYQpaLig2ZKZRhDoDG3EfkYa4F2wZvQeyB28j29mmqTaf5sBxNqJXr8KK2z7KhyFJ6ywQdo6vvj
jkGt/D2m9n9/T7a+fL/xN9ek6/einOqIxuFPn/7HfZHx79+X5/zX//nzM/7jGL3XRVN8tb/8X/+D
AsAtolj/3wHgm+itfk3b1/rHDPDlKd8zwAXtnwoEb9MyVBEdDprqH0PAFV1XJEvXEKvIoiH+EQKu
6P+UNM1URIUKldrLlP7xf0PAl2+J0FFEUdI4MyVV+u+EgFsKP+mHIk/TDUVV+IG8QF1TZV38qchD
KRLGWll8SZTM23lb3me30jONSKu1sSbTgXc+kl22C+35IHldteKi2SSesbf206d26D/abXlpTvl9
uiV99yP+kNaal95jXzXeh8eWVvxr48CW20525VgeCIYtTiSHMdK2/whRbssreuA71JA31U5/DS/q
V+QVR+0ggytadylhJSv5sb5HcryjFHasc7tOXeCTdrpNHuWb8jA4MLO25JTfIox30svkcGemUdOt
zfvMiTwVOqebn9EiPAyjzXeam/kAKebQPWKVu6Ub9y7vVDt0h017gNl6oirf+OvWSxxxZ7iIlL7i
S7HjVZ5Y5j3/MbsVmHm8m190xQITKb8deGy8AQIt6mjcBbtqB/YTe2F9tlzNEx+C8VztSuvy1h1p
gfBjgxO3qR0TgkcO4YG/4QtCsutvQaLudFt0tH1+NlYQLNz0zr+Xt8WGF2g39j1wCCdzyoO4UyDR
9rbohifzHouxC8zdVtfwtTbDZ+67NR79Z80rdpJrucQvet3Rv6kB8At7/8Xwko16N6drgIlUitrK
dyMCquyytSOdNAW8r14XHivI5W+ptFfoF+y1bWejQHLHvcLrQh882JltfmvvSGFU4FzrK+15PmRe
dFPuqw0BNvG28rix2DF/V7tKOSzxNtwabuYVm2Av7/L75kU4ZUfzwm94slzIeKITbhnrmxz2ZBNt
9LVxq3hI6eOPJRTwCfb0ediYX9MRl3j/ZN1iUX5S9u1dzRq+kkJ8qStV9BAvMGkRPPEUuYAl1sgm
bbJlXs3dtEPbTz/byfbSWbjj/AQ5GubnKPMMV1oVR56/jmx5Fbj6nr6HCP5qFW3SdfkNN+equukv
jAOIb1G4hxAdYhNO5EEDq8W1dI+1M8wBXrliZJeH3kU4hZz2DU3vutpAeSTg8HjJ7BWorFtwuKvU
Nbz0w23vg2ClP8KQCWDwmBymF7gR4cp0fLuzmaI5Aj1pXkX1kh3nfe62Z8h5FHnwc7neOI1Ee9yO
FEzSmZnQKskPQKSCFdgQSX/uDGDRLS1Top+tL6Dv6BR0zR4Vb1SO7ery3rjAPOg6e9zPiUpfI8tS
HnAl3GkPCFxMGjzZnq8hNCOOiFSl5h3zyooobMeUbK8uHNCiE74iDMPBHss/ghPkiIyH8ov0KjQf
zC0VIvPSqKREWdNNiC7i86B7SbdR4q0vryG2i99M6a6Dgi1Ke+s1+LbI2CIc+ecFB2Iip+XHOdjK
Cfo8M9/AL+G36+ghZt8gM/ugGZbQTvyklYb0a36JVHbSQAeQERJi8LR07hjnrbtobznmQXDIz1qH
quuPlxyK3dvAa9I9SOrsNVb1Hg108220GRo6wy20E2JC1nq4VyDMzg6qfw5oi7a8XyUSo1HNTooX
9HzAlBP4KP67H6Wu4ip3kPqy8EInuu13spM8Lsne39S9IR/zhyrbZk/dUwRRFGGR6ZXoYhGsbDB/
mrr9YgCTiVbNYxK6uv7YJq4lPoFxKbANsPegE+DALROJ33ruLGhnG9jLyXayXsExTHc0frHi3w13
xiPvCdhLezy1t0zJMMQL+qreMeJf3xlbif3siuYTQQbT8BGaxJ/ewOgdnpon8YbO8GLxd8hCZDa6
6QTbU7p1/iBczNvG+7DWEGMzcc1+ojwK6qtxZJxgd8/VuYO417jYe49ScIs/6NwhkSSe68XoHroM
2gAYSBmHf9EL9vhOp2mztDJXxpY+vs17ejs4k0M5aRtH0gEQht/zc55JubsJDQ3egNvRZ1oL4Q6c
anmUraP+RozoilwE0BMpNzAuO/LQ7Vx/UiJYXZtK7x0QBCQPpLhfjgMBYiwPnB3g54XHlN7ZNwSH
MFvl7Bg9i/mzdK7bFynYGoShBIfmS2mBiZXvWv1gnbVk39HBPqjiZl05kJ/PWrfuR/uhd5zhPWsc
0t9Wkh2vRppwTwEihiNitFWJ0S5gnXHKI8hd1kbkhqvRYF3CowVY3W1jeQUsjHyeSLyw4CODeG8Y
vpr5oxqprp5kT2xK8dZ16+QOnJKA/p+xyQYdaLzrtsOaRvSbeWueQH5H6/ZYwREi2/eNh/aY7qaD
f4bfv67e0I1u+VW8qaWtO+nBBEUB7MgrtzqLs/oSbru3kqts370pl8FT95qK3oJJ6yq5ECAIo/J5
0C6Sh0R6Lbv8rYgpJdcYN3wA0QfnGgN/8IFC4eaIV1q7jGBskjHhaabDGKMqt3B9/BlVFHbPJ6BP
wQfO/pq0edsQsKvCPMCq6hbGZhfuOMk4m/ujSjIyIHovWr+aXohrpHCJESOzxG8vGL1T6v52/QFt
QlQ311Lu/3fJ+z+pmKXH94ti9rPOXvPpT6UsT/heykraP0XFMg26rKZpYmj4x78Nn037r39o/8S0
pOPUMihVVUkTeUqO/i3kWzwH6hT/X2JcrJma9V91rGr8UzY0wzQUTdEknq/9d+pY+acOMPpCWTdh
5PC6KLc1hdfwY491NvwMJyX2lI6OmeUTWQWI0lCRizCtb2baKtyHmnWKUP0IHHLexKmprubFlRlI
pBVmilvFMrcdKyWlrfKpG2FOHyRBqhh9lrJz/dSI/GTT1cPHVZczY7xdt4PeOmiGtj8c+P/cbP1b
3mWXIsrb5l//UH5qGi9/kEHbzxQ1TWOboP5UlxtDkyA4wzCTl8arMKv+nhYR9+/SWptW92zK0Jzm
yUhobwtgm7HOHRAaDAd/BtHUG3EPFS1CFchOlI4x/qhiOmNLxP2Rw31NobqVksZqMfeGLRfcAJSg
Ng+6KpqH6j0rPcIyCyqIYDhmUVHZvpxtwj6fL7/+M42//pmKLLPHkWX8tqppsHP68X1DuteqRD1A
V1pUtVVZCTXS0eyjRlO9IUyOQBSoYXXQCPsoU9SNVkEAuGrkOt+oz0g0DgrRdsd2ZDNcWtOJu394
F3QZrOD5bJYym5ZMGC+xkdXr72becMwzRlIYuTTft+yqqredSeSQSAPgrdQ2ubrVZT8495kmeAyt
tL01EagHD/uz7APpW0ufeq2UPaARTDuanucn2kM00W2aEAVbAAHIBCBAp5fbfo/bbl8OdYIliSgz
tVP1/YgXhWYQPNumRxGMMYhgvOXTMZ+AEPmpdgqj3ASxgLZ8MULLtHC3iaI/dRCc5JXc+sqWy/FE
Y2q2BcRgzCBVjM8EVH5/iKTm+1L4p83/j+ejzD71h32iwfnIiEXVFMWSDd0SlZ/eKATOZVPqIOFG
pc3cqwcjLVN+fdRD7qba7tAfA+OSj7XOIAmaKmEAAs2YhG6xF07jazbRxOG8XczyXeCa/STeikhG
jn2jH4VYAHS+nAORIFh2kBbRNpe7iNQFfDhm1Eh7I1Fg/ZPxsv71OSj/eQt8/dM4r1WEZWyBFV3+
6VIrh3KYeygIdioqNZgMiH3c87LTEBnYLhYQCz1GYzPCHvFxVk/UhBkCJClUyM1qaJSWODihSkZg
twurWI8yFwuDlecreEgcNIXJMuNwS5h+M6OR/ualGzJDJVnkrdHNpbvw4+XTi0VaVajw7RJKpVCN
OoaZOH0cigJk+2DuSziOZAdKFD9TSYFOVAWassT+zRHU/npy4DrTGBGpoqRoxk+rbzMOY9tBJgNH
X1mbFmH5Sp1I4aZZ90BwZ37wF1B+uHyEzb3aNHn5FEY01sE33lka2P7e2hUmIPvrR6MW+t8/CnQy
JWE2QEgWuvoARwyjsc770zXDvMnytv7dn/J3R1TVdc53Tbcs5oN/PqJNrhsTPtvE7oRyQr+S9HsS
kJs0knbXT7rlor5+NDNeYgfUTN4V1vPHA6olmvoxqJMqiszvGs60JstiqPe5yowpb5LfrKN/dyJw
xXPfk2jkWJb204mAYVAxpwTqMjrqNRqAZkUOZLLu4zFxAozR6zSIP3D5YbXwBXWjq1+ikPzmniUt
a8APA8NljaA6kJeFnHNA/XkxH2ex01OFVv5IGKA7V8G7RhTmWs7Zj7POiwcrID2iiWTm+FV0MUJU
l78+E6W/LlOqKGqoTmmRWSLC3z+/fT1srA6AIwzGNNX2odSy6WzS4ohFciWlok/aWfOmo5HaTJYQ
7CM8lr0y3KhVToZUVN4xwx6PuuYz/Agg4l2hOJnVJcffvM6/HioagoohagZzPbpwy2n440xYAacg
l0uAt9Bxhgs4UmuJ7Ca5Wc6RrjpUBtgzFUf3AQdjXUjh7tev4Hok/vxmcZ7wqzVNFSnRfl7QDUFK
8krGoDbXnqQGETQF1JWq+JgscmbI5LINhaaikUakhx4yoAQqh2+1gxLHmMJoEppOJoRVf8FPAEfg
mlfk0EG/UjgWq+wK+wi9m1a/FZfANNVA2CtrGPI1zcV1Xzwbvd6t/KkcyRgKlAcyIgxyQYonGWsd
meDEicq1we58bBLnugyPetvsf30YJCrQn85ZQ+KuRidV4iiI2k9LV+tLOGxyImmZPCt285p3KGOA
4KPNs9i7FHotHuo8WzgylpN2yoQ5UY/BcInkcixBb1mT7RLAnqjdFW8pdu+afU9ux2+WevmvZ4xB
lWSKssRlBn/ipxdKpExQQEUsUPjtcPDC6hatQTyFjSGeIIAjNQn7rdalu65vUHLq4v0VZSZJ035O
63Rn9IiFZXRI7pU3ICIEQetgbNuWPLYoCq3fVAx/c2CROlIuYJyiu/zz650Bs4ckLv1nZddWIg29
QQ4OtYLo2oyt56HVgQfhikvr/uvX76rx1zdVZCmkWOWGpCrLtuPHq0vPfDWOCZbjTe0sGk0LiGom
acdulC675yVz1aPz/c3i8zeFhCFxSavsJrgbq9pP9w6yo0i0L/m1V0vTwHg5gJxRyZ3+ECthhuY5
vMU41tzEAqPcQSGTvEai1PVVPOE7gkMtZ1rrptH8VpLdB02qzuipgJxtyPrAJzPO5Aakv3nZf3Ow
cCOoqJ10w/zrUlRJzLZyX884lcXUDaIedWWUHpu2Inp3scRfOTK/foPY3f102eki1b5FzcVyLfPh
n98hiMJzPHMIV8hAWaylb13VoQCQxxsrRM9lIhjMjELCjGOSjhokazWiO2CCI1AgPq+QlF5aMb6b
muCNGWrL7SUEKuM/K0kAT6cSNgsdsoY+sUr8UKQtqf3m9NY5l/7yN8iSaCkUjZrKRWn8dJbFvD2t
RVQVEkvqxslUb+oxKTdmJLjdHHO/N0MfswHEXyVCgSBAnlAF2DauOsJHCuZKXreqIyok1qukFqx1
ARncDIUX0EIIW39ChRBiWQklCK5Rnl7KFiw1XONqPZh97kpBfTPPbGO13nIJVLbQyAbbXspTt1GF
T61ESC5FjqALC9Od/Hqrvc1ljR6eimDIlHERmlq/zrf/h6TzWJIUyaLoF2EGjt5GBKFT69xgqQrt
gDv66+fQs5iyqe7p6awIcH/i3nPr3DgDxXFPOmaaTR4rKrcy7nB+vyqjilpJxgicaUjvpk4PXByk
VuW3VZzpi9W/D17MT1w7IsqGkGVzs9jbFoHA6HSMqBkH6XBEp+pAJ2zSP43EvtbsqSU1985M/Dbq
jP6fRwzBwc/lHWN3R0M4D0PjMjbGVbYvAev4pwdauSaqx0ZGHMy4SzXAmIDhrDkRSW+LFXpEZw4d
/SvBWLuh3PB2g+m5ZzMujqkz2mgIyHnWo/cushKUa8fTh+q7snJ5KvnXqiIBa7VY95PhNE9yW94A
FcvJi4RBk9i2huah32xzSLYQc3RUKGOfTtW+rxEU5bg1kPms+cZQVAz85QdtNWekn9M27x+0N/bb
xoLTVSLKOMTSEptRmHgm8oFIlabpuQJZAfvdEBnhhOZ9/p7SiYSgqo93BiInvloOL/9LzXakplJE
U+FKhufLmagjKHuTa+8BZqw4OIHkZSphVyTDarjFLDyDkYhmafwU43SNCUC+S6ySFAlEvqqdmROC
HTDWGV5ZsnXqGbaRD4JwGgUnftIdPJyGlJCvLqZwA+0f75qqjyYRpyc9ZXc9KrJNgEl4R03IsIWy
hrEiIommPxE6gdOwRQkC//mS4fnc+ooYF1Tt2gh/e6+tVptCtbGrpoDFXvS7PJDNthesza1zHxfB
GmjyF5bBY0Wo2AZ04qW/BB2DZvb/D7UarJsEmRoWnulBdKQhJEP7nSJZcqd4PC/mn+eyocrEKk8D
RLtPJh7xqkQwnkiXLQnJ9g7pS/ib5Gl0medXuwndNQN2AgrcBd4BAMe1WdVHN8u2iTOA67Rp5SvZ
/CQ5n33Im7wRCAu2MvAIpYfJt7f4tAlSR+7TJypyev5vspLEIVgSIzBP+VPN7TFMcqbDViUOLgmz
jeAtR64Mj3hht2OUw3KIu8XZtsR+bVtVOFEHUfqY9Q8jyRhac56Es1VFfYR5RrAn6w7tYi2Hxi+e
eozaQLore7cqpNeksqLxDv1UnRQpRrtZgN2E7lbvTAhPOwAuGSHaodwMwCKIlMaBYI2/lZ+j3Nwk
0Foii+YfOpAfDQVP2iSIJuvBcfterXbUedWZwx4nnOmyOMkbZ01Q67eKCETlWaSCheaTDRqOex9i
4IKAGrAnMaNGNT6nzk/che1Geb/MCuEJBuZzy4mEmjAgtqMqoCQVGN6R5JFXxzcT1wp1vp0f0E+Y
p2D5MK3J29u5/Pb4o4nGSSIXBwg4EkIFFMuEwNExBAfvOZWk6hU5QWAZ6mFEQUUUz2uGZnzNDYgy
jHKAddvzfjQhtqAIb6LMwS1ZrRTz2Op+QyYQTQUzUUtWY568J/4SEXv5LOoTGYcflQ3dRg5+zWNG
Qqkk4oe0L5bpuIEypwSq4RPbHsIDzHC0YBcih7TAzpY29rsCBMeLxl4xHK5mGLAGr9c4Uk6Kmtdz
SbpTMcHRNgjh3VGFuFE2N1/zmu+cwby5Op336eq+2qfj8pmm/1Jkc9uiyFi8a491YTVk97M27iHB
EmNsthLSGtgCwhM/AiQoQd04917Tt4QWcYGI0JxhBArEzUt+prmf2BPnPfdC9qgxe8cyCCNPue9d
Pvt3fL+cg8grp5SxpO8W7xDKLOLBP8pOew9NWZc7GxYrqG1no6YMm1CAdwNgwNsiZp81HkhxZyCI
zMVlWpaPhpcS4Eo252Yxiic0ksMW1+xnlYFAJbb+uU3v0meKvD9y2fTDpN1rF6ujdjPWEUMrIqBJ
RGuiBt6GJQT4pKqrLdF6CgwDvWg2wf8uSRUBAJmw7Z0cVtkdwQnaKd8G98EOJzQ2ZrVzSkTkqa9P
qga72eMHd0KiGLMioHJzi6epLr2tD+YMR2Ihoqons9RWZEsOVX+o/U+oLWAp9MCU8Fr1i7FBZanO
unZjjF93pivvALzAbe7LXyds7AfmewwVsZfOc/YFoAUYer8GKrAlc+Erf2B+27S2yE7kjV6J0lB7
201uuSpPKnY2TYfWwR2T99SCbVnW4C6lk965jrypvJFQUD/4ogsAX9sXZGVPI2mg2rtq17zlmELM
uzonBT+XapA5CXVtKuMtDeJnmu0T0e1AQ5B22aG968B0HItp1bYi6VMOdsFiNHa2zaqoyah568E5
ygbPGxNDlmBuhZ8D/mtheNcCC+bBUsxQF/Y8dmL+SFX5m5B6bcKKtalQmG/SOn/DV2JsVcBf56zA
cG7eCSuconQgwI3gGixGX9KZh1NXs30sW9zDcChUA/CefLlCa4QhFqlSyN4B3i5ZvkODs7f8Sd8l
aPt4zGdxAA8+RI4nfuZekTs4hWJbzb5/FIyKeZHFi1sNMOl4lUhTrEPWhjyj5iyOdV9/CcI4O1Z6
ldZcTPNgR7CXgt2kSs3sN3ikQL1ZLJIGcGhunWnB673+lGXvVg9Gn0aYK5tM2B/ceCXuSVQmeTsQ
QJnzLhCdkFAK7roa2Ekv+WeZ9EWNPZ4T3Cl7ug//8jzmlfxWQ/0kaTg3ZtAHLDh8pswt/r3kXDfl
u7Stp6LAalmjukhgnIAdtY9q8E6uyP8yRxzd0vhK9Mtkusk+JfqomTne5gB8bogrsEzAVHFqbwTp
fxmymFS53AGVu2sZE0dpwjFvFhd0ReZ2yGuOu2nrJn78aJkoORwEtrPXHduJJ3iWYXoPI/NZ5jz/
rSXZYbqIbsg8wR8w3RGQAgXVEvMRZ5mi6k1+Otuz4AhXxyRp72TJlhyL2JU67TMfK7DI7J9B+3wM
CjxnmABUUC0b2ZraVLlsnge+U92NKDI86s6OPMblrXfmI9ZKlpdT9693Fhg3qU+Jalzc0San+wsS
YnGABFREExxnrjEv6u0R6KfhXA1CtqbGxz9oVrxp6ZPqzWOwxgvlJnJaRNYbCMPgZH3zGcnspugn
+9LYXrKbiYMeoUv65UcVplRXEsmgMeY39iQOlen3N76OP9z1lSiFdcthKg9FZiybxk0EfVF3PwD/
irTyHmWYBI8QY1+cTLQnSd0hhHk/EgOL5DrYqdXAYjYLddKmVRTaY5MdOWSNiIx47AWCCcCcmeNu
ru8rEJunHP/GbnHc+IwO3gjRnucWZtPZ7p6MSW6J9NBHaGegD508jOzc+CiKybyr2QP3lUmVueD0
Ul68KThMSIgutrlZ/YOgusU7xNsBCgNftC6HHflB84YWGriulocagBamQ4bKeNCNJILHvx/5z2Qq
cmiM5Xl0nO/pP7tks8Hnj99vxcC3wVaPFfUdxzymmH8JDEcz/yOJwTERohUrHIV6UPTOoVRooYV5
LazxSFdy7wSEDLbPbp6kGw9saKmzgzRjMvVQV1fWJzOxtUL7QnXXb4pXGwjIXFD7DPIkBFMS8EtU
8LbxOAMQtT22GaYqAeY2yxaM2G0Dw58k7QEVUVGcCO16oNLJHlrqqt6UEOji7o2mpMCntzdopTZl
0lNwjDEG2XC5DESIyTCnXwtR20wuSrtUf6oc8XbRz0iibOj0VDGji4O8tCO79LBIATJ71nK8ANjk
qYoD9vvxQgIwP2kNQvIU8k4PIt2NPXkRgRvz88b1W6bivTeLx1RYV4nnTJIl4ghwAmzX6s78TWv7
odYWvrYAMTVohuQoLWvXM7Hjjv5g2epsix5D1+CmL+Owwy9KamDSkFLXAns2nD+CoL9Nc1JEYyDY
sXIbx64xbeJQ3tD5yE3QgoqSXfZQudk1NwkrJQlCb7R8K4v4hTej3IDS+cj84Nvp3V0hxLvDJ1tR
iaWEisCwz1+8hORdclDQ5dxrSn/m3/Uxlc548GYw4W/0lrNqP/tl/sia5qHrPLTfBG8HndOiWE46
RL5cpgXpy0u2vJah81YV4qaF3rCRQsFia90kcuyzr9o1ORVrMFBgPBs0wE1fbCuTnlhaa3iUuMsy
n8uvBErtNZk6LDBUoPTgPq0EqpUabq0hCNcyLItphfGq2cS4+4zQrVM/mM8xftka2tTWQx6/MUX6
T2bxvCOa5HUW4bAJiNkJRPjYrAprC/lXkDbXiu7uzJ27d4QWt0IibfeMBFU+RZ9XE9QygAEMm/Kr
1cYHYQJ5VHXOH8wXoEQ8O5xzce28FWH64xPJsOO+vp39lsK3R0sD5XtL+BeKQcTj5QRvsge8E81h
dqhsTDNCH2nBERyBgIJFsvVSwnh6m6/GT7KJkBgyOuRCoVNp85Rm2eOsu69suOHq9oYRsWIcJ4Qu
TZ8itxgD5Xm7TevwLJUBXBB1k5F+GkbVHlMEQ9GALpqGr+tZ/KhT7XiPpBrQxlHqN8fQ8QOcEBMf
XjEe/eQSp5qlXJLu67mDH+sTM1ZKuGEFA6VE+E8zO2V8pGwfZh8yPPAwwMGkKVVzQZgVxpk3xyHX
ompLkjgYxSBJgoDnlstN0DuIbeYCq6mwTTolwnPBSkKlDA5zTnoQzHpevHh4KDwxHkVR+NsRgAKF
38JdFIDOml162lJCZgeKy01vDPfOcExdYJxTlYFoRvXt6DN+elYlQ4SiOKQFDsTWEMMJdN3ZYGrL
vpjYEdH9xYpqycFI2I8YrlX6BnyUKg5f+IYNCUIhJ5Y7t/T/wEdFxuPCsBQYL+GzLVONPnDxMtoZ
IAYcf13YdJuAmKgNgOWHAmQbman9oe3qE4y9XeEShuB4Vnkx20rBpuAxMmTikdNhx0e4FP9K/Ovn
lGinJKBdmHXqR1PqfDg5W+AFMD9hka+ki1tArLlpxqImN6e8cSweFC9BPE8Nd+xMz9n08Pr3gez8
cwz6wa8AMoCavil6/UO01TZvcpRskzXyuQsPvJ2+d+KJnDPfwrAxF5vMEG9ZMZoHo8ntXT/CyvN+
gW2g0B3BCGu86HQbeXdSlbGfDZ+QhKZ9NyYV7ghvIu4Y0n3QOsFziy0kdlmqVep7JtYGCAyBVTHu
r0hruQsHn8ttAi7WK5FhwT2RpDNdADvcpFXFPCPoyetmyjJCfLHz4Uogyh4v3aOW5q7lZEe85DCX
WNvOUP2GCcO+3o8/bTs9EM2u6Xe9X6lXALnkj9XnyQOkr9dyCjLETuthNnFRVT6KXT31n0aM0FVY
p9mbD8tkcAzEuEi7G5j1h2DwiZdhqkS+2DZritdGthfcfXw7aJcNO30LLDaTqdtex08WyrS/rqwP
KUhOMMfkdnvwYsq2IRqLQ8oPyXGCK3bKg+abmcEpIZZny36cmPqaxPnZCJHLKqOIVBuAK3L5QOIR
JScaTr7bgHqPQxFjJjaimjE5mgcavaavqE6R05TFiyaB2C7ohN0G7Xi79g6k2+9E1uxBeflQfpfz
hKcTopvFjHfRYt/Sc4TAS6XFgZXinIyIaKfwjQGZ4P+Hw8a16q7W7tnGtkZFOsQIOpeEZ79wsYct
BIeathH5mMgBAibnTHiS7WmPtMyk4JuG5RX857/Oc96Yjxw6V3zi8FqZCSgI7YHXZ7CMLcvRkPuk
+i2T4RB4DO78EbX02KaS6SPjUJH+1L3zx5naMkrkS0OtI+5MOtZyNsON7ZLoV7Wv/Vg/SMm+lscD
XFNOzmfvUDi6j4I44TLVGnbrcGhT5zGT8Z8xjzWJg2vcsEj2ysANnYruLGeCwcqEKsdkblHaZB8q
SIcMIv0kSnFW8rIzDyAz0dC+BzKufxwx/x1Cq322jUyeafUSkMeQ8Rt3naaTzDo7/WXIoJoywi62
FtFKSBeNOxAYmfAZIpXkYuQxPPpeNiwADfLzZgqYcfZDHjUeTOzTJzCR02bUFTJ5xjxG+DjJZdfO
9aMR+M1pyrBKpemV3OrI63CnTTBJyzV1ebHmM9kCb2Hx5rXP/YzaqVycB98aGbKYm6V261M1Tm8I
fOQ2VjMxvCu1ZbJPmV3yVxL1Tk9JlBghAGwK1Eur7E0GNmRTpN0NLJhvWwPtUgRbLt0a5DGuFHwd
YwpNANzLCSS4j8dfp0dm4uB67O6lpRtr3FGf/Xog+XUYVoM7B54wmZ+QvBmiViez9QwbLkygNzQ+
k7+8N09VF9JUhvGhNEG+Cgc9A4GZN6xjYJ9j6NyWvrjtmu7NVumvcMXKZzUQc7a2d8pKdwf8NruS
PcSnkt4alX6qwTATn30q8+UF4PZNKEq+fkgIt0ut8TDUE0YHItACWHXat6bIrmIcWaMXblwfxQLU
wh85zxj/N8Xej12UJV4JFxw4dgvIF1jYCtST136i1DOZ60oLT3MJqXCRQ7YvCSg5WGQDeuJjckg+
n62lI8NtWYGqy10n14lkaPyswX1thSBvqWo4wj0izmZYC6aWQOwyLLmL2+HdvInLmIs3YY1SFUwF
TDLKimbqt9QyF0MVd91S4pIdOYhoylnw4zm3IanDj+sfjYJRj9tiMyUGB76bNFgisXIsSBUFyETA
SlpOm9IBohGEIAeVOx9ME27IsFQ/Rsq/qpXdg/Ff4qMAlFVXEC/I+wQyD+KJQZmYGa/z/AYj9FXP
y6vI0Rap8t8EVv3WfAPbFpP9pg2Y1GZOFm4cdzqJZTyQ+/ns14jh06EjGgZ4fTnwVAhwiCQ057Rw
9AVdF+eH2vwSsVyYCVrkq/f5hTEmNZLkAm4sqMKzZBuBY3AzNcNj0sx7E+rmcSgmgCx12DCBBS4W
pyOvrC4PRck00R+X8pB7ZE4bbNwR4Ogbxhb1wTfHb+J5kkOWLmC9eKZmn1S5qXaMyPKCXxorTmvH
vlEl7OQ8nH7Z/lZPc+ICruOu0k3OFeBwNKnCFa8eU99BbMeuJOmEwKmIaW5wmq3msW87/jdleYbF
8OR2/g+XCJOEIZ2Rxye/4ahehiBwT5kACcNKhVkaqYzNnxf4jCXrNyegLk7jV63yX20YnwRu6a0R
x8iC9WUG23lI+GPwQaJ6cjp32acBchjuuZajmda7kQz+ateGtWgx6IK1sAVdkw8sGcnzJbMZPJ87
AI2ESbmdxLRS5Psv2dIliORm8njiSCPZwm9xnu2ZRHJ/rm57CxlQAItsdB49epEtiTlYoZ+XfAAs
jdubU+1gZOk/YDGPZbuupiVtYBALkP6B/lMG1v44afejgae47c7tYl4byRcEwh8TMTKoOF1+S1zB
Cvm6VQK7XCrMUYlZRYnXvPEiUQ+Uf8nasE2ipS5IuPhSZIc7K1g1OfvSxeAz+KwsFAZ+YEDOSzf1
VJmSE4mruiMbjvzHP+DY3Tbuvd+ZaUTc5Osw1L4hCQigs2r2dkr2Ozk1NHUMHdUaDtHV7rWZpr2p
EuTxgwSN1PKjy+lt6FoWiB0+VdGjD6t4VbDlEuo++JGau9/SaF5JKToWYZ48k7R9tu9McZrCX79t
+HPEz4x2ntBk1HsCiB9BK773MSfzmg/HtBHX7MF3+b7gOpt4TshnmEf71pw+fb+2t55lIGAP490w
RGEJnyedviSLYkvhcoFax3S1O2TW/OPMHf0ws/smcF470qREvHhnFhknXM7LNq8ROhb5cfLz5Jqp
CkjlWqqqhQ/ZI10SEsBdkY7/iMa1gc1YADfG7tElcnqldhNQ+tYp3m8PYcyYpmBDodPM/LqVFulO
YPwZ0sBKN/2cDNKFU5Eo4BWwRc4sq1KSiSqV7EINVNVj1BmkdyEoQ7hCbc5WYiQ6FByg6Wpn1+bB
U+MpBi3hGKUEJ8DcL8tdho2ZhBff3I2J/WjOnbiO3GdNyn0JSxe/WaXf4oPQ6ae2jPHgZGQyi2IY
9znRa0RYVk8QdJedw7hrO9LrWfD7MFk1rzYWVmIrAH2VNbaE1vDHTfEtVEhR1HDYGDMSmbInPLD0
wH61FdHHOct8lE88n/Ae3JDY0JjZFQWNupdCy6izTcJRveqNiatzED48G+n6RWTRgG/j+hfIIIGl
DI03Iw3aRoCtXTqWLGS+iIyReF7z6HVkjPuegSXGZ3hZIXqmbcCRMEjx5VPSERWluHBDyhUOt5Zh
yPDujpz5w5r5ZBr5r7ewPXCbcdxoPFDMgigVFZmGPs3xkrAtZS138jpxaSr2VLAR+VHGAVIYwRIO
6hTWjQWcgzBIcaBgwIFeeOZL/5l1eULJDSQopxXq812a4DF2Ace5JTiWemFY3I1IL0p5zzYaC1IF
2SLWzr/RgU9Tkna17b2jqEOYntCL1BrCReS6pp3t6Wk34lyNI2H2w8g/NoJvpX9wHQPXXq1Z4Oh5
T8DrOYkVs4sZGlOZnwOLYZZvF8TVkhUWuv7WrBeykX2eSo00wO8RYjj1MScH1SXeD+jkm6O7H5dp
M0MCnFFY2N8T2hJoh6+9Ed8FMu6RFhFVi1kYJzvrMiWgCLVTAgQda/q+D1E71H53TbluM6Opj/SV
l0w6pIfxrIRU+Fs+08Vr8l02EyfNNlkywxrnX6vjFFGCxmGaXBZutLaKJDl22TcCWsCGZENyhJb2
vV761zi3L4HK/uWhePPnmVmcqF+9kEDVtiZfHQwVWHkwcu3igo5a0zDSmK6NRPq2xo44YPZkG0mN
4p8Qbt9MDvgk4ZlnXroM/k/O61KXGoKJfmME/WArcTcxG9+Y42vsJNMu5jDG30W4XkuE0KGKw4gx
KBGJxL8mU/3jufkZQQCvuu9foZBsGTzNhz7ongYKT1lyi0MGCyMGHx9fZmAQEjzBwywqiAfNgJbf
zJ+zOn6YvfYrU5K6MpZQtfFxoD7qUes54oHVHVkUaUDfJKeJ/0ZYQJou7+5c0SrVwc8gacbdZDhN
Q/jbDt3OtfSb0rEFgcN5bzhFIlC3pN62ENEw6eS00Yn1UJbQBQYa8dyqaQ+HI3VxkpVvsa6ac1D/
U/T+5Pc8m9jRT24uX0wIimTOulfT8p6t0HhHfXZuBiCiyuVglpoB+zB5lJ/V9DDX+kYoUnKKnlHd
UE4EgGMIap+HkuqEHS/a+QKzAh/ntmacXjgPDLnwBSUViMQEz1wwqF0s5pSRDaztoP/r5hEpQx4+
CuKJHLusTla/ZtNU3WFJeMNHo3rKhYI2nODpnLpI+aDuJUMHrc12XxU8bjXjXmRkEEk8BbHdxU1Y
5VzRYtmEy/JADhFPrSy8SIxfIC7w+xr1xSpXxjChuBtApR910T0MMCsIxJPDGs58HOsAc+X8X2uT
7Oya0DXNjNW3lbOu4hANzOrJMh/bovx0pTp2Wr7oqtjRddgcx/FlRjm9DeG3REFG7QGpmbqfndSm
h3h4aqrh1WcnwKiomrgoIbzktAMT9m/AXQNZMDJ7hl94MKsZdaF8iDUrJ8tqv7yGQWItEai5Lmkz
ma0iWVvzZhTLj0h/B1Ydx4I1Z1JhUe6bpxzHXZMj8wDqiBiGYtl6VLF/zJn1UmmAuVaQK7rAvA60
eS5QCuaK2W8hxQBMAm8KihOGg3N5v+iHZqID8vwbV1b36ODW9FlaVaA+9ACHtPcPYWrixOu842Ky
K5kpuGScveeNpmNkbhU6JfM335dRaZ/A4n/2Fv2ZspYvFyNyTCxvyKSqsbqc4IT5ijxmgsdGsWLl
zLNLY35J1GySfuszXQivfdwBIF41r44BpW7yL3ZSP+WafX7I0GHTxcWNy7jk6Hj4vJ2MdqEBwlez
tc3tBjGUOuQ2P1o9DPDMQeAa/PsamVycITnAfsL4q9vXIfNUlAJz25hgyrggXHx9RBP5Z938Zs68
q6mw2F24r1SFaSR9cwZvSmJ3D49NN2aAnI6fuQD/SqQiXHJOml1GrA1dkcJz6Dr7Oiae0ZlMMgXF
3kCGz4d8p2vFaLZnaqfrr7nLyRwuOcfKnIhqbzDO3MEEZGGOsRikkU+3Ubqyb2aD98xlMtKUAbr+
4FlkP3CqHskTBYtJTvfGEYw/68k+sD3+S9PVwOiN753kuyZFBzMrWBlP5l+PVRVQqvn2YzMTHxfb
YHelfh/M/oX4R2QQr8g26yqkiRjw2wDhWMosqrWUmEFph/v4KmJmZjbbIxU4xzKcqXHA0Wat9jew
2r0oC006zv6zshugrWxnNm3XfScjciRkYTyuv/7ASEh1vnO70O5kOr966XimEDe5v2D8pWX2WuTm
VxJicXfBsoyFyXJ+FNN2CZJ/ndEseF8QxDkhALaK6zSf5xiPZP0+W/mfSfquAgW1ITIMjWKp/jHr
8YbysTXzczFR/zkB93hoevsaWhmpK5IBC9vPjdnLj96XD4417D0SQKMeYntWlLyOrgNp33ohV2Pn
tXZ/8ZoSwiGKCuIhWNcIJHg9nbqoRrAuSvyZ8dy9F8vWmyMdO5rBqfOUzZw/WQ3p2e1f+7x8J9M6
3bE3eG6KxUCDhPB4wgbHPIaJLeVF6vnJwc0/bJ8AscArPv0JSUnGRI8Zw6sZNCx9OLx3wufYrIiS
07mst9K1YN5Kxgo1m3iKLbKDGlEelZ39uPL+r0a92efAZToXKVxv52+DXc73YLPUMF3izpo2IfEC
RCW1bwoyMucZUEvDA5UvERKIyl7lR/auoY1aX5F/Tda8WwWmKZLR75OBKb1PoErRDk8TdKPdZA/D
Dh2Rhpuo+R71gzk1+7laDzCjAFpQ90B8ffaPCHpOOrDB8WpOSKRkOzHPH+FiXszSvwb8MDdTVmHo
zQnvsAXQgQZrfuAerOk3qB33gsrouwWAfZAhaXnmYt8mlR1E47CSeDV1/aDgYM7AZLv5J8Tuw0yd
L25gKDkFNrX10IEr9jF0py28hQbbbA2gjVhg0JkM3L+tNF43HvPXaHredkFeSVRCuOfenLe5oL7C
7hIZuR7u5+GhNlUX2bEfb3Bh/FhdC6P8O/MmoODe0HPizUgYRsjwFnupqkZjlyMZqPHCgyPeZOsG
j0FcdrF8kgtx5KCUb+3D7PKl5u6KLYLhGYU2tI9QfBuEnp21GSz3Ejrc/WCnD7VlvQZmkF7ncpRP
8PGe+8otWYGZDqpN+I9aGbDw8SakY35nha5mEoxCJ8lZ81SVBgXKxHaK7bs+HZ8Kk2wtkmA+CHJ6
qEtIEO7S7OylYNOF2yl20/Z2KdQ1E9zfgxt+BDG5g2bWIMujqdkri0pPtSmTcXtP0G1/EsyfmOui
LCaEYDcFbs9mamgPhPxCmBsrj3AhGyyD9WAZzEYdcrJYtLf6FbbcLbZDfV2IjkKvXDzoOtmzsL6Y
rJUvaagVoWI59evyZrSMzIgqgyM5I9GKPeay8bT8+ZTlU248pXVxHbqUej1gqhtk9tl0c0Q9vn8j
l9GACI8EA+LcI2kcIfm1yCN6pvkDgNXT4q+O/2wBywZHhst7YFDlAIX258+yt24mgWGxz5c3PYbt
NWCVvx2T/NRl4lv5y65RsTh6gXGpWyasdg7jHAvTl2tik/MRtm1hjj72DIWVMUY8+MgB5bVdCCvh
AE2JafkZBg54mJJ3Pj4dzuAcBryYux3sDiXuUX7GEQPC02JDZVZ3EyXx2QqIf3abYSCAM7hDwb/O
XDN7l7vMOF3+hDC+/TG+s4wcHTiZT8xBUrhdZQ8pkdSXOEXv4pDd4xOdmc41gnuJlc856mK4MQMS
p/sFKMnoP3Sgutgn2sXZVGpvdcudMpR5yQhC2PhM5Kkr43PV4NKPM/bqTRvBOGVmTBQCH2UVPuUx
kMaCsOpjpdTJzJJniGaPNlfSpoaWuic2d6uAQLQLPOBsdu+lXV0a0Z0s9FdzPt8FzkDqpoZFOyXt
KTSYm3WF+1Yx/N8UXo3mDjjyET4kawfuviogSabJ7BdLAF8ffZn+K5q94/XvjC2rTYkl4TJOlGrD
WP0jWDnZmTnGSYHuZONUADmIE7tXUyuOFgQx+OJOlI0tuhRKK5hZdHwpM9rGcBP2ZQiTwcP9TMty
7qFM3ddEY/JapN6xnw8+n+xfoKzHQDmbLF40xEoCWXq7gxfiCPv8329hrePLr5CKu3FtXEQCV8+s
E77qAnfoij69d3xP3zRmeiBVxbrv11/+/9dt/77x+/miiHVAvDm4LJ2b/prX+TFZatAT7ZQ+uW2Y
PpFfi+fUIz609X33SAWVWiCFSBVualofK50B8Ky/9Scz2RsD0z8OIAhb5OByqobFDee2ffvfL53P
sChwEsbeLIKuTf8iwWkRiZ7quynLJrSCdvOIBr1xRrwSU5BcDGi0r1jRvmoh49v/fgcCeAdHP3kY
oaZ0q9ukiMc7LnDnNltxX8FIACVrVe/w39/MnESecvdGSIegqUm5T5231E+9w8KC3yQNV3PVFrdF
TnwTvtJH24b6ajblxUmI2TQtCMixhoaeVto5SPQZiFXd6V49VYptKIHA4Gp8Kus5lR+MwZ+HsSWU
ponDfW+wt2Tbmm4Fx/+Je5/x9n8ud+RqAGrcmYjTtpkuet1p/vdLMc5sN9vGPeUQN/9zZJqjo2AB
8ct/v/3vl6p3bkyfLEMeJGaDOZycyg3PYYeXefOfeaxtDdbQfvzTjLN6EB+e5xYP/RoyD0orPOQj
ti/xMQv4uB2jVPT875BjwbbmRHKMaZG9ZyaVYwDZnZERLCUqx4g/t9577lheXJt9oZ0236N0itsW
Z8cL1Mfvfv2dPy/hbvJCAtWXka7ZT18r9gqXoQ5i5OQB0H3Ugvyd/35ptXYuZdm/oc79NVGxPc89
Qxor8OzXtszkrmP1d182oz542nyJk6XcDgFyOwxg9d5hKLAOLV7rIEFjhokO1s7QQu8nJGAJ7yQD
hTumB86dc+evAXiY5br/cXVey5FibRZ9IiJwB3ObmaR38uaGkEpVeA/nAE8/C/0zMRNz0RlSlbpb
UsLhM3uvHdAElcwydMhGy4sTt9ZpdIYfL7YYIQsGF67ZPCcAi6+G2xIqNqTr0h/8U9Ee+i5CnTlB
LvwF3v6+dFl1BCTLjHpJwh67EFePlwRF2AusUZr9kZcE+5rTJyZBbQvR8b//OKO+c1GMCU1/aI3c
vCeAvj1/hBojUUSDZOWeQp/Vr63G5oLBiAGG321fvApMHllx/WudxYgX4C7zKF6jHo/OoEazd1Kb
PAxaB71q8te0LtuDxDjzSGbRCZOgYrCtsVBxx/pA3g+MXLC8mhvC4hosYEpInmn3hckzASkNmlC1
zuLuzSD3+x9z2lZhYFI6WeWUmBJ4FbJbzEMEuGSOumWN85dhBRgYu4NfbpQaSgLuNOot8cTwJLeN
4clNi/pW1eP2Nz5aQw7UrH4//H35DTSl6sX0kGb+bgzftNgzn+jy4xdz9LB56+GtqoySOCHSwHMP
97JSrXWwy1scqx+7MaOTR05o4EK2PdZV/0fX2fVkHdUhmAHLPE/Dc+ETO4hHhVLeJZzSbOGy20qk
Z3Psd4Vr30nJ1e/Z6AC5MaNubw9qeEIZuNJic5vbfnT5fcmW4MHfj8C6/lQ6tgOnA4nuZk3yjTcL
XSln62NhpcZR9mNHcU7eUs4Eke34l0I/86P7xAIYjHWeHGSJO8fQ5Q5HbLr/PYdN1yuOEa6xVavn
9rbE/B1oSXSNWikecXtGdxT8f0fEK1cV934Q+fFWQ8B3cjtOaFIFHPoJd0elWuy0if4NRjmK14o0
vN/DQS2nwqx4E1m9bw0UOUJnwP6bSeaKNlvLEaIwuAD0pWkLR0sgYvIp6CsCO95DPU62TdyonebI
5N1NvA+RE1chOpP2rZ66U1TU3claPoqbZBviCbhHtPvsqmsypoiGQG5vb30X7WE3QRHJPPaIQ690
9IpW8fj7Yrn2m4Y69vT7GT4ibuco3hAqUf7nC3AxzDsPgG1osUnlqX3V6p3q3e5mL5FnTqJ5+zCz
/9Yw8bWi+lPUZLBXuMdf+nhcGAjysdWicWXyr5w0LPjwONOR6oDBkKp161snzRUtk/EjIgT0ZZIh
Ym8Iy7azer7Kic2M7lefIp7ajZ8v9OXU/pebfg69joXiWoyoO8I+p9Il6GX9G5De1iETdpZ2247n
O7Nc61rrUr+Uy4uZMata/X5uK7jDWPRIgVn+xi+GcsteE2bQkgxK7kXMSrvMj1Ispiu3fsSUlqLB
acKdZtHdAihFsbNQO0acGE8mQuiVZ/ms3xZTspxMsLLLl8jBzYmmRqXC5VA5b8xO3yrP7L4rr3qu
jFPKEuDiLGG+lg1cE1Zpvvbd0AEiVLHKF0x1fk85NBPoKVryg9Ex1/GjSSzC3kJOs09aP7zqRNGu
3O6u4nw6MShXPWMT1Z3/86Ei/DIzwKfNeYz+bMiM18KdjP0cd+PGqKjJjdBYSEZoiutcGK+55nHS
cm5mFiVWqWc7v3MfWUykuMDYHZYF49LOd9kV5ayOE5EG1HvO08SY5or67+KHbb3jvLbXkZkNdzGm
R6XzRJC92udSVEFWaXFg6R962g7Xe8+NcXV45gB+b7/THqa0NhNX3XjecI4VnjkhdMKVaHFcf3y1
4O3vM/D7gWHmLwhCNKXdU20iQ6icZkaxA2o/Gs7AKrFp+9x+92EwXrVOMN/t2WBP7oBEpovhUrPS
VwYlcaXMvzae4CCGK35CDa+fctYdnWEXV6mNkAFnKpNswe6O6O1I0zIIuh+S8++LqZUnGSdkLnDE
sNwJu+0k03cjJ926RAvH9Ja5P/WjcSprBus6u0rCX4Ic69Oao+lvi7NmB4z4loqMB4gQt9lq2D6b
2qmWurfq8jwMWh11ugmR5IEA9p2lqwv16rizHBWkaJMvmWvz1nHOWahz1WCkL23W7xWy+I88gvCt
6S46PNa87ogWUSV9CB1f1hc8AvqhGmux9+aa/ACpatY6U/Ycq2WUlpMVWA7obDVtfCsZjXyXtvmf
D5Y/0SqGoEmEVQNjH3HBaAAJ4Mh8ErbHxwH7GWJ1tJL9rHLgKDjzXOlFq9/cad/hZ2iy8AmR/HZ6
b0Vdv9ekYZw6uum1U9fT+2jrB4ldFAImSvSm9NSlTd23IWI0QBcwXqhvx92ctMMqbTJAEcZyExPB
/jQaI09I42iLTnvMOvfVxjZGB+k+WQ4g9CFlF1EYTX3HpvfRgfgqEhk9947Z3+oeHxxX4dPvC26V
B5Vp9glek4e+MEKQ/f+Kx98K8vfPkEy6CA7+NtKoH3Bz4kZMMrI2pbd3MnJz+lb1W4ugeeWI5DVe
lMW+wW+Zh0h4TnrDtbaxCXTCWRoAyXFxzfT+2zQq3tYFWfD7Ek7s2ScfSqG01G0EUb9NbZogf2rE
XYPAE/iVeTIMNz61kyv3RCqQ1sZcj/1S0e9/49oMrRwunH8CA8Mx1vuzGiR9CHu0axwBFvbR6IRw
Yz7TudvHLW9LwM6l2+ddOW0SBOifjWEcnDzzX4ouJW9zSL5LUV3MlKewLqVxMz2N5TXJMUnaT1c8
sP5uGkmKGUsI2rkzkELmwbtDvBsdfivLWovHWwpLgJtN8T8emAE66OPvQB76q6eW5DWDSrBAdnTo
dUat5jD1NEKYfKYWIOG8wJAyrj9pxPYeVrJB7pBeXfq2gc7aNFvdbsBpLp8Z2XD09Ty7TM0TIxr3
ng5m+KC52tOIeNtMfJcdAJjITqTGvS3In/Szwdk0y6e/f+ZLHhlKLqbkaeFt5XVDYnza8yHtyldt
TuXOZqF1/n2pHKc6Kr6DOPaac9fftLhZ0vkq+zQNvYHqSUBdJLXl5JMwGTSwszZeOFgHNENc+3U4
dkT6TuUbvx724dX0maQkf4s8L0kEVixDySFfKfJnNvyfBCLY3n1OHXWumOh90viY6Ckks5UcqdBv
WGCiZ6la/YYHuhDIik4lH2WLu0I3SsSaerHrDeXtW9Ppnmrd5I7NBnMjagRCWuUV56S2jyOeO3aS
3rmfncxdMR6Mt0kHPVOUqrjN3SnEOflqNVi7czl9dhbmrqh2pkMsRvvBqf2XBNsq5IHZx8w8ONe3
wvcRTRiCxeMsHHVhZnyd+gS7+uAoGO2h+xdFYrkdrMg8YWh7R4iEZCOXKTmRBe2qTBh+kbNKHFbY
HLoBq3j7GwBuWKazLcTVH6L5r50DK83HKLnyW+lZjzf6HgvsvVzyzI0mLLdzaJRBhS5jGzu5e2pw
mDCqgQOO5mn6tHq29T4ZWzeCpZqbK9NHWw3DV1WHV2PK6k9hSB7knmc/jnYOciSfpnMZMpogO8nc
RRMClriv9V0Et2RbKX+4/X4EnUfeiEd9xoamjuQw9YHrpDABlnOvm011Ltr3MMnsa8MIcC8c+S9K
+ex3FvD751LpYhfHDp7nqWzYySFn0iv20lxD5Guj8ik7jHr/81eakn6gg0zB2e6aRxsh3i8ZRVtO
mN+PrMSSO0gMrx0o+tP/vsyy/r+fdpmgiRyg9/znSxLUUbXfLOEmzCp+v7Xf79RZ1iQxucSb378Y
EopBw5jSk2rCE0EE8tOwOKcyDFYse8gFJmsxPoXkkJ4Hp2XFj5sHBdT0MOfh+FDMzaZqhvgW9hJs
4/xVNX3zQAbf9DBagl+lVqx/v1DESnAFm3BcXDM7ekDoCAu+Nyzqz9XykpQECKz+9/MCBaDv5DcN
M/yX4bl4F5q2e+h9ppuj7GqUuSiw5ngOwPH96Ib9HCfYbyWP0W1iqoNn2x/oZDDr22hTPHDZ69TG
Gm+lWy5nTmkfOi3p3mSoeP5Bc6yndHwQUfQwmLF87rTxM2FF0RNdeEibbcQD7eIK/511u7aLx6Cv
XfviO2m0A2rkrW1zM7CuXtc2ya4FuPXnyZT43lggN4WNMm7Mna2qiW6QLO4VYbxEtpfzwVD85gmo
/FTlCDeKvmMf9T2Ccqc1VmPUf1dhrh7LdBBrvC0H3cy9YF2QZrlGuZPg49GGk15RLfoeYmg9mUOS
AOrw7JMyIBGTQ/7jM4RUewy3r6GL1AR+iNgo4LWJUjWJkdG97rCKk/uobUzmfnFDen2Nsa7Qk+3Q
IKrURygMrRt3gV17t8aZgcgQHuC785snWAcKeP1m2h4Zs/2zdBbadg7/VPTRa13kBmf+uJn6AQ2l
22cbK4JzmqL5p6Vwtr09+hhwXGsDQomUCwAeGF/NdY4Wh4RPbVwCjfCWayy00/xIklHFCAwzV1xW
98EoTnHHlLIwwajWZrMvo+zbHbp7gUuaUIBbZDVvCQ7hB70rLr0vL55o3LV0mFnxCMMPoVWHhuED
IAG0SgMk3wnHPrJ0iWpLVy/DskKxO2RAJnXUpstVfU5ncWR7OkPxjrqlWV/rzaSeaRzvEWS9ZXrG
RF1XT3bFHqU1Esw8mq/3xIItHIGzSFExYUH1CInhiSU0Rmlt3gdzSyaWGnLrkiVvbVW8NrPHXILs
sHWji6BLiB5youixaVjslmxvGCedmEPfhhC/QGUQf+UVPM5xyUB3nOyAo3u5OuEex73chE5f7Oli
9KCpjL+N2DkCKdnY9WR1FuVhbkpW2vCuAlev712BJJrg4kvYtX+qLvnSsDeCtlXlXsTgXXVGBgiW
RxLQWud7TEnRU7JtAzmpFv9ZCo812aIAbmhsij/R7J9IskTRjy4SNWSIrSFGFlBkXI2z6e09758j
p7884BkZmOJv/dUU3vvIlAwvFLN3cjMuuU6eRxYio8L8ytPInjFrNSktscN3qX9EEfQMnAL3gYUJ
2vniE/TnhMJTBaMxU+RH7bhGUBQeEKwEWjP8NCRdPLA85T84TSeUH2vKJA8zQMOeqJkhx3MFlRph
Xk3rHoYc9WYpxanl9kdtGwlwC2oq5KryINIjnAcm3kDSzIwJzTiikMWp/OIp82Ek6mQ3Jc2HLKcU
9i3QEbsPgeGGSCjDYVuanneFncjucXDwdJlkA9X6H79npMFqmP6KHIqtkck91vtiO0dZMLTGNeaN
DLSCBFQPqAhuC3gKg+i+sgYcITJ2NC/zW2tWu65YvI+vsiTwC50hOYyqBqY/lE9Cie5QpNE1kw1E
FVmPm470GN3NWAUyT93Uuc25KJ8MM7TWmnI2VTi+2/1w8iXI+LY6yK7g8d8XBhoQ2a7GFGNqiIYg
9VF/6Z6a4BFo2sOS3h0Xu0RLOXTlOANLi/+ROBQfkUyVm6HDMEzuYiBj3TpkOvIOmjZSxztrGynS
f4i8+9Pn1nM8zoTUe87WrIiWjWNzCJxRYn7VafITsa1t/yKltnNG4mL0XkESHsN7U4OJx/UjkL2x
MaFbvU7esxZSFT9B2sCx7nc4//zXSQ3FKirxennKWTv+8OnrtGedf7Idm4zkDgNwxQ6cO5uHOKkn
6ESddZ1H89GI4gPpvElgGHAnRpfyY2xLHWAACcvlhMJb+OLkheoL0UyGetd+qK16HanIZ9fU40Iw
2dnhKgnhlHu3vNWSIC86OldsAQPyq2mEWc6Blu5z08pxnnEgovJCAIhvOUU2wDHGiUF16SQgawsu
CJeehJuEqGJ/ivpT34vLBMT1Yg5ym05GEJnDq/Qt5oEaP61dg4loqmuYKXtjuGLcmqVZwndKcDwu
I31ZsRvKO5LzOsUm18l7OmQWd2uOCzwe1BNoK/HKDSiUnCg7xrJuzizv3vtJnqYy1LZaX3957GKa
csn/45m4yRhxa7hN2WMT78hInOb5o8jShyzGhzbMnkZN8N3bDguc2qs2bj18hwrldTGVJ7bmu0l1
T5aXHG0tIgJX2M126o84TVGUTkyeYYT4J78dnrPCfa8mCPmmfK67JkbqIlAS5S5ror5+8OaZ/FGN
bZQsapD3hNqlWhhkhjQ56DaNNuE2bDFaMBLaFyXEAZbF1HTTshyhzakS99Yrl2wF2ehbL1t0FKkD
1ME0jLtAHkvA3ryZE3LHnHTcusLExWCnO78y8MFyLNPcazyVcHpGEc1A2QRmE+YnI/mZLJQ4Go4O
WWreI1l2bOCxfVSzzmfOveDk3STKsE4+FGMkIpj68WVuJzEhhKNgLn16nBZRa9GzUrVR1CPPb62g
dqK3PEZDG3kviUZVOjI74zYJxwNIfCarPclPbEsr8j3bnHIy9XEG25n1NxHMna51PIaX9ESpS/hE
HCP+hnrL4++xa1o62gTPRCEC4GGIwGC16gxkWASgN0/IP0IQHA9BYjQHcuYj7kWDwXgOwkdTb5Vo
2rfOJB1ksJ/iQWOdLQH8lpqFZzS6xYUx8ySbTkOJglmk7NC9qb+UdlFfqEcFPka/O2jYqTRsi2h1
l2Xpt6VSSg4IO4A7BoIGVfVd63P90BgY9PqUzHU/SlgBkAqc5SSbyaU/tsIevoLjBb2BPl6Y47ef
GI9Z31+l6AxCgsZPEs0uQ+ZbpAYbn86TCRbt7o4+qgcHlhE9KU8e42FGbr5xG/GgZeZqLGbBWhZE
RXI265mA0ohrqmuTwGJ0ts5DsTjqsVfGg36HzbKvv3qn1W48jHFfClgA8bxio0dbULfODtU5yrc7
SFdzg2yZkyJ8rXt1mhrXPsKJbtaFQQDD7P3I7D3z+jbINQDHkQKgAPP6miPixCpHdLwcuBnIGdJN
hr1F1bK1zoLZd/ONgbaZ6KZB5y4EzW8xDFXK/2eW2lvR4f1v7W5aj3a4YJ9YB0nBiBavo78ZzAE7
TdedkyEZNq0zENxgyX+S04DcJuQulgQgoLN9VxF6dg36/DQQNtmbu7nUn5TgmHLC0FtgQG6QYIrH
z0+9Znkt3htjbWVL3ogcrJ2GMM93RhTJEMZQpJVbMt/sU22nXwZoeY7lYCa2d7b1994Ec5HatzCN
X3FEp1uxwHl0gonjLttz9CMkc1gK2ZjVNIHRa9rahQ9OsvKODDENjIFqbedRu00mIo8jogUmn+dq
jzFiTfP7p549pBctG+bEM7+QCxorWQ43fYoJLchBCDoQwHMVeCm7SE1HGzzKR5VzZzrFZKyojjzY
BYn/4os1T6qa4hhRYPwlc4GUOZWvKsz3ZVGNh7ySnx7h2i0034iVzpr2iqTwHs15WNgHpD/EiYzA
8ZCJf9TDB6TIxTjJz+zOIRMRaZ7KDj5Ra9YI0xB3gk2bOYcra1fIOTzIZH5C/4LoLvHfU0/715dz
tU0TD/wM1OswRfBRp97H5GS0XAVxb4SNTlGC+SvLD62V36Tf/WO4+xJzemJGDMNtc2rrSjs3DuiJ
vP4Alr2XYt77pO2tGTGTN0ooBevbR1nPPUm20PqTYsL0mOxgSRtbLADkKMIbWmXogUgm/EpQGZKj
ETP4kC/DDJ60jqwWTQKzjSGKBQlu3Pd1iwWmzWEcT9VXbmHgVNj9FQyUmkCb+oXYv1M5IUyciBgr
D1rjGTvbrUx8ItXb5BoPDZ4RibaS2LrsHfaeQefBItOf5nZlNoK3kpQBjy4Buil5BebnDLmPZyGi
ZI+EWaB/l06Wt4ZE+S39xws1zDbUejZvrsdtyzsXlOML5Cy18Pq+flNr7UR+RxoOXt1FRplYHOCc
kIdcOi3ABLJX9KUmNkVtPbil9+F1BcrEjnCanvF90Ye7SnPZYeT6pzP+6MyVU8N5Sw3sr5bvfbdV
vQG7+8u2elbNsGhlo2fPUAQ0uVxRpsISNjvLrdAFnaRF1Qrr4OnTEwCFFbDbe8izdp0uqkPVWwQB
RU8CBzFyLkCCRoaImk6l7pEoTmGRbpSlxLaiaM5dqCd2hM61le1uyLkB5wm/A9JTPIUpTpIe45KM
SEmRvfvPmL3jNORPQ21iZenEdUBdYDBHxAIdgYkD8g14xzk7J35f24Ft0yrlIQcCg+5QE9T4Pkpf
sxqwzlf2Vho0McSONEEk6gAv+ZPm4bDDXsb2HUVfy2yWyk2HT2AgYTLJcXGqBAkWs0OHvLyNVyD5
x/Bb+FBHtBArqxpPWFc2vPsfiQ9/ZhzSL20gEyqCLuhiSGOx8MJSMHALGjqZoKCu52863H4VEoAO
g4iMRQa9wybiDVl76PQ13Lci+VI9vpMsOcZd+9k39Cuu1iFKzbM/EH68VQ1xrm7iq9+fubl37lB9
mAPOLbao98TLv/zcoFfsUcsO83ZuEbmzq/guxuYYZcO5s4d+NXbyAgWDGtlsnmbNDmytQjtuyLcI
N8pqSsN/yTzus5izyTO5WPAZQxdfuW79pnz7EpoU7LFBAuFEQJa0o62tuuVs/uPGSSDr86w96S2j
ItMsKeoRlY/ZY638c26Fx1kC6xRD9dwJ97XoEPvMZJCylUQHlvcvDkCEgnFS8ofxuIM0yYT6pFWv
9Uhb09gv2tDjOawYl5i62hm+7Nh0yB3oEFZGUV8hgFn1I/sPcuof42lSG54PpJ77QWMffOqkiHd3
Q1Swtp/6+dUo2nKr85zEu2cVDxP7Ou78oG6I5J6WAwQyTEqpYK+sVidMHEXCtsZZD9MOBpueY60r
xYsW4/xkhEaKkgnPmxP7PIC1tAi53bo6VdrUMJksFk9YjrXzYmt9v6K0bdd9VDN4duv76KNFbZrh
q461N6YCzTasRiKVRuvHcZ9R7AMcGHiXMF4YwXJalLDHQIdHBAbinVtsVCUq3dju9oxTb+iJfha9
TQRRYltaAjSehsTRlVFAvWEinsDI2I7O6zwMz+g7AKa55bNrFOc8Dm9Rw/PI1b+t+J8bdelmaBme
x0V8zVgDAyF5Z3tNsld6VcTBwrF4sXRtNavRWZsutxOGo2U+4//RWkycaYvfrcVdDLfWZEHpQZ9j
J+caDpe9kTxYeICYLaidN+nfttM/j7gdZnqTlJmxZlePcQQ7JYtjVLslhA29Lb49rfP3qhTEHAjj
W0tYzWTslTdi4if1lf3DGKZehRYuojBtV0NB4+iyp+FS8vk1VKTh4C1hrPIYlzwE0ehUgUU7sDKM
eQIuhhlRroteS9AIh++mjkMhajHM1K4IQuTWN+rGY17Ki2zsvVaQepH7B89ldl6rj6LVbyYyyQ1y
ySs4i7s1TBsmS8+2jzMugSNCu1wGtZBYHR2N2pCE5pXpFZx9oEPWncOS0imRavWWuf0xYTGSUQ0V
pslRLg+TaHaUmSQf1+iB2mvigBRzo2E/EVG+ooac8DLX/tqYPhfEjOUwm3ZGlIwUj89zVP5gVGE4
mkrMZ7lBgcN+vwfQZcP6ohjL/4pZfBl5/0xTB4tBpRu4peew7TAYazh5HJo/vLothBCueo0x7aoo
uM10cEtTF4prTlNE+hj4/qA2LH77rsbMzN3hzvPxdtxzXftH4msGwXKnbMTFnkqYp/Z0ebWWPqRI
CCavZ0jgyFUjJnvTldbdrcs/LAvqjZDxU4R8MQJMziGUBP0cRyvfi6xDB2cl7dy3lqjPGv3exEJz
U7jmxZhYNg+obNQlwbKrFCAh+Ep+0FagbzxkSvqIHjjBjg1iDiLkVIdUPPFz5wt7rZfciBXxasXs
PJqmiIN2gNIQe8krYZvZqa9EvfUT+KC6cpkmNrfED+WKCNspyGYuyJw4DxXi6JgAkJSN9ocNaM1/
fq/FYl/6PSF6ouAtCXkeJ6HaQNNjYzPla1uFwThzz1EwHGY/Yp+keewMs+FNL6rojJoKhBXVC6RB
Y+H9iNG0Vw2r8tbV7g7KgyMy6wVN2XGKD4m/tvzXhIlUAM6kXFULr6fxP+IW2S2NA6PsUfxFxT+v
XJ6uG+72LQqjtT7r9Var627tzAw7Zx9juWSbBHDC4Etb/8vWUUck1R32OiHLLopp4LYQLbHvBZzx
8HIQneZhkcBB41mPD2tvGnLf4EJak/2KyVo/z575WAJNWEWOv4vRVPBtuwpNkSWXOIJVCZ0BggRF
M2Ifjj7Hsy+iU2+FRSE/FGjeMYNgys6YBUwJo63G838QPYGFadoT3Wh5LKrpmcFfzUzUPIPe/ahL
YgLRGNTGJO9Vqx2VcWm4d/LOE+t+1mHbLbdrN/jjUR+sQBgDz5shfo30Y2j3L2rk6m/zZrl6r7FZ
vIoYTFrfuS1yZB12ZZZ4Fzw+cmXgTAoovl6rXulwaKetcOb3yDaZLDjhVg7i0TUitH2kX8gCFKin
y+Os6SfNa6+lJsmP1tkfpxMtl86UOlFYMiZK7AlrMwE98b1w9O9Q0lNzXB25BdCC2sPFGIi81M3q
XMhoT29erBgB3Iwm/RJWw2ZM6xcszgP2hHr5bnsGnccMqULQ+5HOxepuKhZyV/jHMeZm7bstqW18
j7Bhz+eBm6zG1gCMBctUTC/K9foDfoQQldo6hQaz6UyKvCGPOKid1N6IQVwc3AXANSvmyM5z+6Kl
5eLn8Ubg1cVZH1ACaYPkUovGoPUF290R5HnkAj4hPX6f5v12+aftsmvaeOYlw6S/mbMM7TEyFczt
5gPiMA+h+/hJTIJg/7gFARaUsT1SSnJvm4JF5cjQkpEJ52km8kD1LSMXDXJX09GchNmW3m2HnvYu
Zu1fmVZBZYL05GGT4r9zlyVCfCoItiy15NB2IL9A+axMLYIO6qKwt2L/gho+ZrHMO81IdGs6+CR0
p8TyWej85jy9fJhtGa+JcZ2pYPFz1zHDCDdqaLoH9OwYKqytJF8pnPvrhE9KlHoNWqx7q2DLB2Gy
SIu0Y9+7J5Nwxqjlh9R1LAipoc3HprPQl5o7z+2jB8+jXWwSSqyUZ/2XLazbGA00ufIBHHV7iC3v
pC1VL2D0eSuxmK+0Xt39McmDubP3eJGGa8KllTZM1mUPyTvS4wOxs/+mGXmNIeR61PSep2p9jvSe
IZEDTdhn0mD2hB9GP07nhDDwQKbY3O+bqm+/kYMwnEtZYM0n2/bEccBK7UVEQvrW2wKUJuDJNnjq
WLY7rvtrTMTUWvCym3tjL7vstfMi/Z0KMMKDEd5bxxyutPHqXPpU5nmbvbLU1UlLH72jvwCEbPVk
ifqLAGSHWO4fSDUCaUB3gyHMtkMHe0nccXS2h3czN7SzHTcXgNHOLu1itgp1zeFtkveacQT7Ey4M
d8YyliVIZ1K469N7JVnexB3xTCnK3o1Rs2UvrepSPup9nx3KTG56djp0tmCHUM3Ou3Eyq0AnqItz
ZR1HBO90I1AGKJ6nKm//WqUssZWoeGEp4ZiE6Bd4uv+cwDrpmoJnkK21e93DOYGqJPAVlZ207ac6
sXeJ7frbZkx2PmPHeqrELYfU8cS9BTi2e281lMw5A1MjMFFK+tXfkWPf1BldCMNgE6joDwZtQBhZ
jpyvIWvkJhJsQkENgNz9zobmtZY+Kd/fbq1fO8zO0dQU7w7oNtoxRf9K3DR77mb+siImC3ayBak0
rc1ejoxDSLyEIXzKxGvcO+lRRCRUNmBX1j3+sjFlIgLeNcchCshjghE1YY3pGTV5tREkXRuME8eI
PkXuxojjB5GmT2DInV3rIPQcMUTkPQNNN8Jb3bTtm6O6eMOvk7ozq09as2hb61OXxvaTiuAiLM4a
W08DQs7+adRyDk1dYM5ktDfdrjLdW9X6VxUxEDbkZJ0Sac8HgCbMh0HbQF2IQJX17fPY29SffZbu
1M2frfIgq+pD5XpgGMq8YmE2N/ov6lJQ20nwLBiVNhxXoGDxNO3qDmdJVDT3zB+qVyiVn9HGsABn
0gYhgGXIHNUzT4bhJXZ9bIZcUfTZ304Ed6pfmuuYozI2SNNxzPhiADhf965am0fysGguJhBhDiaO
nh0/KrzklggKB9Ea0ZqH99/McT/DJr1nRlVuJ5YRcFSbZ4PJGyKHfA334BDp7NioAWh7LBO8ix9o
VOzMZcYjCxKnfSa0HqjAhE0BAgB0mQ5J/rQR/WTjWgdsoZnZdrTbZyf/6zXKvjFXG5BZJjMRmAgH
qovSvTvC2bOwkmbblT+17ottNyxSGo6SgjIPIx+nmagqtil5zRw4vKeq/xwj46UUDiNIWt88c88a
frQIoGnTsS8dI0bV1EMgItlRcDZuRPeJZAWHOGr8jVLyZwDmE5hF/orQdgT7w+1lyuxlJgUKSt46
zHF5jnW+byol8bJSMUdTvu+H/JY6nh609SK1QlYC4nnIOFCsjt9Qgm6F6rje6mV6UOClCtGFuGOc
51oNG/b7nzQif6KBEnbunH6rm9Ou7Qg1bUd4ExZ7C7cX17FLwEmMb/aib+wa/0/oVH/tRWzh2tBr
W2YgeqtLRjuwKah//lVz+yTnEmM645U6hz8NDyeBEPgPnT5WwcGbVwZPR1fXthUbR8e270SmVXqT
7IRNie7VnwXaqjUkp5qbZirqL3Tyf5CsbtsJFKnOD6u3hrcyS4VGUvOeR9v4KKT2YzT2MfFFf5Hj
rqyjR9cd93z1TaPr2JRhCgPNTMYAne6lhv/OVSM0uBEsLiJDewY5469nbdx6LSYVJclyq/UtFp0z
GhSMziy40LgXjMIgMkuUCFZf/ivUMvbpkQp41r9Q/hdj57Uct5Jt21+5sd/RB4lMuIiz+4FlgHL0
si8IysF7j6+/A6V9+krUCelGZ2OTRYoEUTCZa805pvwy6G8aeHMDzY+91YD2jlpXbYsRs3ejiS9u
ioBWd9Dm13KZttmij4cEMYD7Nckf8SV8TGXWUt45lSNNWiebE7/GKEgVCRQYScaVYo436dYF8O2A
2LVuliMkC4KgTXI4ivR9kFmUmrhl3wDI+TZpSHhlPqYbJO3Pdqy/V7ReEDyoOytLeHjTJU8iUKbY
UiLyI+bJAwlzU4Yb9DN3kUw3dfWtJI6bTt9eNOln8hppKdc9UorFbnZuZ9Y0AFlgO1D0KY5Hm7mV
QNFT1sA9oBDNUugrivmNnuqnAQ3zQmHei1wsaQZQlhB5N6K6+AtNrxP2UCzymq5tRs35XJNPBUAT
n1nY8QpTTbAvTwJORzVBH2r6taSr7H1CbK+rR+8ay3kkHmK/zE50MLrqrkBhMvB9GzugSxoCLLDK
miswiT7y3J84CRfkIazRoQGO3AwSwGiO+xaIcHsOIu7gohHBPnDVvaiZZBjNcDJcQhicuL5bsIrs
4xEhnIu13tKqrT5E3H5JpJGZ/aKbD6haj7k9vZtj5Hwl1oubmNYKffO6AZGN9sOL7HobhgnQQQsq
BXJqYJQppL+1EdbbqzeOtETDSU5Yjrsi+cbtdKAdvDM7zoGkH6UXKaymRQxcq81Y2Evcz320bM0R
cnXAQgga/6qDGz61gGsLHDI8xoOPaYHHwkYjbJAwdBzCLct/d9d17KI1YIUJ5LdMD8kCqOe3Ws9B
rJGOAxh644oJf2vZFPSASn6gM/vdmN7bGdPGAcXJNM5IEkOatii6tyG2lPM8Zb7d+5VwU3oD8qat
UvBKaU+C+wzZITbEBzSkWAjjrtumGaFWEVE8pzJQ9xZKoXjEFdRJ+SWoqHDh571IEWj+uOA/kzYJ
z/ZcjA+UsbqmPDloCK3E+JLSx+3D0KdqM93YVCAPs4RcSH/n6IbC3Eg7Ils6K/mbBGnF2W1foZit
2PdCzIiJevlRqvph7kcy7/GU3i/E/sHMOESFXI7ZYuo7NUOdw33dCf25CsKe6Xo07uepfqnDloh5
5IVWzXnOtPqTDMgp0Fetflvc0bKtj0tcvriAjHGnF54TuV+xzb9fwJ0mifw863L27RmWkuA8GIfU
oQWwbIU1PzTGADqMEkFZk/TcmvkhuG31zHkwxuU0NmZ4MbF27TC6ZtumyvpTVZmP8KHbR7VCfma7
4XG4DJTJR2tdMiMuYNJ5Lk0X1o9Qau+IwtjpQi9OTUnWmoZxsCi4k+A9yL3SVKY3MU2pcm2zhGhY
FnBw+ypavfJMnrypxvHtOuOyHdvB3FaG5rKebk+mUdjegIt5p3G630htnTGp44q0I9fBOAHyBTaB
2XHTxWjyO73ygOq7NwiPi9uxxQfYHjlu7kbTDL5OLWzDpA6JvRz8PDefuOvTgafHYapGPxSol28c
S0DPA+eVBvSpyiI+1pIlmI7g60bBAO0j42PDTu4GnSKuJmJxEho6K2NJzdsKLXMQV8N2Yd7Ie3Ib
pW1wsuL0bdJOxyQnR93OQcICdiBaI37OHBqHU5J/gmS2n4bBS+f8MUay7kSa72bUInpzKu+cGrqS
G21Gi0sbxhROanec90DWwAJP1LALBd/Fmr61mbokDZztAdlgExSxFwTZw1iCsNO5DrYidr6KsDqP
KpIwqbODKcuXEjz4xqFSjTuP5reN+sHoxGc7MEaQWSnlkG4fi8pGGj4Yu6m3wTdW4TcnLZ6yhS5Z
szbVJVMdc3LfulH8KTCJwpECdZ07cVUUekK+Tx+jdOF+Q3wDwLKEdxPiOj1xbo2pJjBQslbR0Ndg
JPQJLAA2NSSkqzv6pZXc2phsg3RpdIrSFqFOODDPYzg/jSrGJRS9uCGa3SXNYWpGu4jAJM9mAk+Q
nbUNUN12lkCMPzvWcUxxjbdiuuhlfYKUiDoHfWpPy/j3IWDql4g4Ihpt27HkGkRICNga6vxDCCJV
mUG7NsoLZlPPLufxrNzlZUZpfYMt/lSSdHSrJ5Z7olfV7MRivTBNGPyZi/+BZchTV4nyfaehVEoN
h6b0KrMi+eak4MvwNMGMonWU77VK5yqPn8xG0x/B0lrck5vyInUFkIooEcz+BTLSnLLxnKr7IqRe
W5QQg6C3vDUTWdLJQZpdIWC8iYrpTlN9sSl1Uft0tNq7yt59z4aNO0xRoUE49o2a04cxQBFXu7N9
CfBG7n5/8OQvsW22zpzXBvEtDWXJ1wHRkhMbNY6Gdk7V1hqsY++CsnePrUOzHtQPuH8dYs7SbOeq
RfJQSXdfIKVlgjkfmxREiaShhxYu3KdaxEqMrLyNUcd+06QEZoQQjfRYHZKKcI5komgqW4Rqm76s
qm0NMOnB7GsM02Ly3FypkywzQoBHm75qHrrPzqxt0fQ6D3U/1XsHQPYf8teE+0vkt00BRdelYaxB
lpZ6dfagWQTRIpHqkuaFo6a0xH0ZRKek06J3Jm1v6oUhfb2cnnyFZeZ9k0Vfx3ZCHBSzXNezuKZ0
VbBM0gAj71BTz9ybivk2Bd2CCyjEVdWbaFOpHV4jpBf4YihVjxGRMz5G+fYhstgYLfg3VYIYSUm3
OTOzeJFN8altxvdAmVcwYGtsp2as8e7SyemN5M3oCjR9HTlueWdtXb3tvWUuxXOnCWu/yhN3IRr2
GyV5uMrKKJ+yJHxi1c7ijyLPWUY6QClufTexXYVH2FYZaxhg/BpExVtrvLFrQjrE+g/7EZZZlWT6
AdE/FroKE0+VtjDvwNPkHZCjOej0O+rJy2EaTCYjZTFuatbJazTzQPcBcuDSh9SoKyZ/uWN8gvvr
3pnIXF0yES5BNB9zwh/8WpDdbMrJRQkcfixV9M0YBmc/OdCy2gyRXbgS3guD/PJrIGuWqhTi8gDq
RdMEtjshbhuduVgDoQm+yupX8q/xjbUEkDrbRBAEfR8D/HfupwCYD8iD8jYyaeAAc/00Ewk2762V
QR/BwMFvIM7XzVRY4py7+uOc2dEHdg5Eec9dVY5vgraytmMGC+gasF6XQ3AquxcieW4NFFA+oV+x
RxvHfQG2ypR8Rq5aNcgRlnZvVFycu9A29E896JKNqu2LJKb1li4QenijvaND7mzHyDwipzNPolpQ
ZFttcR8NBhqfXn2yy9FmYk8vZl4bepTVv8h5El436NN2gE72sDSfIaaeOT9zQguK5WIYYbVza8QC
4ARBvZV19JAP+ru4jFPYLuCNolW00KxTZ/p70C0hZV4cC92bPtHAbGXznC71Cp2sWuqQ0MfBhtQf
dG4haTLd1qsXepmRQqcaIYqUXG6MSDfeWC3M+RnN9XaJYC6acmkPEM2K+3YAGl3hKN42dqKzyB1M
lPsYBgM10loJxxQ/QJ3urze///opjrz993/z+eeymhvmSd2rT//9XOaM/17/zX++5+d/8e9L/LkB
L/it++13eV/L25f8a/v6m376yfz2f/Zu+9K9/PTJmlLRzQ/912Z+/Nr2WXfdi/BruX7n/+8X/8/X
6095nquvf//1ueyLbv1pYVwWf/3zpcOXv/9yiTP+rx9//D9fW/f/77+85uvXz19ff//Xl7b7+y/D
/ReRQMATLMO2HNNUPE7Gr+tXhPsvyVkqdZIfhe3YgihinlBd9PdfSvzLJshZd4QydC4nReZsW/br
l6T6F3Uo09YloWzSFKb11//s1/33lOHv7xeH4Z/Pf0qXf5W6baBwx11hGVK5Uhd02H+eCShW4LkK
LbIQoSNksYXA0pTNo+IKCijBoUsmxzqCmHcjgDN5zqAE1friuYH5QF8PaPQa2rcLZXRXC2sihgi9
Sgb1wI8qCnPVOxubyu0PB/d/2WnxKv/zutMcTEutwfHrgfh5p1HiECFHrPoml7Lakc13B2wAhD2d
GBV+BWCEMjOkhSGd8T5c5+MliXu+inr/Dzvyvx09x0F85pgcP6ZSP++I1OvQLUwaaUm6IK0P54ls
EXygS4ek11RU+Wvrmzt2iOjdsNsVdD23prt8+/1uvHoeXw+HqxsWMzmFE8949R4GEP7bMIhX7e9M
nF9d7cZAuzTm4m5UTpjI73+bsNfA4++n1nop2IZhEL7K/4Rpc+bo5qvDPwQsU6j5UVjH53RbdSCk
A/WiDc1do3WroTlVBJCE1nOikxbZh/MnBB/BeQG6gFGfE4C6NpyDdxFAFArSpIYYl1Ehp7Ixh+ws
QWyYAZDfT8cKdmfSfkExf8OtjgAYnuS+hQJux2lFPS9+HPQajRxy0hOFurd6P2nHoq5DP01YkHdJ
Ej9RbaY8llunuBJkTrS3YRZgeqz7fQ/PZC9axz4X8Gjw3jHvzTcVM5dlfh47e+fgewZ2Qkqhmblv
O5I+tpnI701WYuD83U0R03cM4jze0pxptxR9MZkEw7e+Lqej0T6i6Rrv67HDzwHAOkgS4VHbw0FK
kUuPcf63dvTUJRqlYW2BKwz/9IhNZFOhZ0mUYV4aUtaCDHjRaE4+YEIqxoRy+BlaFqItQJ/gor3N
1VyR5gsRI9PlbTdO494UMVVf0imQaGlTdGqbYDOB0bqB1RHuHfLYtpMVPhOI9Jwpb8SaTImy/rg0
Ru6ltvkuMFZvUUsldcAFZY3kaLkhaJc5BPvjhj0FBHAHBM07NfqwOqXoVauLsudTJ93iSItg2dpw
5+7MqcLMm8deVxKtAvDCnxycIrTwloO0uzdwlQO05cEtrCIgE3MHqt9k2SsHM7+FFdujQXGMY/uO
UmX/tkJ7xhJ33svKnZ86WEw0NAZBDbZxdqhyn8uRSL1pqIxTqRkn6gKJF0oxQvhwg40gmXiPqib0
TduMPJWE+caItXE/FJXjsYZ/nxsDM3TT/Ba4+cBCHhiO7ZSDv9ZCkVgJAEMwMbp1o0btvRL92xkY
9JGpcrURGnVh3R6qnQYB/g8rNuPViu16zTmuIaQgccZU11vijys20Ol5XCXhRsVipzKif+j50OMj
E4KVOUVSFgIOFPPG/hijDKUjWga3RJk8jHQi+oW4T6Z0h2Rw4/vgmfA7NIk6ExU2JVXuUxNnKJ6e
9bbtuWsim9IA7AF9qi5MzONT73yfR/w0jfjxuSPWe8TP9xCh65aNUsZSJM84a+j6D3+Prs8qGmEb
bahkFug2CveiPVL1im9Y3PSbjukNmSPmAXMn6+zhPNpL6WluEOzKKj3+/o72akHHIk4RumxYAoma
Sc3nVZx0kGf2FHRtCQKc9RquQDBoNnh4ZIzlORIjgVE5qo7f/1Lx+i7Kb1W6afDHcwYLPFk/H4Gq
6FQzG1PJ70LiuJTRqcOiYjXzsVekCNboK/cG2oOtPXaBXyyzcVCT+WFZgvbGaTXjaGdRuv3DTr3K
ul8PhRK265rsEXVo9eptIUiwaWiM0ZW2ugPF2p7snyw80EUl0avvND8S/XSoMtgPc0dE59y/+cMe
vD4x2APKEpYwTTxoDifJz4el6/Q87uel3GQJbhw3lzEm9qDZTPwqZbqhB9KRplBK9E2cWxTap3f0
Ev3BgtI4NaH8w9POXN+GH09U9ofHu8QQZdsuJtn15PnhRHUwC5Rkr3J9R/0lsiAREjBCBO6Y2R+A
MG8mq80PxLjlRGaEz9RqxDvmRiwuoRlc0GPZRyua31n5kNHbd8RpSlKCyljPW5EsT5KochoKWME2
uCF6TBJxcD8NbwVm33TTuFIeJNIjEjsgeAaPnVlo3xxa6K2K3lJef79gMzhdLay5rLXdbCbZeRr7
95XW24/XjWsTnJQzd/AtYugfG6fFhYK0JQsg6UqCbSmBQflaJLJCre3Hk1zBONeNFndflZMH/kgw
y/n377P1etKiLAeRAYAexwXiIBwm2D8e18m0mgq3Q7ZpWrf30MtEhxLRODuk3SOorXZ6ZGNYpXDC
k26iLY8p9XRdJbVxMnnBHGdb0qxIiNHryJ+T/k4MlvFGW7r4Xi73MEQw+Qswj2VoNffXTUxu35m2
wSlLsvb7S4o/lFZbDiu4DREI/GczywIIv/HQRxCvJe3GD13CUq22Y+OEJ8550yXLzsr18YMdE6va
xsULDMNw28iVKTvmuCQIFPlUB8MuGYfhVMYVmkgUyrB3oP8EQ+ieytC5TLa4A4Pa7fQGLRTFNLhQ
VNf3ETSpSyaCJzoI+bYlJgfB69NSQzYj4a0Y/3A3kr9edo60bcNai4Jcevqru5FDXkJtSCDojsMy
dpYJuMYedJSkk74b7JkHCVZVYe4wIas4ySE5jPWJmC9jS1GuuyFmcfEDaikbSs3MvMY6/4zo11BT
vAdMZGxZKuhnfi81hqZq9+VsRA92g/mooZHZGmEeUk2g2EIWNOwY7UNbAgDPmcImhVn84eQTv17U
jnRYYZlYp3SLafPPJ19K5SPIdQIzbc3NHiyn/ZTkjv0BZAX+ldS1IVDGzmlJ0gOnWbBLGr0/Nk5P
zJCkJ9XLB3PFHS1Nb+/+cFmsK4afbzcOdzF2jvIi0idWdz9dFihYMqBNVLFRPHsRMIJLS5n1EXTQ
fNKG7LMsWb5eXwrtyiIj1Ko8O2tJWY7DC0Ze8RCEmbzTQ2D4XXEv1/Bp4ahvVbjE2Jzwi6eRim8E
CxpEdpgu68pu/CIJYNhgEkWw694NuigvU4lsn4SA5YW7HAmabfbWGDXd75aSMEknfxF1OsG6YoPV
9SM89cjDmvk21Qk1REdzZwoVn6eUfnYWbHGKT2+nqmXyXDhvGmHToIt1aNsWqTkF9ru9MzrhpYTn
gz1S93DPoKwa+v6j6Ov4dhjKQ5WsqtvwDnffH+7xQq43m5+Puissm2mVo5AeWK/Pfi7C0ZpSRbsG
HYYPiptopiaaWURRhAtj4+KkbnFG6njnTCWz6kWbD/ZUKnz6MVAGlAqOoe77YST6rK6lTz8xsEKc
5Eg+96LrqS/V4gXu3+S1ejJ4SxXaG8tpDE9QGnwiVxxlCzGE6CHfFBb4r6h39S8SPeIkx3qDxrk/
j5bdHQWP5A35JOPbvO6E53Qq35FXl3soCoSHfokktGmqHlsO36Fw49wLW2DPS+oD6Md8TV4bgCk4
H+SUhvo5XzmVZT0+tKObPwe1jQhSX2tcvfsZXAhB4lWjKKf7uV7Lsx4KxB1kBHJFxAOM9EgffHg1
dN/sqXsMhjK4lB1xN5X6ZCEcOhGZZj66WB59GFEvxYCT2ex1hcy3JJ5SgU/s50y/ZKmldsVo25jB
+dTpk5UiS7Wrjk33bgwNTCOJulBJwR3bEWuTEiuxa2cruWdeNu5zqw4RWCZbOhDm6bqxIj32aPgh
2W5h3wkrKt86ffGeuBlxydb+14jaxMu5i2+s1k7uajO+ZElp8MMa42hmq7fX6JJTBpL71KNMwBUm
svcTnbRtnAk6ZMuqq0LLRFDlTAMRzaCnchGTBlr7nGzumZxa9xzHs3ueFKcCGWjzMW7M4bnQfEuv
DCg97fDMlAXeAoJ31ft9b8rL+J9Nq4v3v7+9QLR7fabzyHWpmNg6Cwmmu6/uLzqqNa3rg2ozCgPv
bkdQNEWq8g7Rd1/uFkkIybZGzQbEgOy2ZlddRz7tCrlj5sBokHteEBItkCdHeuP7HHIzqspx77q4
dj0r9VDJhYunSDmdPdlgQlhHhujvOkby264DFKkLHLv0eYDbpT+OvlkSZLGOdvS5MdSjv5R+OfpE
vw0l9YB1G49+V2K99FXoA9AqSt8I/YxsONObQ3+8jsj0jMljzYiLzEg/TzB8YdFndya7h3w/9VTj
ubNnNF5ueebsIXKLr2OI/O46GpIwynVUkT+MfsGLox89IGs3Sr8h1Xj053IdBcvx0e/LdSR8C39E
6GsEcoS48XwR+iTjTlwAoY9YmA9C02MEah0Lt4PamybPPIQIOJlaJl6WeLlDvX+fOnsKFmvNot9T
ISDEcYwoWeyTPz5zfpn025SNKKTpFM6FgZPy52cO4hJsF7UBkLNjKqbnKR6EJO+eKDPf0pdDnoV5
5cla83zqtZtH+SCh0h3nvsnj5ZjUnPGpkQPYH+YOxH9/Qpka30YdDSzaB+IuCj+QOTOSe0enZx66
cyWL8BItWByr0o3e6+PIGxTphc9NjX6tIHlm0FmGxV1p3TlMv9DednJPLGX6JnSyz+v/BxdmOlkk
9h0TDnK0QK5lvU4HLhjUETMfy9seFiA6fVqpL0ImzinrHBg44dKBDZzHm24O5YfQ1L5MM3yyJlL3
Y659jhJzeSxT/q2CVX2f2al29/ur0HhdNlR40yWdVzJB1+rvdTL2w5rCros8c3r8PXVqDX5vztGx
q62dYtbxZIYz/Xyighp3eVeGcXWqC1ZbjR4NTA9pNri8SVtiCKWvWpQsZdSqm9LESojGetuLaLiY
qabReZPBw+/3+5e6q7Itl0KxrigV0zS+Lup/2O+IN7NSOs8RR9n5u2Kmtjjls73VJOqPEsMRccXJ
IYmtAUJ56HqifLNMjnooxkn7Qw3Y+GWixNTNZQJn0CsWQr4uXIt0WhRZ8YRHVhBBsqgqL1YVf9ZG
rhszk8U+tjNtH7tdjb4dq2BPhcODKzNSnfau9LFE0oWLsTCiSlrIX7SNd8h/rEMC1W5nJIv7ocvU
g9O41en3x1G97qAaNASctW6tK1tIQ1iv5p8YEkDQTTLcjEugEw45JtyScg1Lk14LnOJYvBH6GieX
5KmTtm56ORIsZoX19y+UmCJOcc4aL8ntvaAXhAlQotXXSnebFOgszQCgtrm2w649sRby010fL19i
yzT35HJ0JzmmPeIdPurF+L4caVpZXfJpKK3kHY/J+dCXRG1U1Oz+X5OuUwOr8iAZCQ6pm0MHO/OU
kDkLbXr9sNBzNC32nmlT7jyVpTuVXlhp+q7vaSWGRmWe04Kun2OmZCq0i4mZjtfmOam26KSj7bJ2
IydIc5taIO1xIiAtCcGc4MYscuZwgtzXEoR02AzVHhNMfH99rTdgOGdncKn/8wKIod08lLTmXaej
rmvV28DhTgsqFOW1lPbtdWPh4SI7DSrIMoGrsKsHHT0scMueaKUSdEret7dNwqIvkqK+x/Rf3y/T
yql3tX3Xid4nUKx7FnL4kA2l86m2za94LuZNtoQZVbV08kekGDjMWgnCZJBbF6zaKZY5wm1JeM/U
UaHsyqe5xVhvZ3Z44CZ2nCIX9fainlAgovkm0nWfWUzkUxAUWSN15ha4wawe7TMtXuRAVpu8t0Zo
M/Qa40M/N8Z2huDtp7b+3DpovQqpGW8VriLTyt/kuPLCOJB+qtroOJpzc7x+NPT2Px/RvASK2g31
93WxnS8tutXKOVTUpnfFyqDt1gLk1Nr9qacac8otgubzZqEKjZm6TdLkI2aNbD8gljgs6Rw8GaH2
rrOiC7idub1BU8oCtw3sXY9k4+gQu/iYVZhfwKQ0n8AT74Z2dm7nOEl5TwrYiUxIrp/Vc45gu1bm
xsq0Dm+EoCGrm6ju8UION1HDZI40KaML52dbn44ZPpv7zl2mZ8vC7Gtb2ClbhwZrmffvB1mOR1R1
4xEI7j8fGcS7HQuXk1iQGrhP+Gsfhq5aHpxefNZUq44UNeaH769n7YVIP/d8/ez6+uyqjRN31VmD
WgY9m5AJlygVqP/5URg8x2eLxRBPtgfXpsKM9IAQM0nsQRoCfbhZ9CU4cjGp4iZeX42vr0borDMR
q1PdOcWtXbmlN5cQZGzXEZfvmxZlb6GFxLaWJtoYa+7Ibw6QBEptrR/CANC5td2wokeoVQ325HWN
dYcrt70AFM/Bx+o+Sif+HuPdEigOHBzR0zKkNiwngOB80uvfBHzxgz73CvyFqnBsjmLxkmz+UM9R
/oZc8j0Pcuc9AqLHuorHQ65p6jzpD0kIRYbCSDJgeeSlpTT+2fQEqo9ON25rNUTbK5eZ5kt719Lz
KNLJs8a5BMxS/bMBiIQmEunLpk7V6PUTMq+uLr9cIeucmcUOMaa+s9YVOvHfXp3m9V2jrOhJCxPD
G2JCXDoKHIdQy5Gfhy6sB6sSgK/wzDmRDA+dw/PAKKzqXg+nm5gEnFtm0l/tWqsfa1oPxNJF7TmF
UnEM6vrJJhIUT5udvHEKBIhJCwmoIZxzk0dW4bn8Qn8BN4Qyye0uLoqrDQq29TxHEYn7BZl6Owgy
zUlXBIUNOS4lruK4gOuh/zvjEk0WpPt8dN3AE2BWO8tlF8b2O4egaB/ohXlxtMa8qIIYCJSNbxyS
NU6aaaPnBMC7odawnGCUrk5CQrTy0jLeVnn+rqbFsok6A6WZROvcosK+b+kXybJtjno3kAcGem8L
1CxCXI09atc5CC2lxN9Rk2RDWCBcLgec3J2ywV/1XdZvI4Q7q1eBhd3q7Juy7C5cC4tGZ+J8m+aj
zIlbC7QUOGw1lLeaSsNbu8W9jFCSXoVW0VAcRxTK7fwcj0N1oBJMPE4tbD9KYvCVSrjnQGv+2fRB
CrCmHs4YcpYN8RA4GRNgOn6Z55/Vei0kppsTlVpBXLaS9i40cwJzmVlgBoyeLEpqn6AJf2Utpz4g
5e5voERGb+v4EFS8G7NDW6tIsuX7RiO9TMMz5WxsroFDGFYJFrdqIaY4hbq3lM1pgRdHRNItlfTe
3CpZcFJsoCim04sbR9F9ELXRfYjF3I0180iQXPAooOqLtnR2AlviHiTjdAsSl4bbjJjewSp56yz6
IbDr5Jw7xLhpqSr21H7r7WyX8zYZA5h3CaF6Ob7oUhu+YsreO6pKKjAeTbbpO/tRyLDeDIkKjmVI
QSIMCB1PWOOnvUtBaGV+Lz2w/Hie5k0RtcETcOlPEFbtT2ZYfG6G0PLSAUmtSHPnrJzBORsyIL5x
dQZOkf6xAiz5pW0U7nU7ep+tKJzAolqamdjUm3zkDZZrhJBGYeA/m2os7VNC03w7Fom1M0P5ebFU
9aQmJQ+0lwv+mib1yIhyTn2s2ZzUxuOEZuEALmq+Y1ng+sw3w5u0TeY/tPeNXxfL7qowQGdhufRF
5DoH/WG+W4qlc7g35My+KcAHdvZRwmWhBhRuCzqOCCWM+wk+Yk8Hkbd/aW85shhtJXJjHCI0FCdX
3Ox3jZXY9ynm5gOkJ9vTy6S9z935jVCUQ81QgAqkkhDd9hkQiiqr7T9Ud8Uv9S2eAKzKEJkYLPxR
Cfz8h5BcYDldD9szqlV1GzWGz7mhb3V3Pjoxzn1odDK2mw3/NsSzQX8bwQpKuYVANMTpdZJ8JOiu
B7rhPpWt8VE3Wc39flKM6OV1acJhNUT9mT2VKGKuotUfj7YMZy0kcGYj6ovSL7K+WPo6bHRU4O1r
xJyXRLtEzSUUl1hc0uuohpu23efiUjSXUlyq5lKLy0y25WGMLl1zGZrLHF306DI1FwxcmsSDeInU
uSfXRgGMXsfMx9k6MronXOzZmWorcv25+mfo1UmEJ0seGclwzK5jzo9JgMnlwG3AEoeFhll2ABDO
MIQvzka457/I5hlraiXY/cBrRq8jh7zyKtszWw/lrRH7euxnte9MvjX5i7mOMToQwsGtz5gO+nW4
9dE2Dzbb+mjWx8qhAnXkCZRmp/g6kv7ESOEZbafwrHWnITx34RkuLKPBglmhoz0X1+E452w5W+tl
vI4pvxgOFukLo8svTX6px0uVX8rxUuSXdNyhLUnx+Y+XLL8k1iXKL+F4CWCBDhctu7g8fWLX8Bc7
VueWy/1cZuOzI88iulT9uenPoVq3XX8moD7M1iFsdvss7dM4n0yO9HwiLht66FAh5FiHlEeGHiJt
PMbDcciP6UB27iG+DikO8HWY4XTZuh1dKoy+EH7QrQNwgxNQjfYm6S0Sy5TXjp7MPNXC5PfchRgP
L+epHPsplYvajz8XA4FMPmOEyo0Ldzr01WGZDk18tMxDxbY+qvo4LMduOeYOysIjdcHoOrT0VMhT
2J8yeerDM6m3dMvM6lyH+HDXUS7nfDkv1dl2zuZ1xMt5zC/COTN6Dvvs6Z/Aq9YccjuGjbcWaI2o
/VPX/bV0GaW3WDtudProHLqu/qrTrZYhB2tF9a8mnY0AEtt4AhaEimKqcDwneAISgrt2bRpVfk1c
hecaoGZ7UWGxxvF0BwJbQnyqIHZJ1srnCZO0BefhrnAxEdbZEO6pQJiccSW8bFTUd4TlML8qw+aW
5zcJhK4jT2aWq5OtTQHGrnm8uFS0qjQILhSKMd1pZeUDuyC1m/Sst4vtAnjpkvIPtxtp/1KEQeCJ
7dagDurS1nVeVb0mifwy6SCVYPL7PohmZxThjrSk6n3I87nZBdMObl5LuXre9cE67HTvXgdFmpHQ
azAvah8QwDLvicZkWcgIqLsX68h6LybkB8fMdczCa6iwIQO6joQQm97LXKJdCCf0YGUF19G4nokj
hsmqC4wIib2XGx5zyXlnaIiS6At5NBEYYQknG8aGl0ReSShv5NXWHjpNS9dh2cdYI7r9ku/FddTh
nidsuHLrdys4UN+VePCvA5E5g9UpI5/x3q6DZzIjJ7hCY5XJzGTdYjNkwBFglO4OgxXID8jlBFd1
FAVIRoM4kuyxYu5JOEX57hh74e7n1GOMqden3tR4w3V0DSsQrwF3O6+jnz1S2djWsydML2kIE/Ty
2ZtMnCfrB6Qzfx/h7AFsCSZP1usQtYfQZ6k9WmYMuvPonxmds3dZbZF5IfZmDzJgL/8vYee14ziS
bdEvIsCgC/JVEuVd+qx6IarL0Nug//q7qLm4M1N90YU+IJSZDVSmSJER5+y9dgc2dylBtp/0qUT4
EVX5ATaecqnkAzkV/GjHXAprERHIdkEO+EbVG4zJsVhqdpaKcp8KGj/JfW30o8nPwVvADYYx8igI
zCF74AZpwtazYEdtNWsb2UvB8gzDHRUVOyjDWKZoTFE1QZXFjuFE96gG9qLYDd1Oit3U7TyxG4ud
JkD77SJjZ3U7p9u5j5pIfUdDV+wo71FaATtrF3KFPKqAnz1vK2c7zSQBba9JuB3oQ+TbpN2yb6vC
bQgUy/FJUA67peJHDbEv0VPHvoYzkUxAlpvThqRQauw3lr4UGFKqIZbwUdC948aPSb0Elk/Ciud3
yZZScAKrpephqxkQJLeesYXVK42t7m1HLhJiM7lOuCQgmnFtcLW4fsTtYZfAoLJW3CnLZodhq8HT
+6hqwom/w1Mz2LuMy4cLZ1oqepQ27qx65407o15Kp9ue7KZ613ONJLuWi8XdUtxp3W5b42yF4ABN
uNwa3daIltKjLTYTSuv8At05KnDWtVwmyVLK26AzpTS1FEvxf14Vmb/rvrhjO44pFgUxIhTH+U0O
k0z5iLmA6MpkWQAwyDtXEbayUR8JGXU2sGHS8+PbMUb/f70SWMKw8efVMxS/B+oNE+YQvteqDi49
oNRVls/FpyUxX7SY8le5rREhrUn75LlEgo2c6omITfYN03PSkBkyhtEVRR5j6KgD+8jqF73DEc4Y
zRvVuivb0b64qdEBjk6KFzNbJEzz6z+/E//PkBaVNIoRg8Y5nVNWif+9iEUlGGaYbao1RvwY1RT6
/NoMhp1jO2/x8tXjW0bp7FByUKl1jKJT3x9LTHn5UkF+jI1DHxy89iBbgj+Wkt6+6PYhDMZun057
z15K2nsnOiw52dWBiGMEhwcjPuqPcuejMx+h6dHeGbIT1WWnHoi8uZRH1Fp9JnCtrJfqvHNOWIa3
VFZc4vGSFBc1rqD/hOMlGIi/WSrNYIEsFbJt7OEHX90UsvNcSFKl6tHQzgObp03Ipr46BeEpjJbK
rGPXA6A8yvzo5cfIOHTBgQkvmG8zO8CNsfkLvb0mliqZL9ZLsU9yicnhL+TPiw7auFTpHER8zJ1D
TgfwUSNxfvOx5w90j0N3Ao7bdWxtl4JJTDmsKeczYJyEgfg5LxiWn6lovFBxcdGGSygvf7gK/j7A
dNEKoU7giU1HWHeWXcR/7BKgzw4BSO1q2UiGm7DXCHYycuuGCFrb9GVlvoxKI46DbOdPlkDvDkS4
2Y3nO47B7LnMqiczbKbPzKgUybXgAUoUspsBeZk/6pO8daFxLGypXukPwOvSuHWZCnPPXHDHik1I
C1wnWPzKD5dMkKSzfrZN/E4gcPhaC7gvgQeMSQStj8/3J5jG/i9sMP4Eg289msw6VRnTOwlr8Rfp
Twfb4qbWDkZ9J58EzVDfaCxd63wFL6HYpDZYBz6moNuZ+JeyfQsk7pHOoAdDa8FcIoQdBFBme53t
olrHBZgxN8CcY75HETTVbu66Y52FT4Y7AAszVAsWx7SJbdQG5MrxR1o0Eg9jdgi95tqYlcY8UwK/
nyOQScagvzeRcXQ81n+Zli/+4CXns4qcr4YWMLSczBvESTJjIn28Pw5JrQWY4Fg2uVagvzhpFN+6
pjiBDdRfVC0+eH8GXMc5SRnIO4dciTPTyZfRmfRjWSkb5pKLEZNb1yGLG5CWWZcfzcEbgWLHzUvz
C2+Q2sBJFffHQZvC4GiukwGMThdY80lvLeujck6sgK3Psg2q42SPLiyaMP5Ky/RDJ1HhSrrbbQqr
ilsqgXLG3Liv8Mh9W++bJ5ed8FOIP34TpDVuqyhY3P/51lAlDLqyuOY4+S4yIISrskrnk87BT0Gi
2vcRf59KrDBaBfbFcxP9DzoV63eRFipgIXQpbN12+e/3sREynywWY426l2irtZTE9I6MNA9TF1a3
KTf1tZUK62wsB/zmE+5hXcAbtTtyz0uypdfVYGwdkZMhVjRszhID8Jq5TJfdc5TQ3a6Qr615o717
6GFaGI11MFjSL1mPk6usm9uY58GgdROUPqd6wVynndscOVgTJ+abYii31YT+S5rKWDGyCj4QdkFi
LiIHSU8QfBSV+pLTI7tbLlLfP9wb/vaw5P0xBCpN5tmGgYjqtycEuuvRnaMIO4bAKEbMEB2zTLEX
1nRIGBCl2gCwpqxKWBau/T0e3fSnl9gbguyGb1oPmyOnR3mjqcvIgmdoxnh7RzRgdsMoHmxE4hrE
f8oPjbvQtVl0WfgW860ZzC/hrKOucex91RakCMmxeK5p1zHpat1dJsT04gb3jgfu9LNClQG6Y5BP
DUK+K1yr7eOrNGi/0aiEnoYjeDVFDjr55V114gBccmjeiggIpt0J9oZmq/t6CFh9cNFibUgIfsmG
EaFgwh6B9Fw00437zYyqp8Iy55+ArPiEwBQzZPw0kmvU0Pfa6+NQ7CpDTmd6QPEh0bGe1o1r7Wun
qxheEUY36x2R6QMMDniKsMF1wcFVsU+3CdNZb/0qkyWkQJPeinPC1DUFB+YNA8OLjkjmGCzfU5CS
pOANXvWXQEA8du29wjR5Dxc87uxNB69QzTK8bS4wPMn2zcXBa6z6YiDi35AfC7DXmeW+1vRty62x
rCTRfgapD/SlzTfBsAxnKcu2Rx5b21lPWsEdxZsTsoN0gj01XAR1B6zGrcXri5bg/M8g2jLkb5xn
2RYLfE3An6FDtioUkactNxoI+e6+J+xiVS5RuahZp+vCtCf4BhgT1PALu20QBcxmSxNOThSfdG6w
J2m26mQsr8DJycM/X+L236TqTCb5zEruADbH351PDgSMrEubFvaHaPdTlfd3HLqrvEN/1S8psxpR
Jjstdg9hZnwd0J5I9uyHuICpiNTs6TE8xPQnzpmoOSyzxMeXgHr7Q+VWPwruibVnfauGmrWtM4ED
blLvlrtYvHHe2AcCs5ZMgColZCVMiYThld5BFOpjfP3IkPujNidfoqBIztiHi2fmw3SPHTZvuKQ3
LZHq9150r0Halqe4Ldx7IAd559qGRaS9QXqriB44QdMfgJlaRC4Qvt3n9MYNfcnwdI1LkVTmBqmB
+4fV9t/6vSbOXoloygKzhi7/t5bAQAob6g8iJaokcPe2RbyaJ34VXagdbFAHfziZxu+3c2sRQOuY
2FjXOwgCfuvKdvUkRCAx2BQZIiVlWSugae33ssYPH/eG9TzBhwKG0tJah61rm0bzPvV+U1fhh/ec
h+59dsfgWNWCrr2Vfa/SDE5oCGoLzKvnG1BbngDCpLTHhj9YJpy/dU9QCz+Mg4TnICb7fV8yQKeR
mQ0ry2vFeeDNOZbzIcLkc29KMkPxSxHVSda3AGXPe2ceVVUhryi7C6RvtGMsh3KgVdCnwHNZiL63
NOIFozsFCam7owO0Mcyzxay4Bfl1FtUkEvbpwZq6X2j+4x1Ln1+6MtDlMY1bD61mrCFaFhvB6Hld
OkytjACvS1KrkzaDnxwkezVvoP1ryODdgWqQ0TGJcyhepk4MZ1errTcQGV6ICHJdjaAmrLLpUjmN
QwqCbm9zpeP0rhOoYTY7w0i/kHpTbYckA/tbYvfWvaxfM4gCDiqs8U9Pt8UO+t8iVYADls2+yEZ/
g0r1N4l2Khj9QS4j9dkRV5PDJo9DltwzQLmxRyAODhOucBgSWwg1Ya8z5dxbKSxcvPbPORkxpKXU
z5Ln3y6oELNjYQMFWc9Q/2ruldUIsLMFS7YLemWcwmz+wFoMFDwwIICBCV5ndP6Obha0F9vz3NdQ
JHsj0Q6WU+IgSlgeQUYqDnbTxDtzMLw3paqX0o2775myvhvjC3nqak4E4cB1TNJenf1lqPRuBPqt
tw1vT+SoRroK8HE3MsjPzHXcbFivPMzwvohLcRd9fmOub64YPDWHRAX6M7mc4jZGa1E1QF6V+0yC
8YkpoVgnCA6OpIFqx56xzd4o60M5DIw1AL56RwcE0AH960BiWo4kBZ+U6cdw/DeEBzXPRVrjNjdX
zEVhlY1O3l6zFhBsGkPJBiZeZOXd0NWZoU71hrNMPDNMZ8xVuofenIlWc8StL9z4DVtGfTAMlBAl
2XQOEpTExXbYRibiRq+DcRdKQKSaXr3BYcfQwj3jJTYRnBZ6ZL2SjwHfmKv+piUVEQ5uvNdctzjN
1tT+SZa0jLP+WwXNklgIfFACApz18KD9x9aqMk3E1n1ZQLLWX+kVi5WeZHSDNSIZyADahN3Q7M1k
CXGaUKSkQcZUtbFrP+nqAJlBKK+lZl/i6OjghfhEUgPpC9DJAL2OZLxY5ntEFuF5apGWpjoGqyhf
Fy2h3ZBykBhbHVb8D0hI3l2SbdPVHm+YLmntV0CYrdj4yup6m8sjxM1P5oAlfT74SyOpnOtoAhvx
zw9bnNa/vyHcnnXW21gtF2fY76Y7pxo1K88FU1Nysgk6TPZxsgc+Ytb7YdojtGmdfYfcJj6401LB
BPL/QNKVmxxLcRzVkQisIjgqcSwLdHynfjip4kRemwZdLDnPAzPlM1Ul5yZhw3V21VJ1eJmNM1XV
ly5cqsHz86i+xti51PQoM7joTMjII3ocPZrowSWvrgzMoBSJbFtXV2ZmlKquzMy6ihDTa6VdqOZR
rXaheu1SLj1+X/H/PGoQF2oSy9BMFxeGZk50MVmnLanmcMSWI6p0CvUXXoLKeUIIUX2ZoBGsa0+V
T0QQsQPRp+SlnABwKCha99muPioaCOYyMtGqM/MSj7kIL9A4VOfIO9fzWSPK/VFGftEfNQ6XiTEJ
WZrDpR0uzaOUcxnTKzOTPr2WziV3Li38WgZXKUz1S5FC8b6EJJvZSz0FGcl1F+dRWnIlglWS2thf
cNnO/WV81GRfTMnT7NJl/1ujPFN1dnHGcyvP1ng2xnNSLhWV54ng8QAM9SlDeypIeDy5zUnGJzs+
OfbRjJHuHXn0UohvZu0waoeUR7V5sLtDlvjxx5CzAz40wb5jesbQig8IUDFtVxC/Ze4scyfV7p8v
avyi/89F7RkWHRT0kywOf2ug4NLvLc1pGrJ41gjVCJGUEE7hg4aovpcywbcxEqbNPeBi2PR8TgGC
Qq0JfTQLBPO2yp9I9wGwqXwB3U35prUUpDdKPirV/PxRgN0ovGkUNM2OS0zzZbbFKkFNjwKa0trL
bGMhV9n+yJeE+fG69QlMJg6bzIO59S3ie2PfKXzgBEnsRyaqlU3yKHCq/6o+3lADchprbXhrGCVK
X8t+LZBmPAoAHFEuVN5vwNu56aaF9axvmkdV2say2ff7ZM27WNl57tT+XPuIL8faB2HTDb4a/BYh
jOFPLmJ4oPx+5y6lHgXndY5xjvmL8Yl9iotbYan4USGqAbIGhG8+ShAgRv/ng1Xd0IPDXcoAkIX7
LfGnxPe8jfQ2JZBnoOsWROyNOW3gjgN5i5OlEmZoWLv1NSCUACyVjraI5Edu0GsedMEe7Y+Q65Hz
unRSNla9QQgZDQhGkApvBrGZxMYI/QSRYeiP+VLzowbOsfKLd7KWdEIrLd9QPi4Nc/LtifAjX068
RUR/+ARZUawyloUGp4zTbS9VP6qYfUVk3Ox3OOPbpVrCzQkcLXyI6dQEOwLqToywaBMTdOFuGCRS
YtyYtOUw1RcAfjcwe2F04QYjBA40r9MjyViOCxwYvbSxLiQGKLCDGw8vTboJqk3SL6X0Ta1vTPCF
bPM1fsRluYGaT02c0GE5DpThN4OPr50jEwdl8JvAp+a3WgqtB0WWJwKoKd4Wrk+GKJXwf8bQ5fw6
pqviA7WCTCN6X0p/7n1aL1Pl4yMBakB1j5oT8DmweH3gfgU4AWtjTRtj2oAJbCAFlpuI88rZDfB7
rgUKAKi/9K7WaF7/+Ubg/s0DJxfmBwQHWwfmoHvLauA/n/ZTleWybACXQctaxZYevfB0jl4Ccs2Q
X+V7enfR1dEg70nIsYcO2sOnJp9C/FcBKWVjZs5P0jVLkmERPdgOz8g+zC9elq4thJO3fx+yHhGk
lJ+eJBTkE9WlJj/n8LPuPkX4aT6qnD+IWqTU/KFlH4713s0fZvPuWksF1rvkdfBGRdObR4rpUzK9
qewtm9667E1ar5RSr516jcLXJHx15xfsuHbxIh/lyudoWCoZnk3rSaXPtvVUmvuscJG3lbm2jWLH
fUnhMCCfDH4mTly8dd28b9J+uONNwxPZtejMM8t7/ucT8XeHMSAXVluoxNkQ2u7vWylIfQkxcGyq
7ULerGpSp8dhIsB1hJWxVjRn9i1Y63cd9BH0b1uc6jr5gk4HYt/IkHLgQYt0B1ZcoRVrVaTJ58TW
e+MSokIXFYOa1e4aYORbNI7JAi+CN13m+lOXzTzRvfSUE0L79PiW4kuoBylggTjyDnRG1QWFtGAG
GLsvoCsAtqJtJAPkvVzIU15T/OeB0ShTstkgl3VFA5nlDG5+MqjCI/0y95WgEmLG+4Z7SEl2FQDg
va2q/K0Zic745/f14cz+r+UsdAEDXz3uANNYQCX/fYGPjhGkS2TOeqxdnnP6EF5LqaYDUldq9A70
mWbvUIqlkvZ/K8wOkbdPHlUyNRF77CJEhXEcEZQEO4sp6DU3d1q/i4YdG3Tsv7Hcpo+y2i0jBfJv
qCTdTvXWIn173I7BUj2ldu2jpnknnaVKBB/xvhv3ZrVX41KZvU+o6hBGB05gEB56+4Cwh4rHwxij
NMiibheA1To/DqV2IKTFrzt8tfDfbh3h1H8YvMi/9UbwjCGVwB3sLt4V8zfjWOrEcZvWkAGyYlH9
ChGdVami8+Te+26oGepW02fczJceBgZjbdCvtHrm0+PQNZnODpHUthqex75x44EuKwZTlRnWt9YQ
60qN6caaS+bcVZje6IMnNz4PP6JM2Xv7/771+H7TgDMpJ9QIjx8UlfVrNCa5dZN4q7wC6mNX5xhK
Z3EqOG1QAqZJNJ+eRoJCnozvXph8LxW84jlBlt4Nxn6MYtLNLJtRV8g+ez2Nzr03Fs5mohdvRqFZ
p64ncktriuJNxwN+cb87qoEqz9T1K4SZb0E35d/HNjj3Lhtf6JYvjz1PVWDmhKUh9x7ZAjbxaG9C
GfUToS3NL1sHMJta43hJ7SAhgL4kzqLNqz9MTt3f93WGYQmH4akjPEN36JD99wchcwY11ehWl0Sx
1wizncKAdMbnXO3LsE7Zhln3MSVoVVQ2dFQGJfSOlHeZPePnoFuVDzWrR+Fhn5Nmrk5OVCFMzcmX
0R27MnHpMjBsrPBlDnru2W73XHaT/mSHjvaUx+puJGP+yWy7gFJIBsUQzEeupWwrU1ROVh+wGbRR
HTDpnp4fB4KSYVXn6gaBl3jlqj3Zi9oU/mu17xd7BuQcpiDzAm2zIfRmxXMf2WpT5G24VdMX1RkN
mqE+2mFPiLYPs48qezD1cfU+JfBQBzSdVmK4h3rUBkLQjOHkJe67TCCnODDzDoUrEL45Vk4MV04H
22V9VU6ZvcmmwfaTEY1fGAaWX09YlDnlvq7n5ntgFohWdbf51/ftTu1jJZy3MHeqY9T23R9uceL3
DyVnFgglz3FsWWxTf3+Gpz0ZLXBNeChgVRnor344HTueEdBgNueRH0RDQaNQFislQ+PeTDq9sSGw
Dph4rKaxd1axBHNP+KMqqIIv/3wH5in2+w6a303HUSiljc3+7xMZc2wYn0kmMoPBEq9Ha1hoRnYs
Un1LQByZbWIWMFIJTtslRrqKlRV+tEkRM7OZ32qp9mFRmsfHoYnoIhYMXlnQTYRxzcFpXNoKtFNI
XCyfbUUW3VgE0Zs0GNvEXpmf54wFiUMkHb6qDOI80CevqtM3I3XGXY49MSpvU5dXp9iAmJ6HRv0+
yYJArRJJFckK56D10l3lEYtM9mxCf6cw32qsA0HbnAKCDfA9DUzEjJxwGox4h8dXjwPY4hzVEU0U
wr1MgHyu4Jae6a9BBH/KSi0Mnx4PjXqO63Vcj/k5wZpz7gJJTJOR58+FHDehMXZHYZUGCiRGIZ1T
fGhp/bXl/oRpjPFlJ2R/jnSFEdfuzScDMtQaA5/3UYzu91jGI34vEjEzzfyITJt8vVRwBzdG88OZ
28J3W8Vz3lBPjc3e3xvqaT3QAHwr5F/o0PeSxMJWVvNznXCtp54XHJwucE6OZiTHGM+FLVDmaGUg
9haxTZssyowlGXN+7lQudiKGEeXkVY0pPrQ2OglbyeSOG4D19g3iO55bE3g6k+rT45VefuiYB8A7
A2UvcfjsLMPUeDc6F/VCW60KUwV0nDCE9zbhgQ+LR+B06H4PIixoS+HnPuSh6g+eqxbSqGmstSiO
kbPSaUplKxg/5b+WFpfAZQTKKjCOWmngGmhletJxVWyHbDb2Mk1qOiYDkXzY0pm+i+gkivZkAXO8
MXEjNnNMvqmSuGEu+/4jrazvWtA9lVr1Hnl5yUa5QQrQBg5Ro0Bf2iYzTo9XlZXNK/pr7Yd29YIx
vHEKBgDSLqehVR9RMmKHY8oJIb42nlFBbMdyREZZxjc1tcWJwOrNVC45G1oDBnzyxvZi5uWw04rm
J5Gp7WVQHR2nosrYWro81Ybwe1RAta/NH3FYfw1PZhv2SMkgvzBVt66QLA1SxdkOOxU8U0Z4ujve
GY2CLltbNEVDcIQvwK2KG6PHjVlMT6aayr9kQKynrubmXiV6dI6w80Gq5QeGcyfycztGjvkkGgF2
tC3TdRQTmA7lo903B3wy7IHKorlpZehtaSi7K6y9AudvHJMBF5Oh3sx4YMmW3ocNagdUBeJFPIJR
69n0hYnCrsYSsWPElW81bUBcXWQMHjBNiF0W2gmiO0KQeKRDCG0msBGQy8D2zj8x5tEWGILXoNf1
02xkgEc6NJ5OWXV8BNzh1ppXDLDi+vgiYxBD6iAAoIiJ3BUePKqFiN5dWhT3gcn6FWQNTPvGk2tG
OOHGNXIdAWs1nXRNooRqnZXSS4cERlAMUTCiZW6WaIp2EgfNcMr1oD9s5tidtRH5z2h44SYIuDKt
BMRnbrRPRWim+wh0Krfsbq9XtSSxgagFMy/qbVUumcuOyH7RklT0IUZM0Ycqnz6jMZWXpPfYQoY7
O87VrkLz+gWRG3nQaWG89W1unsb/O2TMiVY4eAhE1TMC1wr72UyK9oaD5Z1U9fybw/1lpWXItKXC
qtUkZn1SLh85z9VQgdvliyUqQj0xN6Gmq+gU1MwOgOe13jklA0KPbYNt+DRtW4Z/h1jatzkVBSE4
fXEBzoMzykwJtjdC/gWHafTsKvtESLaNgo2FieyOo6wxSZmEnqXy1+McVDboPY9zvKmaPHzqgnyf
onUYpfupVwuluYGmNQ7GLxeaK9LsEKGe8d7T8j2Oy6HNkMClcB5W7BAwkxTQHOoR4LQ2SOuapfmP
KXPk1XXT5MDnlCBLzsIBFdAAQk6Oz+6k1oVZjO+DN9kbKfL6MLSV+vR4JMeTi4IOGcDIxPLDLQAK
q477gmV+mAmn2dRbWoIRfQusFmyX9HfSwa4O7kLcbzJmTD/eW6XZr4QPXMNqItVLifot8uYj5Huk
u0o3tuRVlFexHOx0LOjEfuhBb3wEbO3QSvhAfudTjmJqV+rOvE17C1NUW3zTy+4meSLfhgfPboFt
awSFiNbrz3GW1AgeS8cnoGE4m0jEDbdKn3gW1CtTsCc1UN9Kj14K6PnX0kFEk1YCVV3sAEpUvS9K
0bxYGDUSLQ2eGLfBLwIJuUWnV514bKDxZ2W/nb2WoEfcDpNte/eJ5jLAGGzA9bxo5jWdzjtiX6D/
Pwv2GplVYnuLkFuyXW5P3ZB+GBrG5pUz0k0nfIKO/Nh+OvH83Yx78zPO040g9mdrP4JGazuCjlMF
LIuqYJPw3q0nldB8bdwKRCTRCrmNhaSdOgelsIM5HDilm9fGJsS3tRKFzC5x6jKfzIeDLCQ3qIrl
vefG3wJ7ao+G6xTPmPVvepPIq6H3NEnHKfBFBpustWseS9V7FdvV11irn8ambUkqhHkl2RnD7h39
B8jLG4eRu4PHzlDE5lPmaIdMTRBNG6BhWtCCZK3rl2l5TBPzckrGjyiU7rfUbN+MuK4QlaAWdfi8
ZKjYTtDq1cUU3KkXSrOKF0100+hnRvkkCSipX62A0D8Wg2hrx4lMiDzw7RqJJ62RbV1nxbHNCZcg
RQPfYxR197aU3lEziYwirAmRrtW8m9U3CC3mi+rR+OJAd570mNGiIzu/azUMPTj1z+wNXajR3iJe
rQi96xFyhopb5YCjuDFpqk1FEr05gbi3ZKquzWxIthmO35M3EhOWObMGObO2zm7Qvj6wKil7EHJF
bFS3QqXzZsxjPCNk/1QWWS/Shp7jqOGoR0NyctS0ZT5an8M6Ce99Y2k3ZT1xDRqfk0UQLPnCayfw
tLtnsoG2qmdpFkcGS/rOMchj7DvCRbt8Y8w6MXhFlH9FUXIQbdzTvAucbdjN1dEbwx80xbBPqjHf
Nx07LrBNya1MPJtAgUZeIhGOL9IdLjXZv75eVtmGnUty0hs7WDdkZW6RVc0rzFru1Zo4Qzo5Kfux
QFCZFz+g46zKNidSz+pI0NXB8q/gZRDg1cgYb0o53lotRQtnKQKgFcPrYETcYkcI3tAmjR/Ol3om
b9hFp0UeASDvoDsOOA4jX1Nmv1MjOUaw+X5ihy3JtPe4HJrn0OvE6d8HqeJgT1jOLXGRu9cCTGSl
d28hXtdzaWGNLHPcOIEofpBgFbB0wk2VuvVXotAVkWoaSLG2/+KQB3isLY2M6hIuwyBN8/44uBq6
2jhz2Y+lxq0evzaTZlyjBX2edNH30cDXIIc0YO0o9m1kW0eT62oNpeCqiUKtcj7GTyk2M4xC3V9a
3igaTNqvwEqne5CnP4RFZz/X4uZISF+zh0zWrb0G27mHmOZVb5qatBu9P9eVY62ysXMwCrn52Y1D
66KJiBCr0Zuvra3BTQKGzOwM7omRTGuPDGlyHJ2znIvkKdeNTdL8dElZItPYCHIedmF4fwwt9d7R
djx+zVPS6xZI5eJrBEwLisbwEEXVGxePzj6c3HAvrZRONmE0k8aQDZlId5Fzi9aHVKLHmzkMkXO0
SSYVrRveeJ7B8xkS9Dl2/h0z8YpJeElXn/Sw0m2ae9eM5BE1zmUyyZhnGvzpjqL1x1b0+KtArDA0
twf0DgQKyxk9VAxb9z6WCVlppIGK5Mc8Lx1wb/HNdNaS0Lz4yglo+NKdmjAhsZOo5PU8ogioY94G
+cuYau9GugSgy3IezzaxlGezxGHoQM9xzNZ5LhHE7Y3+R2vN9lUo/AhhmjO+99oVu1+eJZJ8enzj
k6fWAWLRL0gB6OlXjC9URubkvwl/GWThQOTt2VKlxwzOPD+SACrLKm/9QQM7tWWX9tLV1fxuz4cp
M5buP0uZ2kb2i4hTHNXySlXkDumNHP15yjGUZOhzI6f61yGqE7IOohbrPNG9epV0fiMcbbuYq/ys
v1cjnfOVqrqDOTrfYsIrP73hnZRgkyAim1RPhxYCfBSmPeAHaTg1KWEV/IOdAzc2doLih2ndyGoL
35q6ZzpQ1N1TnBTGqlR1vyn62fOloNOQtK6D/VZk7E0K/Fa1nm8JXHlJlx4MQatfohJpSmu58Va2
UYT3vONa5elQJ6OJSj1pYS/M/TsL8a+axWZw08yF85FPqtpCvEp3jy8HWyPZzyaEGByEeyrL8DWU
DU+EUJToZIyOX7kZsPyRk05+nHLy5q1KyWoJ2eKRF4wFptQyPgZGWqhjnIfPiH/UjYCN7DbdxiUI
KM4kFsAo/ymTzt0prf6eZ/EvFQXsU9IUDb8nu/XEwn9TG3iNR3yJJZ0FZ9XorA8t9P18qg0WMrp5
86ya9KuK/Sr7N2+TxpH5PNAL2cxVYb8KQ/uGphw9tlswVsnQusg89A0Mb5vHEsptox9GlBR7mSdE
J0zYrO05915qWlfDXDXvdZCMd04sOdHIsXKgypd6ZEP4+CHkYk8ykQxHW/+wADZmtRN/5AlEqDRx
sYvqoPRSjynqNKYrmEz91Z56pLIq+k76pn4dspBNcgKPEhgw0h4NOiTqWUynDIhQXkyfpojIFoE6
d2wrWSB1nfFGpdmRf7JBRzD3r03BlMCGHQpVE5RnFs1qnzhdTlRFvqBHptCPc/LZWzWtPCt6bqFh
nlHMRntPjvIHJLTEJwF22sZd8moNU3Uh9o7OauFq6yS3Ue+ZvXsnBDk5gvX7UWuEoaz6oqlvhHEQ
t93LdR/h1JRcVxet/pUkAeGlibGVpKo9BT3UnVJP2KBFqXl8HFQb9HtJvNlQkqA5I5QASHiKmFod
OcOfUSzUfh5pANi9zqgD5MN6oKu4Sqa+3kdVzeoJSuttoF34IDTTZqnIi0iIGesC7vYafQv065sZ
aushrciJ8GTUv4RR1780RJRmaXcorCx5N4BwrpuFIoshH0tTJ/PXmtQaz27UB6LA7lzrrk72ChOy
xv6ZpL77PySd13LbyBZFvwhVyOEVoJjEIFHReumyZKkRGzl+/Sxoqu7lWB6PLZNA44S918765BsJ
Ki4NmbtPGmApvFREQshu4EHS3ddlYeznrHicKvHtCV+7DrZT3GbJ4LKYtkaGqifoYeS7dvfIkV+R
acL1+tgpgutUz288D7pFWggzSn198a2RpmYI3ANxvoTBmqJ9V9KgKPA/UCLH1ymFIdbWS8VyUrXR
sEJdRm0h/682E1KJjdsICOit6Arqb1LoIaiUFDUuwq/G6ajKBFiQNoYRQ2sY7wmyfzGWxt4NMK9Z
m1sJT5Dese8DYsPDFMs2VQ6LaoHa6S5fa+x46J40U5ytWVUnZ32ZskpRCub2i1F78zsLQ5KH80U9
TIqGoqzN+SNJ039OpSj7auRQVoJvONaaMzHyJ2MlotSzz4te/uhGU+7wwqRjU2LWWmUxznLHgG9g
iRAbO08Q+uEOMSvWZP5XMI5iQ6OPj0JL6EpyjDxp02NnMki29bT+wmBijZaz8/MUpDSvspue56C8
aYP93Myj/eAGqFVbzFZmobGiHOkPy6aKls5KTjzV01Pa6fQgqueKnkghGfT7IuaJTD32MWqDd3I0
r2D/r//hHTCeQFHEfYCVuuNG/t2RxpUX4ztJohp+0rkOsIuDiX+1x+ae5Jv+J1sH8rEPGlYzX6bp
H5POT+yz7s7QFkm2rFmUF/Dg5YWZPe9VQLu1sk8UxRga+GaXeuSApFhhd7qjsWTmBDjWsTW/k2lL
Gk4gnuP5MsipvKRNPpyl9beFVfMlZviWnb4kD7rxmIFxeCLkIg+l7h5qrKqWGOTOWrHsTUM1ZPYs
OcaCFWYrA+/aEUN89GmP1wu64fZ/75wCY6poaZNWNoY7YkKos7+6kbaPtcR4Vwg94374AJfpvEzQ
q2IY2PcaLNSYN/bOWYeYxB88Vzly4RSRdKS5vCceU2DEitjaGLB1d9mEZCRReFyh/GLdJv6uDCSy
QNybzVISmrF+VY75V6swkjDT9sAmL/5bzC8NXQ2jpjfahE9nZQcQWTPOgUbcIb9VBsTR1xfwV8TA
sC9m+kT4WxpifEs2zBWMHe+u8zQpk5w51YB17vs1NsPWMddpy0G4Y3qCk8qlY0D6NrrQmZviyx2g
tRnKds52kb/HJluZYGkJ4kpqu4jmhoFKrbz+bOIlOpPZUh6Tft4nQ+9TjC5dVMIsvRtXsl2RlXgt
LUce1nevCpTLqIS3sJv9v5o2Zc/aqLo34dmPXZkyxf29UdYXUlZ4FMhxhYgxJ53K8tv0O5J6mrJ4
Mf2JEFw7/gpY+u2VCZERdekXsrg4HOPef/drpGO+pmVHr7Vgk7vJxcmVcVFGCp3ZVg7Z5Rmn/2SP
b3Hd6oz6YkRtWj69WWwJeeLeNfJD9ONM6h+mJtIe7HudP9AnQvHisOK4E+bmfxuOdH15LIIEMZc9
bnNvpl7EZloNb56Bd4BlUnf/+6N0Uuk9ciWD05wLyDLDqRiyh0Vp2uNYiewMruiiWd4am95o18pG
TkuDX59ZrzYnxhvbQhnWa1c0z6Rx6Td3Qk2Gc4UAZ5kUd4CkQAiYVLCmzqfPNtR9tli74MdYHnRn
dp4Rw1Hkj3Rs5Ks88QG+GoOtvw6C2jDJQpJMnX+qIS0vaWLrsuTBcc4C8rylX75aEwuZTub9+oAl
JqvOiEdC29ML/x8lnfbsELGxlT5BfWWqOL08rL3sifAo0StyRXhHGOT9FZy09ky8+qxxD+ojxX4B
WLJx2TQHo9O+6ct7hzgN0E9+tlhePtbkQD0kTRFCINYeAyk/zSJGzhnP4qp6+7Wwx5UixTwsrGb8
RW0anCE/S8qEWIuswBO7bo7j54DQJlvy14mDYTzMS89PjcObZvavQ5Lqp5jxzHOSZbjI18RmTuD3
xlPBRYhEfyZal2iZvp7uf780wLxDIi0ytuzqMTYT/exovbltJBZfdCZRss5lf19yW+zdxCJleiYm
Xc5tYYdA4uK7nKth76OZpWBtPnImZju7zOWLFEx+eqvkMV7XO2dlBdnBOnMOSCHv/YFWXJYDWMhW
nVjAUSCTjLY30pEEeT/Yt6kz30YTNihuMZRNRfZnGQZ2cKiqoFBmxywZxl0MfzDKa9t/kLruHIaJ
gVRqB/LM97FraUrDdimL2+iBPsk0PdjnHUMoFjt3cqhgW1GjCDy3JnjaU2tTfowZgxcWsPNDy0w0
NI35OZOZ+UR1c+dQii6j3WDtmCFDZ1iBZltLb3Xud6eWg98al8OK8ryA2c9Ok2O+FyAAT9mI7mQe
P36/COrxbZlg+w6WAQCMF83uSEapMXuymjqj6c7/2DG6nEw99Lm4r7SyfzQmhqDTfFelvv8iipis
6zG2uNwaEPeubQ6oKhaiiquZDa6mIeIh5WsvqGFK5RavcrTgBFW9DEdqhPPoau8KZXhSWsk/GS/X
eWo/HAvFX5k6PyVDiROdkh0BjRCvlv+D7oHLBqlycphcgkEM3IM7GNTujSwPg9WROR3dCf1C19fL
obY9ga+WzC16IXfTDjNW9PKFYLP8pi96A9vb8Sm/lnqbtX79pGe2jn+u9Fi7qa0i2/r0i8hPTFoZ
dPntNeHnpfTXUEt0JS1I4t0I6z90Vl+TDxzzBH0/W/FTs4SrNdX8+rK08GjCNwxncMz7rhPOEezT
AmwQSXNJdhqe966gkMHn5DWkMcMkPMYLg2gTBCstRfm2LAAYEoT94JES49R1tk4sK/5lhXjYRTjd
UU9QBjdH4dJxtUWeg+L4GNKlOLm991GvZDRnLRga16dk7c3s6IxQgIuKGWLtS/f4++J0ay7sGoX6
+18Mgoux7KJxMje4/khSLlB2t7IAwBqo99rAZP+L/przwAGwt1bb2Rszxfzi5bgEaRWdMIEOculL
zzxr5Bt7TLDzAK+ym1tnYXXaIwbgmqshxZXMro0YA2eO6P/x/iqvekzQ0rIWWj41BQY09Wz3irc1
OUnI+7BIVsBrDI1a9rZ+IyumZKwSWFuv/2ZqPx/TsRriCHjozlHq0PfNhkiS9GxoXnofa/OD1Rqo
FnvdBc3s9396/SxadFhjQQxw0gT5XleURym+vwe2/supLkAWxYAcCkEeViuM/iFGz/u7gSYxMQXd
zcS89p6sYtB3TTGznaYvPmnS4BgzIWja8DIvguhd8u4og5rERq5oPhea4f0luuFeEDAZh1W/oTqr
/xQ9zkvFXdlwYRyBMRb5nqK2Q7zvYVD35uBOH1Udtf4omfM31LnadHIZQG5LOo9jNVQtu4U6iybk
9bteLcQFrpBQBDsafDFGG21vPBBxlGw1nQSSIXNeQKpab3FAfqM+1/6R9+gbtsvemgz7KvUKlK3z
bqftiNligVInCo5Nfa7QC67JzWZZXlwxnPW07EO4sU+/jw6f3juKpbMx6KWOoLMY99Uzi1uhEGFN
IsZLYS6X2TaeDdn1h9+vRGO+odGzTnK0mcTVMnv//0ez+2xMjfkQ+Iho567Ldov0xM0fYT7EQcph
X8X/+szmT+umI1sZHENrCClndh8NM3tvq1W7ft1RYYEeDa/A38pn1SdiOHh+j1C9U69IzuJTkFl6
qHmsHuvCYpvvkZ1jg3XcB4QiZFnW3hEOi/qTCT6jqOqz6efx6Ai7fKiJlF3Hm5bnoCPvbDbepfMq
Aus1Myxn35oYB2ve10WdPAIRLgPQ+auiPr5Wmefe505y9FLuxL5T+n2OwC/CTpG/5g56oiVNxB9z
TIgBSmaq4aUFhFTqu4m/5jZwl+WqCFEN08G4KcCyD3ndiJe0ulETOXdVFSPEsNLkQknf7dpxysPf
L0uJG7LTfXtnzIvxxPH0MymcvYFBLnfv22Bp+nT4I/i0ZpEvn/XiLhGVl7pYLbxFW7QF+mtDO/SZ
pKXsHfUgeDpsktqML63srk0/DJcxJWfcc7sHzyOw3eySCkUs8uRmMsVmlMIiVpcXgpftU6LLBuxH
/TeberGfsDZFLh3TbpiM9I2MUJKvEgaBv1/WU7ZHF0azOjx1SVZ8+aS0wGUlbFGCSCRKFcxjvXQf
Y6UotJrsMKR+8eCJ6Q/Ld3EsCOc8+8gU3KWdH7vMnh9tBrGVS+EeBO1lypFigNEudqC0AaOIpgt/
oRzBCuxICpzzQAM7tB6LOHfV2SWcexplfwDIzVe/L1VD5duQ1Nl2Xv0QMJ7J9SyJSlCIF0R+iIu9
EYw6BBtzxnLT1YZJsOZigaWjVyxVMISL0o0PXZYvNcaiq2GKL1cVACfQe2yMUg9N/BnPduadhN7V
19+v+kohptBSQlZsfz4ueEm9zuxZiZOCScppp7b2MrugLnjJZffeyDE+DmOCS9ZEwii9mLAmpyU3
CSPfAGcQg1PpmsnNLvr0JqBQjlZ1743FS6dwEtBPxVeSH7i9cyXgA/nwZ3VahFLXRwLrG0LZq/lJ
BYv/tLAcDW167gMyBv+JzZ61Tzq8SI2s9mm88sUWc3iyFtQFtnK/l24w9kOiAebNck6uzIAK3nT5
q5avpMqx7j/ZMh3KjphmNQF7W2uwbFarlWWtxtaXUizyTKfyMhD4t1UOPCqMdfx+yGYz/eZrkpmH
ArvUpbH87rPsyeopMXyDTA0htJ61RTXcK4QjULCBcqxf/f58Ljx9AyHSh6qbqltMj7nXGkh/IF/P
EvRWOGpKv02zxyKgd6rn3MM3JVIAPwpDGmNFb7wJ3pWkMI2TjMfxNnD7uUt2VrXSDmzCeMIM7LGG
6tvzio2erliLufVPzOcQ6enSfszcRewXn0HA0rH87scLLJlxN1h1B8KykFdSatSmbZeBQDcfRFmf
nk3XTY5tR6j9vMzaSWHW3lZu3kdSVBVOR5YWW5Zi/0Q9o48UfrzPjby+Z6TPTqWDxDE46bTtvW4M
0Zf0YOh4aaWp31kTnmvR4OgayuTglmssvMZsy2gKkkgWkk44GfBRMplztn4r6gt5OM/oEKqrNXLS
2Q1TlDGe3pvOH46/Vxb7+QPU1YREcm4z5Vo5Epn1h7Rr+Ip1L0CW28Ldxm3+7nKx7uciwzDlaeZO
lXzGv78Lw/J+5zwRB2RDG+0MhkmRVU7W/vfrJWAjPtps2kdd49xDrP2adfYzOUfOUQ4zKy0icc+O
yXi1HSAo1FQHhXJ3ceU7oUFSu066YeQZoasgqzjBvmb5n/XybkBbE1bOcAt4IkIQiLRuxxKCEUJ2
yFR8y6biKkkT9CWb2Y77NhBhgVINH/FOX7K7bPFwPkkEFt7d0LyhJA6WE2v5h0nXPgvUFWmh09oN
DqjR94yFzDyTqzR12NUOQwDccPD7VasSJkkZVSUwK294R5uDdPtuyGMClhBjzR82A15VOYfc1iJ/
uPf9u9F9T1qafcgPPpaWLDtWfXDpcDSNBmlCbvfNX3GT2PbFF/cSn3D3XhofVmc+sALkwInvDOaX
s5L3QfnHVtldJZmZBExa4npDVEyRjMd+VeNOn+K8NPusWraGwWmTQ35UHsEdhEGKV2xX6yZy5p2I
8WTIp3LnUaMttB/1XIZIq+i8x2hg/j8sHjSSz9YCTNAIxgJ+qMg+aIcvhwA275AYxc43OH4LoGkL
Gr5Jx94bbzQzePD/jSQcZQtTspcledGNP0Tz7dv8aAQHoYtIL3Bv9SJKxkd6dg9Mo29/qb/FbJNd
d+4LuC5jgfXq6HcfmdWdApfcGT5+HtN3uGi/9OakowVwbzNGU8/uNgm+n6B6WrCJxADKfESqFuvq
zqnOMIwjBdOwGzUq1iJaq4bJ7Y+e4YYBQfcTGrFFn6O4Y7OdMwLuUb3pVYntZfVVgvem0Ug4/rss
w7ZmRpkRelWDvlxFnXgThskmCPVmSxN/H6ece/zV8XBGS5wcckiKqB6jpiBVwWKsKTKgWA6j2eo5
IWi7LBRcVgCZlDq+0Z4X5szh4harAyGN0ji+xi5auyk/oGDSAveDTfWJCO+NNZjQzQdWNbhw6gXS
sy82gcZ4LnUjlz4l1BLnpBLrW4pChqTOGtNWcZdq1t7tKQidwX8hWu8wE+BQaOYdynBCbLnDRh75
2XfGzYIU6sLkbWsmJm0Z2RcOlnTr0M+fc4J0MZDXhYwKA2n3qKc7UAcvs86mRZ7l0u1y4hcbTnwn
2xd5akSrLl4O7YHUiH1NrrvkHS3n9I/LM21avlGJPes+vKbeujU9QN9gJg2HB0s5PeeBNC98Gngm
PuMxZI3CX8gzw2HsL2h1NslkP/gdTtsEk7ozbV3u2T7TLjwfym3Lg11pZCM12K5mRKrIAkYr3dQK
9n9pjOR95o/+IIhOBzgoGMcF60hX7p05PlalsQlEgouJBq1ro1mUTxNMqGSEEI1eJ8XSnjGgy+S5
juOoRtvmYo138/TYTmk0DDPalzI4oi4sJk4sROJHkCo7nQUEE8/lVbJLZ71CDFC8hFTgP0kpwSAH
1oeqCEoSUKISeJkaHFMsF57OaNpZHm3U5J47ctVzRMKV3LHJ3FdFTDwcqQgjySvBETjN1oCMZ6fz
K0tjkm+7FWeFLVA78j/N/Vvlz0Mw7lRtPhi4tQEqiCKapIhaAOmaE/+UOECldB4m8hNwSfOWgbe1
8IrGSRMidHxiXiE1aHYJtb0xMW/qwLQ73jG3imcixbfMJFCycJArFvMaNrY6JZ5q9ZWq8S2RLvAl
xOQtxQbJKsvCxZXbrGAYcLaEAy96/iRy430AAEieXahrFWsUsvxm71+uYz6c/kzO35I8+3HJD0HB
bWkunC2D+yPFvB0KDHyads8teGXFGSXVN8MiVGnGLqgrMmnf5kWzwyDGTN+UX5n1kQ1JaGKyGfrq
miQ+DKo2uEeBurVN+cF0I5KWuxKnOsIv43Y7pHUJFliw7GJeB3wh5rJN1NYIGH0P2BLN5q5SzWfA
kHY/LA0YXdwsvYry0mTKy/KlRYNTz1ro4xxc/ShWiTpH8+88Qd6Yg4mzNTeWWXyOnEBov3fg5KLB
IjzaxozFFIezODPq91nQudEpwLI+aUSVBayptWp5kMDVjFS9NGp4KJDacfufEsN5sGKMnGa51SYg
jWpipuVdCk//zm38aemTHKidRcy4xgwXkUWOCO4zgql6y3zNsmbnegiipysqRL/2f0YdAOfE+rT1
d5Pr7OAPQOvgWdBD8BXZVKFLNB5sbqLagBdbqp+G7xi5f6gc+SSL8YeMQ1yA5GiQdvVJFHeJzW9V
+CjzaMngthgIV+OkYF+7EVbNTeyFiy0ODSNAwjo3pWUh8uvYRmt/eo9ILFhcdNkUwimw+mY4zt+y
KJjAfNaPqchfcelQTnF+GcnOsLqjWKN8EgYARQbnD2wek7Yw1tBueeUBPv+XHVunpW6jOL4U0Af8
eER5nT9jHNw4fXYAg7BLde1UmoK1dMNQNRPbsuF8sjIXnp589IIcug6SeRNHpRy+6QWPs6FvK81/
HfTmL1rBrGRvIba60H4yoz1VZEo5ntw6s/vYkdrlLFierGmr20R2xNWl9TWmGL5+JLsFI+s/x+xI
BfiZLWhKQ75LigDyTLdLOmc7evXVjYOnKi23kHOvHT7zCSa55t+MytwL1L24zQqUC02oFyaUeO9F
n0koLy+Fy9CjgJe5pNy+6cnEQDKSAEBc+W3SJNK+6Y5cTorYvhhYCMxP+In+jLbtAwSyr3Vixfz7
mEqCNLSCzMKypweqzGlvsuPZGS1E4Mq9GxIK2oJNGw7qS8yEstUWvt0icoMZlyoo6Iz1RkrYUJYg
w0F6W3126CGZpN05eA3gMpkO0E6nM0PRYLMa9YPjiLWpyyIy0M8y9SIz/3Tp3vsM9FoVHCvzJbHG
UJCo3Eh1VxfeW0z9qVbKAE+Uqn9VsOZKqR8aLdnKOt4Gjr5t2wYfA6F7yXB1lbxNKGh6YrkyPJ8I
hhFJJyh5261Tj8QbGPemLkMtUx+dAxPe1NKfxhY8aAMQygCWsrPuNDDRmWjF5bEbbrmf3Fqvv5cZ
2h/JAy+cJiRWMfbAoUsgCMknXMaewfO8b4Hiubn/naeUIQZTsrAIMqaYaDbsVP+ZvOpFLoT09E01
H1rkKpulGf8Ss9mEC/sv9mseujJQntkt8dVx7k2GWYStxFRIoqvyXSercNacjc5yAQGhRREas5LG
exGyXIzPHgy8YqkhvdX/MmwAkTuV10xLHqupdIgpt14laoRe1aTHmMitZsa+yhBA6DsZ+Tr98sgP
UPb8K+3yqUC1HY5s9CQAAD/G423VFe0IyXxxwDcy5/QSCWtv22ufMJP9uI1/8cjaQHtVko1szCjR
ck6vORK6eW/AvM5K/b0P5Ito1Ls++U95GSpjQLjF9TJpHFAdWfObaUamVTrXNPf6cCnTKWo9dSIb
gk+/qhPU8czpO8JvmuwfWnIZvbaMv1bN1z/DzfCNJ8eASgjeLU6duWXzWMzMfxsyeXUHI2fd03jG
Zhxx1zozZBrX11jotVh3cm8HqNFmy28wzsTmj0QarJ8x4lUqmjv4A6FZWiOeLfjQZF2FZtN8egUa
d41UY9NKl42+Gu5ykLTAZg7S7X4q1A3MSCiA7EmmR1ZxkzluK0MQamIMFLpj8+5iBh40VFIzqm6C
R6MxrqBljboVaUPPxtV/C2RGPFbVACdqTnNlYLi2LLL8qL6QcGQcPYI9nM4+K53BWxesUO5q3YSp
W1DOz4Ebxaw6NpnAop5nr+sq2VqgmbAR/jMxBQfaMLzn/GHV+j2YcnlwRjplZ0y/k1iuVowBKvSJ
hboWtir9UIxfwPYeJo9Kd4bgqM/NwdKb6+8iLkFkVy2OgRiZHX7y0Vq22qjaoYMYjde5mc9F4yIG
dBMqDTeNNxNkxyHhllSOFS1a91mizRf2P3e697vkJRPy+vtfsDHOw0m7tzHDlm7xt5fjrZ7nU5na
dIaM6hKJbdbQVqmDsSZlNf67Jppty6A+ZJpwrXXnp+qzPxxz+z6HO79+U5Nw7nG8eMxkh11jjSQm
ypmZrfHsYfbhX88+Cyv7pZ88JGRmDmHHsCndNHdfllMkKJIim6FdpGfGlzLl8zqvC13DsAn0asO+
a/7Vo1OFEwLwQ45iKnGse9+YH031rE/dEuoJxJrS/9IFvW4ePJia/ka+N4RCbBeRxoBt6Iqj12Pd
0TVZhAZrUReNwagPXZhU3nUeyHEf+ls9VHk0Bk4OarNnx3pOe6yQScONXTEvqZnzdmlxsEtcwe78
pgHOjPLJnNi0xmdHlGslQtAvkZmUVnFY6Op7mEVLEz79lO5nZRp4+x2n3zRW98+zty6zt4r1R5ul
L3nCfpelzkeG2BmlAKJeHQKYxuKPQ8r6nHOPuWx3SUs0CYFWyGN+9VyWmj1YEWWl1V0mj0mJAASB
SBDm9oLHAnGWvqJSLPXI8qkOE8v+kCnXQNW60TCxWIQD7ERo5oeMQllwABTM8SNtpNazxv5vWn7r
eTWGPIGh4oESDGu8d6xPiI6fj2Xh1PczCwvf0ggoMdop0mQJYMKAXti/euwPNiO32MA5kFWgQJi6
0Ig7PNaVZYWpWb9VAcWbJTqi+zBVi3z+WzjOC3tz3EPDF3XIFC2fDbtgup7Vwq6CT13/JhmPbbm+
WCC1nSLUa38/5lAhHIX1prZp1evyr6/c1w7gYYTpcG/NVBbIPtPQXqwrDCYuhGevae/yx8TBfleT
vWQbccHB+Axd7M+Q9K+B/Ti0PDHd4j3LJPqQYYAb6KSUU2QkjHaLIAlmGOvpB09zmIm0NfHF6Vvd
GUctYc7OXBnQJOv5xtNPXW16zBGta7X+f7CyyJwKJ1TgNPuYjbCu/jou/Xtqxe1dkHImzxlyD5fB
TB+XD71wVv/U1WCgm6V0NJWdPYI6jOPxMvrepu5yqM0IXBEBaM70MeGtHIP+3MX+EfjWwfFRFXj2
g9PJO0Pm+0RTb4FOLJTrjQdjwvGxsGsc/5odXpihXEGP57hfzSWuw21rdZvF8InGBchXF5htnbr/
SIrkrEyWIc3wwSk53hV9dlPCRedoI1IKaGEH8Scmc4ABGSbeznO4ds0UnKy/d2v7IVPEgvWa/d5w
9nXz1+hrf5x+PozDY1Vo56nC3ZG6T3GhfRIid9Kcl8FkAGEZXwKTwOgOW0+wjheoryfIU0PdsJlt
8DdQQ1jTS2Loz6m/nEyx3PBTnWKMieGkc434KR81jIJ9G1ibSkdRrKU0qvjK96M38RW3e8tDfaLt
Hht0RniI+rnSeRozVXcT+4arBZyvc8t8FLYwPMdwbMjfzW1zk6BYjOrky03YzMulH+Gsda9u2V71
oERQ5JbvBvCLgbCSwr0VVIn4LjSLa8UrJu6D+VYrC7BnIv/ZhsK+GxvYyEaXRDwGKbqhPRkkRnMT
83FY7TttD6oyyyIpt5cbXeSHrkx6FFSCtVJz0QvjJWn79/WfVLivWk1eE+qtxnGf3KDc9r3xil3r
Tjjx52QNH0qlyOqsbOtpaEhGEMtmSi5MOZ6CIv8BL3FpCvKgG9FvJkWL8ft3kAVWzbJ7lIgp8zY0
7ek8DjyjxPo+0yQ9yQZoXDdc/VE/dyRxzXKi8yg+GwoGfbJANaN9BQHUxFQqmTFKxpz+EqKZB07E
s5MhWZmMz1pRfll8sgA5HSEWZlgYynloPdlJd7WsTIXWek37zpDTcPXHjoBRnow25CMaHEvf+/Vj
0mkisgr9mwXEEZbFXkN648v05ib1F/UGY6TlZ73JWwqvXH+3GgqkecA1rRK6q/xzHOR59I2vIU2y
TdnV6Kd6+kSEAnW7m2i5KJxGiEU2A+uiu1Zcb0mtPo2ekkvkj5YHkrljmGUs5CYFTDLK+7J5h1/X
Rxig0Nmk8XNtcxGC0Fu/R12Z/4JE/FUiPeRj9eWZFvYnmpHJbLRwLgysMkvCXL7fGDHY44IIs6GK
Eb9Su3IQZ/98D2IPIFk+LltM763tHvlAL7huD9YgVZT0gtJqnLYDkdTc4jsU3cdlgQIs17Gc3UKA
VhaUI8m8KeODj3MaYml/tARoWxV2mcHsHYZYwdlZL2kP6E7fmCjEs/Pk+6yZh1AWHbEYGiYEQIEq
7ByH3s25TlnzY+Amw1VrvpsTuzPYbLvGs7atVrE6sckYBDP7jnqBQaDq3y0v/5kcTA8G/uCoa4YN
Ju95i5xqiqj17gfEs+zoTib8LjMV+Hkt59GKmR0P+uiiZ+DzyQFFhoPbXXNm7APumqpH+6aBUtnW
gne+8vWTnrmwlicqGLvyT2LwjU2mM14DVFpTeLHZRuLj6UEY1HwK5J1GVdOjQzQrepdpJrlwoOWY
RvHZ2DCWmAUkBiCrUtlTNDlwk5aAzYddLz0DU3DTNj12ZEhiz2RJJmQGh2UM7oIqGLdWea+cFq6v
eZbQE524+WvKQUQ5Kr6N/MBFboPKdMJGcxAQjOgeRkDhbaHDaKZE8b38UxbaY9lzFCmmzEjaiqqz
GVtfvaQaNl1rq6hZIuZyLrCP5FL46cPYF1mUOjWjLvs5y3191ycjuQn6svJ4aa/maXjpPdsMxxJi
lseK+d5aXRCO5h7KshDHvtD9nSyGS7xUzi6ueZh4BuyB2hbbinlfFBQHrA00SLnO0J91IPLDLtk5
CIl1vS/v2/pjzlZnwkB9EFT8SVoBUq1N7uVEkjhH9sjo5GMp9c8hIAey1/g1xgziB7hT3VHU2bH3
6BtCj/TFVKA9jPvKnoA2zLiepgF1OcPOyXSTqHDld8qCNfTB9qWSuZ5OApsTsMy22HIE/FoSN/+K
icatRmhLiVUI79vw31nx8829ApXWIl0fkohc711hKdIhsLeGnl18uK14RYeLhZeMbAjnxLrkoKeC
2EflVjWo9+KrFaA/6Ds6q8pHM8H2rroxuYI01s7fnZpWBPv6BxCgXuh5NFTwiQD6npxam/jW0h+0
bsdaqX2S1VaY49kIlctzt53u5on8wB5QSGhWyc+aayZr9WLNzpFqm17crss7sVxSYWq7TgNoXhLy
nmbzqwTVHE7ZcegpfFRM06W11Q1dKbI2XGY1FyJc8vGlwQnFE2KgbFkBC9TVeBuJjjOzgzRpvDQn
4O2mFVV4cmIQ0DGrVMThlFRKkRRb4joalNgHNuwyJ38bEezjHTHeXPbHNnyDQCbaxpqhU5ewA1gP
onKxJ7oUm9BWU9AUtePGwQsAG+mgKnFiKnQ20GlXCxiqB3dISCUssr+dmI+mHhPrFW8LnX2+1f7H
2XntyI10W/pd5p4ATZDBuJib9N6Ur7ohSlKL3ns+/XwsnTk4rf6hxgxAJFSSIGUyScaOvdf61j3H
0+ZZ7qmcrT/850Y3dxHou9ntLHd1moDlhKaSXgH6YUW0Yh6VJVGZtBO6a9DV9cKO01uOAo0xyWHo
ZYUWDFtPEBuryHDesNV/c8PmJ+Xhuwqjb/gJljYmxTBkbBEyHuvGmI+v/5B8tiWJF4e2ReyXgRS1
alptuonHKEW1KFtQ2Damzx75B2SAW4nqdNlMy1lwtvr609AwvtNUI57QvfgNE7DKZ8CeVnyI2ic7
pOvorfcHxw9xYyHInObFKZM+jyXjGe3oNz03o5UPr9Cpok/X1yMacO9JUu2MMiOAcVrrWvWEoGwr
qBO7AVCUZa2meHqN4vZVVOUqZPeIl5W9OdttdMzDY0VY5SobIuBm0SGlicht0H9IMmo8XAOmoKnU
9thucwInXab0yy4NcBjhM1qwbVA+Zl3nMc1CZ0GYJJ5QfVGXuJNzbhWjrh7NqcdHNY2n0CVKNRn6
W03Mg21A9ZLJPu/ixzhLn4WJOFGbT2BvoWhn/YVRkPHoDT+TyWAKjKYTp2V0n7Lk3jQm/LGJwIzy
BolUW7RwOWOdC9isMUaRSmozvXd6/klDb15G57vZtWpRNfKpLgIEOQnzFqEAbBKh4XHPeSUANXqq
bU0eWhZei3xgWfXHczOs9Dp5bAMc4YmTPNQ94Q2Nd6RZhHLhRcUB5QFeGzuUL3b/UUzhlRxgtJnl
U5Fl5M1h4S4Ii+8nTkYP8l3K7lNY7QdsH/Z+Ea2YijyL0aVbpLnhxLSxudX6wKCcohauh5ynaVrp
3qgiuMcb8u5DcIldeZ0EXEE/0l8qdLTKNlZY3BpII1THoUcRO5wnat+F9iESCr0cbwkt8kUSDEj7
ubOdwqYOG7z3yC05TXerT1hyJ5VRt6bjwn3PBL34KASd73fcbeFIH5yLex6xgQq20ccy26M7V3sP
Uc5jOhtOJayMQ6nkHavOT6Mszo07fgdHs8RC/xTVjOcY56COba2dDNBZizEKManIT7D8z1FHVmcz
f5sAl+EqlPFLX8fMVHgALFyecDS5e1w8snjCnf3Rtn5DChxKHK916V7q0zry1oT2EE4EeWsBI2hX
F9HZpgTfkF+yzcfgaFp0lKaGPVKKSrWEuO68RRXWArIahxU4CnogG9f3LoOmHXoZ03uWxluV44E2
GU0GH3FdXymD4wWCMi7m0D2YPSM8Vm6WRmdr2ukzwZJHr4+IFMVJnBa31yzTDPauBHZUBZkZmWQf
5uNQVE33FuuiWpuNFS+iCkCWP04fKJ6f0iytGeSb31OXEWIzsJMMDU5Mn1NUuM62K4A19SJY5171
AggGXRuuvWOGJQT1rrbnviONquQe8KNm0bF0YQKjPzwNC8dyvmNTXQvaXobKdgrLUW6BdZ7Gz9Kl
Setk0aKbLbSNVdyscFqVMbm3QWA+RyKkbIn9N5pVn9ywW20QJSRJNKr8n7klS3IXu9fWiSLwXdXS
dyBborI5+r0Lnq5BpN90DFmMKEcwTTsRy/pijC183Jn5PnnuaylOTsBE2mgTuh6l9ui2CUY7EtBV
cajH8eYWCfBpkpZxSN8x7M0dZO8JfLmajJ920eO4sPnW0qnYVhrg19Z9NTOybrmE+pzuU6Vzb6B0
OeSde06ku0i7zFpSCUaLtOQRodkdz7iQoa+VkKMYbsYczimkJPau9V2O2K5tliFJNKFGyIIlt737
nPhxTFWArKIp9E8TQVMYF1QWfv+zbOXKnTFKvt4/u2Z77ntSdTv+F1v5ycKQerwwnRNPVdpeldUt
HBePS2WUbzhPqPvN7t4BS0tzhAiF578ObfKgzPCIGOs4RVRdhFAvDDPD7wqVaym5ZpCM0mT0z2Nh
somMaKGkZvK96yxs0HgAGG07PlpMYABmMz7KyZFLVV6qIrj3boorsH4p8XotMU1xXefxYkIMgc+3
+YBd86GN6xL58wIvldMDW9MrHoyNJN13lOi9XyIjWSlHnajCT34Ug+gL8mWV4GdJAEuZGp1y/EXe
odLQsukedcXXP2Mkr2NsPOFKoGZ38vPkmz9Jl+4giaYf9DYAMfWXsbJayns8NmFfvnikFqLKczJc
uuZgcBZS40ECWvd1Gh59fCRUgqAJmtlUnM0poCG4CIlS9Zl5Sns84iMPl12MqSAxNOR5EVQf/zXI
a3fRpYc+6fE7la8MBK9jpX1D88auBFWSeu1wpgdKPSCz+uxr+b1ATzQp8cN/D0020xpBynmp4z61
TGI2hq3TxW8G2lMyXLgOpFn4ANS+hSzwCMahEic9qNoQuii8JnOXanlEJYVsxV9F0WtccmWGpnry
nYKSqtmScK0vCpPRkyHaH13mvpSORcETgt1vyBhMOvSgMfaMtq6/Kcb0WitWtSjvbTf8xUDkrAOI
AeRD/NRMWLcKhtPlzjaHhyiu4LDPmwAxyqNeUkC2pY9tlT9joKaxC8MlhmanROBCzkCydPL3jOp/
UCVr64gbHEpygFPFdWrOQ1SyyGjFNhnYMQf0kUTjnutE32K2jRaknSTr3GjDQ8Uwu2dHtdP94tEp
E4LbnCRFEgSfqg9Zrd0xWpmdWS9KnfYgAsMV7/0hy3KUglXxYCX5xfM9xsiAdqJO5gsv0Va0YeuV
QZbS0vumJMqsqPDxVs8ENiyFAKkVcAqfEEGrcy55zFOFq7igCMvwmI5VsJnyk62Kj6HosRTqVOuT
ke/pjzKvda1yqZgMpzWs4THmoRo3/g+nRZ/tweZbqPTWlg77TR9tId57xtI2IfdDTRmfxA+65gLc
KK3ZKq8thgeuMR4WJjsY7rsQ/mLz0XUssXnMwmQKytm8sXLGQ/JbKcU5dOxLVfIxfc0hQa/Tv2Oc
np8yXUw1CYFEl1Rz4arp6CgCNqNANMRBD8MXm6wYpsomHzPhetPQYy88y1myh92lev8XT36IGv7d
MBSooZSZBdtFf0rig68x0/bpeOGiiSY2X/3EzQ+ACA1wa5yZyux4SOQYPxaWz/QanU1BKeyV1yGr
tY3jy3QxMwc3eu3UYNPpc7RIqTZG1ALbdCFdN228SgcIZn556VP11oRGsEITXoe2Wht23sAMhAtb
AY9LsAzua2uZVhEyECN4CpWI11GmrzKbs+5pOiqcuERp7YIm1now+ZU51eucJprKYC9QbGkQPCT9
RLpeqH6qp4Qd/5HFZRPYyaOWmM3W0GfbztRq99r2YNcZId0mrFqieLJoaB3DUsf0nZnJOi7rgELM
6Xet5FoIIfiy6xPfwNR2a9cSBZvBOFiLgNG0DlSSwV/u9ncKeLW2fPtHlYFezjoff0hgPJiBGHdN
zW2AMWVi10DetiEKFHbJxP7G9SHKVdfMKJgO93QXPIo7RnOHwk21C4t7sRwVYZL9vLfzxqvIGC9H
DHUIriuLtd3k3c5EhCbT8KkTNDCQwdsrQDYgxRtfLlKjY7RqgCoztT2l1WKAwrOQdZO9IlVsaa1C
ieoCgfCvCdC+QALvg/cBqfkhNtp9RL29jOCFrj01TUf013Qx4oQdh7I+Ays3lrYY38MkTxf0nYjn
1EesLWN+dLRVY1TBNktaLmEfdCqIvgguVpA845BjwmHF/hZFfHsaXBAVSBO9aN0UMJQAerCPaDD2
MKCtbk5qT4vCMK1ticV5r9XERJUMC5/dctp00rxoU5L+5Mm0gasjPqOBLHY/K/uzl8Xfw6qldRTw
t00zp6FtDsx6lG/9+hG5T4ovCMIgcKpzamjxQ1LehF+Nb37pvinrvR5+liQXnX7FIMXlG359DZ/v
kzB0tOKsxqeuDNI9YVG0lGMSdArZhEdBuxXJQZhuYy8vX0yZ3v2gM5YV/9bSKErt+vWCjh4Ubgx9
DPvtAnm488zoqFjDxyKBu2EO5JQEBBb5dMgI+Tp1k7BvJj5kYFPxmx5NH/BWnZOMEuSEiTEscfxa
p6+XKZIRUtl8k3niEY7rUkJfQWf2hX9mn9hnMiOPbeR/cNtPdUOZXX2v54LR9hpsv+40AoaKwXT1
3l+9NK4evol72ysSjLLxUnlgr7L6jYIMgX7nmM9aJb3d14+xRQwoeV88D9tJ7HWDRca0eiYUYFXk
JrLrcjc6iUF71D7rY0xmiFMM5w5SMVEVbXEisRg8m1B7VEPoVrG3vDfxUcF0lPO2gFl1tLCF7p5y
F/ynZDmgZUgV3htWtotg6izs0uqOaI9tnm7Ze12CrgFI0l6MSdyVsLWzT+IQ0sAhPht1P8MYfYOZ
g0sGeu6BR7C8t8CDghLHib4qoo6wkZA9ch24/lPhkbIy1dnnqCOU71xMSWSSTBe9ZiBI17Rj/hW4
5C9AHcgiQamIsePT0uRNRGl5T4rpyXAcqAUtqzUeBoOFq4JWbkPm3OQmsptBC5DaDbBDcpM2RGsl
1HuR3CCqyq+RIpRYaRHkM5cWuSpTdW1nfiEjE+yrOcom1Ui1BSH2kIumRi/nosgshnIVV0RRIRvo
1jgHcgbiQ6zAD4rvrZanF8v0kkv/37/y01oBJK9//b5lJdM+c3hEypzUStKl5drSk/q1p6cZG030
gxiqJ+KlkBW4xxgkzJrH+gyXqVpCipCXgMElGxLxw7ovG0ly0BQC3wjEVjntdnQqmoVgaUY43Xu2
PtyNNAZY+RGxzbzRHpjOsxGwrA2MydPAfHU9BKUh02t2n+GyqtPmhmkFlDPgU8QwT6XX5DdRFzSc
5nAxP3oafCn5n0IS0QhSygqV3/UK2KiwiSLn6cDfqdFFgKRda+yizmlDl1YN9FoFWTgHXEiHZLZJ
DeElimv+PA/0y9CGydIbhnEja/aUPQgZX4sOEQvN0VafZTCQ6tfY4ZNHl1AgQWFaRXSC104IjIdX
28h5pjuAqxW0JfpFRnYlNnAdVHq7GfREnvEAh0vLmPC5xSlsVxgQJQ0gfhk7zl+BnxxxII47aaX9
iztApSpGKOW6nPoX29bICJsZd2MHXL6qq5XLfuB5zMeZMNe8qt4gNAJR8xYYefqKgNKJBXJGfRBL
y67sRRnBZomFwmEyhwcp627PdhczyYne7th91KoblxXDCCwJI4yMnqADfuvY1SAOoxF+Y9Rp40l6
THEMj9hry/IPZsl4vU+afWOV0ebr64mH76k1BDczTG917tUXM9FqhKSO/mjx0FhpVZzfgjntFEka
CLQS3wc8p5GidMfk3p9Ooyiyba+ZSMWHF4Xx6TEDp8/NFwa7QdBJkVo8rGjgYxrsvSss7G7jZZpC
f+eCbuiTet36NrqrVkvvZtUfBxTPbEcyZoKePAuWoyF89uHHPYxolcAqm5/URdqzEfL+pEFWkq5r
20EkLl8P2xlv/CiLFZhMgwn5/zWA6g6Xme26xzqYvZmF+ahL5CxTXe8APOEdbR1nO9Ck31sK5SHa
MWP0eny/6I0UEOnd6E/PCs/5VncGeaRv0G2qmPq7wJaRuJZa2g06Z1GHZ0dkb14XW4/2GGMx03C6
esS4nkq3yEiV30xFsLY7ALzN1XxmW1gnp8mxhq2vdeqQuULhQs8aSAz9cLO9Ak+F48DqY4uMKHJV
eTXPlnkbWyHIuveYN5B/jBkTqmxl+iUCUqRAwcC6ZiuT1E9aDR5TaiQ1Y36Bcv6Ivj7efpmeigy1
jlD0rGaYTtfI+hqA4spNk2YaZqbAGqttV4OfaJQxu0oZZTaTRIkvuATyxKXZ7hdbGz8zU1XnNpM9
N47RcXIbegBK0YPSrCBi6SkOpjPZJ7gqZLK4JbPo2Y3ktPE1yyO5G0Y64lNL+SmSag+FrwJCWtHA
QIms76Qzd9NS1EJd2dnMtON83c+MBZPN2NKRhjp8/YiKaV/Bm7zbdjGcZFp250zPgxMNyCUiT8/X
G+JI7PHsF+V81jz9hD2HICEzR/3gEi1sNkhgtIzhjRiDHkcx3/CQJN0WKH13xCWxBuoTvOQ5BJnU
h5nThpb/Yg7aTy5E3ugsk/D9pD+B5dI3I729u4fkEbzRaLzUebsvR51wdxTcVSLjxyG89noO8juR
yDPnRKpT6nTZFhIou4YaDBy5nBA8wSI+GF7ik/YTPNY+l5UZD+OJnkq/Tyh0ECta9DFm3hQbno1r
WzyJejCvk7D8jWqJrWhQ8oJrbtMXvbWRQffNxqps2kpGNRywhmtA5fWrN5u6aNVZG8alP78YS21Z
7yoaUbodxK9uz+Z0mMazzAlZ0Xx8IUOw4eF2CgsH7HQ58P7YJeWt90w2pXyAV2wXvnrsdZaw1CzM
B9ISrwUwOpYoutltDpXMVRtdku/W6dguy5prIsoB51XNp1nJ/KpZzW4KOF3d9M3XQQo65LQxTLCc
fdj622q+yQPSw2iw1XInIAbfUncP8PU4Mqe6lHBz2Ypq4gBO7CEpqIe0nq2l3dEOT+Kmf8qUBTop
/JxqvX5FUInOswXAlkqcPkQ5jCSEHXNsxwhekmbbNbQUxLDhc1nnLzYNPmKPZRclfiYFvjsjDM5f
vwoFXx5tDicqwudGhNlRpxmyQlKSflD/v9JQOpFXvG9GAYfPLhG8dXRqedT6MWSDhatN8WGA4vHY
ZrXkSieYhdaIaDLorTRuLmVSVSwPo4J1A/nZH0RzaQvXvAwCpLenZqMa4aaPAQ/1qa2YQNjgqBqa
tAunU+GDU484VrIWhFCdtjDFDYwQkZd+Enx7Sr3Pnk53rhroJdLP9gbfxGoKA5S4/THSiOVR7HLd
+QXpbwIlonMwgPAjWJFirU2T2KJ+gQKa5J+/nqfzQ7Xx82Gf8URelCG8Nxt35LqVrvOIewNKhBW+
pLZmM5ywdoIh3soZhX8YVRQBP3QvrRXnpzxvEJsgRKFLWwLWmaUsKv/Li5W9tSaSdtyuBqJqRFs/
TMunjG49pH+L0heqAfLgPj59vRjCw7w9ugySnaw7Fd5Iq4yh5/tUMLOqWsO6GAXyKFw176RS6+8j
MrqlRMObVAVc3+hrQYzsbY+w75YEUtHV6Os38IIv4RhFn8INtk4Vb2fF04MLz+B5cJCFQ319/Ppp
mt2RQ5gT6sKfwaAGGl8/F1XVL6qqLtlKZylzyoJpY5CVT22U8TCW+MUCejJ32TgMCWfElKbmmslP
jHMqgnBDBRWjpktdtFnFsROd+VzRXRZ0Tk8qcKZzH8X6uUwcd4maolnRViLfdEjiJzvQb23oir8c
wq7ZyGL+vCtHGz+jlvYqbZ0Nohv8uOXgMZetKk7C/JIhiTgOCPexVFXIw83q+PUrcJcUCUR7fP1E
hnBuvTtQ7X6i3NOE+RPzzncGoN6NZcs7eIHrnTOjeQWgp8+kKO889EHDYJfUJbBo0RWYgdxPff00
zj+5CAEWStTdVp9RS3o8/aANmL/Y5jg7JQJnF8kwfk0KUEaATsqLaAKiCBnsjxrEdiLw5Js7xs+U
1di5kKUQFaTdR0NnaBChWUyV4G0wD/AgrKVa7R3dIGkfgr77Zs+i5lBUNlrGWD9+vcTzrzQxS4SQ
Tq8t1cBcnhhVSHNO+sh067lKtHA1Trq9++LtE3wYrVIE7rsk6jbTOJR7D+Imk0PFDZSm9g6fiHH6
2kAYDfOluCiJZFFT5bBMy2TRjHp0sjp7eBjBh+gNjsY6BUulh809Tpp4F7lRtNU9A8nhkH9mNiLR
EWLH3Q3t155h4MIYbPE+kI0WNyHUE49wv9K0upUyDft9MDIEaX17N0bDvnRcB4w0XKKnEq3dYObw
r6oe/XM0x1UxC7x+vaQu+38nUrQ8O+2vWCribTOjvUOtK1eNa1y5Ak8UquNFL2O6e8ROf9MZdOsJ
fbo4hv74VZpmjQT+QE6zNsGy0nSTsLkxnen/dPrT8V221b+k1hr/iCB2HENIy8Tsbwlia3+LIbVj
K0QHRlvHz/psTuZYW4NVv7i0UPfg76YVevVuYZaFOuUNivVxSB/NeRPuYhQbtTdCXwPhwSah3XB2
2/jbn0MnrDk1N09GP8/2P/73/5Km4P05runiULZcaVm/5VppWYHvd8KoVqLFOLsyv0963a6DoYS2
M7SUb03mr6rQ/cE93m7czJrFmhUNtRnTPBR2t3ZawiTdtPOuOfFsAWyoy9cL7C7mo6Oe775+bPIX
MnG2lonYoQGE9+C771VqMX0a8OrjVFf7sOC5loopvEhdHgFJuheetf+vMSB8ZMs0XDKoDWFJ9/fg
Tod8W92yZEjpnx6+InIcr1TnHu5VdBtRse08Pz9lce1d8A7vgU7XR2tO2BmM6RO58xsCIEKIh+T+
L9/F78kz8xsTuuQbkbrA9/Bb8gyGFTweaPWXLbXXWdNqBWKOqa0FCxijmLnWAkGeIpkLe4X9d1Wy
QDTZu57irAT1SiDkNE6nFvX+hd5jBkIkFMvKccUZ46dNBiZbHWlKb5OZWA2yDgvoNHxELQlzDoLZ
fZiF9sNQS4S+IJxWmKdw2kk4Mw37kz9/VuP3qBM+q21bhq4s24Kw/3sWS1kJUVOThsQpOksCA1jW
G5Muvim1K0PxzdBW6iEoYaMwFToOgRZgv3uLU4tku6I+AaW3Lv3QoCRJaQvS7iPLxgjd65/fpj2n
Xv399rAE9660HR2Us6v/dvvqJIBwGaJ/UuUcvCfUeND6DteDkNqy9/s3ZTD49oK2xwQHMMtCnXRB
fHd0oMGepDCMXWm0PZ247jVI/BHVji4uiAKjlU4kDmAz868GRTJsO6z2w8oOxvZq12Px1DkH3XJe
kIhrmHBx54a68RytaI4YG8BCGvDImzcBaomS4h7pvcvYCP9LGcjkE9sTnJoYYHsZywc/fMd64+w9
pQgFhDN3iUVwGHSR/YyM1l1pNNEvfz5vXylsv583HiYEMOtKctqsv4coUfpGhufFOaJ2pnyELtd4
Iv38A6Adoty5qLD71Nsnhn40Ca8+U7od8s8eZHTMPD5ylw4cBDobbvZMCvFfefQesSyagf3CgNZc
9t0mazN82Y3hLujC4LKTnloW3O0rl/yRg9Ojza/1ceKE2R7jaIySqn23qxplZ04SzNiRjmTwBlma
P0JnhttjRUlCipOq4ZkERGU9Gh3G4A7UjcdehH6/lW5VqMytZ7hzW9v5lkdWezJMUkCF0+903cle
KGJuWmwUN88yoDVlJ6wI9UPbhZeCzcC/Pcv+eRuhTia3jSeW0EEmzMvP/4gljJFO6aL3i6XQw+40
dDLcVzEOzCZWx6wMMeSIIGUaBqwQtOcx98f+1DbyM8kj6NChrO5GUoVLL4+ZYCDAhgXcOzv0iOHi
z1fEf7jhWQCVKW3JuZAkxv/9ndJ1pIGK+QzdcTCA0wjY6AbLVEXGkyeLz55u66ktI7lmt2St8fft
K4ItrmrSH53Madd53yVsEKMPrGz0h9uU2VPpWf+Saa/+ERvO1l5J+h8W39a8av/9bQYoE6NW9hjB
2vzZSkkl0iTBrTYP7cXIGn76SnzI8+6NgUa3HJxhOn29BHlAtyS4d+ZtMG91Nb+21a3z4YFeORQM
GePaX0pxqHGYkpdiXHz6obfaYZwr8jRgWGgjcSznyd5BbZ3gUws0pFXoUxgOVdVPen9HL1XssIPY
2VH3iRt/+7MrW6qarCCntOSROR+O8WAFj6KZD/PrkPZjnD5xdONTmD752n8dU/XseU+1eB6q51I8
Z8kLRy6e0/GFI0peKo1tByLB10x74WDYvdCqdDbPeciLFUPYuwryLZQZ9ZGmZJ/Tc3pzRIJKMO+b
p7au/uVKMvXfc7yENHXbtaVuWqap1O8XPQomLS/JHFoazt7G/l4daHMh9u5TwqIPjAs8ceS1wTUW
njz6PiBg6lOtnQDn2EdIYFVxrqf5GNTZyS7u1yHci5dduowg8qvrsse/ckz0cNW1UNcyv1Xq2k23
4euYppvrzUdR3j2PrwGp7L3h18bd535dJ5yTJ0KjZsFl+lQ3qdibsX/SaHtginLKvV9AsfXzmPLU
Nra5udcAfR70WYd60LqDBAjtIWM+/DoCuAHq4CVHDjc5xuLY4N8WR6eE+3vyvVOhz4eFbzw7G9kZ
ldqIyIxeZ3LhwOdiJpfWudTb3jqq+Fo6l7G7yvhaONe+u2aw4JxrnNw4wuQW9bdczkdA20PeYnlr
ICynd2e4V+ldDPMBeopMX3O4J+quD3cnf4jUvaFRd1Q46ePWKtn61sj47ARulYsjNtaiDmKJPc7j
fH+L2CK+m1o/iy+qnsCdEpTgg509WF+HkT1weBJR4YMr71xlLJn0eYUEeXBP+vnQ0V59HZl9+3Uk
9k2FACBu8usV6rwV3jQwlRawnivNyDS8xs0lDq9hc+Hwm4sVXlqCCdozr0V7ruP5YK/Mk8jpT+Lr
SJALqmNFKKN+jKtjWB2D8EhFkvWHPjsk/YGorzg6/PmJ+R+STk2DEtUwXYnbT8nf1tCUhBZZBQJk
iRnkj0FOLDJi7n49sL8iL7GtLl6t+DighinXIATNi2fVty2ecAGzmehCg/L++PVbXy+wOayzsI7h
aCsAzTJtCXLAspZ00z0gBOyite2mNNgJBiOy5QRRx688wGAOSTFi9zWqYrnjziTUYO4RzL8vU1yi
I3D9HXLB8Nff12P0DU598ClhNoS3IVyRRXf9esnooF3DTvjbxqydxZi/TaIQl8oqkxu9Gban8XdH
lMlrO9TIgdN/qbLN+bT9rTSRJo8Pk0m0gVqRAvS3J3wNjjMN/XxpT/ZTFEfqaGkTaGw6w2Hv8aFH
FBtTVdKayIjS6OptMJNNRwA5Qzo8mo797Np2fKcTFdoYwK24XYuitbEhIbmDbe5dWeAAiubrP18Q
/9xL8s6ZiBpsWZRhOb8Xo67DStGmAwKcFuRSM1UTAV7mc+KRSSFEYa3itHBu4BPwNSn/xS4npFcM
hghkSRvy4ztYnDPxVpq0WBrAIeVs8v3zmzT/uYCanAJJTW8Lx3ad39b5SE6j5RXokJoRd0/uzEm9
PtkcrY6kBcmIvIwocJa0xte9nkWoCvJxGc+2L2QDGhCxN7tMq21vtAIhCAHZWU/Yn/L0B6Jj3tGU
XJt8av8l5/2f1QmnlpVfUOxT64vft+kTowDgamgWg9YrnjG+gZXpq2hbdF6/FrVF4SxYLzwHnBcN
kovZ4Z2MajNd1O74oYctQmcP2E8unHQdMSbeKdv9DMfB/Ld3avzz+rV0g12JtByDU/z79nXQJxhh
ZsuN50htNXnBvuttHaz6njEcB3CYEMs7Beq895gPvHp+Oh/k8U4eBottbm0DULtfgbxasA3CLdmK
jT4fvwJ5ieK1YAitHGuO5P2Vx8trnTC8gZ7FpHf7K5K3DHd2MR9AnTJkMvAYh10YYHSfD/J4fx1E
8v5K5W3svRMc2H9kIlKbftKQ45mEDC0yY89RGHu0w3GzD5u9r3YBsCM+jtrFNNCbXWHsxmanJTso
khyjt02sbWZtfT5IPh9esGW4zlHrG7shx2ODniAEsbXhsPkgfCyiP73/Otp6yzFN84FKNVlrbq+e
UPMG7r9eYuY/d/fzg0dnzyLZ+LIp+vtzJw1EUdHgwCUtcXBQYjOFrMbmZfIYEKUEWfhjbt6ZbBj3
JEo3U5THK8nAY1HF3iN7iOik8hx8vhvbS+kBlyHyaN+CgIUpzItdWxPdU4FsQpF78ue7+iuv+G8P
TUdStUv27O4sWNfV3988LqM4Kas0WVam+9c02fJMMK23Y9xtwPIQGvQ7VWwq7P53lZuCHMmhezUc
euhea4fbvAiY31YFMcazeq4L3EfNHhm/2u+E9yTnOK6jZa2FAITmH/swlweAtS2FLGK2SU/lKXXt
ipoX7Ztfm4VcQ9peF+gIhPEpSTjoR/0kUA7nSDPFvzXx/sNXZ9GrMCzX0umYid+6AFqomSGbcjT3
NMsh3KJEb9vhqVFSnPBV/cDnBFUGHWVSkdgXBLpxzsJyxJyGmfT/45sw+BZMyxU6D4DfL6NYxMoQ
Dcyo6pyi0F7kiRpfeh/ZhbLtHrY4zkotTw61ayTXznflEVzsi+4pWrtRaJ7i0rXvqjVYuqT/YyAV
be9klQmLPZjWppHAsCvb01fMnT7RjMpN5x107intUAAHsgvfklYnWs8CXhKX9nBKU+cddq08t0UF
6hZ54kYnfnHjJzWTqT9/fPnPDS87SNpk5teul57M3y/EkSsjAMaeLb0WYuNUXONS+m/4l5ITuzWY
MjRKt54Nooo3PyzNIn+Df9Sc9SlH3FEnREsFBBk0QxS+qa5GiGMn56CL9yIZFeJ9GNm2hj8wJoER
D0a447objqLxJmCEYfvc56i06oJsMXNJv25N/AfkfM8ykaX6ZFqlhrpnWABWtizkpdb84kBqhQ+v
qdUfRYodFmoqmOXepn/XsPPwRcNwBY++TuyFVvvWC8ai9zCunzrLI6oFg9iizOsaUaJR3UNZFDsX
mVvf1rPtrH6y9FjuY5BiG7ON7cMIqkDmgfVeWJ6zdeKW0JQxTWlZBEwBGcmtoyCu93Y682fXWVFP
a05gAF9DddhHeudFhe7/YezMluNWsiz7K2X3HVmAY/SyynwIIOYgGcGZeoFRJIV5nvH1vcDM7ipR
aVJXIWmkUZeiIgB3P+fsvXYPdkGb7zSlNDxM9NYf9rB/txQu64kGqJlwdMv4UmR3U0LyoVCB3JIN
aZa+dcn7+l3NcdLlKF22iXnOZlFum5iY8wGZQmaM4gLCTH9wmIx1eX3AK+rfjkDrQSPLc0pC0LFw
0MkNWJ8+vxJTOf/hbPNvmuU2pkzpYE3Vhc2x/OebD74lLvgOHKEOcbjGAKCPldtNTbBO1BIeIm/F
LocYudcKcx+GHBGahjFKAwXWVRVLHpcv7eV9THr/w3cGNBTtRJRWLQgXx2XnxlOHkkgQhNCrrb31
dQxa1pAzPuBub3GRHrXASc4MX4cVEU8junzxTY/SGb9MYx5qA8vI758485cDHes+anSVRq3gaPf1
QMfMZsqMCL6mVEmlHsJwOEZE8a76KejWDRl9e+ZW8ZXj02F0hvAy9gbe2Nq+ZaSiep/ZLuUSNQoi
JwLaXpoY7FjtnYG45GgJ3Mg57G6KFj+xC2c5WltqkVzNJt7JFoOgvRZJHe+HUftuhKKhzRo0ZBe5
2O8JWg85bmTDUYFDd+BervYV+mwknnaznSafoINaFTS3QdfIkOGEpYZkZDn9RZpuSRzhs97v0Keo
Twot19PUYpxCTfmn0+Xn/vBl93Q4XtJpNwWjFv3LfWP2DagYJ89dK4501lAiDVQtA1gbNuE5ytEe
IssEn5ANgG+UpLtDbRMTwN7nt3M3CxpP5bSTSh9dBoFfSEOWu7Nkgmetjm16pQQfbCYCjzdGMRRH
IRJm9H0fP5BhF29UR87HvocGIiut0ACHaeGmCJj65uoYPeOglOvBzwWQXul4mo+z+rNyryuj2CFT
fP38aoiFJFnUr9zMTgi7qFVtR7ICxqmlvxqAw/rDw/ZrnWbBAZYI2jk0YQ372kIe6fFEPCpMNpR0
y9ZW3GlxGN0YMxbpJkRsE+v1zhgn9Rhm1Utp6lc9N+iz0o0nf+6eu2461dZosEFIwzP7ithOYTD0
ptUbxv20n0xCr5vhA6qM8+33z8zn1OzLG04TUVMNaemQbMWXBS6WiCMZpIM9IK0HIe9DV7TYOQSK
hs8v84IzcxR050oO7EiKY3L0xPxqlZm1tnLMJnkP4y0Fzv8Nb7NB36GpCogh6T61B+s6MJPhJpiP
xoTsG6vVZc7U4jxE5GSV4GeKGLoaroBxH8yEvcSqjS5I/8Mb9GshwjzEojlhCdM2nF9qpp6EhLxM
dEQhpTFvwyQd9lZkPU9m8cKN/c9n2zam26joR8+AMHQMLH88+DbYGkzg8x9GSubyov78ojuaxcGA
X8a0mKB9OaVZJMhhVpwwt3fAspFEORuI7LdTRQWM4y+8nogsvs6JSv7nBzOoB3ijmHdGeExYAsgU
DWEZ2DdC1+snbq/+UKHGAibEl5Fu4vKbJYTGYxsYUO/Jx95YcW7fz3BZS6h0d2pKvMzoK9W1pWgv
td+atyTGEHYm6/RGXkw0wE+c5IuNJYSGdWRuvablcUdNTExqkGEikffA/4frqMinbao8VWlf7APw
6m6iNxbH3LJzy9xpYXkq1iUhzjaIWlLhmXP/aZP+pc60pOD/TYMbWEXY9+UeVpNaxE1vscFl+hUB
pNiF29SGxD4SntaQh2HG3fjIvP2eODmK4QkJiVJVPwoes4sBa96bG0Abppk/RIF+COkKfMfDTRof
LhrTf2wFCNdl/af786fffXmrf74ViHgwiBozGbsLNu2fN+rYHxelYNm4GUOTjaOgAy5rEtt8NbS9
Lmb6rzWyW7IK+9u4HycewYbQZkD9+7CwEJNK9dSNhLznMNkZ0tkpngeUd9HymRIMyipttHSH+Cy9
qvIRnGlv7w0SgZk5Zbe/X0y0f/OgSZs5KQ8aG7GjqV+O/AhvTI26kHcijKYrR5+0vR8ytaGHErqj
dPJ9nRv1hWOfiiEYFBH+mH3vJMAoJu3QycS+6H0VX49wwVxI4fN6MpPQWekZ2WsLLqCWr13S3oY0
uq6Rhc33VspC71gkQvKTb9Q41I/g1/VjAgZi1TaDj4qXLy2//MDZnB+trLLWoRJ12zksfti4sM61
el2rQJeqMkcfPQYnfxLZOZ5r37MCFFPOogt0NPGdrXszK4r1Yo6PQ5ePO7NqnI2uWDHm0H6bq3Gz
i0RCmM/QrFsDLzxpoNkNnWQd3bsNUAxBPiiKgXIHgEO1w+ferYXTIAYjnWPfhAIbAsPCAkUIIRFR
f85nRwdvGyhrNdQyT6+kdmd7atdPd9ryedXnLSPb4lRmc0oINnNbMrqSA/Tz/G6s8AeSeGFuhJIt
DGtjDaG8f8oXTTNT9WOClGwta0AAhWKwqxbvYagN1+RsTKcU256bRfnCKJX1eiaZx6PIEUdKkPOM
DW0bQXtAC6kRjKDP4yvA2BX9HaZ5U6iAwR5G7tWwgxRkxw9GA9fr93fb5/Dkp0eHNpjKis50hQ3M
+ToAi6OqSCsBIMIQdb8fciyqo/5UgUX10iQPqi0OhWE7ySrdaXYyoUno02dtoV20Av9EMdIWSHBJ
MmqBETnQvXtNyuBJVaX5FtTmMR3M8YfiYN6PS+gXCKb7cjo2ZTCRAzgikGpxH+Mt7HZNET2YeNhe
IPqPK/Qm5jWRnuJiJuXZzq6xGM8H1eoxEH5+GlbtfDBS38LarXJYNmPCOxoKZEkluIUGUW7zzCJ7
06rGa5Gn6k1TNXRQZ19+083FnDGbUG7Bgc/c9Adn8PVDgZI7X6kENvyhl2v+Usc6KEuWE7VqciZE
APHzCkVmN4gTE8KmGfBPiloUNT6JFOhoTP+ZZIq3mWnxtlTiBaCpqHcxp9KUonQ9iVK5ouOzjZww
OOvZhUvLLli8e/BwqnH8nw/t8iUNadyiTBmIIIzu0kKzv2kJDdhCQczfDp28OEr9MZTOVWA+yPTR
nx7t9DHGb/t5Ve2TbtHJWa5mwEGwzYrnpMCx9IKTUNee+/Gl/bzq8SVo3VSesqEhYbEv6rvGlOff
3540Xb4u7bxwchklGzzfNo2Qn184ogzMkIokB0mk3NQWyGaMRNa2N7XhxeEkjTWAajfpNU5NY8ow
jBh6rO8Q8c916bAm1TgpNKNYU9dOe7vVWDMnWmphFH7XnSY4l3Eg3ECtuD86yL2MUMpdrcbj1jTt
kyX08cWEg8HKI1ZlxeuB3tCGcVi0t4GtfJM8PlTifruLRdaiMTU/iLFNXRJejoaC4gOm77Vhtd0u
0Et/PRa1vjN9/NF15t/NbayjFp6wGufqm+Z8d1Q0kI0DoaNaPrRFNZ0y8uSwmIgMRx9mpimJHlhw
wwcZXLDxQ/BtsTMIaHjWWOc3sqPtnqMzxbXbMRI0reFKjcbsNGHTNET2gcJxvG+yiEC3RIeJrcli
Z5DccdZiqpG6Q+vPCJOYMZKF9a6c32C0fuup43gBSVeYZIjzGXPRljDM6Rv4C9DmSodqK07zzUiW
RtGV0zcLTPqGQFR1N67Be9bup8Dw84OlQbVLBpjwf7pVvt4pjMwMYdIoV21al1/HJfzwrhxk3bl0
KbGp+cqj0Q8/wtmge0KQOTj1c6FAI0gkPKWyI1Pq97/ArxUMaAqH/5k836ajOV9GIQEY/EZjpObq
kV+u1YAQYpuQcbtt/MVxjojMnHdzXIabslLZsewF4y4boG/M+AcReD2eAmhAzppIrQzmfJg+tb4h
NmII3hSdVqjfT+Utzund73/zXxYnfmmWJFsKNFo6hczPz1g4kjAMZq9zCeQhQMZiIY0ynOwIffCV
6u+pHk5XpAqmf3jFtH8z2RcWIh1NpWyyVPvLSYcmQDA3tU6cuVr7qHW57xwTcmyjpwSUQCRy6ZAN
e7M95g28C6uatmZloGvJ7OlE4vKulhL9MbCaTTIgT/j9y6L/ciSmgy+XtiuaBPbGz9nX/1LbhBm0
/ZE0MzeclvlxhU5JNiHopMSsUcQadbpy7Dnb1ForEHYCrm+Wh6LqeaVmsQynuRWX2lvz2rJHbxsS
BVXLyb7SDLFUcg7Wxa6nVx5mmrrOELhdB5muMx8zJ1y/yoqlxHkMq4oOneZrd5ZBfHY/UeULJZIg
eM18Y4eci37/D9d+WXTh4um6YThLv87gKPrzDaFmBKlqKFLdCbXgsStiUpjtlg1HXWWR/hYjKdpg
hzgNyEFNn3+tk2Lb//0vYS1/yc8nEwF7iKmtYIjyq2QwRRDppBor/2IQUQWwbMiYu9ZcJgRFGRxg
ComrlHNtnQZkiiBF3yDAix9g0L6FxJy943A7NGCPT40K72bgWL1DnT8C2zC+kwKaX1C0VTfdnDQr
bk/1OAZMa6Y6G+7A+aEDaz2Gw+W6NJrVGDZQk8a6vJZBR4BLhqdmgmR835YdLFvobEnqR5uwApcK
J27vOK161lNd3itVGa905HG4M2L/3rapOxtdFvvP7xpqG687fxW3OfJH2ye1BUPKjsFvvAvgGHv+
qNs3c6gQQ11WjzaYQy0L1YVsnXgy0m6Z0lwNKoSXSc2qHeujvLUqa3JjIhb/8IZo/+5xNSlV8aJR
btnG1z4uFCxwW3NSglygFz8HkpxZlLSfn5VGd7F0NDnLlfYIbfdkm3CN7XJ16X5u973cjXLHvdNu
BFGGzPba3aBvJbM9fbkQhsBqghOLJktbiZKUD40mNn4v7TJNR4WMiZexPP7zUoOjrh/MzyshXKM/
oO/livy9ri2Xqe2BgU8tRp5dn+7RZnKxUwfdzvHJfSOMcjvq25mZYrm1mq3RbAmLKWxmg9uZSQDV
Q7RDZ28y4XzLe0Az0Nv3XG249839PO7r6OCQohwdrOpgVId+PnAmzZzlSri6Y5geI6ju3XEITql+
5GqWHMjlIlpcL5erIABpPtm4Qskjwg2ZXXFhi4yhcPzhLfwUO3x5phxWeGQFLGxL++TnBztv4rKc
oF+hfW7GG4np9Jq4vZCx040YO1JNoji7mOCkh7hwfjS9vkk6MIuhHyUnU7OLQ2yl5AMEbXQX++9G
WGVXEjPE1ednSppOx0DYqBT85GAV0YuSqcadRf6AF9qtejtPpu5VsKB3FXKJS3lqdWIwrFY8DRjX
zkUBRWZqJKn1EaxSOx2qcxAYF3UCIWjIJanI6SwCI5q3OC7nmzZS1DP9X1KuZWm8ZHaeemWest1n
iMXmaB4dj4LLWLX8Y7H4Q0ZJjJ2dtw8CXNYV/g/7KrZbG2uqYW2yWuIfY/4K58N8hSHhuwIhoqeT
grj6bFxr2AlW1AnthSjEHwT5yXOc1QxsB5ndF1EgPZJ0zQ1TXkJre5HvjEuqkrPnqkGukGVbNa7V
JjYsFNlgDcPn1URC35gjzCm7r1t6Pn1x1jLlsZ2t7C1yyjd081ALhM9LcvnD8vpL+wzXBLcBdgCd
ILlf+vwz81bfZgd2NQ2wga2k15ZJ1FzsIxHEdvowGnF4HLAg7KyM7BHazLCCWPGkOTY3bJbrSeo2
57p52Mz+iO851WcPzC8CXSzmaHOhqpbabTBu8dWqGJYCw82yAo88oT2YXuP33ETH25LFgD44Wqut
8e5IX1uNfesQfQimm/kEXexlRpVaJxiBtGwkzd3KJtKFFrmLBpEDFTUyVO+o2DKFjLeOVWXrqRFb
StFprZVbETHbt8P8OZRUBqF5Ytdrd9gF1lZTPWj++JaWE7Tbpf4zfIwvw0S0ZkluAUyg/u4Pr/ov
RwpH1aSmodVAcwrK/Us5o+Up3pnEzt1y1Ix7yEaz/iOSZnYX6yAB7DxKrspIOXfFG47/5PT5AXMD
wWSlr+2swenPVfsjIbH5esTIPo4a3vQR+61jPNaTSRjOIDx78aIzVD9ENYJTu4hUL9VbbOjzVG4Q
t3+2ZgKhvYCoUEF2OWA0sJB9XwzWTt+ttRS/+Yxz5y7OcMtS2U57P21/UGIPm6YvtXU5heI6a7A2
A339HBjolYO4f4BlldlRdI/me1sU012TJadW6YsD0dTjI1DFNe0E+yEbkhfFVM5RE/T347KR9v4P
OELNH+puauyvpwjmL2h9bIPiF6HaV+NB6QRGoICZcTUw7fXa1pdLfl5RvZlRitTLldWbydj0CuOS
zahspmw7KxudUocoFW257HYbkGeFC+pKzdazs02SHQqFLNkRu8MlkADVO6J+gSGGDb2SnW4Tqo14
bmfFe5vUbHUn7R1cYsXecYH1jpJ97JCUux291Nlx5c6uBJWn7moH/dRuUHfcmFx2g9Z8J5sdTRhl
wWZsu3Qn5Vb5vITYkkva98tFQ6n7vPpwyyXnjbA2yN24mnbDpH4KNi0jNw75637JkY1HVaIJbx/C
ICFzl7CQogdqvlx5sVwlCXr8LGvTfH600I0TuMKceRVGJtgux2jeJ2LKkqvPJ+U/38b/Cj6K8z83
peYf/83Xb0U51VEQtl++/Mf2o7h+zT6a/17+q//3p37+b/5xX7C4Zr/9I1fRW100xY/265/66efy
t//rt/Ne29efvljnbdROl+6jnm4/mi5tP38H/h3Ln/z//eZ/fHz+lPup/Pj7X28MK9vlpwW09v/6
17cWi9an1uY///fP/9c3l1fi73/tujx4radf/ouP16b9+19C/I06alFKqybmM2OZWA8fy3c062+s
487yfybSNtXgO3lRt+Hf/zKcv6GutkzagDwflGH0pjCSf37L/JttoDujPEMbv8zl/vq/v9lP7+D/
vKP/gf/7XNDQbP7+F3X4l4IPNQ2NbUtKlc8EDZ0vy18QN8h1cruC1Amxf4K0clRT8xnZ2xWj9hsy
dzGJhDiinAn4T5uN67EqNilnKKVIxk1UKrDYOFwYtGZXqpWV7NiLssJxzioARkLIO8dVr6tc28Yj
IB/oMKvJ7FQS5jGnzVYMKDXglN2oFUmBPc6nyaxd1WohoLWATiv+gKaEj5qRQJW3bST+LcbPvgTy
0ubNSqb0egmMIUSurxDYZBPI21mg757HgDAZbTcWYchBw+DQP/WtRzQJyc2cgvt1ZXbKY9kYB7Iw
NkoUVutQGt+iRul3vp7UtH0jx8s06JcSk76XJziJIzJ5o/HBN7rFP7SEYMoHlbYbyMu1lpBzMJNn
No6IIEK2OM5BES1R6CsEtyCrSKrWU3MC5aOAxOPBPpGTORx1YDMTRDrGKQeLcIBVqww7Di32oagy
iBsdjbX5UqOKOQ1YMwqMNCsMj+EaN7AJJDJ/Sedhh3ryI8X5jhKrpD3evdr4cBABT6angzrNxg/M
hQVyX0C9SfuaoRH1pCl/+BrNQlW20P+mPVVf5CVC3TJykFAaA0w84Kq9Ep/0bL2lOhxRPwtpZZr5
oSANaFZ4tydM8L7DKFoD4JKNMnbT8KCVzZquHImVk02KDBGm9HFxjAKOpOE+AksOTbeoSF2KW3s/
OqRYDlEPiIIEF+Csntbl4PeprcgjCWBtQcPWoR5wGujpiOY+fmV5Ciwaa8gZcGwQZu+R/+GvJBq0
MiEIpZ2G73mt/zBMehIAtB7aVDxr/kuHBE5T0jciSRD9q2q7LiGjTj4NIUgUqkIQbguutCS9sFNa
Dzy3W2k09uJWrbgpOP0ow0OkyHNbJvdxxVaGyRe6Jgu9Perf8NGOOM6pl3IVgCmyi1UiQMdja4KI
nSIj7OjKIZ9buCfAFmt8Ne34FOVOD3BNMqcIPygVEm++ofcUbfyeKDBfdxBTaYt6wdI9ThoPZGik
BGRVpLqDdDuL7ju4rvewqVTXiqbMMwLBzl85OAh1A1ZPf5UYL0JFaKYByC/VwnSVUVnraY4y0ByG
ddJSVicWe3CgPaU0SdY5AnB3cugtaLWdgW2udlScnJSAQjvpWTgw6Qm18/oWOUcm8FuHVbA1lXfp
V/MxbkhjmWuV4O+gesxNEHcQ1CxI++zkKOo95FuEDPcRqROjgrxLTPnODgHJZ72xatoSd2TGYb2c
idZKlB1s4dRj7kFzQCYCGsw8kB8M7G0KpAQzaX03ZXIH7sLZWLDGtwT89K4zQXJsHDhzgwxdawrx
eEiPZsujkefJvgVpyUosFkttvsoz9dKOGDpDYmnmAREHjl03TSZujMZRXemEj6gTOW3l+WuqpC9g
rgCC2x3Uy9FmzJIx2wyfys9hF7LLVW0bN2i6YlCk2UYmSuWF2OY8k7xWuI+8ysvtPc6aJ2YUJE2K
Vlsbr21UaxgZFWVHNuZsAlwEemCHDszcHqtSPiAvIUWZbBWa7ityebRKgyM85yAjhgr8+jTsjaj+
pvuMG/WSjgl2uVUtFNCs3ULLH1IcIglHykGxHhBKHJNOuCO52m7ka6AsndIbSGZ11Oh5wpLKxLjA
IZmh6xMB+eksFK5PVUkjsQQJgO1NTeH29UTD9dO5JQTklPQPSWThZVBa0NnO9zkxYXU2SOnGonqP
Om1d5/bZVNMXO1T2koHIyamMfQgBxI0aQskJbbS2JnWSazg6QOoofOgMoL1k+SzdiiRdXzoRgw8f
6dfqiaa4RQ+IvR/vg441oBvI/Sg5YhNnealS5XqMJbKaSEgwOBG+smobYM1YOVFNSE+uPGkpAQ88
pMHgzY547sVJ1zoCBWwyLUb7zUfatmlpXOScFVurWjHaIYwvA59PXf4hZyJUhPneKc1V1PbVqrGb
67k7KMKsV7ppVjQQU7FS+uuypfzN/KJ2FbpeqykaVzSuj9JmPlSbo+HNVnRJ9AqqIn1UrX92LIIZ
lICnegrScyFYF3QzIMrUFM8JIzmwGPM6d2YY2UCZt1rhXEYwhNXUW+tOJ04hQ3KVjtbdVEJ4rZzg
oFXjkX3y2cgh9jXdOwmEqjc4L6kyw2TU5LYUZYlEB4U7lLRDzXR3SQ+TYAVCvDB2pLoJItVQu3Ni
Qlv6AXBOkzfcjla0LCeEk4IeFdMAx5DW+/IIo15254RXjOWAO3bM8N+378CbGlfa5KaF9hsSMYQs
Po6JjlNw4APs75oAOjigfTSHtGVHFmv29HQMOC40REaUirmrSmyfBvlICJEwlHfNlSb5gVMbvdNA
BoJo1esWqP9yD6PuS1kcme+Br1hPxFBFJRYo3koGSf0pL/KHPoqlZ/FwYcCpD3Xr66jdgWEqaUGD
DIpxRXY3u1O4DgrLdxmkr7pFeJ+xy5pWB8lTg/pTICqCNzA3S3MClE57cvToTpn1D2nH59JnJuPX
V0FdPxsOPCVVcCcmsr2tFF43tfRMswYilJOf3KcbGRKa1RLv5sjcG+YWyrVxZZlYXSbm6aukKaFe
ON9qK0UokfbgV9Pwe6TLG5sCgqJx1L0o6vc9o2KmIKswZpBQG2nrDWVMolBev7AcYOiN1pml7puO
0eToI3AVdXuLfnhaGQQHiABmqd/v/YbZO9yqR2hGUKVUa1uE5F3q04zsmsAO0Om12zW3/RD0mxBM
GdDMcV8sCeJJV5FVAne4pcxUWqzSdQ2BqstJJZULhBVm5WRx0+TRLZJSEj0A9OccMSRtETcP1ylc
GM+mwZ0XLMi2lZANnPrwAzt+rs5Qye+wHdJ7SHzIpU4hVsvraA7NE5FjgOpgsIHvu0wFhK8ZbC5W
FK9s65NCwtKEUyFsQ0GajPlWjOREOfD1fcQW0neuqKQJz8q+iTS+0RpC2vXKPJEW1rt0iWNYsMwU
TGjJSLmx09Ccaa3k4Bg54vukOBr+rcG2zCynL7dK0bp9IMizoj/FqYywu1lgNeQunYG+qWW7Ukng
9bAzg/snstcY/ZPN9A42VUMaG/Z2D6mjSzuQ9tm+UMn3S5xad4FIaG6TLW7V+8qKnKvcL3b6Qrya
wdyzUrlOEDw6XbYvK2vmwNFlnhyZnwDzHSHk6J2yEv30bgWgyGRzK7XF9sYxwvQ/kD5BGWINkRXx
DwpTRf9lUvmdp1I5FEqEVqGHWjOOtvCkVt75YLfK+BW+NJnysHu85VgTW/F1HqZbDGwkbusxlFKG
MqRDcvoIOTkM7Q+JdM4KCINSEtVVyvFottZ3jmCcWkO8bIMWrEWh8WpCRx2EPI0+QhnSjoCMvc4Q
UUdV7BqYTqpKcG2I/ZtFUicJsIaPnNoEMJj5ffEqU/1jCkvaA5ENJqdlx0Gfzdl9E/vWnV2isvdb
BPZ5sXQEiE12srld2VO8iy3l1Da1tQvV4llPgOrpmEj6kuc+KOI3Kcr1lALCLxntcpDiAE3iij5O
pLx2CMWL7CUtF7iwTPHHVMLrdMYac5nQ8R5oQFrPat8RpU2QtVr2wzoX9luSL3smTYAhaNy+0V6N
ZL4LW5jLvjO/xy9gDTEF4CtSbdZGRhsFzxcRP2FGLM+kNlf66KN6blIkY9mh9wNQbyJxVn4beY1v
foxZNp50bqB9M7AtNkCkLM78qdmsypSlQSneSNJ4R88/rUO86ZuM7j9EVvx4Pn2pyMTgH6XXTpJH
0AfzXaHSfxqyMF1r1nfLKVEaUnTYhtJtEwNKWZkxBqmKZCBqVnfFFIKPmdN0U6QdeySivCmAGiZT
ALo6YXyR5lpKFq01OzwV0oZ6MtOrRGbAumso26hrwLKPR9/u9a1oBgj0k+RlNelxxuVhEPdxYZpr
RnVw7RqUWWluJ57hzK/mRJwLJuY7v8wHpp2aVw1oAzn5Igs9D4q5ZuQGF8aCF2j+yLL6TlEIaBTy
MFmC4Hp47Z6ZKToqWEiDvAsrsXwYUsLUUDJuiLh59xUSGK3Mv/LVJPYg82yyrrL3fqykHrmgK/KT
XJ88tnXGJIy0EZ+7pj1Nju8OkSno5Eg4zXTpXJ3iMoziS1ykd33KWqAXcebRKL9zjPFMz/8hGZDZ
afOwJ6Btxat+GsGur8agZX4NjiAlEziS5Yl57jE2yIYslXvmbTfFHH0T/D0rn54hAYmECCqbrPTp
ooG0ajqeDTMiR7e3CDB5x7SJ7MLCbsNZgmSm+Y7RxjpuMHxRItbW8EbhyzqdFPfou7SNlZAfNdjf
RwdZkUjsh4EVkYzYlrIthc5F1T1K+gGdTyMvFcir2viI+IwpJnhSkrMLaEw5vTrSi1zI1Yw95q7z
pqD1qE7FbibKIp+jaiP5961Kk0i9WAQEGYgUEF6vr8UkHBd99JKjdXLKzt4Y5AORBxG5Y9mf4X5c
k2FkkuRhwaKqHNaZTCIF5yCi0OGNTBWahWlcmA+wETTYPYdsm/dsPETJMZlExkaqrnZjiLh1izj4
1okqwC85UFSQFB02XejZU/8iSH4MnnR90Dm3h5FX+GQYYFdcNdawuCp6166lJ7Op34+CYiIfZpK7
VMbw84hoV6M/0s8ExLSJ2fEXckeQc3cRM5j4ObxFzknaAq0J9uoZmEsdP3PDIzIJHg193DlRd9NM
/S4lrV3HdpikV3VBrCiPR3gLpxYaHCV5DpStaaHnGlted5f171afbqSzqvTUg9uukcWkdvraSuWu
Hs3d1d5InCWmaUEi+ntkFmfMrOu56y9g9vzGuhPjfFWFi6qp+wE+womC2zQBjcYIPlhZWgTyi8Dn
4uAwcV1ZRQkMOek9y2qu6kDeZ/GwYcyM8IB9FTrsszoW3+FoucQuqKtIp0mgUAslsUhdR5Hfq87R
txrzTTHeMFg+C0EGYrpWBQyqANH33B7lKL4ReNesKAUunT4e08A+FrH1Q3K2NWZSQcfuODrZJWeg
rJTpAUb5PmE7xGjlzbI9465zJ/+2tJXnqtNvurT54BR4bdr5MbCds+XTewIg+miBwYyGK6n3e6H7
VLikgajKpSqBIshrGMvQEOJpVZa4lwN1vjHtgX5/5b8xUtuNMwe7sj6Sk7mv2PgZYTFkJQ9G7Y59
lt1WanU0g6onLSh4zQr7STPCSzFp9zXn35l0e+a+uWcU/bSaHIW8R2pkMmvCeTiWeXBMOSTgoA/p
nws5r/zCwY7aMaEDe0YsNvqHZf+rhUXSraKiBiR8bVWrzIWM3Nj4EfJ43Ikeur581fEZR+r4iGch
3hVjcptdseTX3oQYxBhu9XmZPVCAM9U6MMB+iAOGI7CEKQzYtlakwSLHYiCAh0H5rkbKO+F62G1g
dLstS95svXeNfgIteAoHuVF6EGZ1l50QD3mVGuiuI4KX0hAHFA/fRl78Imf+VYqOXXjahKm9EVX7
YffOfk7zY98aGFOJ2Qn9773MfswqDRxbQDlT+JUBNQJh1Ffmba4h3XKEf8dR7VhCX+Nl0R6t5KhO
S2yh5lxZDYg6wQnK8y3cvKVc92Rtp4n9Rt70tZYrewq3jW9B5+sL40XV8r0JXCudSWrLGON1a5Dj
jFPhN+s5Cq5wPqNd2g1GhKItJJ+heQrMgKpIHXaKg19n6OOdYuhXifIxp89OeJvoTAuE/cREcVhH
TMIVBBjUEbD/+ihiCVKdO1HSmex1uALkr1eiWsdO9zhawWmyzllfnoCoR+vIIsEgNbfjnLH6Ohlm
WKUkCiyvedM9imgYeZjgQq0uXJ0qC/nFFnExiuz8IhLlsQfjxmxiKs8O7NRVU+hi19JQArr3Q3YW
a3FlPmEaxS5a0dGlB0+NQiOo9unCOCMmEVK2HUjLdToSD1ojd8VSlrmhpIwy83LXabLeoEnCFZD1
GzLFoeuzsDWaTFYO5+uisrYIk29Bt6DW6nqCN+ZFCaDtBYeDlSSX0JmXrUCvwEJpvMDUc4QPPkGD
340cCbyiGW7LrNsUGu2ippj6b4n/Wlh4goW0LzjPSdmAC5j31CdNymmMtk7aMoykHyn1Yi1SkXtx
/5qM5ggVOKlYQN1IT7tNZCDPiZHYLocaPGuj+D/Mncdy5Ei2pp8IbQ4NbEMrBrXcwJjJTId2hxZP
fz+wZ8a6sudW27XZzIZVVpVJBiMAxzm/fG6K8Fp2LJ+R+xsI5SyWNNq2aX/WCGNrietdOkyTWnkd
KpuigyHrEczX3bihLbjdqKmMcVZM/KRO/vDmBlg9UYBEfPxWSB5rrcgMLUv9ZWb1Rwp0e+DJse3q
iROMI/6OKGgK0sv0M7WbO89jB8jsJ2SUbKHoOjdFSJk3IUCvkuD4G6SJKwymlMNI97ZRdXlm13M0
sb7MK1mcXD1MLTzQYZ1Q+t24gQo2IuOlyMIq8HU1cvk4rsWYXXEoBORcaJDlONq40p/WQ9vXK+yG
FDjDZ96alRtCtY1fCZicnEmzrpFYr2u3/YEJz1/1CV2+ZqN/5k1n7xOSh9K5OjUM23e65+btcvFh
1ckPVeAepR9abaw0/Coqd1eZm0EEmL9qzgxk7Sa1H+PTkEf11XCYnguK+FKLubZJoc6E+dQ0nFy4
a06qDLINEme5hMqS5UCcGxoHuvsKFow85RniNiORFR5vKjIob5snHGBlRF2wsgmJL+1wVUWRSQPH
NvLSGya032m/rNDZ7G1kCZAXRcO8SYvJXyeEKVLRHhWk8sO3l6y1GQDFviqIfNUZJdWCqjytAE2G
DPR/FFhtYsvOt+FI9yUp2TgK+meVxc69wQWu5wp/krwafkRtRc3M7mfUxAOsrkv0TBsDVGY/2Dwj
Kt3vjdbI11VbkgxR0B/bmvTlSO9TYh7vw2ja5Vp/Wj54ImLfNRET/YoOwF+dR2OonuXMYY4aZFRU
0bTWvKXV70mROn9YxKertqfS1rLEVk1ADY0Xb+yGK7LLCe7I5M8qjQlPIfcgrFhkm8hHf57aLOvj
D4/WAMAHEj7KTixZnvQp9hn1jQHQh5dylFaOvA2KZC90au24vbg4JzAyt25o0qZwaM3a7LKMTF9h
KX2mN+9Ig6rJIs5WmPkZrezGNYYAAPCoMzZPpFtlSo+cTDdl3H3RL3CTVfHtUDFoYo84ejx9L3NH
55YeMHrnLXFQVLz5aq6vjdNzRwHxbTuPVkY7vgSpuM0iBr+mzq6FK5Dl+isED8N6aLipgX72vEGW
OTsr61CoLILN1byMljdgRK5M1Fx+Z1fDVel+LesMgoITnk2WKNc+FhdQlU096tek6k5WnG4mIanK
JKCTrIb76FYkQXcHa9atcj7ARZbz5BWBvcm1C1syOxflZj9lF9BBHu7LJKfDIrxPKvqtbIFaKGN6
SegzjAqkBIiGhxnFkZvMJyzq1TrpUeO0OdruyhPZgZhfeWvO3oOVmgnrWbOUJHnmsfGT+zZ0hjUX
zFIiBGQZfyREPSljmC7KPGdBGVwl1e51yK2/xJZAlxn12pyCjRsinw4tdTU8tyUPuKd8ZRlVgyDd
JBG9isCuNum9zBBmjTeiK8O1n7Ae18gp1m4Hc0SAcdTmjyQ4w4TRQDWClWpQVfjyG7NFKG077lYl
ZoazxzpkdOeeSUhZVQNrdFKBevuA/6iXyAU0amppnfyuiRc7DD2oimRuSbt4lO1FubjZ6ilm06vG
PX208brquU+72Lh3be7VvrRorvGMXR/iqnR7yNQYZVO3yCKLue/4hT6lDQoPWjRSz1Afekv0lC9O
sHwjL8ku3kLiWg17cjb9/CpC+uwLWVsgtsgciGXfmVzEq2rMb4nItHhEWdVmJFufTW5ZDX5lrUei
pIE0NIGvEF7NxhN2d7nTU9g3qG49VyCk40zrcjw+62Q5yRkCM38OcaT3KKlcjeGJHIiUUdxt9Tsn
igFkIMOtl2BgN5Gs+Y2G580I402zYdc6fnfTdwVFRZAkebKR46mlQWPlZM5bVlOyNc+oyWaCb1Ux
idWY1liLYB+SJv4ivJVaVzawukh/VWQHn6L6aFaZwU3us+Q5kB9IaMK1KY0r0i+5hlzVe5IUnqWv
AQB7O9h1WmypX32YvJbatroIWcOtHZGRLGe4dyENg4/MxIkyRFxKVCES7u9TuC4ivYOSBPOtbzpK
1dcOOeTcC5zGRRmfk7laa6CEtUuyfyqjfIWViZKCngRDi9zhme4yDdYle/2G5AtKA8W0slkiu1Y0
p7Ruf5YtqEkByAlw0zwnkQCTMaVazc5Yr8jBNzcxgxaMMTxlj4zqLGEoiibfTmVLR33QuSs7ZhXg
msV2gZpLYiZjyH4M3PreNi2Qjuo9pB2CELnuCbsKK31U7NC4Z1z8DrW09B6tRu7eQ0RUM1ddCyRZ
ejxds3UZcRp0GkqCbhL0JkxeYUH5CMnRJumgwJMNWroVMttgZ/XxY00tpKdM70Zo55dO0CpXvk2D
3CRPNGU+BrLxDpUVfPQkqS4l5zQbRnLrVYvMbvIyQCX/vWGAHQL11OfRLX4S1pLg2UohKZ3pOXS6
26nMHvyYGgL0QdaA1DnotqKPQqgoDn5DISnMw/kaVZtQe9hBfkyBW0DAsCEbSfKQMXAWFfAJVArn
xXAXhoTBMenFBp3Wkz/vfEV1ZeB3P5EjH41EPWdB8GKUAOUwwM+6RXs9Z2fkOQ99oWgtSXdhGB+q
pryxaLsimPyn9vrfqqm/JrN6B55etd5MzWtL0qgBpuV4M74yINdemvmNtIEGNb3Xraa8Mh06ua0s
k8WNLYOZoF1VFae5CYUW5w64YZ2IPTGOtFqW5KbLF7yzyJay81BTlJs1g7dqzIe0qjKA4NHlrQ9/
+Xyu1sQOimaSHGN2s6IS+766Aqs+4nQRh8JjBh9Hw+LpjO5R4Xoj5gxHRg4zva4KcuG1lx0Sv7sY
QRUc12FWKjCZgfLA1POPsY2ggBIti8IqtNxNEidPTWWRqT+Ik130FHn5kOcFyNStWUL2KuJZid+f
Woo7giURoCVHjUnTm1BZOZr6B9vPyHqN2zfSwbyLT4c3iQTFoeDRt64dbezaKQmvUlD+SHC1gV7m
6pEYWbTtcCphJfdtNz3ls+NeOSD2Nh7hY4czcOWGUbRLFgFqEXQjWdxzc0wzvbPJ8ASoZRT37WK6
pEk979146X0YhHfji2eKLwuTZvlpfPUn5qTGj5wNeO4DLNG8E7NLBv/soBLXK4bSBl0Xw8Uc1/sR
tX6e6GqlfPFAIa6zGvzhAT1eRyFbHXFV4kFMvaWfELV8R4RFBBEIfA9PNQC3TGFP5SVYQcfuMHI5
JZ1trHRtfKa+B0trx+8WwxGtBjVIO3dPC08YM1sG+jsn0sGdMDKh2kWJFIE7c5Mz/65HhC5by2le
68igS5es4FWSESId1Xm2k0H3FmYMgQs3ZbZJeTdRGjf15WMnkmNF1s7aFFG+H01RnsN4nEmZT6jo
pMSUS6wv137nkp4ZtRu4077Od95SLSRl+4pRX+7TgaaRiAgIlcyUnZjjE6QMMAwEQlBmO/qTUerk
itamPLkMlSgPQelNZ6saA1BtTf6VLF6U/GV443yiMYghY6725lCy4Q4OMgI99KzQaOKCpdsDfGBd
DQSrYj8mZpnvh4ejqw4BxWhjXWxrntjHQFo7P6KPdCk6jwPKGmpDH+WIzJfYHjKcO/tB53qH6bO9
DI7jrVDTIltAwAWcjqoIdX60lRnMXj1WVG4UFNU003y1MWuuwirCsj7zNE07szhKz9zb6QhCgCk3
kMNXOsCnGbPYE+PZZRZG2JJzAU4b1KUGnFX4UM6j0k+iAY1ygd9OeZSuQ0+ioJpykLOcfughpjAx
JjCQdOrMto2jLl+w7jwTJPRsdw7DE4e6Ke3wQWqTh7cVuevBa0G02m5NJBumRmaHPG1YTPw03kim
5EPmJVdg7H4/0na+Nmd251TCJek61ri3o3W1+EwKKz1bZiFvCsLdDg4s64WyyfkiexRaji0MmEe8
ohSzUM9NgraW+MG9qAOWamDM/VKQbj8UwTYXwxtx0oqcJ6rB8/5uXMZZs2mQitrT81BDQEQVear2
LxoYKAbuqFANG5kemqjLV6U/bXLHeMkMHxq5Blcco+k9K/Joy33V0UwkXzzJlGzMicAKzE5W8NgH
rz2EXG0H89XwgxeaklK0nbXB7Q9C3VnJsZd0HjQjAWUK1GeCezbSwNrV3P4M/t5exy5PnqpHZjS4
dy6NCokbGvucyg9AlE0U9daGTsdu7RW3HBApf4wXbkSuvxYV8HTlMsD2UYkzmRIMlq+zX9FbO3f5
VXjRquqXIiLhHduOJxwUNZNFMAEoG4j1yJ3wK3GJhvJzNJutPXlHsuOPk2McpgChqgouNhPhYqL9
nPWiN4jtT2nyZK4I9zOr4DSSojctk2FqpK++++qFPiiVexllNp5s7eBpp385lUyg4SI7sdwG+bgf
/7BiFsgyl3tRdM8OG6UGB7eVvAsolNmaA/er2VAMhrIbD0KiieFu8gabzJ4IlG49DVa1y92ecj0e
znGpbfjAutwxITzji1i1M93CXmd3oH4BWn5YfKGQ2MJOHfpuJInjLeVkqBLJY4S3kKtmo2YRb+KU
GsGQDWo20P4RHYafrSdS1AsIRfDjt7Dg4WU5sBJuiyUhS31grNbbx9NA4k8a4UU1uo2npu1Qg3M5
ao2VkPQmMiWY+vUaZfpvoiaCvSTBNSbqcVVOszymBsWaLrgLUBwp37vI8bINZoo9ip2JTAOuUEKi
gWI10rAeH/ooiGolTGabzPRXdOkEfZql3UlmlwF/+2OU0Q44DQdWL4YY7PhqogpAiVtbIMExbfeU
2QU4dZtt6ZC6gyZiWNSuCynV7o0MKt0Np800Gj8IqGMjg3AVpLJMTiSY2+g+c8zyd2u7Dz1h9mbq
IIRDOLFpJnmJ87DdddQFWLTdYo1CveJwPMTeq+nmzUsswEgzxU1BvxnjhHXyanfv0+wFLE9rVxxc
mzpPaFMhFbMX8w3lVVRPN210qJKtEUbrJMiOtpOTBdOFHp+rb9D647+GPlcB8X3EAqfEfZDhdMja
+JQlEMZeSVV2q3Wx5/i5E5IuKbzjpBkhQMkZJwqsUqewNsuNAkZlPG0qBE91susSAxkM1EjQlwQu
qBN/K1Ns56aNPb2ZjPuYiWLt9dQmheFLscytXeqwSWb9ZxgyNXUUo2Wo+FZWEb8GLUS+qEPoPqNJ
kEP0NNER89WYtwb5bBiSxp3NqXeuwEsYPPS1G1OWDrrtsvw0ZulnkKfIFVIWXVvZERxb+lKEWXLw
25HLjCOA1iSxiwPvGoVoHcwCuMVyapKfPfnEXKypeGkgiVuEALjuV44Xnysr/hKa/PESnjOxXuif
uiFzDPtERdgCeaoPUy9uc07UHdz0yQaWWmeh0Wx9cYo6z9q0IuzXswiYqqDdNlxaX0SFUwGUm58q
yt5qEljomnA6iAVGpaTxzQ3hH/veoJSMkj4LaAbrWG2p7RzyEA8Rme/ziDLrgb0avcZVgxQiaADL
1SH0WgFCUAp57xU+MaS11VAplzwTKi5fk6B8EJSr8kutu34Yd6K1CZj0Og3AyMfOJr51R44mPJHR
efZgPck6QbbvDe9ZjQEpJtR+zYefsyG5w2ZiIlz3irtMZQaW8bDfFiHNRAVer8jiXLFRwbFTnhlV
qAHrrW5DbszazcnIwCxcaCRpeppuWocI5BDGwp0iwVQOwG1KWuYoi20w/NFWdxYZ5TtWxL2mTWhq
FcXu1lEehE0WcRuTq0UCnXuliSrflDaVTsLOoTJGWiPjWG/yFj98nr6Zi9C4QTLlubQ+9tENxiOy
1hLqWQpK2yaPoVFHqOrIoHE3+Ok/SyPCZriHXTBNtS3qAKqJ448mtwfH73ukM/ZjRnYpRVcYd3TW
eyQpqrMZ17B/nLSR9s5eEr9PEV17pOh/5HOSrDs8L/1IfFo9JGsOg3tHXgXtxqtyDO97j9E2pwJ+
nwik27UtUb6F6c6QLX20LyXBUBc/ASGx+/w265RYJybkGohJkjl3ug1+UOR8A/uOMMByg41Xo8Gd
qKZdpYWxh5rPSDnNUZdVGCMKezta6om6VLbXtAQi5VpakYWI5GGST90UsRibmJo8m+J3giv3ilhO
pxvhHOREkWzRpQ+S0kD8Y6xjSUa+T9qu+tbQVyVaC3YBWCKR5QfhHNMmCUNEPz7YAZY4U970bXqc
9PTmmt1nA9i/GoP4BIT22VQT7Wh18sQ/j4Wqxvcy/h1WyBjy3H+3VUD8CoHQqyAkMy4ou6cZ1aOJ
5MHJyPyihJOJ3dpTNYY+mTcedSYOdW2sZQUUnNliA+DF1ccn1CO4W42muy89GtrGmcLq8lDPi6Cp
Nn5bNmHmBQMPmTikg3CNzjVPv+BjojGQhgGKFcevFlvlOBCH59jBb8bX9yjIEdCBd2NE532lclUE
p7gJD5NtPORoVzgIIrWu0gEVzwAXVVewMzk0EnkJZblkeRmLwcn+Mvpi50gQLpFyZy1rvamdY11U
W3sMUQ/3UUWtPTqyvg4PysIuoBBKK8c2TlOCG8yJKaJD4uPG3bORz8jVqPRFGxHHm7yovfscJtKg
shRapr3FEOzHTvoEBx8iqpbswbNG64DCwDPblliGZOZkZ8oo2o47Kua9aQKr3w+Wh8y5JMk98+6S
DlBayiLfRR2eybINkdoaz2Qm7zrP4CCc+s08oAMF/aD0AuuzCimb8EZOQt4is0YmY1vEHHUBksGg
4giXbnVRvvwdEEjIwineDEPsAqx7m1E1X0bR7jKfhLeGGJBZfRra/fIFc1hRwukMYj7YgwT5jes7
WgM/VO3etj4aZNI8Hhpn+XzDYJcuChEKp9Z1Tis58GarcufQFc9tL3iMU5vWSvQKvLMrN0VZ20zd
T1m7Eo1hP+8r51c+ZrzLaLf5D6t4kTc7M+BfWA1MmC7zfMEalKl0vRxPhDj8TrzoGnl6wlRFe3qT
dXdOouxj0PlID6R+WRAfun8JGyRmvpoPQ4zulcLMx2Y2cA3a9kfEdxxC+3kIrGw3pktAXtlMq9Lk
KZmVyAxCYoIdf+Qt89xjxh7Br8qQE4zBU5TWWzHHN5KtfqCmcWOSL7iasHPlbEDCOXLlaqRxc77W
Xv05KTifGYuzbaLXh27sD4UpPwzCHmM0ABBd9o8oGz96NAKp0mLtZvY5reqvSDXNquOtg/4xz2lu
PiM2oKJT58+xMaqta4wnNADJrrFhv43Ig7rMp5Pjzq+tSf9Nb2IUq4V7DQi08nKD5U4mD4HbvYSL
4zYzcH+JPiHwoulwVqNUrCdjSUaGRc2MxFt34XTbws2RvWSjYgSizkYDHQR3exV7lJsrsfcz7Li1
VflEqlno6x2Uizouxo3ihlYNokI0puIgJyi9UDUb0aTvvmVeNVjNyim8H05rsnro5JcTlKveTtx9
UzB8BUPFDjE/JcQM3KARBWvUzk3vHwbTeCoUVDUJ4MZAn67dpTuZMsBoiammYW0dAdmgCM91oytI
XjChXuylhS8bFejUIzmf8NyTtHmIiuuoyqexDX5qywtPHhcLtVsHt6DiHbpxWbfFuW0AlS37Y8DP
tOm68NUQM+W2bcvDDN7JTYwrnwCSdHveM51XkCTTp+/0d8U4foRARWh40IO6LsEVrneRBnLquPA/
rak/OYZvncQYpKvKCMdDMogf2lFMkROJufHk7h0jTC9t9GHF7ryjqf01mRKguoxGElMSVCbjzWzc
zCBhQ8SNS/IL294wn2Kdil1p+Pk6gwbaUSZ1p1z/4X9uwvt/8df9xbb337n5/n804S2B8f+9Ce/Y
fuZ/teAtf/7XtwXPxE1HlRfuevxy1HoFOID/acHz/uHh98VgZ7NQOKFj4sj+3xY8/x/kYVmCO8NB
n0+S3f+x4NnuP7AchAhrhUfFMjn7/xML3p/B9wLoH3AFL6wDwQ6B+kfUi3ILtEnEwRChAVmcue+T
pVDFyAGiRs6YOcriUvv2E/uAX/pqrcH/IZy9vd85r4EY1lY3PNbkP86D/NVApa7/5Y38X57Bf/UI
/vkCsRmSOEK6pIVV18Pd8kdCAZjJIiywp1VAzOkqReuGYz/QB6a2nG5j1AAK3ZBD0Rz1GFFzilHC
NmXePcKdTUeVZBXQGtQDk4lzoluO6B2+yVHp5vffv1L3Tyu3CAUwP+UHpu3z2f1Z35aLxURJ6cKK
fkb9ruAT5pgWFuURjhTXXXdMZX0PszhvFG0Zr3Mk3HMDHr52hiCHx1PWwYxFAuzikM9clfcEqB2c
gczQhcX+qCVlaPo9akbr3vfc5qG19ZPUtnumxKtPGVCbZN+G048KlibOO1RxVWx5ZOIn5cY2mu42
aN4EWOvTWKVk44vshnTO4MzyZewqWxbIL+p6bfmIT5MS16EACDlR0vbbaGFx3bwv0EssAk/DmYdH
I+0AjvKZBO2wvm+7tPtPVu0/Awl4P8PA9rhlApp+uEL/mk0xG5Y2W7iFldbG7dCROZNlmt5xZYy7
DEMMXFh4TKvo2E6leUlq92mKS1TSJl3LEcjMvQ+S/Pef8b9FMRIXyeps24GH/nG5df76mqqsNtFP
TIzUFdLXoTbGSznPL3qc2+vQCoPW0o3MIaH7TP+eaV9jSOqnj0KJV9URNfb3L8da7LH/dEr/s71R
cGqYQei7QlBnIv6MPK3LpOn6gsVsbCn39Ns4vik8pIuDyW4vWkU0mzPf4UMCu0rYxFbaKTCwj6Vz
BFzW71bQm2ebUEeiDd2jcsV7MAzhm5MqzExkDpDs6mGxEibq/YL5al7ssFYWH7ueBDUT2QjLZJOf
SztLdn//u/1f3mrShgKfQ5AgqsDy/3iry6q2Mhx63aqp9IsTYBzUJnG3ADk/QNnWo81gVRbd9BxE
n85gQENZvrUrbUCJQrn15u9fzp/hQ1yKJt2MgYXz2eI4+uNiDKfIU6ox+flhwfoW9yZCgApuIhPF
nWOmd3iDnOPf/8x/O/tMDNg+wdHWcgeEfNB/vdqmni5fDptF3VE+G27GYWJXkMwkbKPYnLqZT9Gh
8WMRMgLf9o/dXEMv4/bcJTmh+LIgFhwVWeWYb5YZR8fYnBmEvMD5D6f0d+nIv16IvFJSmUi/49lE
3Wm4vH3/koxVIpUvTceFz3ftV9BK+AeSKG5Ms39vSqQPgEVGs//OPnbotRhlGD14QxthwOneDYGT
rkRGB7tpvQZRxp9382zeZgF3VFPYp0736iqK+iEAeOWIb051S43VqMeXcBTNlfktA0M21evkkJn2
9x+Dt3jh/3KbEToliBSmzpDH5PLQ/utvl4AwjJndavodsvBoWP5+aO36LmdQpGWM1uJq8p8iHKiP
jaEgVQzqvEWpf4mpwP7H/xt1oh5laRlnRUrrBh7dIEkdE3lTt9WdiBAjodZ5pM7vF/az9OL3s0+A
WDSTQ9GfjKQP7jsXHDs01FsUqvKAjOxjiIbmqQ/8/ZxhQcjF+Byi9dyll3oMmi3K1/DwXeTnWbOk
V1u4pwopzmMR2ddoyn04C0vtbAudQO8SXhGL6v37yZV5ctwU2Y2BT5BOa8mv52Tmse9K+4kaUTOU
9nM+YAcRdnyjCtbb7zOujlifyhlGozGH7MBC1p8CD+3oenFdhVasjxUCjsdmCp4Cowx3uUCJHVah
jWGm2vYZ4tjvGEVOzfk2jfRxNJdgZYX8mZNAXTVQy9W30PZmEE5j34vdPDX+VmI8PqQuq1UzxPJG
lh0gTj2EcDp9erQcGxY8ue14ch+NIZA32sJd1No3neBAROGmoblyPOZ25OBf8FDMEKt27Xu40SAR
atcvFx+CfXXF8osJl2qG1vKx9EWeuEyyoBPIdAx9amvDQgZDCyh8O6z1ZL2xSEVnMFvjHC5S9cpB
poEnM7z9/kJ+f7g1IgaasSrjTRqOm1GX4hdD2al0v2QmP5TVqvuCVGDQZeC7KquGdoVyc90jQXux
arT1nRTHwOIEIIfQvokjwHWQWbqXnV/Q7tV7F1DiUc6tvCjBAAWFcZY6J5Rk+Tc1Neus7NR9m743
S2xRYw2I3b4PGJdksTUmpfq+nPzq4KoG+MWFdgwq802i0AERr+f71sFI2phUuQKcWac2Ce2j31vD
zkdKtTam/Kte0okDUsIIY9oPy4VOZQwJvkZ9iCL7aM1V/+44TC3UW8N6gZuf0w6JcJVMP7Syva8C
chWd3M33jRC4gcQZeIjZjs+I7GcAJZyWpkb8+T0IOX7i3xrSXwJ6B+rBe3pTpVtsrFECoHgBAkdW
pVhGdzMfYbZayJVTpiL3nOG9WOE/4L7E+NdWItkD+lsXH4vnriSH+WiRjYM1JJrXDKucassM9/1X
F7HJvRFg2DRl7C0aVu9sePoFVVJ66bTr7VQVYVcU85uM6/lUGy2sJoTuNsEpcZoJg9jaoXT5Y/67
RnJ19hhSl1b5YvlCFTe4RY0cQUblvmkd9/H7Z4vW8y6F1Vdcw22yN3IwPoJNke/gidwBM/wyAweZ
VCBRTdp+u26Csn7mmdKuhdt42++/VQIknVNbeachbH8l+Oo3kTRISMXlt1EKhWagYE6+JwbbQqHS
zL7z2INmF+Yw7x2a6OkaJPy6xke+cwj6gjJIOFHMBhtRHZ9au6N7srcLYuhvyd8JsUz3LqENvHuy
6x7DptvVtNzfFEafrBKCIe+6bIkKd6P4pSRrDKDEHLe21f1MZz8mTKtu9hmPlRuN0b9DynCZIZ/W
GPHCtYQsPUbORPwDjXVYZe5tX1NBVBY/pHKdV3iBd8p8jw4a0LuuSbMLIFGPmhF6qYGyr9Q8nOjC
udI5ll9nVQqMeS1yPzDmB9kye3ZEpDbGAFhW4G6jkr07RD8BejyS37R/S1bXKSLR85ynxkfa98jy
TIJD+iEdb7NpqcgTNjl+Y7DzKQYhjBDafhjx12TSHN6//w0j5fDiTv0bPpVc+DhZlqoYZ4qj9T8f
j0GJnKmVjbmNyYhCtFn0T74M0c7b2bOG5nvg7nv3XcoDKqt193ZiSuwHEJ4klSpC7GI0BKqPzvXy
xTfVRMe30OvI9YpdT1DNyvJ5MNnjj8R1xr3UhvOIzW/r9E545LZxz98JaN9ZaAjueWBnkqy7wjix
GpX7qXSrrZHTQqDTMbyxkxgUfSyTvUkNgpXp4SiS7HdVzPokU5JdMNolVwJbAKJk+5AZ/QvZMxbB
94MFG4nVFzGufHAqQERkKfULArkfUcNR3tYzKSsa0tYu9THuhhIeoY4fTcPfinFEn636J29svB3l
KLPrnsMiMnexY08fiXGLjOwaqe6ubgpucotEI98RWNbsmTYZKyaobNl5YsNs8MCycSF5QI1KXEqW
+MNdkztbMzWbqyVgZ2WfBYe+hcqvuwzS37gOHg9gYrxof+2TvTbsqyv6+j7miYoty1e7DoXUxXHP
aL6jrZ5DTdBLH+xCPbjnaKDnzzPJVQwRxe/SEzdEd5e45XQ3MzjtAmrV06BE6GISPFK5ZXzSJBfs
2iA6Sb9FL8KetMml2W+nVA37jgzirkWv5Y8Ajj3pfcuXAaviuiRTlijSPN7PVjEe7FAvzKTOyDtT
5zkY05tcEHziZkm4Ldx6uDmVadxc9PLFFT6dS/4I/TgEzYMrQx+g7JDANxo19qmot58LIjEOhR3d
oqrgQgkrEy9mMSLaD+UzYNkcUsuQltOKyzC8HdKmv+W10eHW6vnRpPKD6JlDj6bWVFb4A3ya5Pvl
LWpGYEqPiNpLXIXQRIC60o7ncyWL7MFFBI0LJH50B/gTslrUEZEPcDxxAUhzipvBBSDPeKI/BVWk
V0WNCzQ1CaVJJru+iJiQLgyhx5Fm7ouogvpSS/dnXNbFtaUgbkbS8tiQUrHRw1Tfz4Z8rkq/WUMs
mg/wosSZFCbxYB6xnDDvTrOb6P1B8zAy5aEkTm2c2dbybT3fRanate1+GBvj1Lj8DV1EFb9eYq0b
TlnkUlGHIStQqCOmnUcH5EOUiKewaovbOoLNV3aznDapvCeNlesgtZ+DbDC3uX4YR4+qSgpAOomb
+nsb6HOMsJZE6DkNergbGn4EUwzJGrojfHSs5hdShzB2sCneYv6bv3pq8ZCQnZhtGHgllaEF6RWY
gvnV7VI+TAvg0Ts5j4EAEnCmXjZIw/I2mvsnc/H5oIiQB6otmzvLRkaQ7wxgpitmO5537lQgxYT3
h2VcmyAmFyjYYce2S44GMVwPcxMZ3H9Dsk+d+S1Iq6/AN8qdVYdcTb1qU9ShtcMOOmPByZttnXHr
mr1nPc+Y17ZtkTyPY/cGC/RA6VD51CxPowZaR5He2ITTQy1ieU6SYFhhoi1WrhNZCPb4uP5+j7CW
9OK/LEkeG5Jw6HKgApCAReuva0SIm0DbZskKnSQnQc7HvuhGpJwz7ExujB92M1bn2AhOVYVIqA9I
nWdgbG6/v8jc37auI++brv7x/YbHiWWfKg1fYQ31Ps3n/wB2LNvlX18uZVdkdgERWpzaf+JZFuI3
xLWDxSpHfgL96fLGmpPoAF7f3KgkuuK6769ZoOVWOdP4n5Le/+3Hk/7kgf65oW0imvT/WCkDJG7U
iUctFr0WWS6SXrSTZG9A4dZrLZCnEzIKV6kCeU6TsLn65L0EiNiINAxVeOl9cz50AXQbCAxxzFPM
CunX6hqlyX/xdR7LcSvRlv0iRMAlzLS8J4ukaDRBUA5IeJMJ9/W9UPd1d0QPelLBku6VVAUg8+Q5
e68d7P//l9b1rf/34tomE2LX5RQRegH82f/n4toQyFrXYnreywpWpEDfw+zObS+KfvzReKwBfavn
vWFBrvUYOSMHco5qCT64dqPQvwyKhnfynhjE+QOYnKJwb0MympfBB7fvGkC6ivhbmZixXTg9FsHj
PQCmTVkHoLI8bxdPxLwGBSpJSgcwyEBONo+3ud3/z2+43UAClKXeUS3GAGnRA3pJZF9c3SBrDQv3
iVBgIqqVnVGVFc2q6vK3evQxaDRJ+TY0YXowE6xASFScBZpqLS9se9N29P1sG3pU8GU6NDewlv2z
jdoFfWdUv8IM/YmG928ksqUVNvhrN3eau4Pcfel/7mYwC9f/+yKLlC70ZDboeFkCHAg3O6VDQx1D
+lzl0dWT/zscEBKOk945uKOOUeia684P3B8N83c/y6c9AkB//ThZCyMID+YE3iWbpTXCgDk7ssV9
s9zV6P8gopGEMIcz7DUPu0Xta+utsoJgj6rh2UoqB3rOsKjZiY+CmNVtS6/4LrIuuj1eMD+A3jEG
ZqgtoLGcZ/v/fj1U+d9BM7QHrPscIpvk0lT+cCwm1BN9OP0UQerh2aRR48XT2kkY9am6ewuTbHx2
iTP6LaBYrXw7qu5VTxqhXabhytAA7Cr6eYfHUkfVTiU0XkEFyHOtQEzUen6ekvR3BmgF8ZWdP/k4
mv8rm6kXbpyEqJWBcFb4m9fMjVeyT4M7lm/vlqT6XhUL5iIEKoVIr71EfrtErRPP4lyIGzJ+dr0P
2xpVycad0Aygi3zDzxBC2pKfYgzqo1lxeObIt5g8etA0pPIQgNZ86Hb0r8ngc9+gOkIO66N1L+RM
cCm5jo/Llf+JQ6/8b/UrMj3tzGQyMSeA8U3Ys66YtEaCBYBXJpXpvoYpZgsUUdkt0Ob+cZLwEBwg
Kk3IiUQ+7CSm/aMkfwmLcqSPlFq/xlFlQEiH7mk2F2pbCenZRY6U9jq7U53MIN73Rm9PH3Wr92Fa
NVur6ccbP6xLqxC/+xqunQi//ivIp9DUDBXCFq8wqmdmOibiG2zGT+nyd8i8N05G4V9hz/1F7Dl8
mB5SqSpDLrU087KBlnodeJ8zLLKnIbH+5a1jXry4pd9kFgfDDNF7laZv7tUYDucsNoHdLz9xCDAO
cwfXg30vJriiCM49nLEdZUB2CxdyKI6VrW3M3dkU/bQTMLFeXdvHSZNNEm1+K+5woJwPodofiKin
gzmg8cDh9ZoZkfFhjtEnkW+vYVLMP1vhnEdJ5EQ0ZNZJ4onctJl5gIQP2sQFejWnrnyKOrN8NmAS
IWP9MdNa/mty/O/LCZG1RcVnKBn8tTyDeM7oaleefB7HLnwz2g04JoI7W1IpBxXr3WCk1LUJ5hhZ
pcmLTs3gINLS3UxzeGRIxj7ORGMLBFBs7ZbQmdBZIIZQGQ9ZgOVrCCKLmw5yu+NjjXMipufMuzFK
QmzfdWmDL7JDQW7lDLRzuHg0WA+PLlXRO8jdSgP2l9vhxFQ+PDAX+aS/PMN5u8vLXzmuDa7D9JkV
xN+V3vCeZsv0rB1Gc+Wn2bMOpLd9lBvaX3KYCwptiMI8bNn0HM5ifDaNUO2R+J0NmX7XY6tePLPs
LnMpXtos13u0DmgBTQN/4DzbegcwDlxt13RqpdqmusKTqK6Pn6RtXxvXtVDWUTI4ICBvSCRi9g/s
svij1FQkz3r24+d8nCm7bMJ8H2/lwi6qq7I/Wlml6RtNbKKDenOX+8Q0FvlS4RL4NOF1QA6eHPIp
aJ5J1yQk1ZyOSeurt8oRv6YGH6sXdNHd7BRwS6PZoporN6qsWwKqGCVWHa0pM2nOEedxwfTbBF90
k1oz1Wqzz8X0fKXlAclFaGddd4X1rgbMN7L+sJNmh9Mg2LZpFNySQvqbkYPpW0S/oK7TH2nmF4S5
8xJASYgb/8o/IkE/0PVvSUzOvSELSmo7/HBALx6nocrwGjquWkdE99puLPcTISlfGaoI3dB1QKPW
bJUvo42W0rqIoDc2vjss4GQLA3pksBraPXnIYViupbBo5hhjd9f5vAirOZA+upVx9Wp3Rk0ADfId
QjNe8IelpwQVtQJ+dIJymKwmNxlh8sTxizVhiLBdekNDvLEDmpZeGl9oME9bHPX5Nhgz6C5yjA74
d/MnC6++1fXOqfXQeQsPXpAO6m7jzYLDU5cDVWmr7MU3LH9bxU22qTgYQTuajBuCcrAILm130kfs
Wz5rdXEjaHeZwfE3UPN35wyrtg+7r9bz2J294N+IV3MbC7M+p7QCiSiovD+W7Qi2PR8blKOqN4YA
KHuvZlJLEBVZSZokSd9dmaWfJGPuiLl7xVYYESPGhRrjx6h0itamiURPu0nx3Ay9XqdINo1R+3fk
8c0XoXM8Zc1LU43FBt1vwDOhxAmp1fpRF+ticrYy9fgo6NUmwwp+ZHUOQDEzZvTu3a8OTyg4Mc8g
+xsbCTa7sL27mfnPzmVzQvF6CklTvLErqSektfsmjL2rYev3tOSrURKy3DxY9lMhPLwbI2vL2hyL
aTPkQi4maJoTDHZ3cqkvm5xjjZhVt3GH0N70YgDYYyev/eMJJqOagqrQ2BBiiTywyObr4yc6kDyC
rRLnJFGIIDP3Yyy6XaOTaed3EXqXqAiv+GoidVRCNLvRd5xn+pz72o77K4FJ3i2ccSyI2L5NYfZp
Lz16irL56JfJB3rDO/ZkKDZt1gJNctO7XK6AbyhiIkPxox+UsWlCkb48XjrgBw4pKM+Pd6rxSJGS
3WezhOdVgEy3w5QqD0NHKhHRC2v33/syreanztY/q6FVVA7dB5tBtJCJVMgRGgGB2xtP9HONp8dP
TRMZmxECLQfPNtnD3hvWhD6J1yGgLBgKEiLbZWAw5eT1lYPxWaETR08nDeCrbjZdPdR4GRpRc/m0
dlxWL3GY/LfX8xzlFzUuaY6Bt6nrIeD+/t9HqceO7IHBtSp2KA6Aj/KgWQAL4zi9QDsvnu0pp+lK
pqYTObic7ejuR5H/bDWvGgThIR5DhgzL6tKiYlv5XULIBdvWwYzxIChukpONpg9dGV9qOXjF3qo9
cEpwXq0q+qtyQ65SnuZxMqYXvNvZzTJiSKLLMEEJbzXnU/raLXpjSlJzQ95icLBKK1o7nW/u4laK
ux8qcR/tHFv1GLrHMrFCQizrGBc65FV0v/tRkoY308C7uUUN3jMl6NVs4Olg47g6StircE4/jbTv
7mr0xVp4VKSmX4pXfEMnkLqsYkDjvsp0+pkuXZHHS1IiV1O622YzQBIoxBAwbGfdh35zH1wTI10s
UG59oAKu360g2uDqJ6y0y/eeo5PXATLYQUwSpvM8h08NcOqnJjQQmQTh2u4iCQWAXqdYttnMdcED
0QTYxQSWnx8vdl21B8eeTgAHp5MebxWUQOqhGX95EylQHgFyzZW2oarIH8z61EkEqIORCrMMZKp0
ty2/t7JL7Hm+MR20cuFVudq8YHNRl+Tf2Pn6rMesP3uNEdAaEr80k7lzawn3XOhgVRN0d++t/BAb
L7aciGKzwlOD9eb8eOlS+1sMQc1qaRfTqWry/eOOe9yATkHbyZ6M9Jh4AStJxc3E+DvZEt/sHlLN
HlobonkpAolovW/E1sm8tUzVdJstOd0eP0HY2knqpq1okAw/FoPHi+VBNu38rtpYfv+dBklzJU5o
uPWd/grhnL02bFaUN+rFz1heGuwjeUtKTp1FpymWf/6bQxEmYKyipTqhH4gEeCyArCk0ah1wu11m
10gUW0+v2tJOt2MfDjC44v6N3kZy1jbIL7P8Rojhfi6l1Vojklg7SgLBIMDkbAdpuicPhBW8HD8d
ZQaI5snu8I1i2CcOWc70w8VJQihZAxigfm99DrwzMbaRAe8HObN9erylJXyOO+i0ea2dDYqf8YVL
eU5n2/mY48w4SqJpNqASW3qzrj43uSKjMZ/e+iQakYhi/fZF4bwjZLkoMx92BJZRf8BWY/QHSIlV
F0/iX29If9Sw336GPa0EhRHkHEp8cMs+eiZkcFw1S7/tf97SQ3q8zXQC8L+BnuFQ77pS+1+Y7q0l
C8G6jXnZ3+eh/xUpkKUFZz3AYVn5XLdFssMe6oDz5i10s1fpivramDTGJ81h2KIefuvTmLuqt+BP
ZiXzFnT722JpLNqpPMcA+jhihslr3RBSm1Ukiae6W0cSC/qYF+6LVfifxjSWl8cvdXMMuYbZFtZO
aN6Pf3wrhuackzb039sqEA1zawM3KPJmVwqOwa6ifzsbTKqh2/xIzHEbF2H9xSfgbEYfvaJZArhq
LN4ipbw7myvhVLyTxZy9desmhOqifVdhhZhpcOV19xSXEoQhovfHDdrVkT4Ns32bp/nsd7b3J12i
kZX8a1hl/+IFI+GuTRcR/dWeJqdKXhsTGx4Eq2Kc/k5EhtN9WYo8aQ0eznGzZV1U1t42H4AoFu4Y
1tCmZLEhuImd/bFlykaIC0UNblyhmHJjV7iMKT3MZbkmfPKzgRu/rYaEsG5S5j9HlyhMUbe3IY7f
IEzHV48D+JrjuvFVeNjZJz31T8D2Wg7yoES6lCNrRQ7eQTZJsc0ndgy1pFbH8fiUo8Y9WMOgCGPI
wouFeGsdhln37Yn+0qDQ/qE7AEYiCbpjb0PDWAoZvbxQeZdPRc/32gElw5unTo+1FqEHp1aRqy2e
kMIvaFb8nxenRcZdW99CK4MN3OfiOUwALLP40eZ6uIDGa9ejkMbd8/lDsWftHrPYmHKMnQ3NaWl9
wVAbN4nnDydTdd6bS9YxSGzcYFRD0D7KFfKj+p+TtG9m6nWvdgb0RyeMmfo6gfPh9geAjA5aPuk8
N3J8aWdAq106g8pdnoB8eeli3Vxd9EXaifeqcforfhvn2UsK95mpFjT5EjHyhOUOt7X3WY3cXXNz
/G8vlegDs2iqrnrgKIQin1xb2+l+47uL6bonJsHLFs0Jw0rG42L8WSYJnmqyy5gAZa8qoLGTl1sX
knQBojnR58gxedXKMn8Wj0zDSD2peKSZLfNrrjqm9bVHel+Q33ELq71vNC1QQazIj1YTQbHxZmJR
TtcNA0eVetG5tBygHVPqHB/teV8bcHhshDpzWZNQiWobjVyJSXMM/15VB3wj6NuG6Gnfv5jmkz/Y
6YuBV77QVv9G7W2+JG11AEhvXx8L8+RHBrH2eXFwGICg7zIvj2K17qBJRwPAZsGuM9kSC8Jy1uL7
WrvN4uqwVPjMrYgXkZjJ83+dCrMLsvuwrD4j+9GxmpYyUryigG0P7WBznkkBRRT+xXWn5srRPbrb
sVU+O8OAQdbAMDIacv0Qejg+Os6oVvcCw9yKr7P9zlN5rHRe3qVO4QS5PdFDtb47Mzs6gYOEWBbO
mm6g+5xn4wGeZXZN+9DBe9jtRD8T7KrEZ6mD4YwFFOFTVPr3EiNXJKIOfzz6LWBF/mIciq4IcI6P
/+rxS+kEAyCLPXYcIgcY2Y6cfsnkeVHhUxyF4rVzxS6L8+bWkm67Z3Ibrx/Chkf9JD30KbDo0UCA
HbfbEquBSb0F0wCw2ePQ7oMIMCjtGeNq97YsizAdwffO/lxvZtgjH74tvmbAumsBPesmYhCq5dwu
nAen284M47ePbitQLVFF1dXnMVtbYM52EVKrbhFBjk0zXkTJHdebIP5Kdr81Ddp+M/TZpsipSh+S
gqRXySEd0p8RbvrjNHlyrcjnPjb0u9ZRTuNFqJw60ZO/8fGmL1FpBBd0j8+KIdZpbJvh2g6Mk+gC
7/hmv8vcslZpl89QvpgE4ZF8esyGDLOFkIM5jNkPxTAKu+lmMhpmN4J+TdmDUMTTd05H/5KsColt
5Xhn2/XvObOspzjJf7UGjRm/tpJfJIrfq5i9MUvM95LaE0KIj04mQ3GJ5ROPlGjZTiQtXjp3sAWb
ZDKudLUjj8bLd6X7/lYyUFgXfXwqxETPXPwCKwJ2N7Ne3EHS2UvkqVHeU1BPyYUO0S6aop5cnYT2
j4VXMDDHve6ZoZcxAOcAKiTDoiwkIBvYMhl4fHzHxCjAKWtHB/85dLiU9OA9Vu0aD7ldDf6h4HS/
7kUttjM28G0YokFy2SmiIZxeQedjjTOQUgig3Pu5qGHkRYo/u9iPgsCFIpZ0pJJ8AK5rz+j9cw5p
8jupa7FnKn9vvXZGLeV7q6kHx26bqHpBZH9RkvY9x/1RJO15SQ2F5/0SHFWBd1cp45N5xs5FhH2Q
aEWPMVZ9g3Mqo/pQbUyO7l5o4Hx0yQUwiEpoqCnHoWfU5qhTZJOtPcj01OUYQ7E2/bFq6qs5+9Ga
NIeJsaq2QWSTD2T9ToaG8aBtH8QolpuyibYA1DJGIXqrh2DTmPX4TLtpDbLkhzu4n+1Y/oQ3WhhQ
WHKn7NChWrQP+99d9LcMx3sk8RY5Q7EcMmANlaSHWFZxirsnz4yqXZQbFR3gsDyqedFhREbI8Ur8
TYxh63ENmynBMtOc6JOUt0IGYKo+Sb4CeyVpkMQSWFY3ZoImKyrs2Zj+ZTB1z2QA2Bua9rS0YTXq
1hzPmBxnbNyr3kLzBL89Y50NiM9dyN9ETw8UjllM1Ix+Qemqr37CSdDM0NPDgKCCnwBchUgTzp0I
qz2zimHlN/LH0me/eEVWbzRTgpg2UOB45xKX78oJYG3XIX3ePjQBr8qWJv8wF3sY1jQ2oq3XkKmi
IKkgg7MJiIKh6mT2MWxfYIyGG8dJ7r10QYSYvys3+F0aENEKh1qpTyq5zajD5hn2nzQ4H5gt9HUf
pbUDWakwvLOF5JgbqIVYtzEWGggRWLrQnM4jH3hh4W7ot9nrAByvqSm4hg7+WQflFlUacR+LZXDs
6VclXQpMdwFyQIvfxwAtmNMF/skbD7MIz60KQZrOUNJif/yR58Smjx5VbMXW4Ed8fEQ2pb14sOnf
wYW4GLNl7Ukd/BsRBzTl9BvRmKxjW9DcNGY0FpGLWp7N2BPucC2PsQGZIDSAGnLbVCtX9Po5EvoY
JMtUvUDv2CPn85N4SZqR4cZMsa7GRhbu6H69ovjJL2Fa7hWBs5ROTGZsRFh6ho0uw9IEF0iWuUIj
4BEH42X1NbMXLzBUSyq/7NiUgqUT8JjVGOQj1JchlEfZdKcuZnmqFzID6v8XxQdm4MnKYDctuGIp
oXHqJ5MoQwA3x3p2aaIj603xGXSKaBsh6l3wB7tQQW9uZA0iCnQ7N3xjg+dOO4vO1GyKPyJIuh3q
sm5FNnLLSgXKD5OFsza9LN0aRnPIIv+VCpAIBLP+XXngBPKh7U621z5b+j0yrWSdAC4nHiC/ZV74
MzCHRWokn3VhgZ0oIy7nwsqy8uf5VlkgoeEt58yT6L3OxR9w7vPODV7KOskg4CbFQQ9iQ+xkvGZQ
QhTAGeHcmrhrUMdJcyxGB+lewYm8d000D6Qy0DF+hVKHdCpN36dOiVUfu/mx9Rq5axlxQJ70P1AO
+E+Caz430XnQIrtwxcu9V6f/6hGgG5RbYj6acUdVFh7DAClxSprTNmn2SGxTUN5AW+rRqc6OJgE8
c16TqKJVZdGlqDFdeyne+lB06Vpp6WycZOFDjr9o+lznvKoI5PVQFsQ6xps9r9gYarCqqAtERA1a
Jt2+nHhc5/AlSWjYmQN2VLO9IoBuVjQ/n1izzL3LBbLt2VqZ8/DHRpTCma0DJT7af3OG0ps0S9Sq
MuBACVMdaUrD1UostYsr0DheNHpb1fyK/LoCjtvRxdPIdCvmrisXJsXKmsg0HnCfbTiaFsxFiD7C
brI3oTCsK6ZBmwIhK9AZ+Ft239mrKO77VWj5IN/dVm+BSMp9FIBWt6HUbomecDZ+rW654iGISLqB
T78LNnpmegBPvWcr4VA/DZ21I68WI196aIPS3/SRYB6dbSdZ9ZuoICUliExySKT0rogAm/if0Q3j
NcLqTkSHD8pqsNudUzMPT8CAFRB23AacQ5x+mpLduLUt2CAJxICSeTaorS/ki0++430KEb8LEdYg
pgtMONw41MsbK8EZ5I1300i+TAa/K2aBvxyDWDtSpweWh+yYxJ64g1vtWaxgYbTfhYXVuYAukaDh
3Nay/10ONp5qZ2SP1cvYw8LVGNPOSEO5FYAFikkbHPHw96cRMcQgHFxAvqtRtvbBa7t330de5OBw
GqOnOXenjZczUwbdZRMNgimTFrzcpEqV29T94/QUGNTI0SaBMW05kilXxibLRgJ7QFvJXsfGX7Tj
KF4j61YFstwBq2s5Bh8QcwGtid/52GfSKMYdJs1mM9MUpWunZ45wQwkPJW+kvaFtB+bO+vJ4RHc2
hhAbOSkLEiMTag6EsKPAWAVE0MwYIyCqFmRGkdfSNOxvU0cnJMYSC4UXtnKa/jKqJNvWhiRDIYRA
aI9Xsjf4hsL21GTdpehZULs8xhj8LSRFXOD5LYf134HffnDnvzLdB/GfU1WU+FCPejDdZ7C4G5uk
jLJAvog5G7XtpH4OVFj7gJMkfUm20dkkopQo1yqSzxCSwRvWdbNW4Lm2jOIBpE9ABJKosG7pHKJF
bd7Ai9IUMsotrutnKyMvbbLzt5LEGdIi+R6m4Luz1Tbpgo1jqj/EeHBXc4ox2oKVOHxFNuyTZIM0
cqw9go9KebG83KYShyDUZQnzVo3FO+lytQ46yBYGbFxulJp+frWwWcfsYpQMKVXKEJt4WQuU5jGY
/D99W32ZA0lyuNoPRquHrW0iyiWj1SYrsvJXqlQXJPDRRJMvCr0PpdnI3akgwyOEipiCossb40P0
79hYAeM45n0QubVyeewDksprn6IgqaghUIO+YzjxUIlCR+gb9LB4tzinJoQNjFnySfgcZKDqNE3U
WnBRS6r3rZ2lL3UP/S4XYD8ShHt1ZHBHGqBECjOvbwaG1s4C0lTlSO8j1kVqv0Q21VbbFVumCi4z
HrWDZGS6PAguuzl0EO7xLry78aKEzkl2NdKfS08oj4bftU+4BPrasbdjusYzA1dSSnEGUIubBlLA
hngL9GzNtS1A4ER5nm3HPP2dmwV57JZhod8MdgPgtQ3zLhzaXnIHYx9ftH1jJCF3c0nLj2AeGvlF
d+LEFFJ3wVdC+fsdlZ2gmcFiKqaGysjkH1u299aO3/PSa4628Tupt0a/afrc2ppwJWBSqo3vuQfV
9x910xK0FSylF+zDqUN0juSgxmvWvk4Y/3fE9q1ly/bthgkO8IUYZwTeyRuWijoPuzM1sOFaDE9K
dnWISXQjVTqtC7PBZBDVGzdVIAtwR1u+dXBhxOzyUJMwxe2AAgKWwzjukS7wBLTOjmFbdvTUXszy
jxKTf2gsf+82PVhIu0dkNfMsWZkJVpFkKhS5kKlSloJq9rDCWbBJQyqk9NyXpzTyIx57XJjswbdu
jFEsp2IXKtKOx3KqNsq1z0wSaHxmclMIGlEtuF1dZvlhRO01R+oPYb4vZuVBAgbyu8na4egQY4DR
gkaYA0Bp8VGtw2nvzAjk/bQ7BYYPmIQIgZRmRIbOinSFVr0qwWLqlA6JcY76mYel8UKi01XiK/L8
X2XRhV+mj4hJyQKKrFCcXQCURQV8IRdiP/SpFl+Ih8WQ9JZCMn4hLApQvSCPZpBALyNk3xAexgFu
CITjzDh7Ko1AJclwXRLBRhIdayCwOs+bcbV7UF5HKyb4LyK7IgfeSZxhKJEouUW/J7maQhtOZNkG
yc7TEcnLQXfSFeC5oCWSAlPfc+UjM2kG7yRDd6ZEqwoiHg5dP37EiZuRHJQsuJn2lGDHIldk/A47
G6JkGrZ7Gf6l0Er2xeg/0/In0ahnbFJNEKllgZcosJ47FuV9wCSdbrCxrUV/4uu+JmAkYDNE92Cs
PmQOrR0nGiFMajujPlkF0ZDgzp0RCDWbwELLH2jnTx3Qu5gC11oz8lqPSJhorqX0ExMKdVysKxG3
3a4nxGo7t8Kj6iDuCsZjlpnv4JwOLc7FVVoCQ1Ie/oy+ftHQrztEKDFY5g0M3bV0BwfZh8k9BQnL
SUBZMxAlIsMK9lZTEstuod6gfW8HPI89noCm+wA2Xu84qKCwAV+J/rsApwPTDhrVwY30uicdYatB
zK+Rpm7RRY7fwHyVRQen3XZeDlydzDM3wv08DtaNKzgf+qlBpxD+EFR+x9YpNoMf/fI7fazxKm6Z
GIO/MzlDdrHNyCevEtZiuP4EaUNpoZ9wVkwF0WX86R3H3dABj3e23tuED+xbaEk2LMN1NY8c9sHz
4nOYaP1euy4+N8WktpC9yudmujSGEa47EovQYmQxSxoGjdgsnYvqyhK6e/23UuW9UlnP+sDwxC+/
0Pal+1rOXxVrC9+ZB+jac+B7c9nsjj0DlCKhRi+GsAFlc5xjK2QNdM2J1meyx6zKeZ/Mx61dZDvH
hwyiq/KqgPjsFovyWhbWeSLdcB2T+2cFB08b07ryg3nTWglsy5F8+eY7sy2o4YrWLAuEomvi3eSs
hrUiL+ccz0StmMNrZAfhJZHTO1ijadsad6Jaf06+c/fLfqYJmWS7qEvbtUfQPKEdhbWZ4agIhCZ7
O0Dz1bi/M1sM93rJIewH50wE3avZfkogQ0jZ/BUDTyQeLYmf0I12AXXYppEJW6wOV4i0emIxYPIi
zhQsCS4D++k2aqO4idKkIzo1J22lPlR/MMyh69AjSz/aNnG3VL5LKh6ntgZZyK51KQQRqx8wqd/y
MRkQLXP69Yl3G4AMYb+QYm/ZXEqdMwaFHmcUZveMJg7BV0HAkbCzU5T0/jYsupmZ9vizLavXkH/5
apAonXqnO7YCMlvymcti2saHigw7SR6oUm8m7osbuusD00qJvC/5IWskGMJVzq604NmlaEYb19nq
2sFNYpynuhnX6K5eKrrR22b4RfhlsE2KYoJMXJ67Rh8GrecnG8u2IJpzQmH0wvhn1eUBAMkaEE/f
kg6OuPiHbGtv6xujItoih2RRA7y3CjYW31nqWlQPjR1t6Jq/Tqpwzrn6TuvMv1jtyirJ9yVp/tiN
yAbDMmxIrIpuc0KYUi3ik6eBd8UlCBKvJmoPLHJOTbsa0uar1t27Cxl0IlAJVm2qd0HXPvlxZVAe
TEfW1HrfSf0Z9Yl1gOr7i0FufKLH7KycGJllP7jI5mxjOwstX7XvnZDZ4sEOAUnOPtaYL0Dg6qTd
/rfI07+asHUaApoDw6hXUY6uX3ZvYVmJbT4SogNz5C8UqxfavESnuPbIWcp/KlX6y+tJhiiaWK33
OTBl+hzNCG6n43SWzOtmoJMxu2l/Ejr7QSYTESR51cDVoc+ftiDaibrnEUBWZcp8X3tSAXacDpOl
Y1Z6W5CVET6nybDWS9vK8wmSs+MlsGpUYu376JJEinLBHfx9IpxsY1MTuq6erwAXD04gnBXIGNq2
Pa0mDqCMe8wlian2qz0hESQYpzR6mhraTD9XR1vZn8jq9JKuYG4t57fsJRmj8nXyM6ZF6fiOvO9P
7Sb8PwLNkkufRCoE+Z79gpH0WvvkZzQzqcKTmpF/TuF0m1oScG9Ox4XVKFlAonGNhLTpUjsI7Z3h
1zh3N8VkDYklMntlUP6ViGobn82zx3aw8vLpoBjurlpL3SPkEZTPgN/TBbQob3UpzLPpl992m1/8
GtCRZ1tX3Yt/XZJnqB6yJ083IU3NFaSofge2GrLUJGjXMYnDvfJzLC5NhwqRM2Xfcr5NOhpfPocO
mFAl3aBoR+uNMPmZiaaQ5UX4+XXo3+oSauAwGPWhj5iviYI8V7aEL69Nk6soEHxYOqeg4PnEawHk
blsHqcPCgYBMt8bfybHf+8SANO6WB8sb2ZNrBrzESQMv4G9HXnPlDAkDWHOPcFv/TKL2EOc8+cCy
uuoIYr3bNI2hT2m9NGbJIyQd1QxUfjGt6VubtXnSQflNM8bE2EK3uLQm7E3lDUndD9BTzqFq0582
YWEbqqtfvSgB4zToeNtOv+vS8Egn2Ds8hin+OsJ+Seoey/kcdrDQ6jn5oNNIjHWOdSySeEFa2vN7
gAD/kql5JuZ621hjdo5M1Ag682uuo3H2zab/MPL2YNYAqwcDyrfnSh6XwgG2ab+gszLWho6/B3Nw
DyQGu6ua/XVdYjFiumfS0IamDoT+nok+ItfYYYo55T8lLiQb10w/cXLpYUHGEYCF1OdebErrmRTJ
HFEmyNTJ6a6Atp80wXUuonzOcVSRgUAjWEx/hsgkQYOItnhipPWR+Cp9alYlw5jYbu19JMAS1mM6
rDN8Xhst+l1LIp7T9v2xcNCOoVR5XeKUiCV1PiCbTFi6gBM2lMqgFPccdGiS6OGjNbovIycKxJkh
N04TLUCS4V5jQJVZb43X0jrVHT7EWaid24NCY4P/083YxLXI70GEaqh1JCy4EEuNYxNnMdOh60Oq
U8QWgLtaomHassSVZsoPIE7niSzYg7AlBV9qWKxxS7c76+VzQOhC4qNIUkzHz1Erbsonfp3v6n8x
dx69lWtplv0rjRwXEzwkDw3QlYPrrbwJaUJEKCR6Tx6aX9+L1OvOzFeoShRq0hMhfEhXl+R39rf3
2tQyVjXlK34F0aiHne+CV1hPhf8zjGkcI6wL89PXIgoT7Ie+iGmGo0eSNHZx08RiejCK6K6mOpY3
fHyfuP1j66DDdePLqLrysbQJoo3dG0mG4oKn9MWuN+1AL9mQ+9esHh6DAm+RXfmPrDc4+Bk/owH9
fe4JNtXPqgnRp3yRX7ofSugc5g3e42HEaaAN9G3jjsPKiZrkUqgKL6eiX4+IHI9XTrvcr8fPyheU
a8TmpcOdLYf6XXgj2nnDH8zmFigl/N95HTXnPuaV8ibSaknN1iDS8/QiUj/5/sBLvGpZ+dBK5E/7
Lgs+CjeeZ77wt5l76Z5eYpBhBuVUlutgdWBGzin7xbHOcY5VZi/rw1Q2fOcTKiZNzvxYAYHm/KpN
vHs13HBUzJXj63cElyjuKYz3uPscEAFWfaCLa9ONPEydEKRrVfwaTPUVZRx4zBHTaf57DCBoih7h
M7XsHzEAqyARFbhNjg8qNd/z0HTJ7/tHUbFmkvncjYcOW45MgUm8LzTqg1yd1insjfKKZWMb9VZ4
MDBbWJMTb7G1dtQn2U81ZVNcRRzHg1zfqAAJOFDxzuwGykLNXj+UKaPUJKAu4ApYTT0SIhdpb/Gc
w0+jbbRmZbicizFlu4cEu1A5tda2qc3Plm0DzJdfA0fL1aQ3Wwb49LZDI2VdoZjxAeuqUkfqwgzE
kcuk1tLuUemh99Y1XaHuIDGh5y+mGbxYGje1uHqFnzJRsKy6la6yZ1+beOBrcO1NiPebwp0R+2V3
cvT4sw399JQV+U9Odi/uBD4Vy6yCANo8NJ5b7WuE7Eife7QHF33SQhhSP0dLEZvgji5T+NojHiXj
M5Ttb15zQacEcngcBdV7iZfZGHyfwxZd20XZ7L0hlvcpcFUtnKhhIEw1zX1aeLlU4wZbPtF36bC8
MKX36nG7qqP5uI1Fy9C+4gEPTktrH4ka7gPzSsFu6iPq25tbIjJLqj+wTo9bNfDG0zmE6aiBoeys
nWMzI3GrTElBJ5V1NSVjgZVSwjghDu0447778HOTon2P8mDY4g5EApGEsv2B8zXjHeCBIHZ37H95
0hCSbPoRqiPtWY0seHQon2WiZl2SuOelrYxoQ3vHxgLOulIjJysvtB4nT6UnVwyvnRtC90+KE3oa
XdGwmHeVQj137F3jj/a1Zrl1RurZKMxaWyEETrlmr+t9eSWpzHas20whbmonxUFWNVO9VoJ7jQzT
54imppA46QmzBc0CKbu3ISdCKQlk+eFh4hC/1pl3jaHjtBpbFIQpiqGSiew6sYyjVvOup8SMmqgI
kcAzbYQwFrlrpy9uhIlUwEw0rFsjvCbkfLam+mWY3gzVB2vpJPQOBQUiPKRETkIifKhsY89m19+p
iuRCy8gY6ZngVN/srSKjQ8tI2PzL1zLsgQ3g8zbpH4D7JI7sPchNTCEcWvsxr0FQSzc9kvuFirCG
fECPUCA/OzzxXv/mc7rwdCc7isx+NMLCw4ohEFUZPho/J5WrVPmr4og/Rj9ave63lTtSQN7yRoRO
zDXCcKpc7BwU8qzBgGwzOP5rel6alU+VT+m70daX6POOy1wK0p7JbBIpRCMKfnFZQMyFdNziv583
afSRsJdbE/tEFmhD/kWXE1szmvcoIzjtwNavi+41wz5ZSD95qIv00Mu222q1z+RTuscBAYCDvMeo
RliYW1qy79L3kgrvVewbb4E0s5M3a4OzjGLXI8mOvoIAHLsmG1LiV6WhI+gVV0oHiUTAy9m4MxFe
gLx2yElveN2Pbq5FlJlRKRFO2UU10lizCV91NWSVlqPUmiIxwZ4QhTChY7ILeCAV/EuOw2tAgERy
v5MPWpf/9mqese5wk9sB1iAdobzF2RLF1DBE7fCR+elw8LKOluSCbX5jvWK8wLPpdMkV8YaKM7Pg
IssqajdZzGUtOnlv1/nGk/lHbE5z+lk/qn4kfountYv45rvz1giHQH7FR76pTLjmmOhzVDt9bmRH
QqfR5L7zotd+9idbxMoMrSAER12hfe8Fln9vpyab7HS62ol7aQZtXdCafLalNgemq6/Uo31a8iUx
PUzZOXOoeQhyJGFP+xkAgtlXhE9XnqcOpCKRnlU0nWXgQ20GXSAIdA9jpTH/U09MCGhGSYilWhYy
jMcQoTsn9poAdqGdTl7SHfuRhHuIhlYH4KrVlFs0/v0a7Nbb+tDwOAjpDfQh+m80H12TyEmG1X0/
MgNL5uRRxDVZy4SrTBnupfNLdhcO7yJZP2HAOQs7sDfTRIwaIIRzKIhQ875xT2MH83MKxpUXF/cl
lM2NljNqB63xblNqso4f3E7Tdow4csddblUrCEEdUN5hKKfdbIFzR/eZ53FxJCa1qs3KZE3n1eeJ
O4LZMgSLQA7HCNqwGsdPjnKUXtu8azmdaFozXLx8PGe5sLeVGrdWzRlEKQk9iGdwSyrqNCpqrJuy
2iUqfzIr+2qa7nRT95lDcqBP1miQxyyGMR1pY7ZmMJkLxKtT0JoPXVhRhl5KSjU6TrDSOVdWOK5w
GG7t3LROZBe5FIbE37r9cLBU/0vvaEnB4F3gYbJvkRyZN9EMNhlVRFv22dNlYtE2JZm5YwzGO9Fy
nduxeZie01x/70kEPfpzRGRIfgEJzm4Jht/UyceQ9ndIFepS2khIQAAJSQ0pERtEHcw3pwKw2K6S
joVmHv6I6wnjZv7WgwzBYgsmlggT+oZhf7FQkwge4a0l6by2WzPYAHx/1mLvmsTZVZh+iYNT1zb4
mu8Dgj8RZS5nK0MrTXXxonp97Y7JjFxQn13UZDusIVQfgiSfmrdQ+jhSTPzUqn7PEzY9DffoyeYt
HKUc0j3wVgHX0qGaXY32ROubhVjdNZRAVuNT41KVlbfMJUnOOcCnITgkxGBkEjeOok+7IMAVBLKA
xTA9+UEIvAjkBHyesAX8G5Yoki6RHStAnsGxt+v1dM0TKOL4HJAgSD+t3HPWOLnetaJoN/4kdjLX
PA7EwRPJWZzlaWrxxN+Uka62pLxqIIK9tOUuwJ7qhiwahAOvlUq/xvDdE4s3Gk0w748sOtqwvxeF
Rj5QNzGOBJ5zMouHGl6S0+4TBxMa3ot3L1Hayp0qi+wiLbAKZ7puitkJHF9iJirXNnfm8JUm6L9G
96gHNQth3s5DRTlaopvBfWLr6A+3oLfHPVLcRcf4shKeVm4iDLG7rHko3XxE/Yuoo/btE1Fmf0do
gsJLQb24oJploIHdmoItCxpaeDIdAcCkeGF+dtsdTdeuzml/sLVtEYMvc+AX4ifsO203Zlq2NSgH
2YSDA5kdzQvho5/ULxgQc0C2LbbeSK6FgXM/95kH8PrG6ETD8pn3G98eNaU75+RoenOupP4ikBkh
fwAh7pkGFdmxC0m2F89mMuIWQjlUMSFroDfXqrgfWnXtawM7O+NDiQiFBTi8Zn7obQJO7bFBkdk0
QAAGKKPNIRIEfXrSBkc7aEq8q2ktosce8R05kugIhiO3yKAVwxERDVNWOmjqJkBzPA16+QBQcq9I
knLDqz3qY9o7IeiwrMySMizlvDFOV7hPLlVCZoMa2OJig3C6VlhbV/WoaEvt5CmwLJLZdnstyb7t
nPjO0O4EgO5zoqOzmY17MJmdVlOpBRwYXZ2IG7AkOdBpWI+ut0tFk98Veo9Vqw6DO0K+1FIVBS4/
KmGbOdgXjUxNIa44rEmpfBx4w5nDBMooNHBvyqC9baq6uc0TxbMrZfeJgudVZPahRNlnR6PoJhca
ByBy5Gbl2AfXzOjjkI7ac3jCZelg5cxY9iO6PC2+UJFz6wLzbe3Bw+FLCb1ziJN+Dc04YYGPpLf8
MabD5IwL2F0t+e5Zu5p5VG08t9xPDYm6COszXrVn7EkoxOBvGsJTiIKl+cyryGQWxVtCVTH3Zy94
ospnnlzUryGP15bm7nXm3HueW809HmwDkY3OCiTyer28EKbskVwnrIBYX+FoYFhPsDXb3XBNIpfe
71Icaxyvz01OzG6iCmGQEMsLn5hlEEI3CLHyPoc9gPBh0h+Uyh88uihuDQ3C+/yfClmQsqgbdfGL
2OXJkRDLVGH+pLyfuJkZPIeigRbGrzA3R9TXkfEN+SuC/A9TM+uZyjNf6yKo8TrSbChjKLDLd8yO
iuEEsfBODjQ8LpbUMKBGiSkxuPZYIICcmtRQaAPFM6JF+Mbne+uIyrqdSxI2/ojSvyIcjdNR4KdU
RmysjUp+JAvAJrNa68lmZJ6lXCYdpnmSxYTLEEu79beHG1EDRuluyfguH/IJkSdsKQnv6ruJXcrj
QJPMwNKZlmPtAJXsqANpfShYAq8BebLDpKbkbOfOdfn7XYpFwDOdFzmQWQzwIZlauneYcRQS+3Zh
BjmjpnZ9McCycymGnr9aRUnSHoMm/40xED4cVfxMmLPepnDX6ZdQRKV0RRDTR0k/IOsGzKSp3MTI
Xwfmqc+8YIbIfbxreHLGfaDB/QxcGV96lT71dJASYvUaEnYEcRKHkB8Xj8kDrCE0V1dP3CPfrEbX
j3LARIUNxHtq8mM9x+w64GILOzYDfbtNusBnQAJVh0hTrsrMGTFPJ1ehN8PGIvxwtgoHfM840N3S
cn/s8cNpqpC/h9Qk6Ya+29nh05jxVKLdmrOyyD+nfArO5RzBI4ADN2IaYzyi4XAFvLYPmzK6waWI
+zSEV2hPafLQW+5upL3+nE7Oo1hClE1W3eb8rKlx5RZ+rt/jw1o7uqx/dT4aMW6F8D4Xg4nNim9d
TL/pboja6ccQM/Fl/V0eqvJ5zHlly3IIrkn+A1m4v/YzUJDuZh8bbHc39M6bblqcYLqhzNbdN0Ok
Edml9MfxLq4Ys+spIHSTjWfi7s19bTEsLhwYEdodVr0CZ22aBTsrx2zFrcc+Z9NvKlSL7UhakoAu
7y4sHI9UfTWbMPSKF6Mo5m6o4s4w6LQN9IwHUqucc4kJnSUpOVU8dqyxrdI9aFqAZXbedBtzMkb1
/XgHq5B1Brn6hTgUKexUdkjLcBorsc7CGLgAT9/ojF2tvhhsFqhszbRN3eo/UZuy0xiaA3Da8nkB
0DljZB1ZlVg3tV9NPLucO03m3AdMkZ7Hpl77OeLNOIbYH5vYIhjWCyRTpaOGv9XdwPkx7t7SGcHQ
40xcRSP1n2kKqIoc3ClxwF4WnpfuLAEwK7Do2bUCLz7JnJG45QZ8Z7IvnjPQy4uKNWFbltTKYHzF
8kmuYYkl1jR/YKvC0VNwAdLi1qsDTlxad8mJ7WnoHC8NWlU4h4ED/yyF6dz2c1gXdBvN2SZp596h
61BPQw7a87fEDxsC6wmqPH+ObAiL2xtNC71dbnT8KN6IwS6vOUnxXVf7bJLH/lRYkhLpmWXEYOet
8r7PH7S4dnZ5gy/v73870PVf4A6c27pj7cHhOT2kZvgTq/kxIfYeDUW9t1Aht0NBdRfHz+KGX9iB
+D8vOK+qKtqHPEKwyfJjpMuXImx30HHLt9rCYZ8uT8wswxnRTvN9I3wccqOm/0FfLTdEApWgL3Iq
+JoU60DJ8QdsJ4fkwkWzIuDZD8FmwScW2bbKlH5ZHrZFZH3ILlSQPOL+QiNBf+l0MlDQysQhbm5Z
jVx4SM/39//7IXNpGaCZquyLhx4tgXmJ37Js/6PsrfS0/GwyqcGu+r7bdQdOBOMP03dr0tYtdoSS
N4EcLfNBy5tt1dbqPW+ZcTETmtegyKILHgZ+QyFoSExrzD0vLeWvLVULP6RxtlXoHXPKLtdTkMU/
0s5hVWvT11DUtkCUmBG2qfpQvmu+RU51UfqPofKjT4g2+DgEEvU3NagpZHEM/c9ADwlb2CQAoP++
aBqMNawob2i8yqlI1VRDsBMJLgALq+HCkGkxCKwEyrppV93FmHknchQv9Cia1zp6WW60Pu0GZ0y/
P5w61tfcU7zbofT5JPLgLm5K+WCAsegTa6vMkId+X+VXTGX3MPs0mpYCvjjRWDea8N97IiAnApD+
gfq1abugE1TQ39GskbLkHsvjqDnhcz56DyOQupuxEtFzFwlUNicGeDf/pjnn4SRP9HaoGNWp4cWa
r8VnF7f5tRiSEu2NVP/UALfSlD4CCRM4ah2wsm1aD/s+7pP7puRm3FgouiNPumM8yoehYVRYxT0E
gCCY8SrpHosItDIfiSCq1C31mqizAr/BzCWdcv38/cCvXOXhbGdZRdBPa/lUBpMWJ/Lt398c8lJU
/Qi+1zTGeus0d0htF5hp8u45RnTE5TZo5yEksYL3t7kE1lRfouS63E+0IB8OWuxYJFY8/agxhdAw
0uqHBWBH+8N0RKfg4NCxYnSSKvoFzuDe4Y51qQgNAvOu3aOuJ9W27x3oKMTOt0FRD9cq/VomHIpq
aNAL4D4ZfevsklQk5+/nOyUi413hli/Kkh76LXej0CIYiOGDbpxYPJTQiW9cI7YeYnavk12CatWt
kbE0MBBruqPt1WxrWqrCSMs7aI+jf+RNWdMY4qfriIDJhuXxScdRddv6BXvxOQbELsm9//4UMBVq
+H1UeTCdoHwdMQfOZjuwLk1ZnjSqZ7c5LteTHVovvka5p6AB74Q3IDhAuXsqcdrPlYjxgUcswhMw
I17L+S+Bor2DrJtzRC/ubY0gWpb4GEu4/ZMjxktVZx8WNIK26YqnoNavWABtNCCbnzHArzWS8U85
zctrLbaIuZXNJbbz6pbUG2cGLgfuJeMPMt7F92PBIVXVKY3DGnF3OglDcSkLe9Mben1ZuDGdLP9A
+uTLA9A0Yn1l9UG2TntczGz4Wd/ICmWvBN0bWh8NKwEuq62aQ4QJGyGzNa17FZRgCzJ5xOZzE6dh
uV4wMkLF1l2gQlyvOP3wun8BFOHq4Ae9DPekpsFU1PJ2+VQEIvvcV0qVYgNqYRt2BHORk3CfNfr4
1oXsbrOmuSWFIx+9/hnSwX5K4/BnkBZqnVgCfTKyvV2is0+BX7NfALCdirJdl5h3SymBM2MZBfnI
igD2aiK0hxPujyML8RlFALRgb+4MzjEuPGz/811fhszKVeAcaXClsRTy3m657zc4BLeyYZxczm0l
DTlrzBIYx+eTGmaqYNukUbGfwZqEH6IvPUBKm1vqh4yRFo+feSCFjLN9BhMqv7eOca/IQzk29sOq
HbbKZhmtFu4A5U7HPuFOgecs2jaWRxOaYES256wxpAEWGtXwq9ExteSJsQYqDSo496GcfP9QIxmC
/lJvBH0/L6YLNNeLI3nA4SBflEuZ1Gjk73njJJcchBV3o45C+tw2NwLb14MksHT2o+pjsMg+LTzL
scbHoo8tXXuF6zyOTett6vqL3goiqUbKh9JgTRha3PGMrmeJo/DSEvTbuZkVHzXff5IQh25r7j3V
TNPFjsofVeguRa9735RuXh9GdMwgEaH12JHWbmRCxK7FpNP7OImWI0HpOvpRRDfaRImp1g/iIfct
lNSk+lVWo8YaHi6H1OGd1Txylnvlctfk7lnmncFK+AxGrVhzEISO3zMIugXCwfJZpSI8Y+oNNm0p
u4N0YCX1munBujIOugi+FLLxLh0zlqsL+bi/YETJDh52nv3o2ZeobKOnrL0w0Zc/Witj/qnt6Akg
CCWl832HEt7lb9IllVwo+W12buHRhKg0Z1e7TX4qtZzLyTYfLXAoVQs33AnrD1KZF6GzK48Ict/2
vvtF6MxAiLO/8sSf7hpbvU6R1e0E9cXbwrf8p4IaFBXa+wkjyxpndHdbtNqBtjHrMA1sQtkdkfRM
I+vGCDiQZaGPVbsDJTcP8Bqdy7vl2RDoLk8L2W64dKebwJhYJHIn6x3e3Soc99TPcca1CT3LEMU3
z+2jwiBzsbzhPaAQ4OzIyT1zj0wgwLDzSrnHPpbcz/xs6p8ag0Oqm1ov3Lbi31Ha3VtZ5uINCU5s
1sZNiap/GEtR37i8bVdJzepsKCgjXp7285IbmW28LJ/z2D7m7lDeibpCmxbMBQsF1tSG+Di1+nF5
mMk5Pl1bOpcxVHcDjO3MaF1+dayCN2i66hpGXs8L4rjbKKgfCtEbfJdd7yTT/t5KjUM1Y7+r0rhv
eo0QgK1OkUEW3J0uIEu6Le7T7Gn0xwlQBBNUyvFPznARCEcmm8X5VAtx8UF0ZXzigsEXNXXM6CZc
Wqmr+v7vv0F/vDxAnEeWrMI7f5YUxtT/wi4mdwSuP5BXzV3dFzKF+xoFV0lSd+1krnviSPlTYbdh
NY5ApJkJKO/Sx+03TxVh7p7sCOxCL5x7M48fycNRpFkElIPPOWbwzeEm72AFMO+PCMiqXud6egyH
BuZ+l/rXzsNeVLlJedcGrGQNHhrteigbc0P68wfeSvM1IbK9lmb1NWFAOKZ4A3luUUbL9EipLLjY
zNPY/sLyPk4x0Uiej8FeWrV1LXPFmMM2g0iCuFqlH2KXo+WyGMaDVoHAn1ltt2Gd3Zb+FFxBk3i7
LkyA0E8HslhoQDXSIJwfnEwzGBnaTjinFThYg7piqxLDmK6qZzsZKYSeyYaaiE+8MNAoOrKsyy+N
fvcsodOsZSbglzuckBsveq9Uvk+z9LVjxXmjNfI9sdEFaTDbQxx4xBvYP0sFIK7oDCh9y40Eyfom
a1GF9ULaT0msX6OQ+t82lzEVIX12/LeSfz5CuxSr0Ksq5n3aHE0C1rt/040wd9B/JI9767aQRM+1
9CR0ohqlFbwMgUSMmDYVY9BAuDACoYqjuvqCIBFN0RG3ywEF+l33ZhdrbR3o3YaAWVEWbqI99JCh
K7N5oSCD5WRIog/H+B389kfMlFsiUzwOYuOxH7xfpWFv8wLYz1TQvpgE8q4p24sB3QNhnc/Cig8p
Ac6gUPDqHCrPWCd+YBt6plCBl3yGOLu5PJpOPNNvLEy0Sf8QdhRv6zyHY79+5KQHkIhVLpHl1ivY
GBBJL/Hg1FGLEjJuNfLTeJB7PyFqHgJXBl8qXNaNlclaaZpWgZWJbSBwmmOn1EwdNLrLa0r1ySGv
/0UBjPlnoirUKsezhPCkC27VcP4EgMUUYlF6WdT4Wtg2qWRuiGY8HQp1Nh1bnfEkPWAONdlyBup5
AMOUTrBfZnL8JcmJSjiIJavKAczvc6LBZMTCnQtnOHqt5e1dTRL7w0lwQor53bONeWQaoiNC+dEu
bHT5Vjswb1yKuKEYEEGaS+v/8veWsLtvlu4/lVv9xy8RKKltMU170jCE+6f2rZ775pAlLt/Q+VA9
DZZOtapGWQ8JYFb/RU6f9awsak5T4YfEACx1Pz7/i8/iz0VLwvMskki2K/lvHJy1/8wlDtktc1Ng
wxrW5Pg7bkYs8ejuXHig3zilZUAhEWWsNNrCNr5JaFqyLKQjuPo9EYiC7hfl/4Kq+x8qgOZPzLYZ
zyzTowJo+f1/aJWZvNHQcu452F0zcF6ZuBSzKEJktZrRpY+FSD86gVCv5RHZ1DpGQMLKPtsBsLw6
JDb/61fKtuSfmMiGblg2V5dLOIbvmvnn92RY5DZd7j3LmsZdFcV+wZXSOmCMbblhSdMDguqafYDo
+da65YfuOeqxIRt9xK+V79gyZ0WAbKbzZGqNND1pYUOmz2MUmgYMnxL2BYKHoEJVrdNUdjWuaQxq
k+69hHkKspeVTqA10x2E08+osZNTNbiPy/zcZgjsS62Y/b4cJ5aR+1u0lhq3JhQgci3CvonDJD4s
V8aivgA3bKj24PKYgvDXd2HPN9Y0QvfYR5FW3zut98Zr+5C2VF0Vwu/p7zi7ecuXEkXWE/Hf2wXq
wfI0vTfcH/r2e5SE6NKCNCjFU9BziE/bvj8uxQ+DkL/QVFmMzIJilCd3RTk1Rz+HT+K7CntHtdPn
AcqYPxTG2Kz1734PFZpHDJJy5dDesC2HllKwegC6XDcEgTraQlfY/4YPK/9qTKf97EEfrGBNshH3
suhM8K69VeTbVjYncdiHxXGMZfbKi24Rn4sSvX1YvhTgnGwafONkG9wvhKSnIQoJm0SmLM9u67Hk
Uv5X6jftjt1tccw1ng3gVaoHPdWpTlPSBmHrQKiyBKvFIX6rqJr4bE2xJgDLxm4k7WbFFFYPbp9d
a69+sFOqJK0RkRHcv/fqD2y4gzobnnrcMEiBeXs/kn4b6BkxqUTjGVaPP4KRGzw7jGSnT3ivOHfn
9yMhK27X5vgu3BxZnDoZc6oOYaLLx4br20CZhcLesQmYJ4XOwddVOP3FHL32ajXu2UwBdTrBQ5dp
w53TpsMsKrXfiNu27awNlxxQJ8o8vVmIXJCOIEG/3zZsKHdihqDM3WKXysYEotsDRuXQe0+KCMq9
+PBKUXK5zvC1os9WE/CBEwEfHrt8844Weko+zx66PfZHq45vctnU9xH7udrDEWWO0tpg4uatEpo7
z2gZOwq3Nghy1x8VKZpnhfh/8/9+1mak2iZULlCbnneHGYDSDTU4L27TcWEYLnqxYFqY/xN9dnvG
fdHyRh3vk0bvt31afNoYOYAJRQHiovmwHIZ7ikROHMjA+FO9hauQLW+tpxYueYQhY8o3EZu+vW8q
nBCh3h/DaoLk2smJUxp2xe+b64QYtHV0BjqT3M/ohrhttOCCZ5nhMuxTLkDWw1yfWOjkJBnOfPUq
SxgciVXf+TELvT42fmeG7j6GBPoOZWtxkA68/aLQZsrn6eWJ31UsnyhTsW6CmA96Eb2C6oMXQ25g
FKP+4GsKspToYIaIOsDRUUaXKUmviPbDXd1DPcBZAlRdsGhxzbY5O3k7wpWgOeMc+fPyL5lOC0lv
spw/uMhO5XQ3mG+8dRFWLl9JuyKL7Z6XudKH7mCW8lJ4fXfUNf3axm52B4U6o1eNHJeA0LRDYAwA
6E20HOtp+xAGjVprNj6jyervhy4orsuHZsbhBlSQ4OdJjaNuZ9Gjna8zeowfhzF2KP3A0iYcAPBa
hinNRPDcs5X5yjqH9HGpGUfh7iSFHuy3aTtxJ5BTy2MZD5B+7Ad3byv2a7oWN7vls88mnfBBkR2W
n+XuTeJ765jPnnHjGOMm2ENZHl5cwz/BaKDIeq4YmnofciKt7ceJ7qOTcvoUuip9Vq59k5oDopum
i10twSwsk3UGtaHtXKa5eY4hLcxaHqzPXdiyOiQ4Tc/5PKC7rrb3+G6zX8exZerZHsbGOVqYpKF7
r8vYOtkW0bLaa+NDOWLe1Ch1BOkycdsC4ZCb9RUvbk0ykdj9QGHhxhvtcc+QA+PRSm4s8oRrM5A/
wZsazzGB5ptxcn5OxETONR3yyB2xczW4Rq6mABpi6IAtxhHkQspu8Sxr0ITxgFCb+iUat1Xnh1Ym
DSYEgvRGE5SXMJENtOBuPKQpnfI1KXx8CGgHvK+BaBYOvBk35Wi3HJozGnKi1NTu4nau4Z3np9KZ
m5frjljeMOQo3cE+kQNXQtWS5iMBOneumY+6ME9waat95cicPKB5HrtifM8t+m/GoUNZHPQtAXX4
zyr5icjhbjkoa/u0TF5k7xtbN/EADuIl3lcBJtZ80owzB0e4QT0E1z4Wh8iojENDBtciJXsBZJPs
YZ82u6As3XuTU+kqqPoPE6kDppFotwDf8DynGL58iAf3BrVKO5XSXu+BB/leKWM0STYeiyfwy+mH
NtaEjIsBfXT+TxugExsiUPrFK7sfht3DmZBwV9rYVK9K/0Fs6OZbFyfx6PIu+kyHp1GpJ+yk7U8t
nm7wEeblpK/1Kq+3C6YKZYFSUSvKm7d2HBlGZi9F7TR7mSM0yFKnXHAa7LWJBfWH3ZkP4yGuBv/B
KLNyXQbQFw9jZd8un1XH1420TsF7kCa7OtDqC8NtccZzwpfc6x+Olbqnxuy9MyLgpiBQv3M71Z1V
BDPSUaxZ/Q7Hhl3POTCZgV1WE1zS4AlTNrHO7N4aTbWnx02tXc+fnaIhYTh16GQU/crGnox9Y9yP
y+kUJzTGo3lPaKSq3WdV32FSefMTGb3qZnMcMcBu816Is2YhMPa0VBDIYKOYxZY6iQIKkl71Pydu
hQACCPIZZITS9QTTrRkxi1UCd8O8O7by8Ji6MKXYyh30hUZoUp27bmtYV8KrKNnrra9UJdfWoDw8
oMJxl5U+gRZCOmsAg3hiZr20gTByjAydIyiXQ/ZN+CZGSCcLk/AOtQOnZ4D7Au8na0cdrTrs8meN
YRXo0hDejqlbkyez2OzOi/OJxC77xEvPhTnnT4me2mNCltZ7HdJEvaG9hYguTvhkzNAysxiepU7n
EGwNJBbie/eVvde0r0DoOMFzBlIKKB0WgGZ3mvSiP4g2Kr+XwnH6AlwRk8IMGITyCJk2F/mpXYho
WVZsKjmGd/gLsLfVs2me+91RzYjYXJx7+A7raX4ls2IgcNGlENjmm0k3f2qd1+5tkb5qROhOnYQL
EqLP1I5WPBmyOS11DRmMvUUTFCaCoz3ZUNNoM8C6qHqIufOGOnECc5/Ad9hZevI2OwZ2TGlspWr4
WQtRvOx4Z+lddfmvDxPGn/uCDV2aQhc4ci1hC/HnLtm8rkqvHeIKK1Wx6XkNbsb5Q+LeJQ07psoa
SxyTfHBEyQfb+eOny68FLXWUukf2oiZ8fcUydDKDCrKelqccCUwd3oWU5v33h5KVStGza1u+hLmA
O/gs/jjANn/73/9Y2/2nn/7tP2vx/se/87f/SWf4/4914Abnwv+8Dvz0M/9f15/jZ04HeE49yTiX
9Yr573xXgmvOXwGZLsKG7VkW+GHO/f1n0/77XzTvr7pjCxL9nsXeVxeCE+YfpeCO+Kuw6aF1XEmk
jnYDGnHnSunw3//i6H91DRuAkmObwjURcP47peCm88/H3OWfp3bZME2BKGCTAPlnRSAfWIGniki2
KavfGn3PmyliHsPzd22mAmC3Z2CpR6yoK4Sm2VPJZgQFcOxfzbTAumBd65mAUA/+E0yTd7+s92lX
7SpT3FbJBNCDrbFbE7Ok3woUM3DZ0HrwOTWvmv/D3XksR66kWfqJUAY44BBmswpEIDQZ1ExuYBRJ
aMChxdP3h1u9qTGbRfdyFkWrylvMS0YE3H9xzndQElHpzedlvoNYeNcs8W/m5bcwKj/sep+H6QPz
qbvadp5FND2mGgQ6mf2ia7wr0PixxX8ybGAFKQ6bIYx/Q/x7+OMti665C/oWDaJlLjpbDaohkIHv
Vf1t7Y3Oe47M6dHV2tOyMrWbpCIUp9ovnoXYM4THBxVKu2Ls3kVm/8iDncOYkcQR9TnaC4FysLsW
ljQJYmrTTTgtGefYAJrepFStIL7AWOiZ87A7NHJHXsE9jLtqIA2ijGZ1dZNKXXMV5cRkIMisIlT+
XQaUOyKBpHA80uzsYue407ujkMuuvehoTXbAr3rt2iHclIqfmkLjK47+itzY2jarlGZ8y1behazK
R6JPkaP3e22q+O0F6S8LwhVu8+K1NKghvAzeX+xOR+ZkzaVwZzSoJif/FM4XItjni908ElJnHOBO
7O26MXZy4SV0MGijMMp0xBAOGUUuK0CsgecR99xBdgUhXJkiP2V5JyTiBwy/9JUpbig+HRD682rT
yQ5ppwHCxciBAMevB+sHyDTenKn4EE1fb/P+iX09XnEThR/rUdBZTHmmc9vNOgPdFFp4BQdAHqAK
Pi+ZhpBM132hA1xKp7ecHNJtTOqON8ACqF0cBj3LgSRJvtVcXTpKJ0Ndh8h+o0ar/dyNvhtVsWig
t1mIqox6qD3eq4vzpoh+uMZpvYc3kQndj2KJYK2acH1bNVTHrKI33w0CTakxWyBGYGRvl2bAhzTl
5wR6wnZOokfA9OaW6SZMMlTF29wJAwTHir2fPLgEsWVMghod9M44f5uDwHeq6zfTCHUiKE4EbVrU
lWnBSFSi80Wgb3sDgmtzeJ0rPntFJRIkGda1tAo9GFeGuliJO+S2orefwZQwxNiFKOs2ly6lFh1r
+2lqsVtp3LOb1BrBV1bFcWn1DMlHyhZqSgM70h+7iM48t6Yju5LmMDOSsmT4hh0eI5nOKnVJ1asu
1qWb90xpxx2WesAGKBjaFXelyu9eH+4dDgThwbDQYhw+BSkC+5SmSOXGO0ibj3SpkUZ0Cv21FZ3U
yvNBsmTw/RmmG2AE1W6hv0eZD6BFS/rHiMi0jUSZvf5nSkwt6JfwZiYum7C+SwPB0WINytspWiNV
gF4aq4fBWowTeKPxbKXuAbKniVqZwZ0uozNh5t0ORfZH30W/TljuHGTA0spv+Am/vYXfqwh5jOXo
PmkOsJ+6sAASNpBoZM07ssCiKglL2MiWTFtp1yQRu8dGTzU/LpcJlpgqdqGNhw++AFZTaQbJBaS4
t0uBYQ0C25hpwvP1LIW+qysY/jEr0hz91uE43Oix/oLLCd6A5GSbrf7Cc8zAioRXqbS/JcbmOJpf
jNA4q9l34dgiV4EUi8v604sm3FUtr1c5NcDFnc8I7xB0hRQGIPAg5RQwj3EaW4XJ0kyJdqNDRNlm
uUDgezKynFSlMHTh7eG/4oY4FYUCkYKIUbxYM231YvF74KL+O5WftLn6Bq8+J+X6rOn5h1fxwIqy
eK7i8l0r6CpC1Mp9ov4ktev+L6qTa/KNA6X67f7Pf5QR/1nS/H9XnljsGf7f5cnlsxuSz/+oTdZv
+HdtItx/IRpzpM4l6TJ8J+r835WJ0P/FPkYXnnQMaZpCp5z978JEuv/igWMg7gguAioTypn/Lkyk
/Bd/hysdzDOWDY7F+B8VJqSM/OcAXgd/IUHImC7bIZMf5f+qTHSm2bNBBN+WB3gfl706N1oORUfk
004zOxiLMovOUBEYrqrT4j1AcNnGLiw1+D/N7IfQEXuIaOqxC8MNfnR8yRlE39bVfBvxpEvvibGv
dKE3JRz7aG2ipbd3UEMF2iys9phF7JMePxequOV5brwWtri3CG5bjOx9aTnwrWFVl/e4DpL+MlPa
SMTbYY9pY+7Ntzyhzc6j+NCqqNtq/aaeJZO6srzFMRgfWCHnOjWvDpFbSD/fcrH8g0vB1kYTep31
8TJkKydkVYeDk+r1+Iril/kR4I+psgKvMd8dm2GDnIXl23q/QzrmtyQxFZX3VSbVJzjkJTV/IuoI
C5EGFCBKoiTotOHFbtTRGmcU8jFeAkhFgR7lD4llEtZZbmkj/hbGHxTXhLoTTIIlHrpLxXSdtKHP
KFZnW33F5cAOKbwbRf5QaXgK4uWI1GHbqjdmRcyFUO5HTMMcNwAqsy8b5sLGvLdJFDAX7Yotfxet
Z/dYmBe4GSuJUrIYRYJYRQejCPcesJ7amXb17OLBXh31rb1PJVbBcPhqI+TfcCbsJtDhyIEqJl9L
L17rsntNAU7ofxOnuq0vMg301vbmr84D5RQTJRIqcDcTvDKxy+Z1x8qha9pfA1ye2skP6cggwrpa
K5aDCwFfpvOWa95RmmSyJdNh5Uh08CMbx3wYAAfjscb3iXq+Kpy9xqcOY3roHpgfs4cA5njK+T+5
Pc54tih+ZwyXembp7CzyMXvzypeaImJhfRunNwQdfgSoMsLSOgj+otwm3iIrj15RbOJyIrnuPUqt
CTP+ggF7tn1sJ9yN5WfuLPBH5bRNZ+8ZhZ04K+7HQjguW1PQclVjnAfLehmG5MQwIFPEGQrmih2L
K6YomJfm5jNDv59Nw0/zElXRuWunZ6Wn26p2UyTc1VZTa4Nv6i0x1Om91PvfkPBwK8NPAqZ8I+xq
2nVMdBAgJXuTaWSIEHljRTrW14iIDurdDntc9h5PwGobw/pgPSDB5HmkVS3Eskw1UcyW1FHmJMov
XEcFXQVnSMFcGfeDKuGGoO8sTiC8/BGpIg5GVHqfpvxAXj+EX0k77qsiT49D7CR3uiwuBUPA4+hV
7Ar7YX4oa6856mWndlBncxBuoXc0IKHqk7jqLbVtblOUw6do7pw8edGtwnouonWLX608i+7sxcMD
bBnWptjBYbNh9FPGowffB3cR1uc8+1iMS2tXzHez89RPmE2zZ5ycG0Rc30P1GK/Db9DRmCill50z
C4+ZA20F0W0Jl96YXiIy3/gm0ioSLtXf2lnD1HLgXJC1+3lnDzBXSIcAdgjB4ELqmA+O/67jvbcN
TK4lncT7aHi7WZyA65Dii0NEfxqGiYlsvZHyEzgJkdQ4XbLvsqyOLq4Q1ZOryH4KsdPWdYlJ0Dkc
i9VCGt6G9mqrcddUyd6tiVK2qcihq/TFk1Ev+6ls9wNW5Hx1tIuHqXy3RxqD/MOsDgJ9uLPU23B4
7pYz4TM+mO5dqt+FkX5byof2oQ1r4LPxSZLOYeGvhMQgwLo2dyjAUeMWfmhoeyfW94WhnckN8Cvz
3gPNoJkNg/0/8WTwrM0InbCPdRkUmzW22+z2JVZROM+Jeoh1F2MYBb6Bg4NaDlkPw8mCAXRcvpX1
hLZLx7I6AbdkYEm5rpHxpVCxAjnZmBpGks6zXuc0D3SkPhOz7hLlcI7AK5qJTz4MgJoW+7dlYqih
e1xaJvipOk5dTEsCCat8BxO/m5s3RKEryjvlH0xBqaVBg3N3TvI7l6XQ5Cb7cY5eAZjcssk7kjva
m6ck+67dXedEuyWV+0LSZ6yak4V86TH2WziD+G987kWfkp8lKUnY04rOwCxbHfPulIVsTSvYvew8
3eSpI/UJfeF2EdGfov+E0bqJCzi4NkY2l5wHfVBb07pE3nsdVfshGQKEWzvd+Iji33p2/GX+bbv0
u84oIid7PyYPieE8s/3zu9WV6ImHZkAjAiiNxsjnjQeaX204T1rWfhmm257TxCp+F3PhBpB7rQRG
ZTT9nWjhDKY9nvb0WLfVQzqSFxZvo9nmY7WX3QwlQni/qcz//PNn3sJgNpyDPq1v9mAEOEkWbJy4
MFdTcqj8OhTVprBc8E9mLQLCcXwxMsTQ4tdhAWlChAVzdc6gzD10c+frUfYk83CvFdndiENgsj9C
409o3E8wfET51XU1gHSQuQtRHmaFSP+rTV5L4ooXvJsoPgBIjuvZsRE91sFcg1/VdRg9/Cp9GlZv
SyYvjXjEH0g6w6udvvME7Wws4VkHZEsFyQQPJD5GYC16o/rKYkW/3gXFGslBYzQkr2FXXKqEoNZE
bKax3M9ueBnkH2dtVnVe2gR/F6gdF0iGxwNU3icZW36G2eFE97RqK4wc+R9JCs1knhQmgijiIs0O
i9nu+04Fhd3dE3K3deDXuPa51X5AXW9ixGid/MvqaFOhlHMRyeHGppSY3ws4YA2CRatkNcwzbYyB
uy48imlnRXBI9PrA9b7H/rWfJ3XIWzuoqoySDX9rpY6FGK5GyNumN9kXiuShHv5IlLB4sGq/mtpD
NHiP1bRulbmDQDJGy+DX3J5phbih8H4jaz6E4VNaskeQOppu8XjVRgD7yrKfWjqseB6f7TL9GuHp
MB+vAzpqPzaFdy0yb489p/at8inHZrxqNejt0e+yR9Q/qGMoJENU3/7UQg5jf3Mz42SgZeKIhjbj
Oxq7iSqKTk5Ne1f+LOn0k3tWBBBDvtSRdQuZ+k98Alx9PhRLghQ0lKd8mC4og9NNaQyPUYLPFnca
YaZWFF1yB3Vyrtx3TaUJYEgbUvayjfDNJDjHexy5MLjqTRTPP/nQRr7Xr9WcK0EjvIi0vqd6PETl
/Ojo8cXKvSc0bP4wjSxQxgCh1BkQSb0Md7V+7kzxG5nuT1cOO6eFCdfMp2bUfpoVfq8yX9WAKaqa
46A/V2piYe6+WyMoYeoa99SROgXZxF53DkNY7dv0W6YmOykMy+ws0aq92dlPP6BbqNmAEAUsWm0z
u5Jqmb+gn3a9hMuRn8ET84kFQxAjl0ZoExf30/ylMR2Z44d8VvuwVOfeyi8KWl2vqXuGojFOea5y
ZmJwAeE16aAY5J/Q+6286qLAgY1Zsuv0u5WNXsztNl3D3x2CCEhK0ZbXJBbnkT9awFx2Sh04pHkK
GE3AGfJWZHtoXkcTcAC/gJv5k4D7khJWQbinB+RMm14d6kMYt0EC0E0nWaQy4Iek19i0/f61jl1/
8FDeVvt0xE7HNgoA3inSP+oUgYin+Ng8C6ZgU50fQ2MOqo4VKG9j4cIjgf3l1vmzzbkBjnSTyM+q
tJ7i6rhYnK5Y1LfU3puSuJZsmeBkPJF967hMwUpeXbxYovTjAY3ljMUALS1zzWcCIE98I2gf+4EN
CnMIqwlGZ/ZVb/lKx/ZkqfdRatsw+uYxPRGD67cLSReQljTK+NjsHrye+iFcKXRKHutC3QvQf2tq
018W99vUnR4L4EjRyGUCMooxAlWMnCcchVi1NQ3cXo80/gGrzRAk6/azWjguU2mxp86190FZuJ2I
yOKCv9Wz+ZTaCq+iJMgVj4yq8xd3nbK2lCLfnQWybrmP8BOB38J7Q5RJt+ZpINzrSLAIX82eUpTa
uop/bIx2FV0cRY43ATJBvr6+dhydPoQYCegmGoUfaz9l9kIc4MZg2rPUKajv+MgUx+LDm3F7CYmo
WCeNvXOoNCzuJANV6EHUjxn+XMa+uotDUTm7zJqv0gJOwFIPrm/l3tn1rdazo8aqUErlJwuONVQt
GojkrKN0yY6gZzaZ3l/5tO+qkieFMTA0qk2VCpbyox8uZ9FhPjCHXY//u56GYPFGJL+O79LiCiOC
KVMyZ+sxXOrBkjCZvrrdPZflGoC4ycPkoNvRedLfOnstfklr6T4zpkkt4djJPD1Gkshb9Rsxyw3D
00C1UXGpdRwWQ/mbfy48mwm/4JI+T2F0MLGexCnoOsDDDToIstuukbfNNFpOMRxyozsYLo8Tzq8W
lrpB8HNJkVIsJwfmai5eEzs5ZM6bQbOUh1+Fh1sDIK1RyRdd56M6YuGoflM2x0mV38VltHPKRwPs
OhpFF2yNMr8bMsCE98nScA7dPSKunLo/WILMfHZ1eUvhFPTpUQeDUja3fnhV1GBEvWXQ24gFgC70
PkTxbkFw07OlXjpeVWBAveVuPBi9he27BONO3fNA2awTfhJxVLTaExM4f1xDz5QIDKwDA4DxHEem
nr8thG6PCT5k4gGi6Y+GTD0c7mfen9SJgkV39gTuBp1CNtOOdEtR0OB4ZKu+b9xroXtfA9vlNHe2
wIR3WXkgagY701VlkW8bzxI1nGVe+/LLzlhxGj+mtAMNgJzZHpKl2YOvOM7lGCxOvpOgCRox+m5n
brLqMRn7cw6YsGJZK72NK+CsLqxSWTnby6dDCc/6wMeavrcpsJyyOMQk8CSuQhpC19O2F9ujMOTY
mS9u+ShheGYE5gFZxQ5zaxpnWwvzzkCgLIkF8WLvT69D8Q0zrmQCdig7Zg1a4yTgJDdBxnvYV0Sy
931g5q/C+m1gAiGM25hZs1cx6l6rothKLkMPtn/s4X2BXjgKr7knsKkMmpqMoUH7kmnykMNtZQ9D
qIImt6G0OgYRWriDgPuEOmUL4WA/1cObIzkLal7B3OHIYN7skyn/AG533IoUuvrYafdzj9RHr78L
B2kiBIzOxfNhFA8Zrl5Xq6kP9ZcwB0kvIfPSvUx9cQrNX5wCGwrToHX6B8BUt4aC04NctiAWAfN5
GCcCENrqfrLxtRLz6naBWqUfELkipFFy9LhatENt9+vY4GHNJGtGa99l1N9z+cC8bDN/t91xWam6
dFctDPIUlA9E074yvl2JRT7LTyb5MQNEiIhXCDHMHwDxJJC424oewZNnYw2XW77NHJCDLE5WSLyP
+Tnx2dB53RTsadr6KJww80wotMw7XSveOBOAahxZEf2tVjKDVW9hwWzqdAgMVYBy633VFucYHsME
MV2DFdWJlLDT5TTn8V04v4MlSTfDIrdl+a6jVUpZYasWVqBF1qZDyrM5Py+Fe4xNsC0hIFb5nLv9
3vHAII9/POsvrJpZT/fhnB2Afj+0fQZxFktHTz4w2XDw7BBT+mgWbg7ToKhkC1O5ZOD0n44HdY0h
F0IEookfc92578kyYQOH4TsZP0e618Z4dA2nPuG9OWQKqXmnF8E4MuBXaO5BCQPIG3/RIUXbnFDk
banbA+7Q/jRbhn6+srRIf4duF2n68dmuMVf9QEIiLJKykwQAHCl2uMtxPe5jsYCBZZNmR9oMwDC7
AI37a1p/MWMSvJxdHFrtqZuCCq4M0SF0D/T9Nvp79D83G3ZaTY1epONHUmmvcC+4GSJOdnMzcTsg
xqLj3/fjscrb08R2LqtVYI9HNdxRYbBIVBTF817r9RO2901iD7/Icqi3UU8TSwHKPTKpwRiGjsUt
qa0nMkx58Z6WskL695Nmct9IEt3QgJATwmBm5w5/bAtfJmlYnveQt8mjzXMwWVzyaoI5BNFwJiCv
L0t+DozWtv4cCoWyj5I299wPbEFbLzzppM9ZzgrmW35o1zcT+kl99J6b0K9b3Sd0y+4vWv2muPZD
7dcuCQoJ38UqE2PNtN6U5By8AQfYJ2DJJz0/yNLkBqaCkF+CRMFNTp72+DeZ4Ni1DlUiUpmkXYLe
+p2Gq61BkTVGA32vsae2v5uadSBLi+Ys7yHd80CZb4hiS/THkXZoU7WPImcZJ3YDfxGfhltH8AlV
BoT9rH6JtGHi4OLfRRTBC6Fwr2bafjbZ+Ldu2HQ2dGaofphgm6WLB+ZDYOvV9owHtyIkScsCSW9Y
G67GmmclbBllgA/KluI0yvkMP3UjKDwYw/pKNm+l8q6rVoRvP5Pb8DrSMuoCsgl8Ju8yp93FmRlR
d9cJu/5sCApaWOYNAWRL8mCFT+CFz5IaOO7esh2WOspp5HGbsMiJ+nu1iDtqf/A53Q3NcxFyd9LT
FoTxdc7iZ5P1VIxXkoeIAwnPAo81CKoafLsYfHJ8G99T8UFgWz3A4HxpUb9HhbzhLjqzRPWtnD1e
Kb8gSZ+13Nt6dfXMtvQHPwxr6uqpZC1sgUBtr3X6TYwnBJUJoqMTGOyxqb5ECadP34FV20M/93kh
tmA2z8guKPJQz89s3QUFLGiowlaswQh/f231ivVVvBU1TANSMMv6GRUyz8Z3IT9aQZhj/oeX49zZ
+7l8ldZLJnlSsdTlzmdR1bsZh3GfAsOIa3QQ+k7EwzWSDK29iSCTczj2kJI4J4hW246uT5aTvQE2
HmChuHPRSknvI7UfUJCCFP1OGXqkOG+h+e6RJ/3FD7VF0zSvMcWCkKvWC9rGvUiDuEfeIuE9toQu
Jdr4guZN8yCm57gpKU6AAiqYw7lDZ4UCa04/oux1oeeI5YcHP3pwjQdEvn6b/i3dmepiCXJZBj3C
MmTUT57Sf5IxIfOjb449kvpdaZCenCEVQBK2QV2/b8HFun32GufTaVbiSo1+a0WTbYjGGLGa8dib
yj7hgaPJFbhm8hy+VmjyUhltbgQgPMRpBps4GOY1dbW7OnKf4+Ufq2jN01dY9w0BND1JVhWp1Qzz
XOfSa5E6prb3ZkDIIgGbkyEp36Fzvnb9MnK+lDcrC6Y5iRlkzJ+rzmlBD8WlOT+0Ewe8myZvTmdY
u8XBRGV45rHIHZzH87THn+3AKiGvpONf4EK8oJwkI5Zjigv1plWcyIiQSTod45aId+KFGkjXCfHX
DET0ptqVKC1wQA179lb7yJ1PgGo2hR6dCiZOWmlsW8ekAXXemLa2zUJUSEdkDsEVETM9J33H43K0
OoHatMwZVzTLmyowy8daDEuAL0xTCblI9Qvb4QfUJFQL4kIISXaIzAHuSLLXKEYjJw+McLmSOn/I
hhilzffIjc+aBk1Mo/Z9DEHQ1MW9Z6tnIh2ShtV6DT63dL/sxkI+AnuGPgRhffSbDjz52VkV5XuT
aN9ZB3whovZhgouimfwoVhhoR7i90+llmtw34G6VL4Y1Y0UQ9qXUtvQYOnXtAfZ1ADC5jslxQDbQ
U5FyseLGaqdT03PNNek5tjmCFIvxcLzwwl9mKAdJ8l6ycfNSSFIVGsRY7JIefAfDZ8Gnpdb7fcY5
NBD70fTBlMf6VmqS5icnADiZeSAY8aAGTDBGw84gqQp9Is2ymWXRYZ7is7TLaC/k8AAy9CfUUkwq
PfeXFofhxcESXeuddwktPUdtON53WrMcQqODd5xdyQI2cJ/yFE92eWDcD/JOXgH0N88Z9M4YsgVH
98DiDU+a1CLQDgP5bdUEoJ6UI56MfLQPWmE+phCUA1HYACEZGC4OP0AS63EQXSYZAsLN+mkvG676
2X5ciGXFqPqNAAwKGRumu+xILol1csPyMk+oH+L5AtWwqOvwvlrCP1NLmEpN+rlZw+wdG+v8zxe9
4nHXapq+VU6vJ7p3JozvxcpeIuXkT7pzrCsSaWUkH0w08whVty4mUTQvwyF2h98O6dCmIySR5DNz
2/aOvLo1ro2xHw+dxvtTe0yMSDzkovSG5rS0niBPk1UFQSxneNmncSDwrnXLnaEvBONUavAdB3ts
1JnzKev67eCOnPYC/TYRgjZSZsZFlsVLmPFpnxz1ImOnPnpDfcnAkuCRFDy9joW0qZZ7frTXvuvF
TidZRpmuuUkdg8g/IKB8oHmsc7paNOLSpQAf7cUFBtzU22ZGp4BTnQVLTerIaqklW7w/5s6UB575
61aTwJEHkjJUNlPHqfp02G6mRakgCoxO4JrjvSw690ToaHLswvTb8/hA9i0vRDVM/L187M+ust4L
zyrJjeQozyn4OkRbO9qzhSHmNbKplTKqzWrol9tSaUjlGZ6H7uTsnFF/zSsTKADCwe2E85wkAz7X
QywOlRPzzpHz6Sm2epgK1NFen1LEPrbVn1QKQjmHJcPE2fP25BReQQwRpbMs5xuJSfFdWiz7dF13
kTH1ZU+eGYS1+TOIT94K7zWDqMNSegUzliWMwZ880rwnGW3GrqD8Lpo19+B9MMXVkdwAmXrFUmbt
vTj9k2Ao8dveboHV8ANlmAt5OflB68S8JQ3nrJVa2QET5Mw0o0z22RVVmo07hoffeU0KiI9adx4c
9lyIH4e91+avfcX3hUjz/XalObdZc55gbqNEMbZZGf9UmDmp9D2ggNRgkRPeIi/+BIms0Q0BiHAR
S8OqDne1FRJ2bcb3ecnizIvFzcMz7yN6I5Cvil8Gsx98u5dXNi3hrfME537a5wcQUDGJfyzcoogo
xdYpESi2CmpV/Zk4bv/RNmRGSsWWGjP+oRPaO040jYk0JaWNRGpK+zcAMoHoB0r3NuapW+ynzJU3
YB/4ecolmCLRH9M1yYsggXLbgA/YqBgVoOwd5mC6Z7P3mX9DgxBNPvnHXEHDnDlZ4t78tdbg5Coe
b5GpVYFqFWdnBWt7ZBzxzxczdnRe8JoZrnUbjck6d+uss0/Kby1qfyfybUwYFKymkjg8NU1NWXqk
d4gPZkzM9hyeeu5tphMdLNKhWzi9pmILvPph1JhVhTnjW2Sk18He9n3q7sg0AmJSlLfUxc2SpFi3
CravBo55jkPa2H72CwzqflrhVwcu0+46y0EnVWo7fcSmxu+TTWlyNknSq6AnHTS7+tsukEUscp1W
Ti7zR+Dgix7xWYvxPOm2wnGQda8mRDFmRtkJbxbPGcGiGrvWzHVoyiRyVhtn/ajges96vy3RtEEU
KKK9m64oVFI2PMzz/FYrsn55qeRwb1ahx31SI2fX9PPQnHMtK6FsZ1hMJkyORlechr4+pCT0hboc
t0R9frFZouZA5yiKAqC/5QToRD4LBWAUI/gtjI1ip/cxC7WFIGVArZRLNNKCBGU0DW5PB2ieTEQ6
W8SlsC1Hu9uHLWC0Qrk+6EFeaOVWu6YdCYTKJTbBKIFjpLAZaM2xadw3iIrjJhNudei5yYqwD++N
lY3JGGKbdc4TxtrHCKIGf+N4jIrCXxyzpH/ADh6Nth14lUmkXUHm5r+9thM+gYZV+sERAa9zcudm
eObiuT4nSSt3duOuz65pPJMeumtCIONWNNSBZjlPcHj+Yq/pHyuHMFNnznhJqkjwujheULha+SSS
0HiUNDB+3bEeGEVvH+pK7L1SyrOqvSOvoLafQ2gC3DN3sduCUXA7jOj4PWgozEOOSvkwcdoi1ynk
yVlgsrYlGVNF6XgP6RDtaskMnZGD8dygiqIPzO5roVs7/LXyvSQavAqnP8Ij1a8wUeqQPfEdDmFE
SnsBBPfHGar4Oi/Ad/Oa9EbirGjQEvnaDY3zbM6c2Sj8ENas/1PhWqL/7LudZiVPSWFywhQppREI
pMNgSI2RGOs51cbvPE3NvoFETsiVXT4ndbinKGaFZrTqZGcZv3o2ZhtDr+ubmlSFO8UDsmsa9Y0K
eZs43LOVsJJrPCUpdLxw3hK7OPr2jMSvxIfse1psnP754qz/LbELjczjOykr56Q3JTNiY2AsGGKt
BLjwVYgqRm9csnNpWQHMbn9nLVMKIygkDI4cDicVh4m58ykqOAkaNlu7pDbkGaDPcEahk1F/OOV1
caP6aqxfCgyYvpnqySFMuW37dNbu7Dbpnsc4xKnnzc+jhbxG2p+mlsbPoWWx2A61FbFhVruibCSa
6ozxvF0ZJxQJoI5mCRNMNsu5rOrbYGjOnWRtMnWEgAtxUg1jgbmhdUwQJD8YsdhD4PnRvLq5Zll6
UhGtpkPUSWdr6SUhrBDJTH5oemLjLbq7vVnjDmG8Fs6iuBWrF4pCrbwtavol9kxto1xwTydl+Upe
aLWFGe7wWEjrGMUAfgoRmAOOQo5ygtHU1DyXtfVnNCsat1ISmck18iptAuTstDOO9orRJlrssdHS
9Ox1TIdcu3x0gXA/spSFJQWuCMRKc0jl5Dy73EuB2cthVzolw8dwzI9VAkCqES4otBgFtUnIVY6A
+mAzhQ0qpdqdadsGThH4YVYan9P+kOhWed+KetkWw3JNpnkO8C/UJ8q1h2IcRTC13D5KV6zaANPc
uesXezA/lknMu5i1VEvo1P2iau3eWL9kU4X41LBeUloDf6KEurWxPt1EajN7YpNkQbu+/fPnroOf
W4ErDUricVcWobOGhTDzwqNo+AmpsrT4sriiWjvzXkwPtj1MD9KNxrPQrFeIuN7O1LlEMrU6mMup
vypDoIkqCvTFdovnR5sPAuTEZVaVd9GzniwyapedcBHq+mmPh3Gg0A6aRZp3nk0YLBWCCOwSP/Cm
m8Vrgzqd+VhxKFXq3MxZ+4t3yOXWysU9rBiifmEiV+ZQfcyMoGu81Sx150s8ed0Fkxr9AFNPlmwF
cJSMQHlbb/s7I+EfDHn0xoahDUYxa386utmU2CplUcqOIyErTF7Y3KMPqMOo3ylHK2D34H7rG4mI
aAZSR/V61bPSI/wE43c+y3SrEbWVuS2+VnLP4buoEPGd+d5NfXtfucy5oiKz15yd8QIoBUA4yOYY
UFPr+Hxklrva7A+9ZZErg279Hlqq8NG9JfdmH24zhdOe4ILlM16qHQd3+LZEOnqcDM0hz+8XrFvK
tLG6z0J7fHUWrhFuoENqeg0rXenc8Jk7Nw/yHmnNUGrwJrO3Rqm32jDkk8j9KgOZEhoWXH/gEM9l
ah2Qf6N6A/jZdlRlCMR8ux3offucYqIiIBYdd0TT/V+sncmO48iapd+l9yyQNI6L3kjULPkglzzc
fUP4FJxn4/j09Vn2LaCrgG50Ab1J3LwZEZmuwWj/f75zDqA7LNqQbePUMdkJy+ZpHsaGiCyyU+rY
QBxiAXQUY1u/tWoo85G7J0DKpUjmJzdji8EfOe4mbxaXIpl2HcWKR1q5jV1LSmgcCnHRUOg2mUvT
jumnlLwkLhkJQ3yLsE2fJNwaJuEmWxtlm+8mGDICxFlbz2H4mIxcSXN2JlNTJhtHpMV+LKeXzAyf
I48GWBXitUqszHpLEnOXluzgZ5u+cAI2WfWYYYsgOvy4Te6+EcF/6ULnkTADyofIKYYMSLK9nGZc
zPgZt3mTMjhuHHOZL95g4SzQh20svd82t66FDR3fLIo3d4agID5jVU320+gvf4qa0dWJCM0dCa0M
hFa0QTuh20gICpqIK05pEjT1aUzu/MZVq7I3yYF4tAz3jxlWn2WovyeUMfECgZ5HIanrtE6SVNPS
BY40VuXjA00H/t0pZBD7o/UxD4Z65PDQnEq25RGF08+OTqYXkdhBTybOyupqfn5SA0xyoLiPxNvB
S5C2h+HdrPrl2IYWhvncvsXu0GElHA2kMueS8t+IxZUCs7i0d7kWIbwaZ4/EgmBqdFiybnSYi1he
FJwGeh9S4jAyftQlSWuy1eHaTL042Xae70pFfmVxzKzQW+O2E1Vxtqi/29F5d7aQ0AhbQl+x44DZ
vaUHm+LPKavHnak7B4qXHzpvGPm/veyQhX98X9rPcfQJSvvauXO4r3vvPOvV8OL3tGYT0hG0EWVZ
BnU603hqU2pt0wxGp5+m+GkyybvCfm6NgAeudC8gSONqXsgtqL0CQpc2+s0ksE2wRMSWRS4Yb1Sr
HBk+W8JMnmk0hSkJ/1D8Rzuym4ntTEzviVARmBOdDXcxDOKc0YHH6rAcVeCkWJshO1+7aU4Uuy0B
Hd5o++HBAzG7AA1f46Yz2GYyrFOKRs1ITNN7RJwKKIggHjlGMvDiW9uG+PbBBdCPCntj6iNEWdwT
lRjBcNauINCLTid6NZLHYo7Sx957kPQL7CxWw2Sw2zgOtBoDLL0DhwS90s5Z19AR/VAvHn5t0uHR
KbY2/8HnxPicK1E+ZLX22etOt5WzS2z36LYbsczell6vrymX+rHAyZf70442KbDO8uyO/sB857C5
0KMaD2hZHPyI/tvheZgoysk0iy605lBN9efiQIF600elsJmsMX7JDLfhjthhpikMpKSIjF/4qGd5
fdJCVARP0Btroomd3cZXGz6ZbrR8ao/+1J71wX/Eg/8rda3ehDNCvmRhOc3+A/YbEw6UByN4HC75
BIkpZvfhsMihII68mCL27qnHORjSeUZBmb3LpCyRfyex8RKDF82YtRdWTyvcOe7KLi0iCJJKMQdZ
d2J/RktczTZ3xHPFZ4/rN5sRy01Q1hZDw8Dbp3syYlIeLstD1y0Nao8ThLpvbBfG6L02CWfbON29
nea/Td9TMhJb01lTf/FNbUu+R7hvooVRhOs9pfNzhPuPfm7PcPZJnuCLdsRtENWZ6zJ5xDPzzFjU
PD77xnxYDHO5dNmb5RcbagHT7aRnVzQDgpNoOHlsR8meIO2sXdX5cpMKV6wrlnRpaV4ioz6FUdjt
yaiI+ODRilVb818r19znxW68Z60a7a1B1ANC/vTQd0l0oEAmXqFxWbTN696ORcYB17ZxcGt9PbHc
PIpbpC/62c77TWX17+bA4qn0qD2ofznIy23jdSoTc/pMSZJap7X4sZ17TBPXCm1zeVy8Qyrf4rF3
UCs8Mpk7LiRtYmzymehFZyDZrtd91XVWgiUyHk86WIVb+mzEeYQ3dffAcU7NajkdZjT0zOF+soTf
HjUHh5o4J5zHuLgKA2u/2XSs9Zm3yXt7FdYf3QaaMAeUtJ68BondwGKFl+BQT3sC1RwIiCWbmFlb
gCiNNUdrW0xW1K0fUmHMa3aQ7DfakP6NBedVBW9I69A61JriNFpdA0dESq1VpiH7TQYc+mRY7BLh
uWnMygIVSB84u8YgKZC7Q+3sk+Z6/KdDqiRtQ9aS9zYnRH+M8WaImh7NontB/gw3s5VqBHcy/gl8
mtILb7WDawk/iLOlw2R2uEdqcUyNbGKnT/KbEjJW6eYlB3dhabv2XHfCwb5Mh8apXj1WSrvRhNAU
xBpawN+8GuohzcW9XCApiQ7mu0W877k0i/sgrauZJvLRGoeTINKds//D7JavRCcQLuReR6H8mVQ2
pXmwzM2Uxp1VmsEXZs2rSmysl2yt8odjVtvQJZGs88Gp9wz154qlwnHgwgL2jOhmioV1UoBnoAXf
HgASIaJhcVJ6L3mfZ/ZLHYUIG74DA85C+sa88qcF71sIJqUeHq9rwuPdGEaXFJFdXzvDwc6jaz62
PLyMgv0/NcAbn5tiyKizMuYKBZ+IVap2piWe/rrDe0nCFkhtIS9+9BtVhPNjm+OmF+v0FprZdswx
ISQsQNY+9081ZM68ZXD9LhLC7NtN0HnPcZHT+V7Gd5LImW1rvq7qt3FE6l3V4czM0MdE+JuYhR04
45anuwGZk27r0cH7uoiJroDuZ1TBwbVJGo5rafoavFfbdWQjpP3OkwmkkkEKD9nBKWnFlbEZXbTG
GN1pPVvLzKWvIQs7MU8pLY8LBYAhXgYCmG5N0tAg7EaYPZmdaf7jzZ9mAtFmEpu3Yzfc6ACDP3fn
eGcv9UcrcTxAotiB7uMZRjMLxpocvcztqyBdot8Bp0POQuRo6cbGdIgeivy6vXTty0gzesBSO94W
vf2oO06+oS8IjJ95cB078BeevIchVCqXr2GlDxXhBDRhFiOPDe9nEC6hIlaccNp915nWbdIG8AKl
g9k78Y2zvkTjajISBZX+aYre++cQ8MpUZwJQ8yzL4jjdkIlfbfVjNcLUJMt8S6qFJmSPlTLwxbgq
TKCnDC6+q+W64SheTYJlX0G9nzCWP+Hg8B6zJWB+e9dievBk9Ns5UXvWNKrsyX0eA0sfDmYyfEnD
oYyLwPH9fDUrKsN7pxrXsWTd6+WoizYDeIT25I5DdezJbl/nHcnrfHk/dJNGAq8SxGiGz41sbC5i
Uc8igrfbJ9QIXa8vHkJPnsc46/ae3XzqZoetqCYoz+wXvvlzdbM0zgrWBrxAQ2c8uMB6lv0Nh/Ca
+Hn7XonkQkGT/euG2sEXLxRxdU9TF7o3FndfIwfVOcI1MI35s6uRc5hHxdHMwh4Ncsxe4mZ86nEB
BG5PDuzUTe6+nxB+B+hw0hpv/ZTMz9LmDlTevTabb06I6uCj3a7b1L66SVudy74PWKdUXxY1gHTc
TLSb0r3Bu98pBd2TI+gjoyBhlzbCMN9L3hLWdn6BGUI4ms7myDH2Zpu/ZqHKWcFjvbN8N16b7QJ5
afCS/PdzH/6/OSv/TwES/8mwSeqE+ntSKYJP+fmf/mbzT8TCc//bztffrs/lP+bOf/3K/9d/+K+g
httc//7P//Fd9aVUf1qUVP85w8HC2fh/MVYmeMU/y//qreT3/Mtb6fybJ2zbxQXpWbZLM9X/bq60
PNdBSLNd03RUFsh/mCudf8M5SSAEB77umCQ1/Ie1Uvyb57uWp+sGXixHmN5/z1op/kseCdZKQzi2
bnOZgSP3jf+SbegZhjRl3GG1yRxrnb2mcffpFKpKjPpM0yWVr+KZyBper7JPhVlOGSt3c0IT4SnM
k8RujyQfs8u4Kc95IuqtqS1njT5I9HqgTefXc0nQF8rjUrPJm54qmhRJq3/1mN1xMvBcR8dv3e+l
9A5V5T7Al5Hz9FAkuH765kIX1RrX3PNAgl5HLakxWugC1tVenvry1HMWL2Z7LkV5i0dvTzgOZ7lV
H4d6Pkfk0+NQQXsmUKsR78CROxI1QA5y8dZMElj+maCLXZWEn83YPbRtR5JDCITRcWnrggqHTeQm
zUp4j4OqBGUvnaHTS//HfTT7ZBtBt1b8+HpIo/p1qPyrJIGimLHOOcXapTrAbqIHvADE0tJ1PFSv
y5YYXoQSF+4SkonnR9MJPBrpoZ/LYBwS4iHCgGbffdhNG8cBT2GNEOXFU4PQV0ZHuoueS5k9Dqx3
utLZpsn4JQb9FncU+/rZoXk1EIO5zNHTFxbUO4Y9mz9x9oZm48318+xbhKtiY23TeZuVLFHNXD7E
JFVEadAX9EBaWR7kLIGrjF40ekT5+L6bdIBUqsR94IGQJ2BlhljX3JKzfEE84aIUWjc3f8/41NQw
4RV3J65UsEd2H1QpZdMeTw/dIiU+t9cWGzbbz5+zgU9Ajm0Jeu9CCjQ7Smodxej+VLa70YrkLvgp
FpxCEUZA5pc+/RNay9nx8AYNBGC2tOQBbyRtf5MObX1avHb77qti6qBCkukPpLHzNX3jLz5yTK4E
w+MQN09tnB8E3cMz3Xzu8iexwwe7w0pV4brzH922ZkHYEshvbWwa20iNO+qsaWecD4DKp1R8tnax
a3L65fpP1pYf6USovTlgqDEoThNMsgl0WIOMCQS4Syr7GKdXm6ZTRuc1vSgnXUQPrqGfKx2CFvEp
GKztMtj49OEjF+p6IEglXe32C5uMVWWGt0HVMbQUsdIFTTkJt/RmZ00Jz9L5ZW7OcYjlpgcRrHlA
lGBlcqEHuY5OTvXFmovw6YX2Phc7n5Y+xuLud97dyudj4/rdilK9a2z29w7wfkxOTbRviwbWrXAO
flLij4TAyYAiWLGlefsZ28y/bvfkcp/o5m86b3/sxCWoeuFSiAu46cI3Ivi4KqglXupq27FpD2R1
4JgyAXVmG4MCKZb3iSFj3Yfi4PfA8/O9kslGuMNZdJKQKt5Z3c4Da+6OhnQfO3t6DrOS/VvEtISw
0rX2W1U0e2+MDpob7U2DTBqZfJj1a4fdq3XSTVHIV6KtY5CYaZfW3P/1V2fRkD0fM9NdawtqtPYb
0+BDht6lQmLvUwNPuWro2nt5fPUNk6083ZOaiL70fnmXCrR3ot/YYVTj+kIjJeJSmwwXO3Tu0mlG
8PQjG8wYGNc3gjaj8Xbuf4gJf27aaM/Y/10Sn00iRMvwqGOapUrRF+0njX+4sxrnwarq7yY91K5z
0mncIFGeBoBU7mdVRTf09vtCZkVCFGMu9HgzCAJp0rnfm0V8A8YHDc5PxHPmG0JNXmRYHpvmR4TZ
wcy6i25JHG5HNot/uix79pvu6o64XEt3IC6DLIus2loTYRs56dEVNoKsfsnS+j4TeKOYdJHS2jsS
VdPG10xMfHHxP5i0WUp/34qNVQyfFtIz8AUOWAG9mTwLUuXFMK91ncVgGJ9FlRMnUa88/OQT26EJ
u0IA1SVon3UcjNZGK35Kj69BhmOGAUcVoVDWvKXrAKge3B8Xms+1sfkqox9/IJAFXqLjizDfyvEm
SbQJSd6klRs6etnCiZwa0sd02HSHU8k04+cR5++qaGgzSvVTRuHJio0trATRkaY9A3y96QRgl+nH
wMlGo846htSaBUMxsTFFw0zFJN9GlCcswLaAfI5dn+Wkv5spmYNWbb+5rnZuZIinqj1O0nxph6Xf
pdytSUn5qp35b4bc0JEqR/04IOgwmjs3TOeA0pCDGyspPXbW9USdnNut566/mAUF0zHp7tSeGLO5
HznZfAQY8PUejb2ZjV2Mu9NQAUeudRUg4FGRPEQ5R/RCx3NItIo7te/Cq/5qdf4bucVbOpa/IRT/
mGHNllnzos/dgoU9/zDa+sgKOxzENUzyZpVDq1gtts8KyknG8rOKmi+fdvXAjYa9lbBjTHiNay8h
SChmhVi+09W0NjFs65ISw1TbjeS++X58H106RcyIF1pcW0+/hHX3t8dY6OkFDuBbBsu6ihELVk3I
oKujtOlaeklm7gZN/N135PPkLYPo/FWM77WkDs0etlaE/YexbgzjDcnIFmdHqtKJ2XqVryMmAOas
wYHKbNpjlT4u2J6A4aaV3mmfaB0+zFqcLyqdczeW2Utk4KRfuu9SEa+RTU69p52Hipo1+tBMRnT2
Q+Q71e3RdiMg8XbvTkSVWiS7FHq+qZv52mDjAdTH5mR+QiGeTYsiCTN70Eh6WmUa/U65cSLi8kSk
7ZluBnzmSYDBfctham9dQepsYXwJx8Br2dgsD3FW2Mj7skE97KTrkiDl7B1rOkYiioPaYQs++2w0
GvslgYn0yupY2tWNAvTHVhf7wSweQ7fFMFS4Z+iVYCCPcLUA2VghKB/ZvhvvOaC04TfSvGM5PFMu
MJkudhAWKE17coqWz29Ir2mSU0inseLM9PymDnJ3fCGeADeBbdIMYa+MNP71oo6oPSakEVJjvFZh
+MquONDD4cEAR5cNH+PUqkCuKvNiILX5hX9OzeJd62tcOOImsv4j9jP45xJdWR2TsZbcmXvW+Aqw
mAXcZ7lH4AJFe6IwfF36d9RjNMNuPeXJWvfJSfh1vHqXUP1oyV8DJt4iHmn+dPGMzUvLkyuHLgmx
tOnLI/uCR6smHTIO92iG/DRl+jrZ0TZWdE69HLRok/v3Zs4Ix/JoDzRPLfN6P4R8yolh5cNUNAjJ
vBhLdmsc86Ev0ruFHW6xzZNmyueaB0lH93CY+xfMpcfkOEcvmtz1TbK3HP/aQHhqOVHW0Rwxo9Ob
Vz0hqL1btBxv/DDaOlylXNoZdBG/d0RgUnX/E8uuO/hpvfFU+5jlaRs4U18rdA6a6qtGpUJkI3Gq
RDrjMWwXqI1ht4MK21R2/cFXw22zuyvsr6Kb4ECZ4TWWAoS/3RAQG0icBvtZgdeC/yyeormOVqId
Wfzf/ZqqB+lM12GRxzgTgSVoWQrxdWyI2Q1Kg7vrIuYeA3CyaoB7yUjYlgW9JG7d7LHZAJosHHJI
jbnzUPCGH8wJyylMmruw8SkV0hMLnEadCP9Y4bK2jD6YaeNlZxHdcsSOFk5YD6srJRh8CCqxC3Ny
UQjjyhdcciU191Ew/a+kGKfewMThUWbz1SOpNVP6HZbhF5ULx8zAlpd02nHMh+VE0tY69QYsD2sI
14kqwOaFEEpYdDDcdZFQI0MlRGmbqhpiLeoE9FyLOdDcfmOYrLXR50rUnvDJ2Meud6+wIwUF7Vxe
1v8S4LBGpmqm+cKOn689iIPpk5sWPc/4HOn6XaXib8PjhgYZkj79TbewSqkb92Bz5qyc0fy251Fl
yrXlujIhnJppZ8Qdu6vuzaetQ765fXllj3zMC/uacOc12/jmeunZxugWL7ga3e8BN6Mb3rW+OtJF
HeJs1g6ZCcXLA02wd6DEZIpCFllEz8mFm6mXrepZHAsT/Cgb4eOVU0ey8RfDW0ge+IoxSzsJfgk3
ug3F7PRVApM0NZdSkBBdNntZEA7QDvKo1cRb6ZgPYQC5lM/HMsEIhbRcwNK77DHr0CO/iwRtFs9y
Yi/rvxlS2w7+N2uQczZtlsbheeTJ1wzLuDbh0ovJtdI3C9U+msvDLCYOriuie0zH9YJTeqYjfqYN
sekXcuqdBf62T/CRDG99jNmgwsjnZe/ZcxRXM51x2XM9QOilRnqj8lBZe8mZ5yW8ua2L18lytonJ
Z7kLfNkfm7bkgoJN9WgbX0tp7+HK3d002RTTvZpLdUhT2W/IPrsSlMs1H9qDIdekwcXSNfQA4tlx
x0j3iInPXZK1I+95ZB6kHx+s7EVCRZGzguI/kIQ8YcFS9ecie/RQbIai3uUpmJwO158xHZNJjzaG
cxuXoxM958Vy6LB9sCo66Kg4fAddd8OzTCJvwSnuFtd4sNrXDo+B/zvbfAHYWf8dh/QIbXEK+cAt
ZgxSRvaudW6GS9URIs9JaIYqYiLe6PafNudN4zrbs9n1QQlsQb4YR/SAI3JmqWvP5XocbtDIrvOV
u/rRZVlI+8QL/b1rTS/XVj/va4PLQT5s3cEOqAObWZvXMbGzNjVRlBMP2fxAkseV6saXkJ+gZ/dq
ZVngmaSRC4SOKrDlK0M0nkwqwZIfwjJ3oVvTzobUOsVnx8YjHOXGgLvZPnExIGew4QJmJBzHQ9Ay
fpZav+OfZj+JO0mMl1EQZ18s+0RJaLwctGcKdrDzLofa1jPu+iF5glC3Y/nj2pJHw3gqCD6ehPgo
av9xnIqjK8tbQWlAu5iIz1XzbnTumaom6iLJ30E5eZwFaz2HrprVghuKt5CSeJyp23gZznaqB8MQ
7jxbPLF6tLBziEcdQ6/eV2HgLj81VkyncW/siTD+68kHxAZRwSMlQgBm5nTtycg9FYP8AjDg7S7y
aSXjiIcBqcv8LIGOHuz0uLOkAN2mjkEzuNlK65vc9aCP60NutbeWZELLXijZbvFlz82fodbfnYTO
emkFBjtsnwJrTxP7pEsYYMlY9pcdFY77KrdeHGM6yKe58JeNHspHaJuTkXOpnaa1HORbwbaDkk5O
nZp/qbADsxXvZFbtzWWYVo2eBHCS16aQXCXaSx5zCCWTfK7KhdiLSp5CH/uSMtdLaw1U8iRllq3w
uz+5XAjQekmat6PsbYzNG2mbXHk0p9hRuE0njwr1JCAHjvjIfsAKvC68+4O1q6eRxmY9BY7g1i+P
ZF1z6Hq0+rRFRa+Mpz9RIuHuE3Dwc098SozTCA/BoyAgZcpJQCgJvIG9KtP8qPs5dj/r1FXplzm6
LzN3DSqv6bPzSaRh8E/y4mL1iGQuViebAHx9B9rOXXoRD+7S4zJABCv934yWB2vJ621WZDu6HO9R
9eMQkyp8rLyQhDEdY7ZXfxgdzV6giFjOds7IEwsKjesjIabzD6BOUFcegva5Jf27w8PsaFe/lSpY
6jVdPD7HbMNiAi3gf+S6FMZXmpE4BQWz5tmPKuEEbczubrK/u0m2IA6EZZhFf6OkkVHUPPSCE0K3
jEuma5/AdjWXEdnCZj6bMfK12MTSunQ0DBvxa93OARr5xrPeJHoD7S3wwUl4Zt+fFPGuGs+pH2+5
/m8cmHUvf6vDj1r/U2W4VLKkfJkyUzV0BZVPe6ZZ5PBHOldPHYWS09reDuHREzFSOK1U/IkURVj9
nUzObGMP8K42A2Bjoy7bsIk51pquQd7vQOtM54iWlAQZ44RuVAdyZ99E5z+24R+NGw7DuHbP4tHf
JtRG5mH4FzmRjYXWwzSTpMf+Lluuwoy/Pb3/9Wpsbk1KMYOTZih6nFsUiq41F2dPRZbLXM/haomX
vxnVC3onzn39xLlMDs0TBdmB1mgkMBFj0DFOs11dPBFkI5labvNE4wln8fzJ/nZj8ONR6hVxm3Xv
KOtfeUXGvrkSRXLMSIAts61wtUfZx0E/xJfM9m5Wmj8U4HaEo/2kCcOvx60G7R13TYqQTWQnDc4k
ZYepzXqykXuSHIl9io9Jw6wkweYWG+G9/cNbfKFSZJ8PtIt5/nbOqhN3Og9jHeaBHTEb27DClYfm
JbGq9868se0L5CMdg5CUywW+kWtEE8wxd8vkO+P8T+OWBmF6a3yIVyZMFQYLp6QbL2xrcP9xblgR
7r+R5DJ/Qvq5Tuh2MozY8/EozIhYyVlqQENif6vLc0FVil480mhxNHPr1ywneAvuvmC1OLOy7BKy
Uzbn6Sg6lr11xLlOMfG68JZtNYlf1es1j8HkvXlZuFtSFdxgHlz+lRlhFSMRNUweL1IeRpzZRDlz
cek2XST32UNCZVm2iZ1LwxwmsxpodlQuafjj9FB1goT4ct1o65pMFK3G7n4fRkHET7HpU5/rymag
ybvDedgefHeLADUs4IxyTa43V/6agsl9kuAMWsJATpRRdua6Jhd4TNJV33drgzWaBnjVxWif0O89
hfQTxrHS7DajpeE26HdLuzYiO8BfGnTqJsLiStQvRtXvBovmZIys+m7Qyw2O0IaNBE+0nUhACHPC
MwjTwJABxHMn54QP5N4OtVOkO2tjmrFIdtu2GHez/jTpzz3/Woy79HUSSAyXEJIhZ+u8dxPZZ19h
CrJXAoCN3mM9nEKPlMVuO1O/jB4nk+KQO9iBlqS4NAStTZ15j6nP6Mrmwu18wedQD2Q0EMavsmd5
BWg+n4Iyy3Y5LKDp8DXyJ+IcQd/F3462Zy25dUTARqW7YcQIStwJUXzXDffFJ9JCqzgt2usoSLdz
SSriMClif59nbw2FcG7NyCe3AJhWQgDRl7U8aPLe9NmFVRcsyxO0w64h71E6yw36E7BsXI3wdjqO
X4uTOdubQ7IWev5eetXRnD6KdnZ2RpSRNcjeu6QRYmitS1Wy01nKG7WbV9cVTwQzPoSZOIdjGISt
NqHK0kHl6MI8RhjDDJPgmarp3g0noQJHN4Op5ziq5+zbcnnkR3UFx7PwYS+jGyTemhR+1tXRCvPf
A6Wo4Sbqo/rYUfW30hCAaghcNw5faez7HGL8EsXsAww4+bEgNYrlJsNeWHyPTsLs43D5xuoKCTfv
hwJptKFI5MyYTk5LuLIcuaU1G6AdnwOq0TIbQVqTH24vVHyEaNehtZm+6crEqTMQcPYBZUbSTLGt
OT4iSX3M0m2n4V2TF4+g4trLdjaZxhlSiXD3Qv6pYme71EfSWFCBB4e47YRNgUemyxoRnYP84sir
95HYb1wjDjGT0NBhtU9qBTak7BQQuLRotyxVYLJZSvNnPSp2vtEEyoFKfkdW04FX09aJSjYY7lYf
5wNsLlvN4rGMIMbMnGCMzYg+ZQMNZB6e0TRMyVdTm0Q3nleFgNpqteaCTUKe00Ej6U4Tr57TXYdx
ZMhoDQJ8lEfdxc+iAk25so8bYnpT/IcAZC0fcUPpukIpvBhPGR2V6ku3incSCMGuUoQtpQ2HSiVu
lV7M/YqEvEY3gpCOsrWvdGWpFGZHac2zUp299MlGhLaVGl0hS3tKn+4QqkOlWBOFjHatVOzq3itN
e1DqNsjvbUTuhiGkvl4p4J7SwgeliifI47PSyYVSzAukc09p6GCj+XMssAygrhP89TX/o7cr5T0U
Lx5CvF249m+NNJ8qjd5FrI8R7T0riJWGD0UV8Yqh6/cI/EIp/a3S/A2l/kOcfE6KB9AAA/x/CAHF
CmC4ot3YJCShVSSBFj7jZuFYVIwBnsuPQlEHg+IPPEUiUMS5ckATfMUoJIpWoDt4pAuDC/FynRXP
0CuyQYA42KAO3KSVExk2UzpwED2oDALozgaQCAEl2EaoIE7zT09zJXf9LmgVVQHjhDKXF3QicdVT
5IVUDAaGF1wv3XiD8CcV6ODjL9smBCkqesMF4/AVz9FAd7WK8ChAPQAlj4ZiP2hWJWgyOmaXTJEh
jWJEluHbMn28Op2qeJM/oUd6pp6S7ViWu0jiwwol9/UsvieKQHEViwJnlmOv4FltjuKxbwGZxhkn
k2xfYsWyCEW1ECMMa5klxzSMiHv0f3RRcxGrC1iYrE0C3RmuhVXarCkhZhzQmVgxNKaiaSawGvIn
3O2sSBupmBtL0Teh4nDAGvkYpjdKcomFbQQBsESHOJZB11B14fWZOU4iY131hOpXivUxFfUzKv7H
VyRQytsti0OnCCFPsUKNooYmxQ/1gESGIooaxRalQEaToo3cccvW0Q5w5vyGikcyFJkk7EvBONsp
YqlT7JILxJQomkl6z4uim2g8w++veCdFPqFKUQKlaKhJAU41i8ttCSpFMJPOWh6xIwQPUjRVpbgq
kjNmxVnFyzkBuzIVf1U407CqWw6SdCa2TFFaheK1HMAtM56HQ13uar1z+ezBdpmK8prBvRqFfYF/
Jeqy1Gp90PE53ixcmzXFitUyPZWKHrNk16x6i6sKRy+T4GdEpep6VMxZregzHQxtcuYa3xcpWonr
htwPvrWFAblYSCIQa30mO83DOMePhzdeFwR9NJnHFoXL7dwmB/biX35TfLROSGykPBWd6B7Txry2
vdqZEndXxWSQpynBQpUjN4XP0koo7q4lfKuaC+rvfGDfeSwwXbTTgQTaaQfGvI7t8ZkCDOMCOGp/
2GR6PLX0VLDrXZatT92aIgAbxQL2QIGLogMJWdnhcGGyUuQg5dgvrmIJQ0UVzoov7AENhSIOaxRr
HIYGu60zCSL92ir4wA9T/JAMvniaDY2Mzhpz+sj/XGHz9+mxoBt9ZK9EOFlcnBoS1/NxJBKks7Yw
zh3FbDCSmaIlK8VNdoqgjMhC61iOYW3h6dkv8AFiIR5FkZemYjCFfHH5OYRiMwFGUIX/TIrZHIA3
DUVx6orndBXZqQ4BX7Geevid/8N+AoE6igZNwEIdOM5h0gMtgZqXuNUDLcWJ41LKPCiq1FV8aaFI
U6GY06bNN0Djqim5dtjs/yn1Q81L+2j4hKf48p6Br2aKYzVb/bNJRwSYMKm2RNdkPouafhabGgjW
AYZl36afrdusGFkPWNZkyj54JMbFVufBFy7WZtQ0UPbO0UAfRzocOmyMQ01MgQJyI9rFnmU4/J19
vAfSb6OV2ZgMHEC8o6J563KfKbq3Vpyvq4jfTrG/i6KAw394YMDgVBHCNqiwzN50RQ73iiGeFE3M
7tTmZ+/bHTasM8XstwZID2eLvZfLAs0ou2jjpeO0dcZhRD+Hz7cJFWsV0VyrvzhONp0HMfytne4e
Kup50LVkX/imsZ0n4EA+F1fKth68kojV0CjoF9QnwFXFUreKqm7JCVSUda54a8oX5Ioc5O6kKxrb
UVx2pgjtDFS7Vsy2r+htPCli0+kTi2XFdmtA3gx2FBCAffeK/3YVCV4rJpwRZtN7nGl+zzY5TnrE
FdN9mA30y9DG9GrZ0A3D9Iu9/DH26nM6VQhZbQmJ3uKCDZuiOntTDL/iKXNv4lWnsXjsFctO2ly6
AdwD/lGkew7yTu/EDBzxQYWBPFVa8TklB08uTsAKDD1zeA6B52tF0ePRrXexIus9xdj35blRzD0T
3I5KwcP879Sd147kyJZlf2U+YHhBTeOrU7gW4R76hQiRSa01v34Wb19gZroxg+7HBgqBqqyISHcn
aXbsnL3X/qcaH1m+vurzwwmlfr9q9gcZ9X6GjH9Z9fyJ8mWu+v4UoT83y9GuVeGZWADM1QuQoPrE
DlhghCMinvobVFEH88mognQboO6mMXSdjfBqrj6D+p+Og9V7oKwuBMKkLa+mG+QpMfVv0bPp2NFz
uroXgtXHEK2OhnT1NgyryyFd/Q4ch+EGYYGwVy+EgimCPCY09jZ7FVG0LIKEes05nW9B9Es6Mh/L
jUzDCk6LSyQsLrEOwD5NkMTI3UATd3rDIcMykZxGNGPeUMGDquoEeHLBHy6s87OjVEL1MiOGHNGF
OD8o5/8tik+vbH/sQlTC6mNY/SLp6hxhfWwOHSmTEsapIUfgv3Y4JkiX8yD6R6aZp1Rgrjaq7lWZ
PqMmNp7k8c2OQBaKtsFECpg3z4y9YkfjNiOOjKMzThcVy4u0el+oMp01l9NYXTG8b1baHqeM6G0o
yFKXuBnhLdtOaRAa26DzbHnBTjJMaKIkk1uhy7yoBswqra6cefXntAvcjqw9RQi8NshS9K0lOJYz
hH2ZhX5OFp6ibCUeA4t4BriyimWz5aCE3UeTB9jDBmqXHF0HffJqrw8lvcQMYnmGkxpgsYdyxn5S
sGCvFRgO0xI3ujLF+meN7gsHpXjBy0foMO06k2EhoxjlpDXoS4aqpkefYG/r5w8F05OmWG/l6oIq
mvna03FIIc+8dPH4bmDeB/rCGFqr+KwTk37UtDqrrNVjVaxuqwnbVYX9qlh9WCAE3NqI2N7bIkHK
roIsM1hku8EX8DURrjE1Mt2ojO5KbBH3vor2uLmR9SKqNgmT6/H29SFfMlq6XUJ42GzUGPBjBL0c
mtxSBwEzJMr7QMt+bwQKPxP8TAWczQzWVNq/ZZHyF2KoMvcWUYMZPCEzvy9zGtNNoalEdC/nBbZ8
JuqQps292lvyMcugdLC5n+kWhKn1TpMbodAAPijQyvI84unLMW3iDY8gg5UEqy+Z33Oeod2m3IEv
IgOIedUVKjFIm+ypkWQv7sxUGg1SYR4p9qNjKj/MqKoupt7O56g+EjOZuCJUMVdPpfoUzXxhWeDM
l37ZRVsf/5kIi9XuYisBqzD4AIROanAdFVq5DXjgLyhHPOiRBP19WFMU6jTY8RqtbVlA49KMNbV+
rgLkMblKmIMauFnI4MjOrOgExf5f//a//4wD0nScEKDwgZ0sRtpcyHanzZi5WBQ5jqVWPR8nhb1C
huBNM44bP1RHf9DG2TPjSdkrKHGkFn2VPMhns9ULh4BOBW6wm0+T7vW60pxAjHwVzRJ4YJiTPQoZ
mSnCuZOT5C4ziG5B7Uk4ISmEgRxrtTHtWzMmXb5Ef2YoFSgB0M2deLEnjUtBfZ23GNqAx+Hlcgl4
AuySgowIBhIclFJ5WZK5pnNtfa5n/K0eI4E0QzDNYRvywhZnxiB1zkVDrd0P8xm/aocldjlU9aQc
OjzgetRNB1kh2pIkgEab7Es/FjVYdQ4Ouh1XB8WcPFtN+qfKHE5tXDD3lJlqQ3XCE6LCUQmCZToR
UHINGTVJQjkPqSadh07elAalBROxbUOg+VMz1PshZzq+lIXkVoowtyEMVHoaYkEQp+si9Kt82C9N
55pqiViD1ivpw7gvwzbumc1Bv6kFsIZcM2CngYQ8JHoDn1ZRXWHwZgGLDBsN0idZC4HwJHWGjhWk
nS+lWCU1w9KBcRa7WmSfqURFHc2NuVNnErTG0xIH+nHKE5s5i3WqOnk3lUGCPXGvkVe6UsW+1P5X
tTOJvq080oepKbWj4CldSsOntI9A7qyEnGg0GItXr5IshwglkeSWIlC2KUXEZhjq+imgN0G5+Yq1
ctw3UfM6EQi3a9foMbOdalov/adoqQbCCEtmu5Pr1nrNM7k49zJPsd3TnC7C+F5MT3URAvtOQumk
wn+pGD8xTzDupNuzKICOXzOvetpeOR01mtkQWwHjUmEmy9nA+WXmKCf7zHwylKUnMwQZgjRkRBwE
1fsyxn/wv7ulwrlYBfKAV5hzZaP9aBZrbT3GbwrJX7omfUut+TrS88N6lJ7nVPqxJe222FW6i5DN
U5gbD516RxajZ4COYLrFNI2ujGPXo8I4U/pbd91q5CZaKm2bDfV/lgbc5B1+xKFG3KrOkAlNU/Mk
llxHcuU46w9MOmvH0nP8s9FZr8KdXU6xby9IX6Mw/Ar12tdtDYV+k0MtTS1gubL5bGfViZxGzHbI
kTGNsGC2EpVw1SEoRogSLyRbze9V3jgLkquh1fZU3UmoNUj9C93Tad6vieyuHlcSVrb2yxhUN+hb
280LBIgFqsxNEozYAJt1vMNppQiqzDW4DI1uLVjgmMDX+uQPgCk1ot5QZ1hPSTTdUWmPjoyou0La
MDfXCU2utl4Yc3FIDdiMqsWYi723LoLVRf0aZPK1oc/dJv1t1iN6uksZoYjL3zkj/7QaYRfqNL6F
LaD+ail/o2S0mFxy9IiKqxL38pWgsUm4iYmqINGQZ5sFMcmN1iI32nC8mmE/NIjFFM2ldTn6FHIT
oXTDJjIVwBN1RXaBkHziKNj/1UHZgEkSfmSaryKIcVH02CqjmQ7LsJCsPrIq0lmCsE+iGDv3dcxH
8bA7DJrYv7eSgk05Ua5WZtO4ygk5GRn7DRx/zCLF9RFONz20mWspCVnM6b5Imw8uE7GbNVInSDze
HBskaRnjrs6KR6GtqPDYbj1k4Ghrmql3mmbE7xihqJjWKVsB9lqK1y4ZzSrRWKC5Vzh4aRfEvES7
pgBXDdmwhoyqbtUR226lVtAeDJbhSCoPRo9At26Ya0hhhAqMWLasj2BMcfh2tfhWxMZIR1R5bbkD
VbJvN62Oaz8oC2CQ6Ij7NPvTpPUMTdJYtnD8XPrvcNiSb5kMMC+M0s+B189wIvFQJ8Dvl+JriMay
lGBMuMJq6W8P2V6ITNkKFahsWKeAG5uKDOySvp+ozkBHV4266siFOrnRIYqZ/Gf1iAQaxiTPmHkt
Rt5PwbB/oxYcghD3jG6Udda2GsO7rV9mpKl3SwOZzRnpxJsbN0rfRJ5VDeU5JQ4Dyhq+UY3iVySp
T9uFG2EO6gvSKAR1yWlIZOs2Lox1oFkY+OVy5rs4WZWqmoi7ljklWrUB8mbw1CU1HzwUm0lINhZ6
i1uwQJsnkaVMYyVOJXsrsWpbSyO2eq8h9uTNXFsJAfb8BpCoIq8CIA0IlcgnL271joPwiuV6r+nq
fCNxUG+y9NQwEU7ZrH4NWk2taE1n6dMdA8WusK5wOVja65cO4EeyQI34qCTKacZrwSw5GnTV5kEw
+b1nLZXA5NMLri0ornYKL+erCb6AxkeLilNNuILzv2T/DTKEVZNn2QPApYXy9pDmptsRXjJyPTTr
b9DchUZcTvkHAsQmzbFUBYB9uWB8GMIu95NNHE3bHtow8aNcP5pwIcSQHnKlB+YUO3XU7p/6kv0/
s/yWNz4ETFBKlKI+8gITZXY2P3el7sjmObc00phnFw7xVUf3EX+oeu0ZnC5RGRGZon5aKq6mVeWd
ckjSq5c2RNORSBdhyDdY0a8hERkIE4DsFsaPMtNN7NJvSWsOoRjeTVQEC934ZIh+i6SHiHcbuvIa
kt8ZT/J+WXPg0/Jh2vRXjebP0Ozy5jXNfuTyBEF3Q5BLMxyHCnK1rb1WllnjN2ZeVIQ3BU+8HTEH
x01doD4BZ58lyJ5RJGsMycRb2Ye7tA98NBBE/KUneU7dOQUIWQuHFylpbtRLm3ZYA2jeLYQwbYpe
ZszchhwmW/wZ4/oWZj2HrnhTycpOi9sDfYADnptzFzHylLb5WJ5XE4XOLCOG88DzgvnbxtqA6gik
EbqES0s5OiVPRfteWN+L3HkqUE9gU8DrYzXYRLQMFTN4pA0N4I5YRyHCPd3IW5tVB10HCfHIJor+
2liH1gYdQ+Ir5C7e9XO3XciDc+TE/OxEd2TtUQ9jLl2KCH9IICgieilfxV+7yUZt1S54XAWYUZX5
RS1LSCdM8atlKh+c7nLggx55khlEd4wyFxDtmnbtVOXbrFkyZpu8D0a8pjYcq0YGL5l/BQi/pe7d
oISqqNzU6GzqoAMqkh7idWaS+7jE4W0CqjZ9cC5+ZuqfU4HQWW0xzNLlmBknu71cvIdS9jUW800b
ZWdcyxKOymqbfUt9chBzdkpae5crPFgDmtfYfBqoUEOg3WobTY4dI0CK9d0oWYJBKSsOs8Aj8qGe
Yh0vO6IhbB9IAgCPs0WE9lNXV5haF1TYHeERjTHuiTXyShEeILBssSZe6dL6GSowI59vbRB9yvb8
Iqweth/6pdFQnalpzhGg7VZQ7qn0wUAd7ACPMikM9xXZ3JUuvUl2+1fJEYxqUKpSup+IJVd1S1Pv
7Fr3TBRYatwC+Ek805DQrTLjSPVd27LG9EPnQL07lo20L4YCky3nW6wJUvmSmwf6t8cOglDeh/vC
iCmGGdn2aXeLqYDzwXrVCupcO4DBCUy/a/T3dP5JyNyC1LA3VMaLYB8C5TloxqOsI8ydpY90ymkK
WqARwjtn0HfCA0DMAT/bylFyQu7o5IRMEgvhTZIEywmxqwBtOgN8MAonTcyDrlFFDt1wkdkdHQEa
vyq/uompQVeR8j3niiPa+P3/cPL9K+n6fxR9fitRE7TENev/IXhQRz1F6qAhNA37yPr/f77uGNfW
7/6fZZao80oEcZlKTbsseQmha7l1gFirlO5pGoPt4eLT+rXJx8yj/qxVFlFCNne8PMfuP1/OvzyO
/7nkbRwc/PP/Dbb8z5k0/1s5MHEt/r8dmI+sHL7Sf2/A5Ef+ZcBU/2GYholbkgH4arTE4vhv6ZYK
1kzdsrBjo6fXbKFzef9lwNTtfzA4V/T/YMDUrX9Y+BpkSzdUjeGD9V8zYELC+Xe3mKqbmrymeBuG
EArl0/99i1VLaC1DAw1VBbmyaQKal2TnbqckMS+VIj8n5XpaTNXxUFeNY5FkC6SBqeNgOVHa2RdN
odrMBIKCpUzznZnpzzEPzGnsh/dmrlnazQU47kT+NhrsZVMTKXdpNSQt09wdeZQFRVusupkwy6vK
76eZTmDckhvyQSzaVu66+FkhZmY1zNB01DNk4FMs9lq9lOwxQ7n3rRqiBaOoU5bxCtZ8XUMaBsjW
5ugUtUZxM+OIGyeJnzfp6XTqLO8gajws+bLkNZnTegCWY0BexQYreuQWs/2ny9n30hqeUqfcMzqD
m6mZ2QAEhIGFDCmZmjAonvQseeXozi/JiBJRO8Np6lCmuOk2y6QImnnKTN+Pc7KRdoSM6FDkOqrY
RgTZOa5qan4GeuMqb8/nCQKopDwM/KJz2n2ESf+LuPZvqJU/vZZ7dVqdAzvaMZj0MbSc6XnfEb4e
swhUql2+WEOOWUaIV1RnL1VrIdrpf7QOXfMcKWCxO4P0N7qeVcrUYL6hFicph4WSE9w78Vf3Jqs6
rhAalLD+mTpxz0cXHcalWVUvMTHHDvtzsFGCgShnldUSWBvyuKlI70Lvr6o+v/RF6I/VayfRtOyz
4DqIEhGn4KBvfQA6Sx0DED1wC6y5xlCghS9Vpg7SZxosJtKN6gHR6RBrFiDReNWqVvofoJQImCTp
oAzRI40y5oHzFCPVwO4nTEnxBTQ06LoI51No5jknFzcnJ2MTBasHtTC3DWZbegrBYWRMt1PhxAPC
1iXKJOIeoUPkjMlDt5b6Z2OZu1e96T4WEg0so3mKQ+WRhYQJLRJVZZM5FrsAWHXIcbMYoe/BToE2
QnG/5Me0YNIShswEu2FS3FmfGsYtIQrAtVkB/+6FYy2jWqOL/SEcf0B8tIewpm+QRZy2OPiRzVq9
l1Ci5lHgAe04UKIlDZWcOLyY45fJqc2ugYzMhD4G8PNnYSPUDyrQmi37aq0QPUGJgWIDd8gEKCrL
qCFkWtLAlJaNVopPkVgCOCMx6L2s+UXR2T5xmZwfVPMeELGuNAjgQ2xjmzJNXyAhYWLJm5WlF16B
g/L6Q6oNQJ9geHP6A7m8N5cRfxhJrZFlPnH4J2+ijX5FSXrqmDTXAksyGZKr74VhEv0VNFygxtqK
TpA0cl1rxgEM4LkhIj0b2MUmP9F7UFp8y8on3RgxIxviVpmd40nc6F31USdq4mRzvcsYNGLn7NcD
Ad6RTDa5dxDWRNMLI/LfAcQ8Gi+CiQxBr4yrduMbuSZp8IU3HDtUQI9/Vs0/GN1WgvwXUy0kfxWQ
2WrKrrJKaoImaZFfqhYohkZluK+nTpK/NSUqZKOhPM3fpwl8Vt9zfoYGxnIqtTslnaddaCGNN9tv
GtU97s58PDAO+1I4TXpWhL0Yt9R2US0N7w7vp8fHPRPeB2mfOhp4CO6KCnJ5qoHwKlTm0yJDY+uj
axo9anV6ksVNWQYGAxKI2AVv0Kx1YmtaWQdEt+FU1RGgR+mlUzKdLcuEzkVLyW7O5L0AG2ER1ef5
oMYRKoS5eCSh11kJESuhyscfl2hLem7ZWmnqrdnB8W25lWI9NzlQRqumlCNTOaDNXCMTuJ4XgL4Y
RmbbjZWEhr2C2aLG7EsPgvAVQVITeUmFNIIoDDBIj5/yCFGqpstWdRDxZPK5ciVW95gjyhUCwAlF
E/d0jqNr3ZJXVgl7OMyAUd1A62unkwGKFCl+e/6yOsSQPSr4xDMGb3L8kdTtsAG7iq5q5g93dMPs
XWWkP9qin/KKZzJWSeQt0hb/OsgkrQStJ+fFcEOpg/CB+PIdY0N5o0XruI5YTdG8tU3jJrpymroM
lwc2HzdMiQEcY6QQ2XwxyuKWiSLww57QAGtBbFmUaeBrOygm+sZGxcD+GnKpXAKnoZLgVDfkmrZN
eqGlRlxSpF7nNjmpUwAPBzBsow+0h8qluVToxRJ2VVdUBPUOUo23tq5PoyjxQ5eIaXK81bI4J/r4
y4QtT4ikCtIIhSW/HUS+YNsNo6somYZi4kVqmq/GT8w9ckG45aT8lvNsgD5e2xwZ91KxmOD/rIiF
PyK8su1pTsvxNU4CiJBrBiCHc3ZhQjnyXiamOkyZcafIOBsxfUe8/wZwmzuFI6zLkNC1HC/ZaMQ/
HScYtUWD3ZiRW8yZjsRA9qaOkBXitWf0dkW20ytUkjjJFRtXaxFHKzeBdldnVmu4u/6nALlH10pn
5oRKo7Kar2UhXQLU7TYNza+wU0zfWvUwpB6RwU00aVUN9NpWgRoj721uFqXbcLoYyoGM1SZczVbk
J6yCRLMV9bEZ33REFU+LeGGpZb5d83dlg421WedZ1U0jAidPr4rDPgggbl8zZTXGBJGuMeHwlMgz
VrMg96KqIak1x8FqI9txyfZkTkdp5qbDKp/tlr/qnJ1RTbHRqp5ILXy/HYtQohD7GNNi1RvywFOz
Bd3a4MmsqnA+DjUi1hb0I+5yiIQrnlcouJUJYILIDxReQN8ikgbQcNL+ciRHZJr3I8l7sUMHnFjh
YXqmUa9seO8QywQ5aebaeYVHlti/PYxUt8hxGCpN/N1l8mc5YExsQEvd4qU+QKREpd5TorXVTx8z
T7IaUiiKbvwukJ040kyEXcST38jTr1wbNuI1Zb4SHcut2w2EdYb4YJeI6XZWyVsiWcDwTCkP0HIJ
G1T/IE7BioHqx2pYCrfvq/FMGEfsGAis2yK8SJWOAU5FZuw2ZVNgjTKulYH0d+E2kSAyn2GmvmX0
Chn+MyvOmK7TLTCeZ4LJcZvcoiL5QqsWuq8IPkjX5YZcVNMbYjXBE9R9WnbzOwwo5gNrjXECtr5B
McWIiqF7HuOqiFWY5XZHwnghdS5UdAJ4bZmQhrFF3E8uBunABE4AnoP9ZqLCiEZwBSSTsgccp8D4
u3BAhsh1oZP0MoVtDkGS4RH5QEwf6pYtbSbdCNJCGrNHafaXWlqFSwJk6ZnWE/znxInYb2wDrP7q
7AgJJ9doGii29aSb63y7/W55/D5ZgQae4dfAvs8IBBTtkwSNDC2hLq6UuYnMGTL6rPtnLBLR/FPl
Z8O4ltntO9G/k+xLRO9jc1ty2dFYNuKEWbpTsCORPYRiztjo9ddAmVM2+AfVnyqkoRWRueeN2W+t
7kcF5xDkCkfLfUUlsS7V4ZzRByZMAOZXz0EdAWyR5PwCyI4h6u7Gui2R2Eoa5ueQKI703mBM6eRl
D0zkzMAXqOW8s0ZjH6XDdrSJKl3DtC6EW8r8DmiqvNuOJ5tRPr7YjFT2rsdIcmzhWg0zvLxB+IZa
+12NqzX56uaaRDvbBWfqxSbWCyjspvJJ1s0UbK3wO+lZuJRPyaLubJ9sgxBfvH9l+Y2FvLaHXa1c
awTbFbX9dOvRNg01Cbax05hMGIkH7ip88flLMYQIvBpigAbHzknkext0KtDccEwpunOlfKa0bhGm
5z6TGEV3DimLu0a9jA3DHMj8KTvzuj3Emyl/sXrhrHAGYb0Xq8ab6Tb54XX1F3kD5bp6jxECambj
2UW0g4KjU95kJADzy465NOxKA5cmrN6iW/bxQlFBkRdhuBLIxApZcZJg3pjSLU6of+ZHfVdBk970
vyRS1TjZejf5qRLSWchcG7fxsgl7DAROFnmYM5cQ6DdcNle1fBIpuwSdAMnyexRlWKRYmV4C20Pe
TNWnARDD2mNv+MrWdaI3FXyatMHv4FAoVbJ+22JXNjfgoycGHbDHk5N4Kt7BD8CyGSXcydcQhTWk
25hCrtiWhBfKuwETUONG8gXdOwFAiY661U/2o3lMjYFcpf3Amt16Ihe+ZO2xnWzK1yGjiDwT8srO
uenQ8FX6JqB+k6d7GV3H+azRdYut5zI55COEBVzQBVGVbgPYuODDdwzpTEHQmhhHac9js3vLv7hZ
GkSXL0b1zNLaZH6U+RDk63SnNbsqcjGusL/DFjlkUbCWimHHSdbX8Emkp56pDqEmiy+Wq5wdlnCb
tG6obhu2aYhA9W8YMx/8kyDnI8qUVMmZ+Y0bSbjtOUsA5N3H0BjcLsfY7Kg1ycXeEnkN0S4qqBZv
EgRPMCk41V/qQRBN8MhuwzWjjfvBwhobG9q+IDsYzgGtZ5EIZycQR7JIDGNXwwe0fHKuycqrZQfX
Asx+Vl4b24pwGVUF20Tl03L1J1rZY00yIrkXkzfZuCZ2Lawc/P3JzkQXvOxITl4lVbhSZuwmBwM1
LeHR3Emjsg2Ug2yxVHF+qZddXv+M5W/yUV3LeIcIEt3lwGRwo7/QvATDxDOCkmyHXxWAZhGQaMqi
A1f1mNsPOYM4t+xCOXRT9cBtVbffqbIdR4zdvxU7NmuHeIqzh0ZiTlr8xcnVzOurWtp3mqabXD1w
10Gx1eWJSNRdmj1UZZupCDs23Y2ER9yo5HCQpV1zNvK5/3hEo+6d+wxtLZ6byQ8IMgNylB+D4pYX
zAh1X+LVFMdx2dPlZZpIGHMMQWl65BcGxSWnpvSxMCGlc07ysXHsDQ6E23TGDwmVfsvQ1r4aPzEK
C3ODz4IZHQUOXWifM+0a/4EAq/Egopg4TbW7WL+ywH+EuFTwXSFLZ+//CsIzoDeRe+UqFbkTwIQi
M/8gzIziD88vaTXaLZsu4StJ1A0xMweGDQk3mOVaNN2Zeq6wfC8sEIU4uIon6YD/Aey/2X/xnGsQ
NiYvag8aQ1ky5EFW9OSF7QlHQ3qBiTZdgGwgQbpC0I7RE6pO8dPld4ScYJLU6Noop3lw6+LWhG6F
tRdAB3XPO62T+C9rR/maU+E3vkzhisIYMAmIptHlBRIgI7VwyV2yKgRXP96H7cksLl3szl8zI0+G
BMw0BC4HFvepfcK7i5qCbNTYlvFJ+RQZtoFE1SkvvDWuLXpAycBr79amP07UJSezP43ltqyO5kTk
N7e99ELaDE01ClfSiKAKybY3G0+xRWSFX2foRW5Ekxch4/SDLajR/BxJ9CatjpW6sfxyg1bvHgJa
Eq40+8WwXRjLUR4tPrMXnv5QelS84jm4zB3yAelsYYYmpSp3LdSqLBbF1lQPqXZYbAIIXm2x53E3
u5OqQOTepVtMYXYJ7xAJ4HGU7gprdRTfuX/qhPxE6ZYlVKXTg8mUqj4Ly8VzgVBI7NvXjs9SdYmP
1NWtzH4QbdvCy/ArgqzoT+wQPKT0IVJAmR1uqINOn/5DNi/pZ60xNWECxrDHRWg4IlsEgIItyZXk
R15j09v2bCsz1AbSw2joSR4XBHEbutWFJZW1bDNyWAtcY6e1R/4re1jRFdOVWfh01lr2GIzBueKD
HRulTTAeUoor7Buli8+bxkmm73g0ZoA8BpnCPHk0jZyO1R3Zwaf616R4KjZE05bDOe+u0dVWnIam
FiWvo0gOjxSVREVSJU8wJ1vLz+3fbiZP6YGFxy49+EW0k1JoRDi238C0IxzZCOyW2k5ZXJTR8xkV
hcW8biEedn3vknSdOo+qqFX27Nxz65N1aRheMkB/9/l488lVxMZn141QT9wa2UdDkGvbEWm0XqJO
38wZFudU3YvJgdZuXmaEtyTy1l7uJbxpcpcoU6S3evGqgLxsSDHHRTpE4THR/w6geYEqZLvZ8EFF
tcpTEXml8kSFTrHrVuFPrG95zCRI3RIpDYSRIsgNHuw9Lfty59EI5gxO7yZCQuBa3UGWd3KJUg4e
8zFGHRucx+GrxrWf7ZHZMCVv35L0RGiShDQET6G4pm+B/OR2PQ+h1y/7Ahwm0faX9VhpIuAxdyg6
qQMGYsa1rSSdZWUv9YdmZvncaskL3CFCJ4mEmX54FCs006UN5dU3kwsRnVrlTW+mOOq1ozzzWUwN
mjRwly9r4HkLKXB9QwrxqcM3LBiNpws/ZotkYcdqrdmbUHsu031Af6vxWXLVwGPHZvcehxdF8uPw
rMNubxC5+LylvvHR81PQlPwVkOt1ngAvQgkesJCesXLQQIFOuBAWtjdwQZEWap2RQ5DE3OkvSut8
0/LTFs79TvbDnivbwPOo6xE3ASDcKPS/gH2dsme6MKxOPDdstDwhVAiK8qOZtlOMl3A+V+qdKpb8
6IcUngz+jV5ED0Xe2Cm4Tvo3M9x/N4LDpjNco3ECWMTeRZc7Sq9ZuR+MqylOlb6rP+XwgUWCyHOC
ZQkGVdpHxF+eXhftRTUuIe0GFi86p3iLDuRP0o6hXPtR6jN2LNO+UF5Rm2SrdGVjjhh43Xi44j0S
f0JW4vqPyoqq7Ptz5euflCe4V5QBGgNW5gPZTzjejVOyHLWOyMFzweGRIB/pknMqp6lZHUv9EOng
8ejn0NIKTxloPz7lzEuUhwSyX/Pr0uMeMea3gdqoO8ySl5s+DXb02MzPRttZDNQADoYKptAaPuh/
llANLkMWPOJVNqiq6MChMPSi/DPqvIJvYz8hKw15Fz7xL/Ra0DHwICjKq2GfMRGjb+Y+HhDi4FxY
Dfx9QTzFTofv8qqTIaFzuGCVhsv1TmXLd/Fi8js7dDM4ikxiyoZDPI0OW6KZtV7vCuYDP4E44KK+
6vRgTwMWbDKVd80PReekzH/ruK+oIPXvgmcGrRmlo03bLKMnvrQyuJ4GaBiEEf0qwzuh4QQUI3vG
hMo9Ltp7/EVGq4b4r74H+/4OLS4GBPkavfPLEEl3HreH+cWAmkpQTsl12swv8iuN5wPCfHp07IlJ
cK0vADQRSmDacya6nwbMOTdz5xdCtbGioY8PHQ4Z5baqCAnBG4rVpzxKDYMBa+IkeFdYQxYF9Qcp
UyFyHwsAStnDOyT4VOglQEvUEHG713AydF7fxdRaDQwcSXh8YhFQHqIbMCe58Nmazdxm5yKrWO7J
fWn3Yc6ImQNij9YTcMgK0TAhtOkv1F8AtBQsMmjmN+YZ9mf1ro2PYNmjCeHi2bp3nyZf+c3eyTlB
lqmeV3DC66wcltSneCoEBioHBBrnOFaMXPIo8DmGkzkxvCfxPfkIBBA57C9rPvxIuDAsv5xDDUkX
DrgSU/eNFQYJ6YfAqRptZ6nu0aahltZs1hpACG5bAyi9DvXZfixifUmCUGfVnavbGCJAUVvO88km
GR7W8FbSb0RCSwzQ3z61tyQyYaTHdta/KEPiv2rajz113GssehfYVkgLlB0K0U1Eij2CV/0q5vsS
byO8ikv70TCekM8Jd1TkTsGVSC8YG2ArHL34K2BlVnSv6o5sNBE4BWe2xEJuaDDLQI21d+Wp3/So
ClppONWiuQQIfeBIwDQNkQA6tfD66QPOCMUcnP9Z+e7tyzhaz/UyHEvOqgH6VIls1lNNoYHyjUKV
mOQneYieNJPHB0LHI74EVe90IgXItzxPZPFZSnA0lqMdIxkqB7imySmsk6vSiM1g9Cdjau5a5tR9
sjdYrLHlICIiWpSQMVqXHPz98gLGEoh9ON3lLrUQJbm2ZXV7TCJjC2cToUfi1VSURkFbp0nTytMI
P9nIak8wXktQ2XTvbGA4WR3c4zx/JXuWbcCQACR9dFlQUOTYCFJCim3K7sZkvsC0o0NRCeGJ7JUe
7vtgAO5D324yhw2l/FwtY3qqdSqaUZXRPyVqtcVm/1etNMu3saeYv6g+Ua+oYL4G2OAKYQlWPP1W
Iicsrr+VPe7UJHrpZpRJs4JGrJg/Q51NnXQbkKKEnrDwIC1ixak/s47RDGshVaxa7Wv6l7T51/LH
zI+INxVJe0niSt0Bj5C474fFZ+zk0eAzjqRSmJ42EytazhUznvjPYKQsmkbygl3AgOEYsZeoiEvV
/GGq4S2U/jZJ/WKRHhJpx6Lqz13/bmj5re8JWCgX4j/oTMpDrW5JErgp4CiIx5K31IlYnaNC8vsU
fIe+JBpHHqatXWEfqtykuRgojJdNghf0gONnbLHM12AlCS0CjTvgM62jWzB0tmcNiK+ToE2c3KYW
hupRiwkSTPoz5oD7TD4JhmT93wiB6WpPaSPUsQDHGOgK2iNt+pJpVEwdJquuHsF0GOluqa0/aVRp
iIGQHvVZyLx0xKqHE5ioMMVJURo6ZYZ7YslIz6jooNYFypeIEkm3qGAV+3+xdybLkQNZdv0X7VGG
wQEHFtrEHMFITskxNzAOScc8OAYH8PU6qFa1tWTWJmttpVrUorIySQYj4M/fvfdcLY42HhgldraO
HqWJzogIM3fr8jwKSYNMkhCT6TC+Ix5xT5xnblq6ZBofL4ObvTqy5nlt2eUmo14P5xaygVtCvgRX
9eSvyVwavGjo8fTtEr03nv9V9riaYL55273Os2vksfe2EObIorECrcBHiNj74+T+36KqWF2xdke0
af4sqeAIwYiPtlvz8XKHU9uMD54AfjrEgmUuoqu1QljWec1zP30AFWUmAEXM/8Te0g+MfQJ6H/vs
KqEYk8oP4PrsqsMOg1WSv2DSfk7B7JpQELeZJQGmaaGhLgHpMuPCbOuIbV/dvYQ5xua65sRgWdr0
ZXJpg47z3OLtbMIXE3JbiDQfs3bw302YnGPP/rRTpgmAyy2cgnPeG65BPgWTCDyHqrCWXQKqZCMD
51ndB8ATN9WUM2uQoopdNrYJ0CLiUfZN6FslAI2lOcT99OTnMbvhcv4uNFXbfp9fspDewtyR8w4E
5ndeONVBTi2tBF1yGMe5Oei6YCYY2BFUoeVvEe2fY6ND5sWYm4zzJkM/3NkIMAdH7ud+upZD75J1
LqqDMdPVX392Oek/Swn+U2ecxXXH5YNjLh9LUkP+7wmcrIo47GvSQq7J0t3Qtzs3kS5c+/kHyi62
urzgZEZVDkyFhU5OyAq8WDFOBQv9YeaBEmBJJ7Vf/umsZ7cGKtFmP1Atzw7+YnDdbbkFwgAThwao
RBUQhcbs2M0KngRjss7uROkSN1YBkZMFDb2reY8RgAdA2dAzOd6HxXw3jSyZckrtDAd3Wsjw5D04
afFiVcFdUUQJSRdWNPHMtzRSHe5F2TlQxJl7Z/7ETn80ZKD4yexbf1SsUub8VnbTj5CcHES5ybZ3
j/6S3WgJ/o00e3uorPItSFkUIOnHc/AC3YYeeLBkE6N+k/MkSVZmRU5k2ONTuAlGmnYTl22xlJAR
hvu4wGSaJOseSKbALZmQKEwFG23dU1HyFmcT+a6FLgW7ZrKOftWxHTOPdZrML2+hQMPMMEV6rcKc
/Q7xccCoAzwO+qfLhsEiodl815Lvzhu6LVCGEj95AwPKU9shY203+nmZ62Nvhxt7yn9b3lxztWex
S3ssn3Y/5KlaLJSWcga6gbkj58Y61tAg2PvNRc3VS1fT7RGyphkEJN2Ew00EVIzOLI4gRt+GAYKG
56QAF2s27362t1uiga6eaYFM3N9WZP3pGV5dbt0xIwHZXrqJQogRuXipdX9nPOc96YcPX5aXjOiH
PzEPlWIFCW+9UGRXUD8n471qnw2wTshDtCD1winMjivXFWDkrpmqP2TNCP1xWTBZd68rNlR524P1
aJ6T3P/+CO0KjOyMSuW8VwmMkCiHuZQ1+euUc+Un/barRkHHEINaAdwNEzCX7aBuj9jS/ROo55nW
Y6eFYIkLKrWr4mrS/o0jZIHPXH+WY/Ss3Na6DLglezrM7Ro3MeALPjI2arPwVYj4npyJAIWQ6UDU
RmN1pflB7qP5z+DKeu97LHF9X58GQyGZH5JyXaydVzv5eQqiz4r2lxPibZ1CRK6N/ppj0/PkHrlD
Z7/RIR/MrL5krsiKFOz3KK+GkrMyfXsZbCpv+SqTkXRFrXdlUgxnR6gX7eRkvMaYbZAgoATy7bYh
zLgtx7ucA2ONl6ISLpwBc+gT9Gq+JhOfdY3xyW3ZY5VqvJVlNxwrPj50guizJMChU93eO1V/v7ju
znX5or7nWkcFAQlLBGQq1D7VzT1sLOeUck8qdcjlY4EoOsjpNMYJxGEqpCiDx+3C52sW8OZjm5t8
8CeuLOD73rHXzatSy18sFS4CC4IFvqoQ5//c5u22JbJPzS6vvoPzp+hRPdriN+4ZViQ5hiZi7B/l
JASBUcNabz5ov4aQQFv6AdH9Wtjy2/hg7hp+knY7SuRAmxguqUcfL60E4tInXnYq/djdBeH0FClk
qb5xP03iJBuYlx8t5qJ9V7Oo7mazDxcgpF3HLrcrYyR0nm5TnAb7pppH5JPqBRahd3J9/STaUR0m
q74FTcM52X7ZVT7uOebNFs/gq6BDnUpBpBIngyjq9MNNSbKv5Ug7+ZW2NsZUoBSwDK7zGroNQNBs
Idq94hNbK34ewptahT+xKh6XdrpKHWI6AQuyJZm6s5LuxpEg+fNlWIXeftmOiTwKNs0Fwovnqz9F
9V3S+lxM5Vm1z0lXJ2uT+7R3iwZnoPUic3aWNqkKjlqObVy52J/dIDxSVeBvQcFlA6s/NZ3qCGYT
kTr6Ko3BV1IhzuGTVsfiUwxBuTNpdVJpaoHLoUzZ9j5C7r2u5aTgPvjselSU81ENDRKKOShTNbiI
3yKnBVA2qe9mxYAGyrMREAUdSiz7KIa5ma9+6KjdkjMteX10H4fDvYyUgxbyJubC2SOMcrMU8WvY
BLdtb7OvyOibiJ7DinWr7vtP/yEaBm4yafeyJD4h3vmO5lB2pC6oi4km6sDO6M48eb7PO3Lq30Gu
813EkIEy5L+udcaT9Nv93LBv8vQzoLerrqv3PJV3JkiuWJO+W6vfG1jLRXXTV2xjW8GmRPnjSz/U
QCIJsUyqffNCpskld/ttEbw1/oifB9EUvDjMTW7oU0Iawh85uq1MQa8ieKEEEXaZtMFW8nJ1fPQy
bUpciNDmK+q9PCzSTMIZn3eYYk3ybpY3ByDCvosxezX5S1JR61tCRrAR+KSP/t/bHUOvd2799Yiv
7YLkIdhc/JRberzgyzK55hUV0a4iOWQty9OiJ7CpEQnnhstzRsoZ+MneT90BkbbBbw0cnHoNspT5
fLQH7/cwj8dyIZ7VAbPkhW9/z1P33JTykrhc2XqBWFS63YEmDo/cA7Bpey+s5hVgwNbFWsUbguYw
R82k/+lAbAg2+zbiim7Dm7YtYoSWeW/VLIOaiRu0MVwmohSy2eQdPafajVmW3UIQ5axK9L60kGF8
b76M1qCvoSHkL6UV7xYRYN3HINNzMuw6PX31rYyP2IBp3okjVJqy6W78FeeGt4lCCejWQdlVl1gS
Za9cmhp08bGMTbTziNLlVny2g9E/2E7FMr3UFNwTjdySOLSOIvH1zTxZ3WHR8ZXgbnsHJodrhQcM
JfST4QbWg6q5n03ZjU0xe25LeZP31aOol7Nvdc1ezO3WtgylqKZY7+G/Ogf8Hd/eB8ZDur87LObJ
AKnDM1a/7YK6OXCtPVQml1eSX2yA8/xeDFn1y7ClC6PyNk/t7kJPOYaswLBTqf0jFLir1Sbq0g5I
bWHwRZGOAvKrzSmbqQlyuIUkfpSdfEpOWFQsAM+AGU6KgTvhkb5tPOCc5dSdRq+NtmoShCYHFm0u
tSCPScRdK0tS+4IlbSieVTNQrDRlXO38pTgF4QiwLktO4DY5MBvxCJnBnLAdk7sYPWLUlfXLU3N0
CCPWEkXK/Yf0LqAA2z/ZHr7O2sU2lS15gZ3Y3deRvIs9FH6E8CMNrfNds76/Wx5LuiZNyPO63Xcj
o6IdZ1y2XO/4zy9RTZE++ClyJJdH71DmV8sTC+vXjJTdCtPsumo6Fp3zxzQw2Zuu/eljOr0qZlll
OJYyvxwPTgMfMS1qiAQLOhbc8pRPJQ8rN1gxMfxNFB3cZLbej3YHwKKcLvkMeLyS+syzsr0Jhmin
1qbeChjkrpENo04h81Mwhh9tDO95nDJqPAErtUZ12zpL/e3iyJ6T2YxX6Y4nFVTcT6ySjSCMWpzZ
LkuZvj57Y/4Rlqxvc4dsqU0TgU33ibVSyeo6vlX+ghSZQzly6wwXBgh/AdyKSHpyNtlaFL3ex8bV
gjv3kC3i9o+1AhFnICv4E2fmETcmdG6I5hq4jGt0kpZCWIt+U1V7ysAx8MId21UTMlqQCvnksz4o
ZQQRX/Qf3UBuxMTHYLCCj8BjHVG54sPDjlBqPGOk0c1dSNDnplHksBV7vtHJxc1YdDjWQHsdatZL
RTmjItPUC7vSgTfnilPRgfo1S8j/lnpP82SPv9NqOuHTZ2ollM9Hp/2RRIN0J39cHOkn0Z/sEnqz
l/WfgRW9RiV7wsINAaUK+iZb78tgo80NdCVhyxt/UsBKlMBWnV54EfEXtHW4aUPzpCvY1xiw7gZM
ArbK8JP05k23c7V3ZQrBVEi4XjC8c2YVvEb1ptP5dYzzeeNMyHnCW36CkGQ7WficfSODUz3UP0nM
FXHmoXdQ3Vmk1qvoBGRznISAVsL9Qi/0piWAvI1d/P9jNJx6TUkEmXmP2X/rBfUlCpiJdc5CjOAb
WDFxaUhmHguj2lPK6J4EEpgl33C8LOYuE/iTpNRfXcKfwThiz5HRrxomVULUhgCm69jVrqvEQeZo
2jYrENW5NMezaVZmjUbG8oYLst4s3o0UKa1wZQmzNEIhySYiWrFDStjt4InJBZXXTXskdKzCPYTE
BdU6iOrxLlQTEgrCqha8taKY3UYV83b0i9cuLk4D+WZ7ABxCEG5XWCgENBncLxbOM2ilrwG7Ckat
4BQSvXMSTu4AXYxqv/iUBh++vb5odQMlTMVXuxz+UpRanGFetkT8rHjmshJ3d5GJ5zuKj4DixzbZ
KcnedC6oZwxYHmJcoSCmZk5j2U+rIwSZ4Vq07aEdgL1EOCYBDLen1mrOKuz9g7Ak7z6sZ3mFp7sL
knPPak8iDy7h0J78tfGgtYtlH5Shu1niEOYV1xOqMZeDr+j2SY1ggwEWYd+3S4tsWGziYFoulfo7
dBTFc5gdHcotNrIKVu+hXZ187qluUfunIkGPlGBeqyzgPSvNw+hMT1W6qIcoHB/4p3EJO65CwOte
OffV08CWPJZcMoZdFan4SF4A0sTaQFNMaKNhMi1oGTb9HXZcHJuOh0Rvp2c9j7B3aRHs0+peUs/M
qodKITm8RQReEdcVhTQCFa+NLZolRfdqEvblOSZHrnGN2C1Zr/eZYV8Qa2g6ssECR3CA2ZDwMGIC
1QOAjxwsJCM1B6mETEJM7SMZeJvaY0NlricAVUPOXXquGra3b12GybCOcBI4RwoOAuwinBJxyuDg
a94YKSHxUZrHDHL7ppL2Y9NyUe/T6cZqOkDtGOqqYuqo6oBsRVzo1MX+pq9numPq8lHLWLB+xLzq
z9OrLJ35iHRgP1ujHaxcC1q7U70cAw/WzIIKAKOUuIeFGRj6enem7xXbBb3ReFHj+P+iku//zUAY
Kar/PBB2Haa/5Sely4oM2D+LAs/fa7iPv/T3o+v/+38L/uG7oQhs2yW/JT2u+f+KhPn/kJ7wRcR/
XE/agA//PRLm2/+gwS8CRxhI343ciH/uf7bykRYTmI0l1XyRAPQV/pdCYb7PvwSiaVZ1tX6j0nZo
/BK+F3huKG3CZjZ//h9ih3PjJ8obeLe6HezTKcc45PZ8AEtC2xMl3Kmb16cMwjLEQtZbTo37J3qd
GlOeMh5s+7Lh2iuSkc4e1IElFtUh96IvK9avCUAy/J8s/LoYr9XQFS0b9/iWFSfaLBzIuka3tBZ4
vJFbEJroHkze70BdkQVy8Gn5HtzdeHrX6B9tY3+rhg2hTlYjDH5t2PUtekjopz+VTWvMAF407+u9
k6zBJg/1VISfTuxsU9dxz5BsHxoSwkFi2p2vDN3caffcrat00Pdby6qAA8dMzpAfdRHfy7X5cywy
muHdO0bL90imt2kRnbn+HwHIn0gO/IJmdLGWqLrr42BPtGsEODBSChyr96GjXH0uuZoz5VQeSyLg
VBsqPep9CjBoS6YzGnxwpzU+LwsbR6U4T8fSxWxfQSeO8Y9PDSbkppbfzkSBd6hQjakrwZXXi0/F
U51R1I5ONPx8DrQN0XKVe5AZDUsdv35UOZZb76dI6eSz9VM025+JJ8xR94b+jfzBmyjjYLg0rVMe
hmhlzcqUkyapPTbhSNPg6b6LARfmkJia02IKyC2sltb5mZXBtchu21yxt6jEW4EhAZQ6NoB24fvs
MrpGfqS0P8lHAZaw7mgAuuZp+0RhxnKAhvDUTcGLXZLBb5YY0xYK8F6pAn2TH9TABzmYob/mzvKt
4+qO2f2kmWFSbuCU3O0DT/ICkhpERgg/SDHF39EAaqRrkmYn5RNXu29ufPZ2sE17cOzwNRX6Ax2O
l0c296CHofA3QMV8i/d86S7mV6XxgjAwiMcQOAQ5sV6An8YSGyEjwm3pWDPBnUgb4nJGPlc2pWUh
cwGHJJ4bNpkHzWBHsMDDkmlnZNn06pAYqVuQzj6g70/ymtsWasobOevqsPTLC6BJ65S4IF2AOx60
OCtKWACNXNIZBnjnN4/D5KCXTnhAeu57FUvoYRmPbjSuXipzXGrtbNSIo0aL53bCUu43+sWb4aqM
I3Cv7Ktq5gfpmlMatc9eNjMc4e0sqPTZ2oP/Egz1kw0lbAuT9NKaCIJZ/lgk44uL6Tw0BMMt/WSa
K90Fe5F/4XR3tuMo1AFAUurgeHJjIObCDX6NVfcajmRgyvYlcntKHRFJU2s+pTECq4gBriXO+OrT
gM7FFOqM2/7unBZ1oRt/9asgmjDzwM2iIaf7rJq1QozZvGHA8ddvOwsLHL5kdewB60bUvhNNOk4e
q7HktsCWE9PRuMkK0j7sEvYD3evU1vR/FGgVXp7d4qcfucuuoiOL2lBJTLuPfVJheRl6TB5KzXCf
I+dTj3QGhZACplzsLVU9+6ojmkSlshrb4zxkH3XOJqWY/K+qAPUKUNBmxOf8n2WwLlOjO5HrN+1W
7p7Su19+Pbo3LCnO/ZI6lHaBHujnN2WwCasJc5RYh0kBDHcqPjJQgJDTk1cadiaSnVm3j/Twntf2
Zd3uFLgasnK8V4IhzmpHPM/o1qO0DwP9c5D6luss3EuywIzzIkoeUovknjDiF2NOcudYOj9BaWMh
yfuPTgt6CXFJMlzi+px8PscFu1QSOtBQzQJDJJnKN+tXyseBfTwQUKT/HWzun95AcouMAAsatL97
sF+Y3qFDeExsDR3IsYWhTmIwnybAwbQN68HaEhFSG2K17q0uexxyNU7W7lLp+mEIHLw+/D5qUyN8
NT/IXGAFKlggCzf72MIgO4Z/Ott/z5X65Ny5xjJ9AGFBRMAsTx1uEF7MmaOmi5sAxJ445IuQe49Z
HE5/c7LsHHu9JsW3cC/a1J1kGMPX7rcoulleZdetpQ98rUCP8LoH2gDbwP5dRQERAZoXwNvYrxQF
MtCq256Vr1citwNu2jqd7M4hfVdjZN8HGTgXyIYUgtvxY5/wQHaWjzmbnhxncJkBaTEl/kAEKive
4OiQ1krwb+TMfjyB4kMYj8cAds66q7K5wTWH2gc8G1OEBkkoL7dhWg+3PJQtBvz0KnKKsixHn2Pi
as3cYjpc0JMtspbH/J8hSjpj2wb0c4Mb0ZXoWu5UXRJtzK1XyvDieSXKqh2eMMXjNQtrzQoH40qH
eZLkYnGH8ImNn+lkR5TnxneoIhhtJmcv+6XtwYA8by/DyiRym6QCTQ3y9SEO0/s0MtklSZp3Owpe
swSFra06dWxVcXab6Iej4BY9DENx/RSXmCpSytuAGVO16Ah6etzoQ1XdXZDiUfNwlLzURXwzWMM9
PTjfSxY+9LlL98JwTFM2Wc6QvakWipircHGnw/IsSTsxsp8N7vNixSyrkJNU0krgN95X2gkHdla1
V1ZPVtYfHhc7KNFvlxskWAyl010Ekw+snNrrrvqpC4xWYaGBuJDfRR1P/aMr469MWiQZ83H1snxA
WgZlDSHilCU/vlJvREl32Ri8KMtDuPZGgty4iaL+Sssv7VkRPpQ66t6jeCD+ZlPmlQXmsRjc6/+H
OPxzxn76P9Ro+5AN/vOZHWfgNxiH/2VgX//Gvw3sHrM3AwSkBj9cB2L/3wd2N/hH4IRM3gFYBh+2
Pn/nXwyH8B8ish2mAdd3RCBC8A7/Gtj9f4ggdIPIE+E6bHvOf6VG2+F7if63kd1fZUTXRlbhC9le
uP75fxjZFzOpJmgFnhSkFXCunsXIzthJLK3ErNiQDPKyFp+xJhYRDQCwPEikU4MdHb9Kt0ojLhlO
apmkpkK2mkYP3wI5GTelXi+YnUMXU6PMT0SqgctsREM4Vg7UEqK4v4JExeB6ux2FV3Di5h57tCvv
NaMMj312+sQjsybqf+k3nFQBMvMqotEjFYtSohpsAJ5WRBtQDrpxOltx115sX2LQBfGuFc522mpe
rd+4jfBe55L9m7DBIbBY3IIz5PLeKCL0oCH4PZ2j3ppOU96ee57JwbgM2Br6v8LHKGRhCo+d6rsu
nNU90pyqqPiFNLQW8lHnSbpEYawLlv4p6KOHwOlfUpq7HCehUCqLoWbGt80yv/F6jtve0lTutOlz
xroFhy1liuO8mQC77df+bOU2BzDe0LLxh+wKTfApX4v+bIuJHFHvvhjUnRvSd+eRct9YGZoVgnqd
VW9dUr+HWdPiJhy3iUSQcJcOd5U9vo0N/VyVIS6swM16UXBIYuzk/tQSfKAwpR7cSyX/inCvliSh
pgbnzjCdnFC/lFhPNlgVNkgdgiy50TuWCE9D0xYnqDFsyFvc6WVsY3DT304c/56s6sejF5ec2/zZ
hv3H3M3fM1Iy4/9ZxjYdD/EEB8Fm3tXdmO8SNoVYWUlkmxlrCNdFlGNsHRALCTGyOp6IDPUAaTPu
czvcnXZI+taj+XGscQgsEwx/G/pq68Mm0+gmuQNQsijVciS3sbCQA0YY/KLsCdpNt9rK7bE85u50
HrLFOydzTzbMoQFyYn95qpXi+wI7BzsQq5KRAE7swHVPxMe7jZstVGA3iM1ReOr70t2ZGrEpDOV9
0BrSX0v+PnrLcsF1Qqa41kdoklxN+bG2/UI1ghW+zvPyWflIXb1TMWpW8Ewhx7pb4TbzLs0AXfu0
hu21z7nb+2LaZhIMWGH3z/qqcGY2ZYXRNBhxpmb9q1mmr8w21l1ZUoJTCur6psVFzlkK/Sji4Y/g
erVMRFYRPGpEJ94fEd6eaqZY0a3kIZ1AXUSDfiv78m0107Y2AwZ2LJZHU/kKmPh10Tra2XOrd5Wd
XMqHFlDxRWCSwNurl8dmrpmAaS4QZq4Y1ezs1hvdh9o2exmXj1zAX1wEt2xMvf3irs28vawPeUxj
WTIRGQhq7+o041W39Y9rht9owfluSfGPeAFsrjwwV5mQWzMBwwbOm0Oa+hfLD6szsl/KvehsGZHe
gnw6MIA+JRmtb0VMh0EODo16RexIdBxVFY+oUBaAvYto+Lf/6nti43IOuQkLnJ4Dtm63qp/7KnkZ
YArG+E2d2fsZyubZUenfIs7LYzb6LV40dvFZFHK3gXKX2yDIS02KG4LIn75WF6P/SUSmGAd2wADK
h7U0dsbWHGPe8xs9kawXE7ebwLtbmuB3FJp0Ow/EAbOq3AeLz0RVrdhkrAwdAHXk6Ls6Uh+W3+06
e7ouDi0TSWF/DO24BTLS7NvvrAMQYxhydipbQ8OuuU0JRHeN/xIP+lMG88sArYMvk19k2KsLuKCz
II0Y8/TweueTHI5Xszvo3WS6NElx18zJoQHbsaXZno4YKz6VHE3bMCzJiqFJbWPyeAWF3pumoBAH
GsJIjWN+lSGs2gn9baoGi72HuETRcAey4WNMYyiDG99ZOQJpgnTBBbT3y6fETf946NR93f8YOgZ4
guVnmAmOYbVRpWLYJd5yA17jl6sUWbsQ7zy+qmFdf+KDIs2NEdgjS+dlX0sWYV6vkp7+AjLujrCR
VdDbRD9SaUyM2NpNhY3xKqX3ae7jYzlE7yGy5VbmNMtl1LrtZ+TMjRjVPdjFedt5dCngkkVBUwyF
Kh1ZcQt2WdS1v3VAX+OFe6lXYtkH28D2C1gBAe8n4GRRNNXnWGn+apjdUVyK3rAQjRtJOqQeZPTY
wp3o9uXPlLpPsUcIYlKAcQgwevGnsHF169GlsIJnZl8WpFIiTLBNy8ZXksEphwfLVdmTNRRXOhmh
FYgOU4SMF3iDVAyNiYVV1/UPXSNfmrGkwr3HWI5A9OCQfod+aMHrswhO1fX98FeZhnhZYdCdB8+B
di5xDadYB2a3f7dG0hdjm2O19r/QBVv2bh2qPClomeH3TxG0oSc/NQ35a4pAwNZJ4Pme9zY7/sPQ
4RRKTfPQD/o5wCFVr9MCDYvtVF6sdMq2oWjXHRpqSZPYZ67T3kEYPoIhxTZ9Er1ClGPNcm/4gfls
jlcx219trk8BP/wJISGlnKtmA6U/1QB5O7lhJ4fD1/sIFFp8XtqvyDvvTQ+pfYwegxKoZhlRyfCd
gWo9p6P/GWKd9TLWWWECBYpKhmbP4St0cu8DpLwrIQk7qrzDerlFeNtUBpfkP4EQbUPYpIG1zlZ+
IHcRUuLhJhgQoEMliXxI3OXOpxEYxLc8Tc3TrBFFca3GWxZmqwcX+EPUo7Z4E3c2VHhUytCLtyP8
oFaLkgJ61DqvNE9IYv4FU9UBHCOx+uQcpAAhlDfukwWPrLXcW2NzmwlExuXW16mzMYYQfDDOE4sT
4pt4yA6eoaM6yV1a6E22b0BQBXVXn7t5OIWJfuj79YRVyWvdwnCIcvyYaFkqBs/Sg98THD1rtZhR
njmNRZJuAnd5UAH9xbnjOfvM9SH1euXK5qHC0Ne3zuw47PeSrelQMUCVPVnaeRLdCOQCkmwVNoep
tz/pMPzWSwticrx3g/qbqo+Lwhaza/FCR6m+s5bmkcssony/DNvFPuYtlT15EfRnlTf3Fb+OLGYt
0FM4VyTt1h0H9+RL6yYbcWzw0nanKqYJvAr3LWWCcE3gj3hOwHirRc/HhqcwRgwO9HLnQlNZ5DPO
L3ZgYfIT6Xo5LNi5idup9yYed6Wd/YXgxEwYWhnP9uFRzWimMOchQqC/EYxwBCDEur0PU4tMeGji
k8hS4ATeYQ47NguEUUzkH4K45d3qMwlaJnu68zvSFpMjrhCU2GKqOw49CnOpYtxINYsjuCzMpW6G
EzgB12nPyL4aRkffE8nQliEdLfEq1S3ln+a9SiO+u6Z+9ugLxoy8zlbswa2xBpSfWd91hY+nk88D
DRaZrnmXtZ9R/6JcbvNelscbr5MkJMVuaCGSU4D+jC3H2mgjf4LKhrOfJIdJAhdY66L9ishOktds
q3mXNB7J1+pueB7ShgVL/d7hpCwYePyp+W2qlPoT9522wooiIvN3YasQ9HJTDHZDCjT99uWU0Mka
9Qy6fEDajKpUlc1vDdbzc1Z/wZYvbrRDMa7N+5dmv+5alJisG4YYLNgXU883EOCjtdYGeqRKDmJk
19vZlYP8B/lTN7vMprN6chDmmvh1cAlCNCleJ5wQT4XlEbiszHgkHRiuZ1IAjH7kfrDkg7OLJsO2
rBqOmQrYX0DoHMlYePPwAdOe6oInW0BYwjqGeWYi2BP78FnEHG9NiM8IY/RNCD5hysHjhPwMW9um
GkNLjIZgtDClmXTfDvEXBpHyZqY/hq+KKdNMyZtIs9/zIHZZy0NhRmU8aHc1Y+U1pzuOL2vpckoA
s+e4C64sHhFgbPsLe6TRVU1vNoZpSMavGbc0nrcCRoxpz2WgcUpSo5lb+Z2MvLOfIUMkwfRCUaBD
FcZWZeMvDRVq04dcn3A7HejBCM+kPx77ibGFNS3jZZqOOwWjDIBysyvd+SsVK8EvsA8IBDleNl5v
E/M7a0sBnSqSZ7urICGZ+SnxCvqGUnM1XpSTGwr20Fqre79JQMMN02XxWfE11DRICsSZnIOLazUs
GPHcreIvQunIqDSkFOGM+c8Q3Yto/px5v9dLgXhMqWonWUyqon6xXZbVkmK2HXZ+ILSsCXWXIZIW
zVPWEIkmuUAmKtR4Fwfo/e2a0xV3nkczdF9N8Pe831XH4ZAvinBP1pwnYgBGDb8sNfT7hU2t0jlt
pkOCjgU3LAU1XGumnXGJPkb7LctnlBHNHnEuU9LrDbV8aGVby+em5+LhG0mZmIC9Tlisb4eSmd0Y
Ikf4F/ysPy1lZ/NAZ/6l+Gb9fzja/LXJnDfm6Iv2cQnnl5hVmh25b/P6zyxeg1iOPuR73rIDWq3I
U5JPHdpJH0igxSKiEjyT6Tayc+LS898h4tcZNQQKWQ1syqam3BXr/bZL8hsc4sOxBKChXMDKnK1U
ffBu21VFfhdZVbMLA+y7zRz4RGl4CnqAYQwShFdzcSdq8zWGzmOrgUwYfqEbQ/49ISjWQInjUoFD
qZGwa7oFm0CN9bToCd319fg8+7gkRKh/9cB1tnMF1iChTsQkM8mn/iJC0mOLPnT5LHYuE9smShag
ECNRPeB+W69UH/aMHTJCGy/r2iG/S2xybTURsaBOZxLPA5vAGTGKbQeZ5x4xaUWicfC31yD7AVb1
N/TxFvY4BqeSNHyePPWBfGD1faLk/ixxrUVF/D25T3LubnNdfVR4hXPEWZ65WPxzHxZ7Fl5mWTdH
hjSXsZMndGZld+W0AdmOZufnr4Vg2w0h6dASMWBOm9W57bO/LCR4uNQvMcsdEtvcdgjoZmy1Qcq9
cxnFNmyKxxqrVS4sTVTw6C6aj10yikNXlEcElOcpdP7OCTJcYrIaBGcPaaD+yv8HSee12zqWBdEv
IsAcXkVRVM7B8gvhcM2cM79+FnuAAWa6p6/blslzdqhaZcjLFqu/l8IiUWc/Q1d9AI/KMMmnd0EU
0mViEFE+YWlhEn4vmumBpAU4UvGeF7RpKHrrIhb7jdnpbm7ijcOFsIyrBNo2FYMpYMxsm3MZZT36
+/Y3TUNhMVImBzwB6IEW4LN44FR+GX0+T8WJM6k0UiAzUIRLnzOqBPGNt4GzjqgnQsMalX/US7aD
dy85yHEZxQHKFmbgsfejmgrJcZOPKgZJ02T4q+iOMCddcTkKJBhlSz2qPhqfQlJiBRrL0gXF3Ts3
8GVMBWYIn0jnCF0EInMRPSnerWgm/xkaySWD91SaRoFsTzmOF+ecosuw+w4efRLshBQZDqaDFNdq
vNRkJzJEwlcUBWsFLZNcwLtRdjTsbAjG6M+bgluUd04Yk5gji/CwSIiAmY/mWcqueBfoW6dNy/sp
eO0JBuOB7ngx+YdAeHkkGKDk22Z4iVNsi7y4B0Zhe6tHHuXV6P00sbkHHbTDKTwEVYCPzCpP6mxI
IXnKCVv2eKZ5qoQEtaaYMempEfOhJk0dk6hGHEiTbKRro/QuSu2PbicQXekjoBrqHcN5HdAErzQ1
/7+W5VImUWfkkk9OxcwCMhXq/3uDsHXZI17gH1MecQ/fgbCwuk/TZVXfmNTADkv4HHtvGCgR8bax
oSANAEazj118VI+tJnHyVck5TtWPyGKNPPaV6kR8mABXf4MavwhORnZh0U2fYkKZA3auki+uCo1e
ehzB22jAEkQR1HwusnzVETzXU/ZsIgWMmEpWOCp9ll8aRBIjbZdlYTkdcFbQiR3mVWQQrHy1M4U+
TImOHMgIW3fc6TKSKf0ABPFv6MbSwdFywFTwh5cHhSXK+XgklH2orL9M+gG4+WUp4lehTz9SEQHB
bOI7DPm1P+H6N0TcWDmay7gF9GaN/r5AR4dtT3GMnDVhiVhRCMfHiKyRJKvtIIvnJsWOQYHoFyyI
+9QiEnn2y8Z14dae/hMSQAP1BD/FhDo4z3t5WXG28wZhuvWvba8igUw/IlOMXImzIfR2fgRJuzSe
gRbC7i9RIbKUdj2PRZ5m0vummnGZrQaYBXksm+qiziJ9XBpjNXpOM6LdqGSC4mjS/lKZLNaJHiWO
xtoGaTc5fuxfRE23NnouEFdgbZtY+oVTfZcSZqZ+0n+EQ3nScnLfulh66tz0ZAN6DBrj7i+GIUY4
wKMX2xvKxmA1MtlcMcX7YPCU4aCYuo2RQlydpwpWaqH3lI1Tlit31mVzEh27oqGEwTPwKNK/8yMl
2UeoAuBgIB2TOu+tjJYSWKwUGHiWzCPUoDmQKLNazt90QAVcjXgIYvibGJSlVQdCwMjz2CbThMq3
YiGjSs1+GhXZrRUmgqmcf6mDjh1BpWWprV7hymFsGOsDdytCUs1EIKZk+Vr3xGtb4CZpeFnZBbeb
kI+VbZG00uaKeCCmlDiL9loa3P4otuMmOpgsD7axJl8Al6EoYAuJQSiH9FrncGVSgAOKf8a5M2xE
mekZg3Q8R1zkKP/LDcFsp85nrBKVCChT2k2TTgzyHeDFpMcQHXsn1LDvtGBKNOZ56CbSdO1nutPQ
ipeKH94hjgRGnOF/lJ5oOhFTSGejpNDLmYtvEPmATVKANtVDTk+EeG5qYYy2upLtpIHD1GM76k6G
kmwYvsULibh65ruha9W8DLHQv3U9jU96oO9nAO1ercbJLkqAUomKu4hYX6Yig+oKNXdCWgYY71Q6
gVZkepyFCWGXBYeMJkAbMvyicn1cTECY49l5doAY0O6E4ITNyph/M6bdN9K+EiA34Xk+s2brtyhF
6J1G4YAVeBOREEukCFJX3id5iXegbmgO0rI8koxyzE1sfb3FxSJZwqmVgnsxJt2yRoQfpMlVQLUp
cGtJ+PKWtQ+9MQ5EHEV8HkmBmbNOYyCkVoLjoGbjKoz9hpg9JyyC0pUGKFx9O18PUnoJFU1yR6un
/M0/CBMoxehuZdgxu1Ya2N4IdD4YK5hSIXzn3xyXXBBjj7Y7y7HptPUPZ6/tWYGFH4dJc18V11DK
r50m78Ru+uA4wm6eic+9WcZEv8ZauFYliqkgSFnziGa2kufRA/Bugn4mbkdR/elUMdu0lfqH43Zc
6225m6QocQaBlWc968JiYxj3I06kzstuXRDR45kAaPKU4MDBm7FOirWV0gCwkFY7LMBtiqhSZT+U
CwANVdKWxgAvsy/KTuGDu4gx/coVz3mGnLoGl4+ChVJTELqvNjBZHPjvcmSEU+ACZ4hDKrGutqS7
GW4LNlwvLH+X4hDtC8I9LQUzZKIqqe3r+rnKvT3yLJUKBj4nNrndIF+sDIP3oOAL4spkVsg4PA6b
cBsLm0KGkKPjY2obUV6Vk/VPCSNQEK0QQTMzkOoytxXIRF5VDSGXIMhSAeIkKvu5CFHRToUWrQSZ
G5o5HnulpWgbzU1G+ivN9+BOg3ouWg5pxRq3Sti0K7pGB48uTYmkIINuqEPFVDEwN62SCistymKy
T6UKJt/A1adAvm3LMwHlsTEay1rhpNeQ5JNkmLpipAnLUAURN6n0h40KdkY0WPhL7aCsRd9EaVwq
tE1AQvAnZvJJGmXW0/yWAEvSFAwGiJIsO/D8s7zJ2n+ihK82wbOzojZgux0Yi5Z1VrhC9soLK0Ez
kOVCgaOaHuJ0ZnNapBtagL7lFACJnwA6ZOLc+iYCk/n3TR4SCp+2fo46Q7I2FM9iDgUO69iKTSqV
4lw9WvTgxZzTUCbLQS/+NZPyM/B8e3HJisT7SmX1Ad/8OkaAyPGS5SmXOoNnqIGTvp0k7aNsZPQb
jNAMmkmwqB/k8TzrDOk+LjXkvjk5J+NU3AL8vKANJuBaZIcGP3l1QzehNSdT/J5MctJPcXxSCRss
C+Yw5tuSb0TwobI7+/Jdj7eK78bdvscMw6TU2LWgj6Bol0fs/92214n5uSZ0rBCptJsiXQnuM1gN
6P6ll13+LG9Bx1ZJ0q6meRthmFntK8gfEh8zTlZptoJPqg0T3WZTQieLn31g91UyKf22ymuuH6bW
UfJLZowLtgsMRN5mgCAOZVz8FHv94Hm1zVTJUbzH5G0wK6I4YtLgHbPwWjME7W9jdkzKT3LeMSr/
ZCpYogkEyj1Tb+a4b9WHN/156lMzPsIKGlKwtqZPvWeZp18FHEbTru3seABTudebnQdApQobNzD3
OBlKbwdKxEt3VvVRqVeRTD8dDMNESGicOiNE0qjeiA292AsF5spS/hXxI4JrBiOrYd5TnEV9J2OI
zJ+G9G8GTIOgQMB+HOu/tnnk4mVSr37xF6nPTNM5QIjdk45N9hn43w0gRJECAgotbLkMrg73ns5/
80j7by39Fr27LH97jIA89SFLV8XLVzLDyqhc8kN30D1jtlpSDOxMs0MOqTCF92fymGlAazLG8BIf
LFsCi1gmGlzML4zosJ4Wn1Jtoe15pHBejZi3jHJ80H8z4ZGTUJJvZNNaYHbDs0VgAqgvtbmWzX7E
mwixKD6Y8iPkcVP3kPRNwc62cY8/atspr6Y/6JzacUYycLAxiVIO10O4VghKUY/8yVjbGsZpMk8d
EyIGAZ2NjdOCtReW5Rob2rJAjigwWOn7T0x17LV78E4WmnH6i5JltvCpcbqLDP8t2GekIdsq42t6
P6Q0OqkssAwIo5UYIE2EmdbMnAx6DzlakwVLfi1TEP0LtQQVKY90+R4gOIZyvpAopQIjcRoBLS3D
dkswAFZQc2K3QdwJasOeaUXm2LjlDA413Wg6B6AhGP7Py7PVJH008kdAsXESoVTF56T69MXAHYx9
mW8auDlkllOhEQUdtaco2nXhsYTWIt2JL081XlK4KkT2dagqwdPl+2C4aMOd37NWstS+rTWyIyP5
Q6wIkmcqEUSIh+Srby1KIl4rj/9j68Wn7OJjWelxjU/pN6+IFO3S8iYVEPVvg/iXJn+S/BuzzjOi
z2pkysawIVH+RDaTAK5G5TL2X0NZcMXymXCho3KCCcn2IHxwcUogFcdvE+BFwDYnJl4zQV6h659j
f0a0jAgRKNWSg08e/wZqaTEJlir9inzlfsOA9ZOxw8YuteA0W1pIl0MlcFGu0P8QuADlOZYegK3M
eyh/AeN0+BjZEy/5KEScl8aWuDikhk94xdQdwaIZeeT7f+hJHCgyZgeKbPC2MLltD1wcFqX5KS/4
Jc3vZc2Z0/DXAEDsQIJ+hO2F1EwZVJna/RJ0YVQPo/zTzA9TfOX1ISmfBW466R5lR394qd5XxWcR
MKEerFfRkw3E3K5FvVUvQ59SKkfWm1143BnW2a30LbxroDlkoFFlTYviYbBzMqJ5BCouZNFYy/Tr
GcyiCchHheavp6/Vu2gxdDzFX33zxQ7eYba1oCRQr6OBpJppN1ns7HoAMWU/ZsqqoHJFAQVnZZn3
Utlh9FsE08sk144MRKjLNjrBBcUW1Mp5Y/gVNn8JO5EEP7hcfhP41TAF1pAJz2ePid1ONCBhDZYb
oL4rx2sDnZDuxat7W+F7zTjcx6hnt0mZG6nYikwCFWd8G3rp8F+JHoT1cq44HdZUXjdkZHkhwnFk
ucHV7DfpWquB5/E2ISpdCOBPElw0RCPBYqh58AmSZBnUtgXMIlbOY0rBBw8HlgkxXozZ7ZxaSM/W
Y4BIYWwAPgG+IjlQ6ASnxc0eR+mGYHa7MbrlnB3Q2yUcRAsIuig+RnmcMRI8+sgp2fer0JI6LGEt
NI9GecU5ODSV95xpA8siR1crW+dW9fLKCTxG8SYTXVhhzCeWcf5GV/JQSYMwO0TdJKcIpRPxBeF0
MNjgghCM4pI2oDtTsD0kbBJuAcRUi90w6FE6vX0IhoExkio4LnKGEEn8xMbfTkTbfsYmAmwEyDom
IF9D+nLrqbt0T8AQOuIb4+kd9qNP/80OMG1/rXBnGHsxOvXap8J7nHe/pCbYdGqYhSJnomIa1YY0
8PeokqI+kUu2IbxhzTRvycPvx0QKEv1uTbPA7439A1cYPzAXrcgBWqAlBvzNrOQbfoSOd1Bk0Joi
YLd8ZE4SilHUq3ONkEQJ0tyaf0ZfhgVwQOgtBe7f3sSGx4Smm8X4eOt041jziQwWXLnRNpMPEoix
pv/38Taj72BBXDetgd6H0SyFcf5f0HywEOTDnD5Z3WKq14hSyvpFamyi+jex/+WsxuXOYB+KPijm
0UJ9avFIaawDO+W3KPCuGXdP/BbVrzrd47egcPN5JLy/FHmTwtHsMUZuuR0Yz1GGwjfjAQ/pYpLZ
bpbJNrto9vEArDEGmDBAY0ld5V57IZ3e9sPpInBVsCJhqJNggi8dQERzObtHUHXr/eEYJ/O274MM
S+7qAh02fsz0qYVbsRYORJPahAnYCQba2RhBoC6cbXVJ2ubWJ1AxR/Df6tq5tSJ+khQeUx5zB83v
nLxqDJzNBQMwGfWbpi8xiuG6b7c5AgjRB59I1mNc6DZe63XehQfBgPTRBseqELdi6q29ju2q9FHL
3xPusoapm6wWrjWEOw+4SBzm27znKRoHkuhQSDGuAT6G7aLcYhxAv3/1e8T58EANaaWHhTuk+SYg
TbNTY3dkQuvPdkBZPZipdTHnwImq/+3bcSeQfNJzY5OEtJrQ04mNiYvnRqd+NGcLLBqv3DTgK5M8
Okyu0cXXuCsOciDscz88Q/VVMQH3aIQ2au1ddUtyDa0+Yn04OnIhHXrmdCk+h6YeV22HL4b1nzYZ
dughshIzR8XjoGbjXorM1TDMIzViNLhm9BSdQZg/Cq+/NmJC1Z4RopBKj0BsP0rZYFuaHsiBBNzm
74wS4bbauGbAvNdUXqUkvsXYOla1ehM1UGCZ5ubJZ5ik39q0toz6WBab2gIlFQg7Kcp3csDgncI0
EYkz8tPpKavWOcnEvyFmK0ITcFAF6SywFk2kep1sm6r8rITor9QIK+n9e6Iv9aK6lrrxr4aXm/qY
ZaLo4HvjRpKQiJR6+ZVYTJE5PjCZ3lGp6UgW57O9N99lmtG9fUmMfFPklZLC73lTYqDKy29xtrx2
KnjP4wDAKu/+VdHOq3feBC1/laKxshhYmtssQTVxGa1NHQBav4Ut2xGX7KdIvueUEuAk4luo/oTE
RmE7XWT1vtM+Kl6XFBpM4DM6AMsGlYuxj1l8qouUdQHst2MdPmHZwUXD6IrxvWegRvY6YvWYPeqD
s9auMDqZB2m7kFxJfjOfWaawcrzg2mX/igWCNhbuqdfbMuiRB9XKcBa7bSaeIuXCbtXWA+ytp3DF
vkG357FE8FcMl6LnloIh7IhQ5OpP3moO4gNGnCXOBfkQcWlLDUNu5WiFZ91hMuX69ZFXyZ2omtSe
RTmCUjSfEJRRNEHo7SgVTHRLCloMxX/U8lo17gkHcErkYqs85GorMSCNwS64fYuP1eY/obLXNSTg
wydBZxtxRTuS/ynxixCZRiAzcY3sYIo2QfnkrlzMrCX9ZJaHagHCoLILG+xbue0XUGS0A6eLCTd6
qdiI9CuUddJPwugEMWznlgAMG1KQncjJl0NPzjJKtWUIk+SbywsEy7FhgIcDOSkOCtJOqbsV1hZH
J+JbDDMQTALDjmzGNYbTNUvhV2bmbS2zGnb2+K10F5B1i9T4jDkuwss8Mmh5KlDxD3MA0k73NpZ0
Ag3EjXGec1b1ezVs0+A9yDe1e5YTfeA9Fd6h/qQ/qianEdej9Sgo5zPpUME6XZi0M2s2+1hErnzn
q0A7pzHpYw4hlsOqtSHdm/mxUa9zQI2BGaUeT6LdLLEj04iMw6ks3E7c9d2TPxYrm1E7ZebZFJda
vdLGU2tuxCViUF4E6nSoUA4cAnmVuDw42SYM9gNbSkJflOwnnf4J2q0k3dd+jIiw/gXes5auQfhH
sd5brhJc4gae8RUzD3GJ6m8P6dd6UIfjvHrr0lHXXWG4cxiL5sVYCjz3v8USErpxjDbNCsqxUR58
vheboVty42vajQXI6B9kk4WUv3UG48OqWbIoDgkMYJ+Tc2W3xU+vfozNv0pwDTAn6lEbtkK0mwCK
2bAulUebHtp2J3qXzH6kOH2Utnea+rPQqK42Rbht2p+OQs1oriGeigwtnNndIvUgl+vY+uLzB+CO
EvoySJv5V+HGqx7hcnQPRjchboczw3QSUoFX2oK6lL28B5NFzV/dSlua2XmiYDUWnEdY4UtjCZgC
eIW3qPR/sMWR2/gUi631klrQR92lpsuVSVibkCQJ9JCuLgJoKfeaxUJ5zR5nYZDw5jkpdSKEr3lI
AScS9mWIkSiksUU60L282k2ZSqBcXhiXmAhrgrylZK3N9ovA1VNS1Pifg5wtCqZ/U/X06sMQvAgb
n5+0bIChFGI9YmCvw4KNbP4uRUlRfsrVLlQ2zMYW2uIXVfmcXpep52n+jcEmOc1Gnmy8WP2p9s+B
3C4MwXFk78uvDrRE9E05//eyLjdFfQyaY4vCst/n4m60rk0xzMA1vH5shHMAFJtR+DPQYlQC0/bw
txf+ES7kJsZ7pMJslXOT/8w/4Pssys+qRGeLxHKor0V2LsuNwbbdlTTXtFha7qrqXpfnirLpAzV2
B9y13NTCM1hy4C7l7kC/yE987Dh14/ZSLzGrS+/cO8jVB5Ib9H4LGJILKheOomMAoqB1e4KJFoy3
lKdfHyKmB3xeNjxVOv0roTfM2VYJbXHpbQLhyKcQjF//7afZ6cn4Wb5Mea+wjY+Sm6/8kVLSXdvK
RRGafOTMWplZNbvQWolQoD0nXBkNhXR49rRtOC9l6KmpkmdMo52PcH/vUncJOF907r0WARsFN8Ve
rm/D0pkIF0NzHak75tMgkAwUpbm+adpvGYZQu7X8SzvtxsWXWDpIG2hOtma9S1m8jelHF7uew9GK
3HxVs6Ba5ikRDNSH9V/tFMsqAL6LYkPQWLvWLD3l44Rsd9wL2lHXNnpKy7Mt6SJ79ZdeSQyuuPj5
LK+m7xbkQKosD3dGspO8fa49lZgB13rIAHkfNXx30lZE89E5/WrKd1HuovmXuhOuVOZAr7ia19fb
bDhYfPC5sBPrnUDfHEU//vST4esR1NesHKdBsf2lTC/+4nTGaOutYbPMclR+gGGpupR3trbHQIqg
eaUhR51MwitqbnCcddgJ7PnTVB4U6D58wOKksN3thscIwMFyv3Rm4lRtrrUpXCAnI+e57v4++N0V
/gY/klVcrRxnq2P0D5nT3O+RVLtdcQY7aEhb33ePZ35q8NJ21KwgOpG+ZRTsviF58N7NKgY3rFzT
IU0CxbKw7vx1DUVsepbaxqqOKSNla0GdswguDPhK2t6Fln+yoGFbjP12KWX3Pt/y4jasgrRtGx+G
0AW50P0gpFpggVhN5mJYfJtLlaXriTK6JkFYM05DCwiIMfpGsJ6xRYTlOeLK8QHtreo9HraFuELV
4bEOWjKso7eK5mKiPUvG3uIgRoHFJ5GDj04Y1p4GgylIXoJBfDXJue2OCgWP8dIVKiSMfc1KLd9N
QznLrN1FcPL/aUhNlWh2T6LtmQMClc3xEM6trEDCd+WGWNJMh2MxuRtUVGvI7Lg5arrndaHZKstS
RFSrCsXZWeI0iHd6Q6KsQ8NOE4Oc+5gMF6N4QOtgn8FzmX6DUkamvM7lLwlfu8kUrtW2YniHzMwB
349LkZdc2VTmEwXjwImR7ZvwzJuJuj5Venr2p3zVgp0n4pfkbuP1SEt7LjVa4y1MO2CC5L8Zey06
FnxrY8TpvAOtswTUxyMZE0vK62uyt0XwaccgzkPtNA13I9gKySZIXs2TOsapLIdHGgD2PoMIx2ZY
XKnNjcU0U0Dy4EbqGaYXIoI6HQMv8/MtKUQxpxMmhfQo8MJovCAs4hVKX0HcBfItpd6RM+CPa3wk
FL1ANXgY43SF3qTLd+Zw7K0tIFOGAIDdmZDbIZ+sAWOzIyzNH36NYWtBq8rIuSG7GVMyOxUo+vyl
Puv0MAmVlEoIkWEJLEqVdjY55C8k6Ja+r0nZYiWqrBW+iLfWC1cccPSKS5n9jujtQDKZyCVIi2rt
sgFMfwLDhTuWzpoWq3Q8HK3/FO9nkF8NSHAzNLdoAVlHXdPh1KwAuqYVviuUVXK6Qz5S8TMk7xRQ
DwydkiWXE2Av/uUq1zW37ldZuVIhPoVLPSPlq/sy+5dIuarMgzI2J6p65ZWxe981oXKHbFfitSEe
hr+B0zz4qoebMB2M6DUugZ+lt7mImz79+mIGrGBWJDcuImcst3J6kKVxEfQnPfvguNTU7fzC695b
bBl/6J/zC9U2+A8I+sJzXZu4jlnk67wsHsOu7mUF+0TYiONV1T67eK4hS/E4iudM3mr+QTdPmKeU
cQ3ZDragLXoH2oRFXbDMJ7Ytfvl2x7W3SH2XiafJbZZNpwg6VyAfEBtSpicOqPPKpRpcJoy5OUaU
TaS8clpGjSVOG57m3spg/E6TEPkNle+rHw9mcRv4ZQ/dwRz2QP+UaNeqayZULfqTdNXwZsEcGxtQ
LBLKNn42iwba+xvh1fCEhd5aLjfapRLOsXgskvX8AareCqOFT1hC172t7qJteBvlbGt0vOYthJ/2
3zw6FXBoTz8tzIBkeLNgsvX2SNujyo9CuCJXwKPEU7kEwMrPJq/ny0FRrgO4Mm0X6x+qfJep07rs
3VQfZf8ZCZup5cAkmzQ61f2RA5caV6FFIeiJzfxot+PZ86Gj3SzcdKOdLTo6onNHFy/taQZrbzug
TjSCl8jCdMkEl0F7dpq2pul2GFDrDTNoO1dwU5A+BBCTA2gMT33yX4Ust5Cvt36C2p9PoP2LqPfW
7FJldtkaVcVT8jdNshN1ZxKOZPIsWuHurwKH40WnJm2FDxpeeuXRZsuKnkLYmtYxwddXXgrlV2UH
AMp0MUqM+BA+y9ZNzY8yBNWo33nFd6Ge44mK+oXEOesdKXG0jLHeJjS/K5FH9zlE2/JHX8BsqDai
QYO3qzVKJVwJovKPUWIvDpR77SJComDl/1LtX+4frQkPtE2zhhOIq9zy/xnBr66uB3xn3TYpGORf
wupSxvvHvCU9+M26Ui4ajpo4IX2NEfG4D7ujFfyiBBC/VW6ISVpZsNLmFSSXhFrTSSxb8z0pGpXk
nlVinSCzOOkgfyhJp+Sl+jtZ+K5rri6OzPxK+VBaBXMUBA75Xq5uivjBFZXplKPDWq3dZLZO83QJ
1/mWQTNQpxvg4CbLg0en4sJBEy4yyhaGoyDu+/J79t5FTAZhHDKpv6qDslGTf6V1jvufKr3qJmUC
NmTIQy7DZY7yLyVFRe0Q4kPjsyRBm8JUXsAohE6l8E3GW69ekrJj42fi0JDJHwkOGLycfOYA3AZ/
I2uuoJ8BlLE/YaPDgyQyRcXbxUbiQRAccXB6hOZtx7SqaQ9p8YLGhdOHQ1BEFGAzR1NhxcvvaYmY
RCEmSLuEDtpO6+4l33H5aJtPs1m1+iryd4ry12d/aJU6lovUsZryOzdsabIF0klQEIi9Q59uVe9Y
jbe4/tbKj7p99tKDX4jiE+DgBtVeUrYhVBQD/AXNPbsDVcSuTrz4M2sxLY2PsLnQAvk5Y5NedLT0
mRabqdj3xtaTv8CBYepBNboHkI8e96d1eI6jB7QIbgvODOUiQ0AvJWHB0pjED5JH6n9yt8frycL/
rwfOL+5aneoUkhigFqfsf8PKdJSWOLX+l+7KngATxotfQX8OK1Tu8nNgCuKvddeyNnJIADl7Uf+G
0dT2aU8IlRD5A4QWgFcI1FPHG8t9wlos/hqYxM7fBr8OKXASkFua8T3lb18499JFk/blyJlFmY8d
d9ExM5YmN8Uh482im+QcKCuJYCrlWzfJqFyScZJ+xzrvw2vC3N6Q/hbkV0jZ7tysKTIna9DaRCS7
6eJPIo2Jc8XjFTu23dPk6chBl3j90/RQe2QP2FtqsqcpQAbHtXwZ9RNtPkXyzHZ35iepZBtYhvdU
PVjrqDgYDBcpgxFc6IhMWcqQgReUByqY3NvFwy/vZTbcBQZ09NeacR6VpfBnTqv4nYbuWKxrbQPP
D37iEpxLKR8bczn9pbAPchiAB94ESd5WhKF5J84AToURg4ZEx0r3BepyoZQ/cr8zzFsbXM3i0Ovr
qnATrkRD/agYtZJMNrdyQkovq32YbLL6/OQNO74YvF9fX4/0ciUlqP/XMpcGaAH3DVmZcWBgU64m
YzfS9BdHYhsSaVP4FwTPyGThe6RvElh1BSfQwrB9UkEugrFEwy2MzPZZeTlVtf/vi2P4GuC23aPx
EKQ/JelAfLSaH6KpJsUQpduQP7TejVkBB9nV4oLRQAzPVT5b8pZi3XD7cd1Q21QcMgumHlCs4S3b
gcc5y8ckbNXUDc0jHJOkAwz4KYfIWV6q7JSdW1uPLxKsyhMnSuCQ+2Ne6CJJlVr38cfEUi7jrDSS
736taye2mDmRLClTwU1815PV/JmzDwrNK2YWOxDJY8KsOa4z/6Z3/xq+V+4NW0bNxhAg0LlESUjv
X8RJkl3PR9M/xHjTspYBYPLZQg5pkMx8yOI3JXunLvJ2zR1axBs2c3i2N/PTLMi7ats9hU9Ocy1Z
N9JJqSkyFRf1NEey2+ToAPfzWNOQES+uzHozJbdAelMrSONaJhMn32ftGd0Sq9tHZ9MqVt+t9mOS
GpWyK5kXGKgXB8FplMv8LxbZH0TTm9+MkN8Ma8++eGQFqlwG8YTGnE+Ekct8yjYrFMvIrj4NBD1N
88k1OBgEGm78aUUwgf0FyQP7BjoDStVlx7puGY0Ec800j6uqnqLiwUA5N1CWDmfMhqFwGkfmce6Y
7gsXOZVH1NxlHiGV8QfDOl05FLDppbeUvb1DzuSguiSBsZJQRtbTZ8Q+VqruZvwSrJPRkIBzqLqd
iJODCrlH4xMOdqr586uSBIeo+B1V2D35U2FUktTfJVZOcpDhUu31RWfr3Fif3FIoFV/82nWyyejx
kiOEotVYvubOeWDeRm0QMGtES4aZUIamaHKsbisuvXT4rEFzM0oQQOZkXx6sowJjTksfbGzJGeSN
W3fDheuaLzbfnNVKdzrjQbOD/5cYuI7OhxQmXzzNx6PWrIP8UpjEiPorw3rERG9650YiM3KtY7Pu
YCuvCiSS8b8xBtDV7uepixYADmIZ4B3S8F23C5ZmIrWO8FXxt+PybaafiJNZR+7y8pQG3zoKqyE6
ZAxoDP8OmhmxxY8gbnIBtC9TNPYoVCpifRDla7j8GlhZ4q+z6/JVAz+xjSWEZsIS5ztBnzYps6Gp
JcyRA13552kfoffS24elb0p53STfjU91tB2K76n9FATEv1zkwX+zbEJnA/FT824BhvN5OhBLr7mV
V9SbX24r/8ao2c6iHf2hY84y1S8kYIAXawpK6gqRi4fbNu2JgRtuzOWJX4CXNpauRyKwBvyr4LkJ
OfqPgKo3+FBhgRKAVIFJwVndUel6zD1Aw1Iy/M07hXagHLQe4vjSRQhm0b5CbMMxV373ATyX4rGx
2nNTbOUAtU1yF3hdEe3a2B9bwW0q1Jn/YnPe6MoLjTDWCKqE5xF54PN48uUF/9BrzJVWcrICqx5i
dH52aPDJAn5ItBzz8zaqn3JxS+tjnv1aXm6Dq0S2fBPFt4afz9MuPGgDoh/Z5xvOrk18jm/RdCHK
ymLUTGzRmOPeWQLPhv++nDVuPtN8/vWFzDaEMQmydc694Qc1M2tVxpsIF4vIVaUHkZoz/Bwpwwtl
F2XByQiuoYiTcIMHwkmyS7D8TjwMItAvGXh0HPGJU4lHA8UTzChHVXzcvJatqSQdw740bRwMQ3Bm
MESXq1u75H8snddu41i2hp+IAHO4lShSOdpyuCFcDsw58+nn240B5mAOBt1VtkTuvdYf2bcb2nGa
EUMhwRzzSdE4a/i9pkNYfog3saQ11wHCY9dsgUzT+Y201XUbnvVgJ1ZusSRwTfAgcucD5JDDhhIS
sxHhqx9OvVskLwmIaOYXUEFFTejmUYjC59fE2Q7zA6nySqsuy8yhgcSXvpVjnvtFsqHTpLKPuRgJ
0CZU/cXkqirVf1r6DWxvUd1YnHJaETA6yurgirthoDZjinazcp/AG+yNiOJ7KxQvM4/yJ0l1a7W9
I93dOAy1FY6cnBedCc0yt+a8q8zXoYE/4uNP85vWPTUTk6SXVWdb/ROfhKW9aONrEb43X7FJ4tvI
FS2dWAk5qSRlB++jvqXSAXDy+TfF2Lxuc1CupJE+N4vFI/wJtW2D5zXN3pfiyOdGyxF99TAAqxGB
Jb2077XuRbPHZEFinmT6ynimKwvfIyo+i9hOhmL4OKpLGky+HU0B+5kyO9QM5PHamNFTjEJ6fOPr
VdDwtawPcPEL4stCfg+dW9A8IBlcE+Uy+WCkFpzsk9Nu2v7YWT95/D691PUVIz512sYKgyL/tgKi
cdMP0ytNSOJPGZih2FOYlByViYz6hOYz7x7TTHs8uqkJzQHDa8Hu7NfbkYNdfO+ICwW2V1o0bvb/
LAtrZnezjKdsH/T4r1z/K0YW3xl4YcKlfKplShHx650iFvmG1kyFRTpj3bHCS2D69mGYS56fZ7N8
SdpHb/6hyg+GvRr8owGeEx70z3hTl7s5PAWfEwTvwMOaCfOGJGVTPggpTya3q38qPEZI3LlBGx2R
gH3qSGqPOap0QebRltC43M00gtWx1zPAB4cguaG4E5yPldLmuJ83po/eTSZSRX+Z8tc6/tOghtH+
OzwhIhNrgQVJG15zlu+GBN+uMO5IzNaNcuyxbSs30uuqeJN5tLdlLyWhFaJWxAQ2kxcKdIrPovoQ
h6vZfZHytRpvKk2QAQmQMubhvqVumSPDKWjHBYmWV12CbpaI1xgJdCpxLKwl1wp+Oo87Iv2zsLAu
nePatGV1JBZPl0j9qa2V2kP7nJwB4uBriZimOLpm8q2Hghc1+FDITzBI2HVI4nIALLUZp/drGNwY
GRYbHgPHFHbcjr6f21wOK6n6a6IXZzzxc0PxASyDJz4mr3GnNN4Lx8uASTTn5ehJagn3aUcPNyy5
TWEl1yvO+ZE2YutbRd5Tmhxd1bm1qAMKfOKqJShJze0QeGK5hvmkYAsfo6W99TARsdCrgLojuuA/
kGIWnXIqsKmsITZZ7uRjBLBZgyFy7DLSPgoCg/aKctNZO/XgU6r/NQvX5HF0Ry/pj2SAudzfsceF
Yvy3y4B/ETzOhnFOh6sQaAcdhTHVrjafg7KA21KIN71lwds8sMP/OdK7RF9gTcUBsost7b7p4jMy
bzG+toiX5p3h956E/BwxBvYNXoG3Lw5d4xcVIJy5aKUB2BI2qhn3Fx3nWyRJevOmkwuNes+Y38Ve
iDPRaS5i76ybf+1fygliAGktaIWa8qKRZkpQD4REeVfqQ9b8GsEZLKokFai46OLqFnetPXK5tW5t
3aHflPpuI+LdiArmhwCqLDsDk/xWyQ9UQiLppxpZuqhpwc6HaKnTkPwN34H8ZTuHSFMwuf0rzDOf
DDtMzFmLA9gV8h9Qv2Qh7ex1QpEWcRuIRAN1T8gJ9dSu+pbHnq5dqv4UhPyJSFOD8i3GQ18MJTEA
jOMyt1jEBEioWlJinZ2PurnX1IPdAKn7iOJ09LI43UESNVrl4ldtZLUzv2GoiI34fUWPar07w1ds
/Iw1sj/jp2fGIg1mPQfcXzD3xlpiR/ZnIr3dRfL1DLp1A0LJcEVs0ICE3ZBXp2fX124FxmbB6QQD
Cd/1AztTZ9FO7UHTK1j10J/1y9mM7nyn9gIlx2iUOESad3SRa6v6o+DEmhLaWYbBq+dfE0VMBspa
99eGrb9HeqfYELHZV5NfgvwKmDkw5EWkUXRIocYJ/RoBg81yFVxY8tJJf1r9tYS7hAuRCEaOexCa
lHFjpg4VlDVRuKXpyC14+MKaV9WY1qECSHpo5XP5whyUIiqRH+0AsVJtR+lDiWCQ2R8KEjzERZWU
HIwflJn0FcaBggKMYd4knNRZzQRCmSUdiCTXROEWXJ0srkih/Q6HAQo17TZELWc7vYpsj4vQwtpo
KiGck+7IH+THgV/Y7ph9ZhwkqwBvmkaM13o2tu3LxEqrewDcjnHoGL7jq4VfbzFODgNfjVec8iqJ
VpgVPa40w7Ig87PgilmjP2Ww00WWCRtGMJ+V8iqe94ycjrx+qfnyKaFZcVcSFsCz5PPlhw9xLwu9
CdyVOu/El98Hby0paDGdvnlE9x26+gJkxzmoMit7xNdoAeow7XBVm86HvBy16l5LLyVxM/TYFh8c
CnQXqfGTsE+Cixk96MVygDCriO4/i/9mxA1K7LQfZCOw7CEABcwUrhcctFp1xY7nGtlBTF1Rb6yJ
kgRhgMbi7VzIFBMi7LER1iR+8ZKgG4ptCbV1cfsZBc2zobmhEQh4XNpW+uIXaevrbQ4hK0g9BK1w
QAVZPhrGeqoBO3XVcBWILcvsKRQ+YkwCGKsk8xCAoTrMTNPGkSkM3AF/w4LAmUFDSgrK6LvqWb4a
HirjhT6cYv1VN37AsNOBgOLHWhWA9YQx06NEOpx4bEAUJWv3aeMGUssfU7nVy4nIJp2SmWTIXCFK
zVS+I1TQtd2vMx/Yjg45pGE6wTU1pPGOvwJHdJNfG32/gOk6Mref+c3qgFrJ4sUd7EeX/oVcC1AH
xjXMrp0O5opGFS9TZH3WWPQ1DCnO/E/Iosaecokd+7NXSnsqgdc8k1V4WfJtPD8m5zEjS4wGqDT2
gWvKEYBdFWHe37J2OBEOs/JsGuKom+/yQ6tfjQppCEiaOTHkIw+ko2RH9aJbAIvJNpkQKW95UrjT
tYlgh4LDAGY2gBAXloUwpQcru2bBpwHsONJFSJ+cau0zA1Gq6D9xMBYXv0EmY5/aKsFDHKbiB3W/
5LaB0JHXskIvg+MAGaKMQl2Vw3FzlvJm6yWpRl8qiLxUXv5hgqZKba2uC9Kb3HZtJ9c5ferKZYZl
FnaSyP7ryEaQoisXzhJN25AKSAlna/PZBp4moq4eLQqPmAAceXzEwk8A3W+jkQDZWhtI4gUA1sTN
qlurXkUbNaDDbJwo8Ns06hsv8bZ2zr353iDOmAmdTULU47wiMz0FTTLzxsUbtAYoEv4kkxn+X1R8
QUC0+pbpQQqglDhcMnnXToeWH0JZ98zEX7WA7KyDFrJ0NeuRVWJkXgB+0s1bPX7zJsuZi61aldbZ
f9Taa2/dDFqjZaJZiJVdNzrD6JIBA48ubkJCfDB2wdVZObzDqbWIc0GtgkaXoACX6oFhg0arcQE6
O3903pqEJYFuYYfbrqUDik8y/WSIjBeKU6+lcQpzyCieDo2JhvxS16ra7xBBts03mCYVEYU/wSb0
4mIXfBlCS3nowJb5OBNkfsheZEsCL/mQ0BdbIb9h4G6xJ6x7Kaf0iJEPP4pWwmwTmp7BEIwb1qC8
XAFSIk185wwkav1JFIsKYH4lm25xJ4+6bJ2XHEp/cQuBuR3Smf2eFVkhxDphOqSACY7rZPfPjl+V
sFROo0xRWKGdDRWaGwUAsK0lUZnhJtWxWNCafFNOh55cas7UZq0kbk5acg3MDlXZrL5/m/YKMcuf
9ZHhABnK5+ycUpxp6SNCeGWj3jD7vTit1cTjOlrpylrCVIJD3fnTiBoi6pJhPZwLzwl+SvlVoENK
MzNZNZ5Tqpte5ybgp5OjNfVWqwSLUnm0BkDA20hZV9J6swoSTTjkb2F95MOm9UJfK67iKIiiE3mO
tNSwjHnDvFcJsYhuauzK0VlAbHgshD4GZeRWoT/GtTdx7oM7RvxPszvMh9p6b4GAzYTgmmzvoNG2
i6dToEjgy0fSFNyphkBTyIR5Uu2bWe7K7K42NL8r99SyIK7RnyCaHzXKsuhmYhGKLrpPQDHhSN2R
X4lNZdOrp5wjsGWeVLM/LfsKiNX4qbnSxPfAEL7GzEYjr6LwYeYEr7gKI3p5EedGVz6c+ig+2Cr1
rQ+eN3EFZP0tl2+deq6a0bXsZRdV5c5a6ONZHKJDGt690qMfBXiffjXa1gkBqHWGJhSBQnSq/8yb
iQpJOITDsvw2qMgsY9eG76H20iB4Tjuam/MPWftEdPbfRweuhOLVkcksnXfsbVr5VWNOIcFCApmO
CVJOwJYm623ubjEmozJ/scx14fPqVa/98CshEJo1xqXOK6vnuOk3KeAbXhKys6BLL1UlrybzroNr
VLR7AWTUb0n4V/Sc++hIOKPz6VnwsmdkYVJUup4WpO7Ktik2tf1atnsluUXDn4Yrvgw7MiVI7lE6
t9smrBqU3FBDGPsgtCt1NklfJLIbHlLrjuSoe9mCp6OALSv9oj8OxFWzR3A/SjYpei50DZB4uyH8
Q1n1f3XrmfKWRDObZa5fR8lrXfyY0UuYvc84FRbwo2F8Sehmj+Yb44Pzq8if8nxu0ClUr+QDoRbc
2oS7/umhH7/39u0HS4/2CK0bST2YPc7tfC/TG8GUej+51J6vY/TlQyt7tQmmsPoxmO5MHCnFkwtA
kfbAfRwWHmQcttyD7dYEjfESs26my55AjVL+dOxLQDFle9Eg3rEtY3ZhO5MRYj2CAGe86hvJTm12
GpQ/KnmEqqm+s/jVe2ywzvRuqDgSoMDE40X95F4n28y0Q/5ZFBdi46W3F6U4UkgDzQTls7OMmJo8
qwsY3Bi8NLDQ1YcunQRm5dCbhfwiKa+42FbVcqGYAimmkAtJqhdGZMKQGnoTJ5gVfMqmi6p9lQq7
ByIN1gyL4crEk95wBGbJT0MjKFc3fVMkgw9ADyku4A+4WOe3Wr8uJtk4m4qJaUHJcHaQPpiHEH6t
1n/q5WoVzwLzY037XctLP3ACFkw9WLwBSJnJ1zYhqqRonVTcTDa6C74WsqSRybCdqDlQ0gHlZKPu
LdxRMAv9j91+QPo7GN9XTHnA/201rL9szpwTQVWrrj7O/8BsLZ3ht3lrsCboGq29E3oV+ME6d2fI
NLFEmu1fxG+8tHBAEoVry44MKixwaGO4XPvpii00u2s9jg7UnWgDSbtl4CSPwYIQNj4a6FtxCA41
5jLE2OaeeyZMdo76XFwqbGoaF5FKw+zP9Xddfav5NtIeNj9JBXyLvzFoToN2whrI7ca7ghQU4Y9K
qxFLfb7t2u8FG+UAeUsWIOX1uJHN5nOkyyLeGuXWdmnx1dmCVgWiXS/dFRPCohmg57/TbAIVmcp2
I2HWi/dQcemE2rJnGFJeapsSiWu4USegEU9uvhQCXrL2PyLVKPemK617mIKN7lYkETXg1PyxG3LI
wA9S1Fsk5mHWobLRQXrDkIM7GVx1YibZGciq8nIvYwlOT217TZX9OB4JAyYv6ZVknFMQ3yaO1ZqG
ahYWmwHdwUXIKF8qyF17DGGQ6Ap493FpvWl8xca/ymDzow4vLjSEFyPOp9+KYmwv5+/9pdaL7vMP
sQixBSXFVvONjS55QXJsJU8jJNdmmyauxIsA8ICMIETlHuaRYwu2rLQ3ZfTxVIGf2U/Y9rr4WVdv
efYObliQLs+yq2y4+Ez8vqAySsOvUsM1mcwuJO0NEKJCvzwyXGTN9yuZ+yrtU9rLyB72NYxfufbn
EOk2b9TLHBLUtZX63xYSLzE++U02hEu5R2jxhx3eAV/cyHpX7S1R7mSSbuQ3UAxD2jbRH1k361Gl
XOsR8X3UsS9H5Cj/JcOPjJgeDCjXHrV57Rm8+UQoINhNd6qFOdQAjbxJ3pb0sTU3YuNI13yZAT/E
rOioJ/J512n7QDTC3WjiuyI3V341tCvgH619M5pccnkJT5YjFETR1xeNm/hbzG+2V5CpaNpkwGXx
OfzroGgXaeJLwUiGpiGb3/PeG5xnlDyj6K8zH9J4L4LjLDMaXsjx92rjUKnHPsd+yfhFBlID9G6y
cfZwOhL8jr6plGOMNZV7jTrD2a/Sq6lfVPk+tqQGXavoT3OOgFtlvRdBx//q2ie2C2PdljHWhaNV
k52dc3JXNF/eu6XFVW6sg+w8D3fSRWz7rbKOGil/EJ7QSlgsl2dlvjgUQiLkNF4MQC6jOhjj1wxw
X6tXqpvFL848NhY3IeUjwbfSz40GqHBXOJ6n6EeFSqWAI3M2FPWVlIVoa5zhtApn/dMuXqTua9jQ
kQVkmg4zSkpMYmzaOs9pTGBruhALp58WOjrJzvXmjmc7XPWj76QnOGoXLyI6pIl0bVdMjCmLGXDL
WAFSXKZsi0aKp9yIrwKNXwgHYPjTorPaz9iumk2MTV4/qOrFiXEE7DUiYkA4uzvxsYC8jwR0YlFf
+BxcCT6aCf936S5Z/KMS8zRIf86wRSgtNNEFgI09/gQ5CLPxSQ0tkVWuPpE2w0URGJ/O8KGcDH3l
oJpxiBc8yaS1ImmRPtNCvCXrhbeaadMFlkPKQMP7RlD3PZ4uJFSJ9JcxHYDNri3np6RduFn3OunM
p0qWxOyColTlwBCxeN4cfZXQrCjbKSYhhS991ex3IJJYeYs/5tkbJS8sXxPS0JPvkfgfR9viTtxg
kiOB9BeVRutV2xKpmPEOdoUurHWYTaNTATfGuEOuWducEKLywkyEb9Bs+F86hXzm/yNTY6yZyHaJ
8xFUX8nykyy/vH+u0x5CoE+13wL1rhXuZK/CBsYIgI9UhLZnW4F58gpln7Jxoq5wzVYMX5cS0uvX
lJRHTNehEJMqwZr8FSSJOzV7qRuOzBLdc3aJ+11pHGsCWOiRWrQbP55yspDIozmInZsMo66M1NjA
/FYQNCARZn1QYSa40GiiAMF76jBVRvLl2P/GgbEZ80y5IRM3t8kkWC3DCSnmYHwUHVe1/CQtapUo
Wy2m7rs5Kao/NidCBJAqHgof+by+q7eJD83enSytubbKK48LzH6i7YWI33DOV6W6VvJFzj4hkRCf
SxzZVnoYge8b6Y8Kz/UsYY3kYlHQGdf2iyXtyPbEEY3Z+DBqNsroAYHxt27sx/Q2lfQ1urqG8Bmj
1VR+ZaeMuTlYd8Q6ZHdxBMzJ2xCcWpOavJ3hYIZ0dWVDgA2YOL9b0VzrF1v/AeBIOXp6niLULShK
10a2Z1UQDjQfitv54B/3Y1ICB3S8ZXaqVY0MnF2K36DkMQIQIKdbysAqF9J6jdy3diz6pYfoOP/T
y6v6F3DUOgekkjN9LVBcmsKe5NzS+LfNDlq8CUsfhiUsnzkC/2XiQK+ZjkF8kabSLxCCaFvfAXRD
0WBrxtmrGxeSfCI/8Rc89B3SN8TpiExcKIZEheRWBy+kbDCU7wVDnzahNBs9AiEVMDg+0ZDd/i4N
T4QV3IQvaCNdTft06DNUVK7JVWv8G2O+4By0WPLEhDGnRwgnt/+RkQYKGGP+pgN93QfYtWEvGWdT
PnKwfRdPeuoxA/md/tsBAwjMk+sDB3oLIU6YKCwmCvRI3drBazN8OcVPCi5vgI9uspkqbdATCBbq
qVdhtZvHv14nHx0VABkv6Y14roiJgsFiQM2woA7G1aMTii93YJFh44/qLibe0r6l6j/Fvpo5vmLi
9O0GBDigqioGvVbOofzmNH+9veq383acjoTrpLI/LqfBHWAv7rL4apnpBgIN6HykkJjjxkA/vLgA
+xGdhzQe/8U/kGqCutGDy8KwmD1mbBkhsILt0cqbdW/C5xLmKPxD8IETNcEDyNAiIYQ7jy6UUbsb
rENWH+rknoTvwwhHQG8rEWN81kF47EbEKRFNsGtsLhsGf6aPhBhGTqrx0Jj/2UICDiYIMOD7RwHb
jGyKa4DPHO3IydmNW4R6WbKR+PSCa8qzTrHv+MYSaJcbySSAA1QQzKWc2TSynWXSK8ravAW10BRi
ybkKpf4Jsr426223qbE0HuD5BozJKesQUcMUZ67ChhOsVNzohjC+7w4Z7Cg1RdwIkXyY5quQOCbc
cVEn0WH9Bw0fdXty70m8AFeloU9F4NyT4MKuGztYbIjELJCio6ZprINsbdvJo85V6JMJVeuWXWv7
ZkinUL6OpRNXSpa/qfEdAB5ZPNslbsWceWcV1w+7Q0BIxnKr8d1vWbCz6T2PL5V076OPITsnvBvt
cgThaLfjtqUziHunzFyUXkN9Utdo2gu/0H5tVpmy++pG+MjmkJFHxBTfbs1B3Zjtyer55WovkA6c
3VDkPJuZ78jeO6HHKwlQnmcSnH0VhbuI0H1lM47PEbhrHJBrhBeRZaGZZ8ckFm6fkpdHkOYc5K6l
fmRwiAYn4ET2QMlFXa3euvlTbd91z/ERSgnRCtn8AJ1orIDIE+UwG/uhQb9o5huDvx47Lbwy2Oit
Ycte6hDz5TYc98AflnTGawzIxSNHUkXSEiWOnKo7Nk88WAQdNh1qYnoMz21PJBYHl788uYvE8GOC
TpeIFOUmghT4ZfDCpVy+JTv+rcaNfqrCoEcQxhUBGZYaB+lP5+aGMDn+CBMTkf/5aR6ucf+WDd9k
BmIeCIEQec/QVbZysJK6z6R7nRaNT/wUdHvm+OZGXvbIZUe3X8PYUEH+p6u/SEONx7Hoq34Iejux
g4X5W8h5w+CGxJ2UitfEhXtAGjlcCxPfqrSN6QIGAWMnSh4MjeScJvgX7WfHnk7zMBvwOFw164oh
UJS8RL5u/HbZPgNbUdgoxF6dY4GCTCNqJJghcJG1FMEzUjghln3EGYe3qPusseFq/oRBnruXXyMC
nsy387CZVH45Fq6SiPprVG2WaRMKlnvFG7ih+SwW7If+oN5DaDyG7LuuGcqjM4/5qDDNDtNqaqe1
Q7sb+hiZANkf2diyO80Nm9ro9s6WMWFqX3FOcjzzAiAiI7/OjaV1VMGT8zVio6z62s/sI38i2iGF
QEqALPvL7k4O3biVFbizdmXDkWEQ8VwxawhQMIyODg+BGA1JdXSbhkuC+JEYGHco7+QIkkByzvvH
9NllPr++ntwZGtR2x/tclx8Sy+XQ/KtpkObCpbmSl2RaMRjk0YHnS+zWan9OTQuwiI8r+I3/0W0i
JFjSzPVR3SY9oeUkog943/ZXe/zDoiAh0khmP0r919DyhZ9yaT9VcoQIIu2Z72303gxNrfk3aMUq
s4g8YBcSLgCGXTrLmuKu2hxARAi38YcQcH2Zcb4mVzt3LlG6t/OPiam7rRK0DXgBszeBOhSQxXwS
RoIZNXS1mki8kX7f+FvmceDiqh+Axzj5s/iNep3V6KTcY1gVuGti3FbKR8Pt1RasIeFNNwhzIqkq
xFwuRk5BgSGB1Kt9gi1YHYBV7kn9qqqvUn1U7MOC5lJTXcaqPPssmLgXnv7cuFeQQGXxAd9smlvZ
YXCW3YzbiUEUkUH1CcNv7Pqt0m9L5wAsViCRAksdfrQa6MCgSAhubFFAUsSYHVXnuGIFUHTMwA3W
WNby/mm6PTWLNs9MTXEwJSCrxfzI7a9q+iwgzlZwES348exahYUmBJaYonhOZl4a08SLNJ7EKc+R
J8zCJdfQPFNiuGeGISaJXh/VSyjx1facOa3+i2lTeGYmVXebWzz99sgkeV2JPIqrB2f0WmstvGwO
c9UdmwbGv3z5E28JKtLU/jXskeufy4qH2yb1B710w8Q+4jJfp+Mhag7MCXOHTGkAvAPPEmGvs8jV
2wSuxOwGMJ4pN7GlpzrnHeFWMWh8iIigmtNNKGKRUXPg/1jzPwuERHypw5MfkYkx+MetDE8zd/uv
Fu+hPyE6AVYJegCUbWIeZB6ImSsNSYWGy0lzIP+aG29yfDUQgSs75uUR4yDqKOLlzWMZw/ncxZyT
gOi8CKGn/jaRndcWW1vf6+yvqPgRdRKwl7jIWQwf8KhG5MmwMoV+X14Jk+8Ub4m/YwdnHwdNfUaH
ImM9QqhdlP5iH6A1x4ECOzHqCuFbJG3FUsbsBYKAGZHV+EBpYDpfgP5huQofqqCXXaV3P9r3kkAS
DTm5uo6cd6nBOEEsg4zK0ZgQQ04RzwV1ATKP/zWxXnoS5uKfSPkX2KSne4nXElQP2+8KREONz/30
LoWgtMwgyJpHePEPjlIhS+ZJxRopjjjJ2jwpuce2jwCP0Lr4mVARYYK6RcbDNC/6m4w7QNEOOSFS
CWlAVXWPeDaTE07uWsLGsuuag1ObhEn1m3z2bd2tk6sZH8ATyU5ejZ61Bl7i54J9fUzFI+G3ViN5
TSPXaOWunojg0l0cnk0As/UXw6OBfMPyeuslIUQHmMAEgSTfgfGDVJzOU827lP8tBpt3viHlhVCK
lcbRPdEkTzI48QXxf97kBe/qcZx3zqIheiJm5NbDuLFcgGJvhn6fiPoFkzP6aktX2XwPIP6dC6QA
hSnOtB85zmZ5DUXf5WdThpNfDpxvoYHYTRZmxoTN+z8uwqI29suhVyscwbmJoan8oD3r3KwsbSLV
0FWqs5QAUyj5JtcJKgLKw8KMMoRH47VxpG02UhS0HBNE3DEXHNFu0Yo9OYzuXYs1miYDVT3q5YVV
i1g7LlKa2fuLjDqo2BFMIB4xHW4fqrIaOGCNft1YmwSchmpYKcFHCAmw1316hpOd8T0bgVeRzpGA
hSTEq2UQE/ldFkAv5+/YPGQgvghh5Z2Yr1Bihkl/eNzl6hI6lzR4baN/5dBSzOad9QGvAACVcS1A
WdKKMgR+ln7h/6bvFrObejBQo7Z0ALTsrDUKcLZ77H21djT40nDTVj5eotlHtt1P/8TB2lHrENWX
QsL1QWdFwYhYIl2j3eWI59YkVaCqf1LtWWM/fprjW22h2yZ0Q1s+Aigzo/jRLLhpdXHPaqesrPlT
LKqVZXiNenPkPfiG5ac7+I5urXuVY6+ZS41pN00fIrYtS9kRkZTbHjsAoideuOdYPAM8lrnJ6qbw
12qZF5GUIDHrqtto3BSEeZvhumZ2K7pP1bIIFuNXDDh8vVF2cQVOTEHs9pOZIysh2LvbFywmVH7w
h3J3v/K4wS+JOC9t/DCUd8J5eOvoRmXvE1K0/g5yvWLJ44AwSPHiV2mZMDrwVYtXwSakZvr8DxHN
H4lEGde/nAjw+WRae23+QGVa2zuc/ob1CPN8NYfAfmInzL/C+FsTyG74jJBA9q2DJx/6O7/k/a2v
Vi19AiUJFuKPxueC5UBvX9IZ9Riz4NwR1hKjXnl39IfF4mRaL0Ln6+QXXf4YyT+iDbMmuZSYYcXT
hhM1dJLiwxvF5nfGmTbHOvzyK0G6aFnynTYwetdv5g+Gep20/jamIYjdegzpxUYfTYHZWmBJICgS
45oiv/MeipkMAAPdB/cTwWDUjlWYUCnaXNPqQVLdZ6X+kS4SNMe2pYUz2C7FVw7hZGgD/w4wBtAh
knbKau5gZAyLvfCR7gZ6A0u6dz5VpAax8W0mn0F9m2dUvIxXPXOy7A8OcAqdbPhv3mL2xXokaXgF
8dm7RIfC3iwcCXp0rk2++uptLr8qWt8SdIhqV12U4TkKfmQrTkcFficakcNaf8AotDKiBolX7b8U
X39AXGyQdZtZpZgAN9LAyXoYRvT8zFrnNyvIXA2hB/8UNwpi2JtSHRp5XYHFWOFW+glqJhh6yQIX
OGbyy2ZXSNRPh99F4jATI5JC0N9vW9cBGD0JGswhJ6GrrqX+q0w0qtEppg9+xI4eLLCO9Utq++pV
H26dfikLafVdEkbV74SPSSXb23kDtFu15YW33FJvZjMQmQeG8jCr/SSh+3K7dp/3XzVxbXle8j0R
Ho5uklK5UpjJN7KQxB6M/hXDh/Aw79/g1oWHX8fTPK2QAEIlh/onzARxu44wX+0hXXW+/2r6rlEE
B9K3UmwFAAz4H6WP2dP8kAnrhRovQV8n0W88XjPnMPhjgr/TrDHYsAmtBmsDPtSm24lTNjEZ9f1Y
uanOVS/OrDwa8hYEzEQsoPrQeXxjO+DSBulC6ohgHiqIjGqbjEAO3WARcWBM3PFFJdiL9swUnQe+
KGQ06eewIn7kH5BeULv17OHnIRPoqpksrs1vob2XHfiu3HuzFG9iHH4I2oiIYDhj4OB773GeNSI6
vHpIbB2yfNBUBcc+nbrOU+5I9z9I/0DhCZGJ23tYftNOyV/FR7i2cKWR+Qmq1p1hifgzn1X+gwAO
iQGtSxJZUpcQJQMPE7Nv+2AFFwR00F0FfxoCnEzx0cm+q+Xl/3hfhO1adAknPmGFUvrP1HYh/VEV
l4Lywaic7Gbfms8gpqKjffEj02+za6E7a804ki3XL2BcjFZ+xHaqtJ3nDKNrZmRZqFfsbYDeOYCY
0AYJ5mjI+cyvaO1LKWBuRH8V720B/XIz92PLt/ci2UcpO5N2AespzM54r/VDrTxUxKcLUGFTdZsE
QZDKExJuEtKDeHZZwXregf8YwtET9VG2WxFcJSFGrXBndrVYkNYs0cxA0AaJkJ5L34TlIohnA4IN
zpHpWTbTfnrObgTwZ2SEpBCd40Po+MBz1JTUElYOzmNhwGrhsJiAUVNoXIDJLV/dGCE02m/ib1Ji
uMKH1ELOiTqdJCg+XzFXgrVQu+ZKtcu4uinLg8ClaakEXsqCf2rNC/87LW+k48IKkaSR8YPU+btS
vyrsdS0FAouwhHFxZ0RtwbgWuAePKn+wfe5IrNbKzxJzZnWE0Z3KX6PFyOnDmrTB4gX5ZyrjZWTp
g6WzeKO1RWRnUhZmYi0mDGqYCDxETaoQhtWV3LwmCyvyFZWL5z8BJmhm9MYSzlnOKUEi12TJa1Vn
FqNpJ4XTCZ2vqvyOGSLbQ2eecp8Ar2JHPZ43WATx+YKLA4qhvxlKGd6ZpWAmvKfgCUUqqHjCmWNI
fq7tlu6E6x2fMPxadSI+Cw+IWW4KEfVMJMJRMpHaeH1NiME+w+8hG/cIBxBppwhKnfUwOSy695rU
DAhToLTW2pFDhSl/086H/oFv1GYNy6wrse2roD+ALhmYkGzOmm2CbEv6bcd2G1Xpmp4xcB0U5Xg0
sDqUdw6WXn2Jzfcis3cqX2ACUc7DCVzo99VRl4EJDF/nCbBQP6n2M8aq4kA83zm70zhfaRbnyfZ1
WU/DPYqIYv5nk6ZdtKpLpdemVjntqDuQTQ6Y97ndgjvFNq3YKuZ6nOLlt2xf5JF6cGTebmq/NwzD
fc8zph1Jn/NqsDvGQ6+grHXDe+k5/TOpHlRSkITXrSsSPZcEHoasm21VnEZHQj8Kykk4V83RSJzz
zpFfl/9UXOJG0Z0LVNEcICPiUBXMOMJSSySnqocQRyyF7VTT3WIiUu0GNy7WaZwg8qlJtpps8YD9
pKyAEqkzzcWc3tuCZLl3eG0pQZCt/xUa1TYAkMBTcfg+Vmf1K6q2xG0Q3841wC5SEo3ntVIEEHbE
yLMKhsMHMoF/8XKFMpwhzluORieGrWtvc3Wx09fR/kmG71Fe/sfYeTTHrlzZ+q8o7rihhkm4Fy0N
Dss7FotkscgJghYeSHjz69+X5+r1kzTo6IlC59JVoYDMnWuv/a0N4QAUazLD5uVe7JB1wADLdNK7
NafsPKAwJz5EMBGAZeXPDabn8wvYHbUFNwSEgaSxQOWy8yXGMvAiJoseuhXVXnDGCZ5ZSNbU9DQe
zP47B+8SFR9l/KoBgavfkUghx9nEF0vUhAf319fknSCqRcaPTYar/5jo8yIe32zY5+1R83/s7mg6
O5OZgODqW4+W9sONOheXJMX0s/WYur03zSWDhBbz4ebCHcKtlVEE4EIkTHcBcCQu7i33NTR4wnER
6dNOWyarKllzkFQbqjrV8crxgy214HHGuNH0zGTh17dVu7296dpKDUmY2o7evolSY6TAe++1B4Z9
pTHSQr/l5kF3MfqA1NjLcWD5pS2EQYmkCbq8W+x08V35atKS7CKiQX95dExqgAxvOgH2w9oCDZnH
X4bFILpxceqOhhlTUNPTSJdoXo+bao05Q264EZ3tQF8/Tp6VcDZRjMa0PV2O1/qMjVZAKWtXEmsw
KN82Q+yIKS6dFuX9GcbzXWycBh0RCpHRHyEcPLrsBCW3SsbsHLskZhrKcsottB5/O21Yo9UZyCpW
TEYrsGaDUkL1KnfsCX28QaRP55emASZ5LKyHLH/sYAnEB6ZvtGplc7vTzln6a07l6mgEzJ5KopGP
OSdmwn0YnHsXRYpXbyM5bhvclPSAFkAosKuP8Dc51DXJM3CXsfwZUUVczhlqUqU1UfvyhUd+jsHz
Z+P1s7bNPp82NXlsYH9aj7WbvknQfuTNZ+9cortwM85fUUSGCtMH6dK333NctPXTb87dHn9gpzYg
yk5vHWTUHntMDAQ/IER+R5zVPLIuu1PDocoTm1TeovFizCVP3q7i5kv6gxHe5ujo3YS/1efo4Jj1
0p+IxHppYNyqBjWdZBZahUvUG9yUzknzMdYqkhsXeVDgJ2XgpKdFghRlJGTO8D0nvazOqW86h+qc
T4cIvYQGRbSiW2sTp4mWnVJagNqDKsD0P7Mw/XTucfGXdMRkvUExss2VoL+TdzWZ2SXBiiifzeYZ
Lmi35COT1dlmQAtaunvo8J+bXNGcQ7zeP+lgEWIcflN7xO9613McDc7q9AIdWdmbvX6tui01oZC1
zX3I/l8bEplo+JViwm9w6vr0ZFONBxPcE3LgvOJSwSIQzVYQUVh+1QJshobxiu1r5pawXJ7LSJCS
rm0+UbiRmZcgIP/E5Aj3Q/noWgI48JOgQ6ftY0qxFNrWL075IFbvGosB4ZAhIrgg3YgBg2MIYQlt
/2rhGBofLIDhIcEew3itwfdLJoK31rUEPJY82iY63HQ25YPBGVxSKqRvM8hAPL7UnXi46+tMzg51
Djq1xZruJxtRL8f2LFQjQhWI3uuZP2ZBVNz3NHHNV5+HjIk5Y6MaBykbGPhHz74SCEm/eU8/j3PV
sfKIm19U8EKVchEITrUc6qzpKRN7mg86yRZPoXz9vfjoE27PQ8id5CvCA8dnPinwgplYmQkiKIDF
YRtcaibyV4W+x3Xb6Q9Ft53cVdDCltxUAb9uAQ8AlcnKdoGbrm15kpxFRkvH/bxCfp3hZRWHnusZ
MQvIeAiHbmOhf2ZQBWF4Qfg+KsuGoQD1kY2XL3jys5M7Hnf6sAK8q3AvmDNxaESSnMiXkAomeKgn
YlY3OVaUajM/o8+QnzQuUN9ZjzjIJdF9x6PXpB/u8Bkni57BrQbZ4amOjrpzaeRrUeGXWivI4bCi
WuvoPVXNAIoPJFm1Lr0VvKpKYjpfBcERMWRI3yw1ax3TaWb41tJZ5H7s8TIP4DY0mnofFs0Pg8HQ
bepuVU97BQI1GxeNWVMyIF5Hx6l58hjWgKVO4mnAbQKYIYMisQu5EcWxYRtcwumM3hGHMhoBRHAw
MoRNn0VP0M5ViBu5Y0gmbp8a4zSJqwutgtk+3KFpsA55YHukvG0pd/O4K+KrmLKNI95K85m70zQY
r8LJqU6wM1ahir3dZSoFSs04b8Degiu5p/fEbqqOXDOzMMMdqSG/JvOjNpjrWnXywSe1OTYfR+Pd
xGvS8GzH3WJ24jvfe50oBFNCkzZBsGujoyVejfAB/Kse7KQ4Zs4uyY5OfPXdJwxsHYyK19nYYkaO
oscUHd9wzyFPgLXjtpb+Y4SsEiKK2p/0iqb6qLUHm9IZnoQebBlmrmYytCZjVYRYj8SEJIrrUrt5
RKeOTCeuELoEzKOasNuF4ECUYZcR1nXUzvO81cTNxAyToVzpGipt9jqWV8lpq9wDTUs7VV/0Ubik
/XxXP4/YhfXhiwuqdaRI7AvsSDrw+posCC+GBFY+RfoPed0gHBtn10eboFqW4g5S9Q4sZIa7r8TB
6ejnAMhtu1XGr8C5j4fTjNHEXhfl+2QsJ++pFFTiCzZZOlxeu/OMg/4ICNNsXq34ySyfZ1BcNFi0
dSyWGexh/LJL/gDFbhcCKX9Fh5ozAvy6YF3yWecoyRP2fL//CCKehOWcEdDx6oElcBZ6vhochhJ4
nVXPbB8oBxSuZLhE9XlkdgqnZo+ThmMksGFnOoyEVtcgRxBWtY5BegaukjN4g7AbmaVd+u7NyCi5
jlHKxBYzEiUMDY/RxfBdmD8Jr3VgAE93P5BaiMhZqWdeujD8zhkOJcTGpWdtc/2ZoMipPQN+buwj
MtbsnMlQRIFllgrW/W/jdvSTDTzMMzDY93L6yjjwOTlRGfoF+yxemu5YBO3dotFugJKYEinKiw7n
JL927tfMXaBRwefKwjg840+IYyodY0dQcmpelaXOA636zJ8khxPGMk05egI06YGwyH4JYn0RDPeq
bZFb+V1ifquckMS4TtETXmorxJ4LBeDYG/d1hixyFO1Oa6m0lVZXfuUMt1DoO+6GxUG1tLoYYOez
DxOVS23Mt7z95TcDQUE0aFi/o4jNwEfa9Q5BuyeHhk9LdGt1qDefTlEOIwDaP78xtQ48OSBRAliN
94pzBRKrVZ2GrPrVIJBljX3Xsq0k9gmFZwR6ZAyveWL/yhQYI/xh+4PzMyZkk+RX0J/hHJPRcHKy
h0y/iRnI1/iU7DTe3LArSbCliV0T0n6gvIqq84SW1XLILZ0vn+JqCE+/bxykv3ZvhAj5PPLEXT5l
WNHH4LvgbQ0g7FWDu9WuNO4rPNNehbWFEzk6a2/+Go0eoQF4xWO+qsdjVZAmteIUx3LVUVr9lvm6
RYfukQPDA4QLbGef0t2gVx/ILU0PslFnea4H/PzshHiv0+yN2a88w4y9JnMnEOrDqsKDgAERM/ut
1ruQVhJXz3TuDWNjcmJjTpqhkxqmAQvH0dS/lRAMGK5ObpZ3Ym1rgIjC+PXfTEYpm/IWacjvQNrH
z0wwaAj4LdrUyNX+XvQ3j1dm3FRr0lVrp30fuXc252pnn1OtMf7c7AaT9U5NXJ64TeZ0S3eJhQ2I
CBUNabmIORMoTfJsMCnCGL4y0Abs04Do5LHk+KjVxc7Q91zwcrySn4YVKOKq3xK88FT3RzG8z+Pe
qIlrXFIAejpCHHEPtPrqgd89/FQDNNM1Ik9Q4V6kQbZLKRjGvQ1U+zCP+BQon5E2EUp8TIYbdxvx
yPWPZfZtG49jv4R74n+jvLrld1Xep/FldPZTt27bA077Ac9ggwdMO47iyUcGJSCueRI8FszkJj+G
jgBYIjs117l4DD7tYeHFdNoPXnRGMemLTUZN0yGaxCQFlZ/E2NKmzjhH0QcSAksiXGkaGz0cK5yN
YAfybULoYBatzBxP5i4hvcR4aCfkotVcrBk66DQsOJADsUxZzwXm8OaxT89x8jphHWlSBIe5/1Xb
p1bDFPRUYHsA6FfSoHxUWS/IPFp7qaa9grVT9IwEFO3o+rnuwqvpit/H4SXQr2310ViX2PzSYljp
GO3lPuX0teJPRslZY16v7pdzvwnFpnJ5bFNo8cegANvynFU4JhnTRLPutzyQMMPogIMsBl87NbeR
gr4GytKtmc5gPD68a9ULcfpoV4Ox8PRLDyaHxWhCnTkFEiLy1iGrm89n/NUyM7FSyb5tMG4Kgh2R
iGhBIsIwvGseAlIe9GMc4x0lpsTduOZTor34LP+gZpXdcGug6jUjD82wngjTaH5EIlc1/RJn2tDn
yJk6HIADbczgaSyXnU7mzjodNGA9Rzf+nvHD9XI1TtwGd1LeUf8xSySzLauv438EdCaTZy9bEdTi
VDti61cte3EMRQAOI3ZbzGASqEH8XkG7YXB/qI5xtxYOp8UDw6hOfhmbnCktZdVbFdFKcjp3qZOn
5zb/HEw2Ytfm1KTQUPT6qbYSIshRX8uj2z86TLA39YdmLb1R+TQxu9QwL5z+7Jg4aZJTJbi1POY9
GYw6GMABUojLzD4yWg16iocuwAvfY6kXWziaHB8EuQ49BklGQcC6qK5jfq9pCRmMh5EOScescNw/
t7z82WaOcwG3qn9OUoJQkQIbEH2zu+4haFfrftwB4wqTVepeOp/Kh/rCYLKEKcAehliEGZOhFvsI
vjd31xbkh74/aNaT7D5yG2Do89DstCnjdH6jYZgwHcP+lJ0wwrbW0cZf416IIaBBMrB2Qh7PY241
apI9QS5i+qzlwUNhrrlY62HcW/NRjveT9qmpVO+PzFuh35NBP+sbkbzj1XF1wCaMccNwvfendcn6
WDBkYDHA7V+r5nHax8VtQLRAo9ZR37mhnPYHJqQDWLNesoHi30AxyiDJTy/8UZQPQLixztFx+PHK
G+OkHQpY9BH43Oi7DECGwOm1kg6/CY4GhWVyIj/TpduRDPfu+DBWz+VwLXhiGgnZaPrQXCiMzN9n
8WculxBrXT6zaBe0G81EmnE/PediIyviI+fIgH2GeFnJQXZhRpe5e7cBtxjGE4kHrbsv571v7UTR
3OGT1ZvFHeYhomR0zPdK8gUwb3v3gGu4GwosFwS9tJgkThJQb4hcJzngOeI66I9z8UncnqpyBmuj
sTkprGDCWA7965q2KG+J9nsRPk3ps+N+qEcWLTZ5UXPUxD/eVZxXaBahtdv1pbb3hvlA8Nes1ghm
ZNxyFcevHVarnB2+4/SfReii8auqQpk64PAL4yzscFz8BByzoVwYpz58yafvzEkWQ4zIMnqE7t3b
PMTlcgSoleVAwM/SBlHs1Y/TdCHZNSfAI/3gE4CnTZDDQJ9m5GDFVByuEJihODeddQZom5/iwcau
T7sWToP0CNPdDsQaU5Cm4YePFY9qFLs7tysHIj6U2oQP4wbIno9cdELdqJ7pcuS8p86m72yrSIn3
JniAzJs3rHbb1H+uIG1BkTG/6uIqaVO42Gn1J86NEggknfVyyw0uxQuvPov3pKDznFbjPRzplsHD
8DUnAiyAokwX+8kPmXxnSuDBYtoc+K3qoiSfzfDNZeyGs+vt4/xZ99eIolSbXnzJzTOXytOOCKRR
CNjjWPhQrY+MY2qrsnqo0HqDYd9p96h6E+qTVy+LPlhpzQXEb8fZqjyxFBOMjQ6MWbhuVLuFYWd1
44SMBbIGWF8sg5ywQ2JS40VjA02tfnWm3Pf5+4wkyUhSuJkH8AqH2L4ayCkdDYYBOA8zcS47GNS0
U5SCFLhpzi4PS8QQDjBAfS06DTSGlrwjGK1a+zz0+3k9Jzv+dDY+q+qLNwiDQrFOaOlVgPa3pjjX
hCX338Z0CLSrdO8n/9DIg9M/0EQAippO59j8ttOWJ/Chbi5JczH1qyzO2bBI0akKLI0LnpFwJCPi
xwiuTv40sN1Fa23eAJmv5UuZ9hy7aGuFwHsZImnpAVrPXnmZvLNE8U/yBxMNEh+v+IhgP83MUCPL
w9l/6+dtOmNa2nD6YW6n1B+T6qQyeW2S5mZ0Naoq3MxQlg3cyz280U3nPtv4eLnKLKdZvtPHs2mc
CPgJk2cRzGtfypWZJoTp3g9Y1y0UtIRKgb/B90QQxYYK9dFkK4p3pf2e5e5dMHgnsxk5Ge4M4NjW
1q7eLBD2vtC2bocy7z5U9L4lw3Lsfpy88LoQ1ctKQpd3+Om1C+AuEd1P2EwY811W9aMcsoXWejS+
uy0yq9N/Ae/DfJX2qw5tvAX+tU4BLml1i4Xpa5Rf0oILsWqtfcYE3TQxivUjMAIU4TeufC1g9P6t
l69diw7MW0eSvadwt+lq4ZRL13500+HzmajDFJPLuVjVyaGFuOXxaIMZdR0O1g8hp9LpjgbFCCdZ
bHWDw0WKGhs8wNS00hNjAE19yNwPYROVgo8xO8xyOzinCilaN28p+BDYexA7rWVmfxQNXSzURcxQ
Poxbyvn0dcyuhgtFnVk3QZU/kX1H28RIkGSx0RuXaHgdzI0/chZ6Tt9LD5NWy6oTAYtqPu2OokV7
nxk6FnhKXAUEGvbkEmNm8mrMO6uYl2zX7PM1xp/PBu5qwvDQgQVISlx/eC5ZZJr5FFYPJZAkzeZI
pL3l6RtOMw4qEsUCyx4qjE/yAL05BuxwJVTJUqd/pFcZS9duINVr2LTWaup2cnivlHbT4sXrLkAO
Lb9HZD6w9wUI1xn1W2e9B8hgM7rNXTvQgOcYFaXXiZmMYO/lm7rbkK7Cpsimyv4VFRg0LBweJreh
8WJPFIrppYM4w75FaznUT2pIscAqQq+Wh8xEYicSfaUA3eyban0N8ewrn31ubyOSKSggrB1n5Mvg
XNVUhL6BFQbnhn4o7ywcH5xxJ6uXksJE6zH5jB/KWpM0K8IUUf/ZGgJ87QMivoNBvI/UoO+LpjAZ
2mcS/LjIWSX+o2PZ32aGpDTU1I7lKBgfhXl13cdSR83g2hkoMiyAJI9WGOVoKYkTWcUKExDwZ12/
xZyDCVlRkggFyG6NRi7cNslf8vmFZvVpzjehLTmKvrbigZoK13TD3jvPK8FqH0GvQP6JfIJC3+f6
PnZ23EzKbG6ETHE7bLuknnkamePYT2vyxblprVaBNCokt58hfKtjpFsM+jm6sr/yCQAg0+kZz1oy
3cZxx8HNE/fa8DBMX3X17sffAWeQyiG7wN0VkvGOx5Kvkx/S+wCedT45jKtqF3MIqFi38T5sT7rx
jgymNDGip38Z21J9PbAWvgiJOUsxub1otYHth7NmBKRDQyyiJ0LHKrn98Zf//Pt//efn+H/C7/Jc
ZlNYFs3f/4t/f5Zy4sVH7b/98+/H+LMum/Kn/f1j//1t//pDf19/l6f3/Lv5H7/pCSZBmf/7t6hX
89+/lr/+j1e3eG/f/+Ufy6KN2+mh+66ny3fTZe3vl8D7UN/5v/3iX75//5anSX7/7Y/Psita9dvC
uCz++MeXtl9/+8Pzfl+nPy+T+vX/+Jp6i3/7g/dah/H7v//A93vT/u0P4fzVtRzbg2gihCF0x/zj
L8P376/of9V11zA807R133Vs54+/FGXdRvyQ9Vfbs33DE6ZjG5bj8kNN2f3+kvFX3bYN4euuZ5Ey
J4w//t/7/pfP7/9/nn8pOoLpgQE0f/vDNPlN8s/PWb0x17Qt27c8z/Bd/tfk//D1z/dLXIR8u/Ef
pZn55pgVpFSmuV9STSizPkAzHZZbWjJCEuSyfO+KYj62TcICY4U1ONlm0hlocgt0omCsYyCiWUMg
+DDLelGFgvElw5GbNB583MKSNlM35w6pF1l5ztoKUguOu0vlhszceCHruS7c6mj31viqT914EGFP
a8JPNFivfvDIgap5MCsHY34mdQgvVR1CohQabuKqLZ+m3kNnbFvzCMZM4f3gO4FmsPHHl4239Yqw
PQeFW8DsC+Jt0lbxxtJIxbay2X2XYa29d6ETrovBc7aR29X0wVvTP9gNuK1ElC45VTk7cDCzRXN0
EyZCu1ttMjOPdqar0bTW3BSLRtAFzW4sBvrdgzm7TGDlkfz24SesCrv1fuqBFm+T0exPSP5kCA4m
GmA4g6O9FYPnWEaFxh6chRWCth3404NZEiuR24a2NpyY7FRn0mwQAkK7pB7+26I29VudAIKIezM6
pKZuEz2ftrfAV1PDMuvo2DQVruah1bH/Z8R0Qofy3bcmHOtXvpJ9NZJipgkJXa5C/Ly+UeGHTmOt
3CVeb5yroSjxc5TBsLDihnRFv/Wxo07CiZG/QsBZII61l8RO7E2qyejQGR3D1mMZPxq5I5aBb4nP
Vgvdl47mJ32cpPQPfuolx7jK3FvVWuneKILs1ahq75Ync0saMIxE7IJWtYryqLlUoZd9tyYpjyEF
2KbwWmJOAtl1WJbbpth5JjVMl1WYHbuMfcXyZlR17uY5AU7Y2UmAzhsaHqoE6e13Vp44Gy0HU1aI
xr7ozmRdpR0rscjhUgi7qlY6gZAc4RwED9mYor7r6x4BYApJpMTgZIulbdCw0Ns5OUGLVCdPwwjv
9dFOrnFZ919R60gTd1OpOjmDOa6KvNN+2tRD76g9glmSHDfZUOvGcfBiQr4tnW5lIoSGGzqadGZf
ZIGoExiVfmyFHq4Ex7OVbByfgb05ZI6omoC0NLVK9rH9Ij9MpmcdRFvPbA1mmLfE0MjZX3dGnseL
NKSoRntQekxhVjjjm4KWTGdN/sds1AyjVbYj77uqjHZlG+DJwdlmiI2RmLjwqlYKMA+m34EGnlp4
JnYTeJzOKo3QEacY1SOcdc6Xpznhmy/68IijMk0Yek7TfD9zrQhH7GaukzGV00kj1+llSKJwQozS
Z1ootWNXzDKWrDsa3DXiLQe3uDM8UPqnetQqa6F7vVWf/mmh/sd6+C/rn+H/+/onyL2h3Ws5juG4
tm396/qXGX7iVNVU8ABN5O16RrYdrch7I3Br3MRJzEnWTJVdth/7J6sZ67MbDdrJ9m1vXeqSa58l
6jraQ/CdjmW2y1NrPgd13l0M16Rh47RiWjduJGlkde4pyEOckX6MkRvyrkGuGxbn0MEFDXT+LvAM
sa01z30dRrtG3/L4zBqh7RuR0f6KvRkgdddEDIymgb7UKl11l4m/vQvTAMKAyFTXX2Ks8zoEtaAu
+xQ/T88kSuFjQdKSgMglmZk8237LZybD4Fi5WnUeG0nH3aK/UvUNlPs4z4554kVMKaUhsaWex3RU
LYd+482a/tiaBkdbSrR835gBQJp6LiQgu3qAJx7rPaZfEffv0srAtbqzp5DBHRRxsxnkLsr1kQJ8
kG9mTu6Llwnc7u4Irr6OiWssJWkevp8YlzDjScoSzz47gR+sht6C5Vd1Zk9d2ZUTmATojwW9+iBY
urHLgdSPQjJedPLIoo56yOy68Fq0TLh1Q5XSXPF77ZfZCKSfGUAp2I34LBojvVndCPc2YAVYZb2W
PA2i97apGVxmO1W5wCwhYVvhT6KxEVowBvO4ulZT1kpqrql7yJJRkbVsG5/0kEAsC95kMELZIpBn
MfaI4JHjVB9JNeG34bMSQAcyW341Yxcdszpylklkzlc+W8jInA+OiWXYt0nrrZ3bSffHH5JpEYat
fgmEIPOBTDVyzRE9TSBUq6hPjFsVmbg7I9f9jiw/2ycDDWRutm7ROjVFo9dicittilvJTy+nktoz
LQTvq4/cRxwg/UYnfnopQrv7tKGwnXSneGk61n0xj5TkubSXJpCHB01WA087M7pGAM/C9Fx574Tx
RDRQowrlUKMXODbozoZfrh1Tah+p6QT6QtPhCnlBPB36GNZDJjyWPK0hi6iP2+ExGwcyG8rSWMom
mx79hLaDCeaUeZjO29W9hz90zoBX5Xm16wp92FjC7LfljIZk6hjfrTARS9MwQ8JMcdcAqfae5rbV
sAKNE6xlg/NQHOoJowoWMV81lqysdhiodTl7jJVnAAcxjIXba81Zc6zhwSaFC622He9oVqIftIk9
Lzk9YMqY6pDEEPSTQLjxOrGzesmMPXweP27kxrMmFAWuGKplP8ccwplA/p+XLkN3KRD/uXazbOak
fNcUGEeFzuyZqu3+qXZjFsUpwq6tl6bAL0zqQhzcjMABlVLnHk6RiQUHy2AIv2IwqoVwgwYLVToB
8pdYxEwjX+lVZS9KlkVwQDljR5KDBNekOyTO2G91oVLd7AAurUMzpU2zblO1OK71CX69OfgYfavC
XBuRNVcKTQEDrI4ThqwnhkNc2k7c6WBmmhCal0zLrZdDn3cK5pltHaibN0/uevKQhCnZxrXWTNql
l2L6ydVBxrCYHRUuYY4DcXZQ6dDv2olhI6HNMMKki785xVOrAfr8qjr8S6Xl8SlVDoHcTP7rK1qU
HDnz2kaoLl50y6X32xLIkHRlxHBPzgCtzFl7M+66RZQY2SLXcLXJxDW2WozwMZlR82gldPEKVZ55
/IEVUUIfM7XYqitonhiRR+8itJFbe511oWr8pWcGDhcrwqvuKhuND+4u8jufeLeuX5hdj7/XTayl
0zCCMziBtbR6BoBmB2OOXQWMCcqyYXbCxB9n4c8tC3qrsxc0K81lyKvsHQvvBxciDsVnXifJyqba
OBtDSJ6hDjMqJnkR7LXHnLUhxoUbFm+Wlp480nJI+gzYdMPI/zW3o/krbEPzYxLIO7nNuj8LWf0q
+GQXeiaKVc96tamyAfE4ZtOfI/UX5ln2jJaAo/SjiN+l12Tn6QLXWKW3ay3r8o3Ro0lQ04ulAy3z
tS4lzJAKoJWIKzxLQe0fvUFMh9RPIR/x2evMpJHmjoWhHtaJ5trXzi6ZcLWCwcDo3I/7Mp2Ng9sZ
3s12/WGThoa7QzITryAAqDbMXl83hNEQ5VsxsNIkea8KqSReG0UL1iL1+Y/1GNy6qS4UxShi4+0d
11j2fsZgIQ/bW1k3GboVndza7ABgORXDK5PRQ6ZEkBU7eO4+84DZsLMGFP5Spjat99RHYR01hre7
DqOvjGAR5VV01LNW31ZBL89TVYBqLPPwZ7Z6ivi4DcgtK9PsSQ/04snMPQ+z7FC+VoEXHpLJGvZa
4SI8BlMeLQovDE96OY/3HPQI4NRsBlnIei2Z/zSwA+pWovKC6JxT2JFaZ1Ukvol2OFSeY+0cZwoe
uyxpGFswCibDhvixt7CdGHON9UCzI8jJflCURz+vnPu01V362wxyHQq9p7XTDtbwbaW6exwKmJuh
llVn2UM/mKSF+6lO2u7mBnTGNWDdL8FcJhp4W6SdcQqhMBkxMw9BhT7bBG7843HseNCGWTt7LQVU
4pCqWPV1tHbDrPuWeUTNohFcrM+JScgCfaVso42NuVM1DGMVTaKRxtKFnwZhQs9eP+DA7Bv2297M
idw17J6jpstVhgicSfwhqW13b9KNwgffiWhrujYlWREDR7c1s9o1haC+Gz0bzcSsZ6B2aRqdh6R0
zvj2ijs0FevBzeCGNUXiPiRJlH/rdks65BS1/FlUqOGW5L6PviemW+aUDsPRiWdUO8FZ5UsTTvvZ
DzFcgSg13tJw5I7KrJG583Ksh1Pm9SmxwkXJbEIKdyji7llp/mQvkq5iLs5StRcFEGVYpSoyqWoz
igiKOFMBnYVendPU9I9+2phfiacRFKdKvDqc5br9Xff5v2tAx7ei6VdZ68w+ZwhuiaoWq7Zn2gwv
Toy8SDk5Dja2udGLymv9u95Mw17b96oIFV1Xn0tLWpBNfKYxVLEqwTEs+ljU5yYBwBBRjF71LsTb
SIlrp6l7qlXZO2Ujs49trMxLqiwOJCEgADay3dxY81VPCgJ2f1fSjiqq+z7TTkIV2nGYUXKr4jv5
sw7vknGT1TOHVzzY27hV0Bq1sVZqi809nPP+73137FK5oVwAhQdXv15qaotuiZVf1mrbrjWBWUdt
5X0t1K6uNngjR/au5yB98NT2n5u9QXALJYFWeRatTsqEzOVb2FLqfaKKCOIceLxUYWFNQwD4V5Ub
k+tgPlYlSJIDK7NUWVLGgk6LKlVwtA4bTtpM7qtCpuc5WUA/z5hcMO1NoAqeSpU+uiqCclUOJX44
PLpDjvCt0/+ChkjhNPdRs88iWGm2NZACqCqs3Gg1Wubtb48o/aLCcQH5umimiCyMJakiLXJsuZhV
4RZWlHCGKuakKusEJ/HHJsWfkeYMJ6riz1ZloJ6kZDGo0jAUrfuYqXJxKi3tUqkSMvldTXIar5ad
KjEzVWwWRUXIqypAQypREh+oSWNVnnJ/M9wW6ogl46D655lhr9K8AKqZB+PCam33Z1b1LjW+c3Mq
bTzOvkGOQZTZDF9G3qJVtXKgqmbuVgroXreh8FZ2K1kJghhXzwxFID5a1F+/i/Ag0OzlWFjmclY1
ej54Ez7B2iStwkwOYDU5joG4uputXNtFbg1Ku2ctHaxIfPSOEiKwHMfnQR0Vcs3jplbHh7TSAKlV
NTFYZuuGV81r3BwxNh6uGHnjrR/o6mjkRB6wjdCUxBI3QJWZr1jXHHCPTorJrej78eSzF+0pwKpt
hYZ0dCUkzSZFysOub9KpCVio7vMwotEk+hhUhZfnz/FkRw/wWggQQEz41URdfo0DMcIWlsXWzaeJ
gwudVXYdSbHvtDajoiHPC2fwalvkIQmTuKnRsNxScx77iUcdSqIjucthlVzH2jXeO5sjU9lDSvel
4PWMMYjbvM/0ldMDvJOlBxLErQZCJLKi3EXCsI9T7jUE6WX6Ok0ZMIA/I6BMal2LKUm3aU8UaAPL
GtlhFfssKU0rqCZiq2+wbHMaLe7asTKOVUl/tHImA0mk1i9zDv+ll3V8X45F8DxSFKKDV3Z0awQe
q7kH3CGzedrWnANezMEjmjpypnUc2/JBs4fk/zJ3Zj1yI+kV/UUcBJcIMl5zX2vfpBeiqlTivu/8
9T5UY2xNezyNgWHAL0I3urOUlUkGI+5377nfudHVztYJ8yMxjM6+7xrjATYzIJpxIvSCkGTgkbAh
znTTdF+WNtdWruG8q64u9mXoOvGu/SXSRbpGsEsGjqsT4YJqkfOyRdibwoBHRJBaP6jgQfcbfmmA
nTSbk2vXdNn5U8uFn/wSDK2oPjTQ6HE3j7LFkxam+DOb0dya9lg9RWiROL5C7zpVBngjLls4bz7z
0WJRKq1FszQj1R68CpaQ9BzI4VFaPfqOlT5UPHyOXPYxCYzKnjfdTP48qGNYYw2G9HBRS5NQQ6nR
apnoz5Jy4LTgM7W8sbibFqE1w+t6lWVMZlouOmxiJCPj3UWbtdIaV/oi2PLZRLehTSijtnu1tnpH
3mZNEx10Is1Xrl8GeYv6O/IkOtSLItzlVlFvMk034lQ5nbGtpdXQ7aHc2VgFPNhImWkX5FDiqg+Z
z/IrbR12qClrNtkYk9jApjVhdHSeSXePjTC8Sv2xZfyWptgnZpF6rI2GZJpafpBg5aq4zjm2l7bB
ehy8zzwqnJiCrciV8PCS6rMbnZ2EbueTIDXJcIi5oGklXg/NY12+xN5zHzy6PdQaDh4ZpRGIi+V4
mtyvJnwwGcZ3gV4TqdpYENNh4/WxuuEDacrHgnoAPuDP0OpYTmwQIwM+ZTBzDZi/4oAZZOrp8YUP
5aC9oK0epyp9tbsKpbk7u615knH5VJXy2a3T/YT047PgNvNn5e0TCBnmgB1UGPn3QjRvtVPR29g+
1clQg9SZ9NHInPGbpzeckzCXmtBV/EcRJfZZlWVUrFs78i+t1T2mCRm+utoqqOkMlzgyOubwZY0D
1tZ8cp+J0VXQjVhaWbKAuozviIjTdgjdWyukDFuXTXJqmQVc/Cqa90PoIR0HdtjvYk4kqyyP7ZGW
Fr5xWaYEAeP0I3I6zMqRNPdtR0ZpzhrOyZD9PR8vXhm5P+wMiicbqXXnxu16aMtdI8dXz+7u2mWu
O0+pfugShXXMbzP6B2t4jnPlbXQUSGB/XECtCMxNOwAihr0HbAMs7TbtZ0h1JU5+oOAvQVVAiGO5
JVIpCS5GHTbvaeFWtEb/EBDYvOsVTqxEMF10KX5RLZAKUQLiK/MKP3iOX7hzpo+WY/Y6V0Q/2oEw
pS8aukyKsHr2U3UdC+e+CEd90nb+UDoD/rFCj1T36oYMb//Gsed7yzNuQ98eytx802uY+r7NCVmA
4KN5nCKUIpKbDocsirzzYfRsP1M7fG1LtOAaCDR+OQxInaEEIXwyt/noovizls0BqqQsDMKC3Kmr
SscLdD4nx+oM9tqwe1xJjFI385Ckm1qbMfbb8q0z6S0rlF08uV4Qbu125HTmMkMvM/dj5vEDAGOs
D65PrVBPGxwFQhjMxGATbdPifbQLezNXo7PpWggAMmUmkgBBPFbZ4loSoCz7quVxHo7ydhwrl4Ux
GZufnrGUDYRTeDYQea/K8uVrVNhzuzHYu18mTm8PBAiSD5ELBZh5cN4bJ4PCiny7YpcbqDVVCNkl
Dsr0OTEc3Bt1CGCpy33woY3CWuYrA8qNMDiUMKwjozEL89ZujeRcdGGOAN366nkoMAO6dUa3hxMt
n5pFBKrrfZ5rGq2LwUukl+Fh/ADunWIR20+OWQErs1u6DstatU9DSlGil5Xpa5JHGCEENi4x2fj9
BhYy9tFZzOHFbHi1NZV0tbRudxvqynvti2Z+NCSBonzMCKzZzuw8F9rS5ENScc5YPICcqFg3a8So
cRf0RdHc6NQe3urZwgSrc8MyeYjnMfRCKq6+VaPfbmW3rFC2F8kzQytsFpVsBGXbXg/RexB5HR19
s59fUVKaYmMxwssR/LKc/BJdELV0je9eEpU/cl8QgGegRdmpEvPRK1uOh65b5I+zoTP0eXdAYylN
earavDzkri1PU1f6e3Nq6KHou4q98KQLWPV908rr6M3c5QGKE+x/x6ygVnbg65hzk5ruOjKxs7dV
nB4WL6WP43MKLl5jM+R2KXLWM63f09TZh8YY36scYHddBOT9qcfAKURbr2/OAMqrdv4SAMnwXc+U
zadNLfChCzrYijCAIcHZj3RLG648VAdaqkaeIdOAxce0vOTWQs3/FqsZFEwuwp++0jnH6oHro/by
G7MT8Z1rjvOJV8EikMl0Mwzd9IkiX1/KacYvEjJsITeUpeciKsbbllHethqc8TFC14d2iAfBcTmJ
zpMkj+zkuf1czXL8PieeumUKNa/QSuU5aGLCoU0KBTHGlDtkw4wJcZyT27b04008u81txLhSr6rG
YcdU9WnzHBWTeuoTdIlNAmCET38syp+lpnG+9Jrm2c9Guyfgjm5KJ2Xl7kKnEUfGIcY2q5YkNwJH
CLRhas33uZ2wz6fs8fkoDCxrcw3gK3YDJNCgr2nDy93JY+TWdeGTU/tjtlF1RAZAprZB/0pejfdM
UTFrWJbYu2RNgTYUTrxJ0v65zLzbMbZAcNALQwSnOLbxhEklN5kJyOVHWcYIQQD4zqiE4txt4cZQ
puCGEEZ5w//cvBhOkD2a5OlK2rBDxDqTfjd7CPJt0bnzZTm2f2O0RMdo3I3D67/vjPjndobf3Qz/
oy3i/6HnwZT/0vRwLfL3z+J3z8OvF/xhenD/5mBb8DR1H9IzLb34J/4wPfBfhCMdLbWH5OA5rvu7
6YFLDTuCUNpD1F5GdX83Pdh/Q4LnB1mo3Urwwn/L9CD/bHoQHr4Hx5JI5log+/MmfhfOR8Nb7qKp
Z3MEZRX6ihHD/2n9Ta3GTf+YPsITXCNLEAPMhm2Tkslmlp9yV206d6+CV0v85Gq1KoBy/F/dfV++
B+nVrd8I2joNEbh7Ux3hsQmqIUrsk+QOPKIre/nJfrQFhhAf0089nmOJhI1R6ZAg2IaPQzze0wzo
ROGBaT31LLBmNlP57LqnGKQxZDx7xnW3a72botIMqbcdtLb5ko0oG2DpmnMH5y090axYed6eYXYy
XzH/Jryy2p6BOVXxVwQvOaVqGPYe7tzIW2ffDaaG8RNCbTrs5FtunKJ7JoYz1UzTSr7iTsKkDEmT
xmOsABnuBs9GKo5JOzDj2KffPHk2zM3wXuyjS76ff/qPA64vJGiwwLCS6qNxsMjEfu8mCjBW4Y4+
QmoBeJKMVIhmm2L/0B+YLq4x8PvFRf30AYoRgWCFHU5knoA/0fPCgRU4uAPiTz/W6GerZmltOgbN
Ds/+WRwYYXt0J6HD78sLW25JXj4m+c++A3ZytHNIBBjHUV973g+knfrZ/VDpjTV+k+0pSunlwEJC
quPJkecCsp2/U9kRdybECedjcXkbq5Qy7xVDg4CMDhuPDrb7ZsJ2mW+IUhLgck1SY0CkVt071joM
WzK5mARv5hvIIx2nULzS0w5LO4GdiQDUiZFWa2HYXg3e2ob791j+cH5OcmV+QkG9Se+KsLz0DuZh
gUzpBF+s2jldkhk9J32xixtHskbbL9gKw24j5/gnO/IB52F2/j9Z3v533rD/j4vgMnPDIfc/OL9u
vtrwq07f8x/NP6yEy6v+vhJalqttrYR02TGwtv19JbT/ZitLSiEsYZnLQin/cyWU2L+W/8ILHYmK
aP6X/UuKv7nSZtPH8mp6LJbOv7MSymWh+839JYR2HOW5rLfw/TxbLO6I3yaIpjeT90nYNXQc73em
yL0Ve80Ho0vibaXTa26Ci80nx1vNCfYhVcSQihTs20Hg+Q2yrz7r2MP1jXdpvMRFpK5sTi89mKlG
79H0w10RlECqXWOp5tzFSdPfpsueMOYuHOoK57nTSiAI6Z1ZWUfTBDDcd8U5D0dM7hIcV4yKa5gY
oIzY+FJGw8BeMB8P0gJvv1utE+bJ9Nl67aW2K6JKtTjPqV8wUYgoGGqt+klR2WEoDXZepi6xSMjY
HEBDpnbgLEpB5BPv7pzO/fa3a+GfmEvMf/Lp0tAooXIwabHZ1/zjpyucyatsr6bRJijvUgzn27yQ
ExjHynwoifE5zKQijpOtZ8CPaWNyzGzVpoZjnUCTOTSx/a7N9Gph0h3dfPyL96e4wv787UvPE3gM
lyehEM4/vj8OvEVWDxOPPv0qq5oMDNRpvzadM26IUxvACmM3Tb4gXgz4Fcz/JCmd/ayCx84rL9ob
wFcEvX9yY6oz5JuB+IFPyLqkbE2p6hLM96q3CR2fWMfyfUed3pdl8l2VTb/1yb79ugKyfr7MFRPI
rh37/WyV30QoCJPj85vaKjvNtPMG0Y6zHaSpIZyZghLR68mx4x2bgD1Z/Y0VIykX5KWCXqWPUoXm
emnpKSXtWLMzCw7v0U+nb42bQtZ0Fcb21Wfsf5sNAkmYs2kAbcT0qb2hbJ4vzE3mnWRHcPp1geTZ
3P/F+H6xcP75w1fa8izblQ57EWf5cn679fLAFb2bVJzg42RT0jlfJl56VIFJlWk2nntTo9Pi9jqY
Yt7hIKSyopqesth9sWXGOQnhHi9dlq05EkZ76TBON7ORY2Ocv2p3VpumAKc00VTG6PBm8PA5cTii
uZZGRQbODSyO2gBZ2if9VhimTblr+yNwOTgV3UxSyxuwFEeU68yMsDPqpkL6Xu6E9I4qIsijI2j1
LZXcR98HhzJ1CazetGgw3mXJZhoYdDd1VVzrgG5CXUNLAVd9LSwnuiZz8M3hxLwHofUZ6LzZ46wM
CHrzh+Kgs3LIRjDBsAdebYJSos9Vd5Z1qBsz2DVZZm7T1H0O1awPSuPBR74jRmoG8KlyEf3FF/Xr
i/h9jTQF35GyHfyU2GTZfv7jF1Wi6Y/ctgGGOwwIsqZmXdvzCWECDajR+pi3+qmbq+yMV02s6olA
e+LqKyPc5NiViiu6IsrjR+bJcQQbq7I5h+RPdNhfJqwP/N6Lf6Q/J91SteCX1o7slXdO7eC71M14
E7PqUYNrm1c7JltiBQAWVeAQYEp7iQ0/OEZ1Zj242Va3brorHEFcY8au0C/rK6L6QfN5rULvMnbt
F061bvevFzo+j/92MSv28+YyoLN40C1W5t8v5sF2+tRsmfk3RQhWLqSPqSkWW0J814XQfmpt38H5
etUBeafJxEU/0M/nxh4cWO1uGXMvnuK62YkBOc9pPyxNb0+hyht/RJUsrb7eFjPdXQYZ0W1g2O2Z
O4Gi7Ab/25ziFytZwNeAZusjZarmLjELWBtaGG+pqM7sq21CfBwcXUme3IviYU9Vdnf2E4O2jybn
H5qTGmq2+BX5GUOn9SEy8Zd0aAiYzBIKkwZrmwDo2njFUySsg2O6lHf726YEujJLCKlZAldn4uEF
LVOZOt9nRXJTuAkhl7HbeKKjVFK2h9bxfqK34u0ITPPIgByTZ6Yo887Nz0nUhHHd/qOQhCVqDMcr
4RUYVf2bJoMwXpbOpy1BEoka4KmMmwCaUMBu0ILWK6Zz5jIkTyX8X80wJqEkhlwv4Hzdd0wXlkrs
cJj0NgpIiAEJGg9N0wIANBhQNRbOlb6jPMFN2/FuTq6sAyPyeHDwjN55mFv7oSjsjyA0mCDwXwJl
vLqOcqnSwfU1TVl6SBo8rRwAqy3mrfjYCw4+4Zh8i2ihO0tI/bpxkm1iRBVijamoRuTvzK26OUnf
+obdzifkOH5VdaOXqA5rm79VMqZeY3mbuiIMmGTfZkSq/dR6X6IkJ9bV7h6VqTpZFYe0RQyESf5m
ugE2dqsCXB+i00n6ouUgSFnX0GI76gYM7Crj8KgaY5liHDosDY94wHcUNOR5962mQJ54I1v+FNO7
jXwzlBSkNIWGWBUD5GlL5lVYodeh0wacIek5bqVNGlalOAgVlaFRLyiVcrH7+eI4uOapMiX2ugUH
EacUYhLxx+sY+T8wLV/6NhR7rypo4bQvqgXDWIbJmxYm/GGc+JFG6CgagFJH9oXWYycrTk7apfjP
o6EAFr+XpoS3kS/byYDbrazunGMJcyhmLfsnswvbXRP6b7PqPx3fWhxpqzHv1X4cJR0x/TFtTbWF
mtdXLg5BG+J9N9Bm683J2ddFCJemves0BUgBdTmdMYljWVb5OfqZFWZ57LV+ceDrOKlHlDFPPztH
vyYTha0aJL+0T/n0HkeABnztPRlNfZPaU7j616vQn628goVa2QrlQSkX58OvRer3JyrSMXJkTxdR
yHKi+WVsUlYEebmRwzZo17LmqdTF1njQhMNCpwcKAYso4FrdNeDJxu4Dl/n7HBU3lgHZK3KksXEz
6/oXb3TJVPzpicLbtD3MnxrX8Z/3XaNtFOwycCiKe792q21i5caTabF8pgVx3i4HQe8siFYjX2ig
A4p+/xcf1nK6+NN7YFfqujxxiJC4lvWn3IcwVWAZ3UADSF0d2zHpz6Xv7As9wUszZXjjFvd+kjzn
fZ3vz3/sHiruno0sg+QWSxJmkojpuvIlZ39EG7yReEAwVHSrX5u6SeUzHbDBbe4HwEEzMrZJUuh9
kTO2gzRqEAbhj1//xHO3oesouYpMitO0/NG3gziV48yRohfUy/ZLj2Y83vbRbJyskLG/g+JJ3x55
Zo/QGdjBxNHsH8ijpnyAJ9lEWwMRaiVG2saGoL9V1biRdhc+zm257qiV2v/F1+qJ//ahmuz22e5j
LxWahM6fHoM1fu08Mmo+jFlBp6aKY66z3TyMNBUV+YOdQyntOY20FEsy/mqxmEGRqSAHVnhbuG5B
A1TZ1R3IaFCxUGU8G40RDSEpvb03hvejD2c77l9c8kFrtwzfq5H+1tl78iXiQ6SfnVAulcyTuRpT
D5yr+zB7GuToNGAVGPCc4NNJk4Gmk9I9MjC8TWbAJqqT76q22HT1jOTbyPosXZOiUZeDEd7n0zTo
aGWnQQ2akvrDRpqrVulTQVhoq/ZUryLTJslGMcNd6wH8QwRduBUOsjkQiqbr4x32hxdm3rdjFp36
zH6zS2oVMH9bRrGrAAuUeJHPNN5A1AO77auRrl+DAWrfUROSEAUk4rZ2OE2tlAUlM9boU3wDW+Wy
NhaaRclurEfHssm4y1MAZIhoI88Az1lE4tLuT5mxr10BaFLTM6MI4cYdvCtmd5dMVxLAQghUzkSO
81P46a2kGaxxmgmVrw/3nQjfxkFzhMBJX45UKXgdfnlBdJ9sFxQR6EJFjSZloajPusHj7/fQ+PN8
HTIczrIyuylg+obKR+yTc73tkrd29n6kZvPpSDgdTMMckhfDeSQRHRuEd5weJp1/ZzmC8CuEhDrV
PZ7qeZUVxTfeJLQZxyJZ/tnI/KByKe5c9hJhEkjeAV+fH40RqA0ebrhQT0BmG2Djulk86pKW0sbF
syfTTRiBaNQdRLE01ic7NI5W0qi76MWY7O8dALmD4YzX0Aa+LhtcPm17w172ga/hg70xWH6tt7Pv
MAmp5wnrYJ7huVEMrBHKxr4y1wpnAi7corx3vPSjEDls/pHPcc7wlpu+fvfdfM9+dh8oveLR3xzz
mS+kYMJ31TAGU0PAW8xKg721IIFvzoc+o4m+k0e3SRuOz0V6GWf1KLzyqUid+rWrmWf51CdICRBs
8oKnKm5oks67bZT11VoYNSh/a47XaeZdjU7T01Q3S/h7DewWIEz3kMWp2iVd2tKUQPDHplVv9K9Z
esNwZNDyq8eqwLM40luSAt9b9AfyuksGFieAnS2FUi6norSlqK18kRwEAW/Gr2072lspuTNzbo/1
XBvuhov3bMMEneXUgNOlvLTiUe53Dj9sgJCfD32N//qunIX34Pjoyajk2yE3vIfAs6j5gzFlRT/s
yk/PeZOTT7ACyPGrGm8m5cucfcNJLWyKdG8HYAO9vhp3IqLlJGeWYxrDyjbNO0Dg9UB2O0UB6qmr
6QYXpDn+o2EgcJ868VNegg3I85BWNcSThLtwrdDYV6W5aWIT5m5s+NsMUt+QlT+FgVqg5xnrlW7L
e5W62zSRDIKbCs6u1T+VPP9Jyr+N0wBMRuhz41kV1znn0so6zXDTd9II8H970WnGjxHGbPPS8ox5
tMTNM3zkpQdQz2GZrOePfvZguLI5W3VYUcPseziNYG8Ws9+c2esYAwkpR8W4Gr8nS/EqDpr3imnW
vuSsnQXDm2lM1cWrywQltSAMYK5EYkMhHji9ODyCaN3B5wZViYqCBpG3KypoVVU5nq0sIjOfW5Rm
uJJa9wRGZ1AXN8ykQHuNACwHTj84QV5sYW0zSIh4GPxrxwjUn4KWjSUJdJS+YJ1kmIN9FVED4NhE
eN3FrUaBLaHnHQ+uCvfKOrEogsS6Gh+mGtCo6rjlGzAxWQPHuYajrlvv1nB7f8WOko/aY7Bg9AH9
iVz36JT3LEm4zMb5nSENaFSTlxUUIQ81/ky+cwDjiweAvGO0FUHITRPMp14r2qY4MzBmhTuJFZvm
Z7bFCnN/0uizJ8qr1N33kdEo5hn9qOaRKEqgX0x8snTH1JcnjhzTDU8qtwlve55BZHMsuSRSUEDG
4H5u6c5l1EcDDDgLPRpXNZcYBC1xkahCAZ/fFnM4skZMbUXvGaexkU84+D+DdGSZl5MNqMbYei5h
8Lj17CN+pm3bBOAK0oBi9lKEp2hOfqrBna+VQWCbAXq2H06DroIHclfTwSbNtupgQ3BetPZz1lOx
2WbmnkojYC018YU+25P/Zhor3njYb2QTO2vDHB/NCiedabobsmwcDoxgj+8YXmQ9VAsKme1uSHnh
XD4mGKXYFPNcjVWQHWAlvgjKdWgBmS3zVc4+sZiKYyQViG1/ggWma4QfGGtUnOIJRfS6EQH1yrGR
waToDxHmrV1nlORQWryJdik+jRwMVNapJ9MWaGJkfgGx7Gws3vRUSmgT9BxhUJvi9RxV38yMxVcP
1j1Bg+dhq0Ah0vw6HXH2X9yS+6aoGQ4NAYOPAYsd3xXswGbvUs+ARSha187sHuc+PbmhcasMt0GQ
mJtTXyvvgNOA8nJ3OrfkfpRrlPduOP4wI/6aavCP4diPa50TxophkXcNWPI8LL9nQtF1bjd3g5HG
+86zvtXoBEGSwruCDakm9Dls0eT2Z7rW7dq79t5SQ1gsHCHhv+nPsfe+WACY//TTl+v9tGYalDuN
0Ntq2sm8RMPhVyM5zhxZawZB4WefbrqQOqPdGMbWZpiwUo19XdOkBdm4rdWH34/EVPoMH6ryHIoP
7BzvFJSLwE/es6j77P2qvXoYcfq5vtOqoK25ggNfZvkRSZeaCLYM+Cn2nHy/Cr8nvafa7GCEbb/R
OHuHOAq4CCaHFkDIlRkeu9L0hlPvw5Y16/o2LCTOMDjebJc4QZrGvVdTjjU6297Ax40iNEOsjl88
8TJ2qX0VNWudXVOqoUCCx3NlngsU6bOKGeCF42WKkl2dt+3BbjBjgxWnp2kWw+OIvMcjI5p3ZRGh
yrNA5y2SqcekDc8zjQ6o6MKU5SVz8oh7IE/XvYe7EV/G8GxQWnaoJkjCqp+I/k2PVe0Tdmur48zm
fNcp1FaPc/E6tMar2WTXmBPufWhXr50R61swS17XgOfLPsywOVhz00ArZ5rWmxlgqeKusysPYFcJ
pXahag4EkhUhzboSL+G0Y2eqA2GtG8Br6yEPGS9CDQ4ZNoMPUsA+6nFjBcwWPLdlw5piEvOsaVPA
wEB2Cl7IK44rN1ekUKfiZ2zF9cmx96zrglfMr3NBt4fCSmaXMJ/cEI2l8Bjg4avgckTEST04LvZ8
7iruHDM0NgWeyHVcB3fhQPKxj9QhTrH3WxVIRMPTL7IOD2Y0+xeWm+Q8VjDnl38j/e9fRiPEcDVi
X5vxYJ8bZ4w2uUGseCf8mpryMeMznZjDyHF44FHyYWLDBlBLOipMy+hQlAsnrqy/j4DS8DnBxhma
ZjrZjEbYvJeXuCHvGBmBOEmQilNlUpLC6OlJ241x6LKarmMiXAKXo6/iAJnFdYBebUvXNWiv1m80
j8trUu1GSdlCPKW7ljYTguj9kwqC+2S8D1z70WyMI2oKzWwGAKSwauSdQxmszXYjAeu07o1sxEnt
SSoZnW8qmY6uY5fArBpMmabzJJL8B+jsxa2fvtsqbA/BMlJBkI1iHinFMp527fGhI4W865NC3ucT
HQURO7IBX/6eYQMHm7Ey1oAV2uOw5QUW2fR6E4UotGN+U5Ue1XLMSI4aexvNF8G2z3W87iRKVgT3
/egvyOvYGhpcyEh4PEe/nPimJu18DQQ7qDYdm2sW4ERs5avQsXWKhHdfBiq/89zOX1spbPTlLchJ
vrR5qI4OGgwzGeosyq1jDiHhHS6Z0Y4KMm7OodXo4J0DItTsXgIIQBM9E+eBkp/RNH8aunjWOdxf
MwfPqto4uMikoRaIOO1H5obJJWkA+mALVztyd9By6ubKcxnak7RxC7WjujVCFNIpWiY7zYNTKusm
H/wHRZLwYIXAC//4gXrG0Tk2bsdICI0gp46g6yp9QEOqz6oX1p6U/n3rwSEsVP2UzL1YZUHlnoOc
ddPlV97/mhtM3ZU8OcWqZbZpwrA/BulU7qvUsI9TXLz6KeCCUnSfkQjfZfpVNdP33KdeVOvkkNR+
QAOTFuCHWHgDnu0TWftmIR5MIlHrogB8mWc4tn/9kVh4BkjQV7uJMeJVtsZzWioo5Hn6VIUTTHo3
h9jF6RrPq0h2lZdPNyEO0RUnW+rPx5JoZ2DmD2FXvvpTlp/Nkdkmv7YBh2v6ILuenxoZm3ciNHCo
uYBrSnhCllbdnd9SOtP6PlUeuVPfdKJ38MVOVFvFrDUuW609YhzTMVoyDk2ahBtnbI9s46onPHxr
tuK3jubILfApmzVusBH6VGFM6KpOAeYh5OhG+Mk8h/SOpAF2Ci9jYmaphzwJnxIpQJZHPKRqiZg9
MQDr9NYe6DpKZ6PZs1L+FPOE+Zc6vs5qx9vBZQe69B9ZPOUbuPHGDAGVFMKlTVT3VAf9ZlZNdDaq
siPqDTCfuNDGjMKIvIpTn+sAKp/dlvY2D4xkX+HkoyWW0+dsF+MpIbmDc7XpbnCOv2jSKncpEckX
INVzb2evyy+R4+26602xafvafZrJ8hyncnyoFvGbsEe0tiXxntGVcIYUXRR12F6qHvEEwxjF2Axe
VlkcdltCpsYhEDhk7RccyiPVkHwFJH3mSlNCg4BsNS3adzHAKFZmuRlC/nUmRDTO7U3sxMU6iUI0
6hb6o224PoUdOeeXtAPAj0XDNv107/azu5lNH2SbQ3WPA1yowzfoeiUt5R11mVBt66F74D6DsVaE
8KaCqdTbpOXwP+TmtUER3ODN58a3r7XtUQVJdLYthbrUxXDisJdfOc6WkcOyqi2631uaLaYGHwLG
qIuTNu7ayDxuIBs4S5nr4di51dWVhr7LHRCc2oO5HbNDafVEq7MHi1IHXrdr3aq7htriPN0RxwP7
xS5xMF4rR8fH2E8ZzqGaTm2c3doOXfI+ixdilb/jHARur0AY6p1+2DXF1GDgIarXr4MuugliQEhh
mK5V23mbwQ9/hlaoDr1v3ZipZgkPfCox3RZ3Sw74RdQ9FqvMKS8EC2HnTvFxjkr72YYoa0+QN6qZ
n49lW7xpzgexNCFy9FHxoJdacte2kNGW4LJBKsZxIn9f1lnwOMUsfgubWzjO9N4CBAyzgKtaiezG
DtGCkjbMXxiFEQCOPfyyPAjKsOqOplZ6n8aVoNvEqXFdxbuyncfXtMaX3sK33RClzQ55mSZ3um84
IvXjbgiK6XtTetcomcYnsrunUXbOtqrIXpS+1Vwayyp5FJ0AghlPorI5tk0Cso1jb6M6ORHRrQ99
KTh5B8M9nokXxjO0P/Pxspi7H0Y0nCoIOXu/RNfLXDYfZd1Ge92334KlBba0ucNLkfFT3IpnoR6a
Xc8iv7QfM8ue8mcyK+1RCP4KN2DUJKwaDlijL4tv6DyL55JgNKHlicOc+ZoF4iHhF9ChaSMKBhQf
SfcYxbTbjyO2dtdNi41jOjujyMtjNta4ETKsngljsZopaIQyti3YSi/P41qP+3wM1boNq5Nou9Ov
K77VPh3YigYcMqqL4t1TlpL3l6TKMMNLsOCt4WUrE7jGrs7cGEw0OlcE0t6fco53/SC3ILD3rYSZ
OuAHAddYlLu2oA8tLar+pk2r2wFr7rlyqk8PMEyYaADsPAWFW9eE7rgJx0lhz6uthTTI2xqhgDEU
xKflvg3L76Gwlx9noPz1Q6P4d5a2/s50i49u0s9ByURvCMGa8RMuoZkaCLCL+FkNBwEF1siZwnBi
nAVlpeGAHVo4CEi2wORWfPbuAubIo/BswgZKhmhfLLqNF8uNkxmXEl77qZemWLPSpFjXWsg/A8v3
xMdmyNzjlmkDjP0XpfqZeTmkMS9Nkq20g+4maP3oj1na6DGDDGosaX5ZnP+DuzNpblvZtvQfengB
IBPdpAZi34oSqXaCsGUbbaLvf319oE+8e44r4t6qaU0YFmXZFJlI5N57rW+JmXsYZkjOUPruM/zz
yPWgE8iariwt6nSDqJx3DEIlkJdi5XcVf9V3yyU9H7l2tWBr0Cii8dg2m9H+leWh3FmZgfXCxCAs
EcD5RfZetEjpay986siMWY92vdPyaiIdTXPBe9MrKQeklso6aUbhnAxhfNCJ87m1I+hYlIWeLJDg
B6e+xyPAlA3JJEDdeF59k/Oe2aJ6xGZXrkT2kplokLPcJ0mVK6jJa3IXNP8ACMJQ47K3qJTGeTjY
95/avNArLTtHkFzWk7CHRel4l0CYw3IQ3AwiyxueOVsm68zwx6MKTtyRqW8nkyFHZg4A7KdTPIHA
jtsUNkbZkQJhozap5JMmkiOj7ArOQxtt2sFoV5Y7ThupM5Fr6XxU3nOs8wIizBy6nRv7pEwIvqo6
vGxmFO/dNjrhGDY3Tih+0GJwdn7T7MeKOniKcIEmZH4w03RpBNFcENqJxlPOtWrlHFq1z3Ie2A4y
e41CmH2Akzg8DX6ybovUWjYJnq6pzrJ1Pg/8Gt3bt33lsbxCevceFVKoxh9tjhBLgfZNJIBYCnjQ
1z6bByGM6IEK70s27USayalxC3NXdNpXk9mMyJuXMQ/sZ1v3X5AolWcv1jVCrGDJjLGkOKoQzpgl
sEeKrMWYAtaNrDh7akqkZbGLWqdiw8VWve5CkkMzJ3ypI3IR6465fzsa75JkI88tk52fCPdQ5BjA
cEe8cNywA4SROa2YlTV8iHoEzM//g2uVnp+eb3LdvaiCM1bfV4I9UPZrmAfJ6f4Q6Lri9t8Dzuti
Fk4Mo92ecYE58MkdLbdD7CePhje168pEN9SPkDT6pCXP3q1pu1lfE+2LhxyEYtOaHCIY2WETSK2t
p2mwAOcEOwb5HGbcmShpfsq2x/xQTyctFNfIt4FFR+zDWClruH4Z9SpuUiHqlaflJNzwinuHtcKF
gfTGzMe1PuC4F/01YZ9gzbTuzujFeLb08pusYcFMkBDoVRgHzLMkGOSkn+mUo1ZhNg/NGKqD3znD
xmrMsxPY/A8T4KsUz/oqm3TSy2v43H41vfuJ+VT5zqnIVHXQG7u5OH71U1Z1+FHpqAcE7sUtyqAv
KxAjdW783dTzHZAusQqnxjsnaABSEoi8qvzA6fNKTeoCjvOI63MWnqGyfeF6hyixq6XXA4Yf8A1u
Szws615h6aXTXb8Lwd4uhQbnbLqNaYLW2BpADnU0RDL+N1R0xu3aFwHBgEO9E9C2FvEA1SWb5gNx
1O0ruqcnRZBOCy9A5Z27qDq73gz+L7+K1ctkTj9SXNh0u2lTuC4z1sBdTzUBQAjRtwaetge2Ekwb
3Ch1sRr7sNvPRuZ91xIsn7kekdXej9FzUTFwElpiv4pPgTSLLVwV0kug77vSZu1Y/ZuRK2eNP2eX
TnGIPV7VkOj864gU8SQMmuoY/62rtDTAnagSl2XJdpXY1ymM3mFlBOvAxbkU8b4vD7xl2ZJ6pF2b
nHR9jL1jCHc44R5YDfW2EvqwH8L6pcp8sktzdzpM4oqGHeqUC1MVQBhh3Xm+YIfjWjMZ2s7jslUZ
CdJSEU9eysYdqTWHt9YyH9NufA3qYWW4HH3D5rU1o3MzWbQHnWHl9MlzFJGKMJMBFhPtuAd3Gztz
1IMHBKTrv2UFR4XS4D5i98gyGzxvdLKWXQ9is4k8skQH4svouX1ipmXKVlO0SUE7xhl8YhnLLxp/
ILatR7/gNOM4h9EHCMviWMwvJuZw56VYlaVQvMrCJbfHuyrhX6vGhjlcPYgBu43biuFUttkbeLfH
YZLDBnnpsGhDr9iaMAhJn/ZnVx3hJDi8rqZozy2aQ/LrElGf2rwtFngLKwSiTrL1tQQuIrsjuiFU
QSAZfgGZS9cqHLR15be7dgiP1HD+Oahw34N6YvMJkr3RTF+F6lk5DQ3GOgwIRaPdE+oGISv1Z45N
/1TM+e7Otyay3rNwV/aJuwkH9F9N2Y2n0tbPSUXydwzeaVePX4HNtCFW+YvsKKjKrHvy+iDYgY8g
TJrpEGeOdZQJNDIkt00FMfLmXJ50rxXvCSSVw9SjOKnAOKnKf7dr0+VleczV++hLa4KrQ3PooUzc
DKMz3EBnuuS6ZDjbktOHp48zFm2joSZiwtK5L9NBJmiwBprDuRciTM++mANYfKJ/u6hccdFK7gWc
JgkNoHVez/F5RZCjca9hhjDlQDVPJ4Zf0Hfp3mjurYZGgRswyoNDiKTrv/hD3lPFgM5X2QciQTBd
wLADmxFmbmx6wqw7Ll2vPkPiOtXPG1f0CHnGS5YN+xC/2EO6H46pBnDOpKSeuvGbmRiYCuWrJOe9
cNtjo0wi2X7JsN4kEL/EhP0/0PvFf+mSDmmpbEpr+NnpQM+4KOyrJ/J9n8a3mEGhmVrn1seicZcQ
/EUwvfzWgPwBVP3jy//1f+Ei+v9QZo+g8N/I7IH+fBv/qbDnB34r7AVAVBsUqusxX5HCsFEx/wVY
xTSE1QiRu5jNQ/oso/8LsOoY/23wA7qH+vnuKOKH/vIaWc5/ewjikcY4BkwtmKj/Lwp7w5xF1P8S
+6CINAzbEoz+dMQ2SJOwQv1dGkmbDVFI14YrVVfjXrVD88ySyndItC5tW/wsZaaea58iUwlr7o92
bDhwtw61oSc7rKrcl4PI2biFfWLfVugJavQW8DVdIqd4OOhG5Pz+o1QEc5ciYIoGjvN1CKmPsbAO
q9IhY4ZKYGsW+YfOvPPcDEF5gYZaPuSlOX4q82kaGd8nsZFzf566m4mokwjKopgVU9pGWDU9nSTL
LnZbQmSZRrVAlAvsZxrKdVHmzXPOkW03OQCyKV6/8krInYTR/Tgk3EKQtTJF5jbta2TFR0NGJREX
1lNktb8SOywg78Ar2o8CFVJPGjs8yOaStvSQ+56wO4sU1iZ9noy4fqop68An5XuHg8EikGV/jnvI
a8xK5a4bW3/tTbVcermRvtyfY9Z8Ckv0A1KSWHAXG0fkiUqDY6ChTahEULGPD4NfFh/kAPWdEeAJ
aMBQSI82//yAGaNe+Xr8HNgJgfep0+5jnVSoIQY9msY4KLh1jBic+O1xPIASaMPoGtTbbH53Q4R2
Vm8aW8Ws4iGJrWwfpF6+DqfysSq84b3Dbht5xUduRtmrljXEzCSE061qrT74tZOSWMChoQah9h90
YH+I5mwEaI7heLopJSvUs/Q/lqen4lnp0jB28Ibiw3J6ANKtnp+7AovsSJ322vSQEaDcqcdJH/pV
qYdAtYd6PFZKd8i0B9FdMW9dSN0skYqW1q6t4XgggO3IAdv+7cL/a4P8B7DznxKr36/XdWwD4ZqH
c+XP18txLuinIWsWKitMwvPoZBveqR9M7Xz/AmiO/ViNTbGrMvUTNs240mv8aX7EiYW+uXNuFTJN
D+f2hLl1f39wdRIPQ5RUZmebL1ak7JnsZK+0KIMHOUbxIdbpYv2HX+WfMsDfv4pHi599y7JRbLE9
/X1n8HxROFpg14s0EUxGW/+h5A72Ljrzm5UEj25U7H1ArN+dwsf+bzBcC4wODSjo2C/qAdag+j4x
mKXIbiEuJJ4B2tizz7U7kiJqGwB2yfX79y9azuvh79uZh4fJoj3q2g6b2n1P/fuLjhjEcMEpspiS
STsFYTo8lUHwYhXF+A7OUVuT7RiHtCgKVG06qMoW7dWTnaXPFfCJZIkHm3beuqK6vBaaGR2UoNov
zeqDfqVzsqEtn7yucJFrk1rke9VTGskbNNh2G7CPdFpbHeu4ifaiTFZCrxI4TONM2dBy2sXMo64m
en0G/Alk9XG4WCHUhQblTRusnKaY3rwK4mkaXv2iCq+Dz0gbdZglt32hjLUmVfsf3jFcXn+8ZZaO
NF7X+Yzne5Hj/aEKdFohlJ8XJuyT7tOe0gpc5QZVF0NE3FAVY4KnAbHO40SL1aFRjPAjUGs3jOpj
yGxiN9jTI7RE8QIgT5CsVrYHY16n9y8nJk8g90egPP0Ie6SkKUdXMuUeYl1EKQdG0dmZGj8ArQbq
kA43pU+ew2Oq8Z8jjmkBHdLPAgghq2a6gGij/s3ojd5/2tUj4uJVGr8KErKIEsYI6xOjIZnPHUA6
xYgi8ARFCp+Vq3v0X2p923QS+bpSITPwecd2fWMf40Z/CCJsZpHUw6tOfWh67NpwzsJr5KpxRob5
S0P64iGMJ/VVae0Geh5YHvENt7k6uajzjrlOBqQdf4/GMD9nMZ0Xk+k/+ZoqP7fe9DxU8EfgCRz7
wtKvc2/NNZhkz96S+4PWBnsR97w8fAaZ3b70nrtqMMJhBs7yZn1fgPeliHhMHpCxjPPGyClxQbGU
nauAKMmA4O0hizuwN3wO0sF24xoZsXne8EgXnwxnH3MBzL5f2aSRUQA9e1nOn3PcmgvRVQg45tUX
lNnJTbHYFF2b4bXLJ5Awz9ipyYor4h5WkjYtm9ijdWGa2gU0s76O+9Ikj9cxd23gIs/h9P6fFqwh
/o8F67BedYjIUgA+0v9wvOiT7g3dGOIt1TLr1JYhuu0G5Fis7PyNiEd4TwyhXFl8/P6gQxswlG9O
zNoimocykcbh/jDVoXkwEpK4K30ct95YvSLXj48pup0j0i35AvR3bH4OEZJnFImAGU1zNvQyXzr5
rj83kVPJuQOr+QH2FiOIAWdZg1XKPzCOcTc1XoHH7gvyrHHsYLbunLB6MtB0XBholSveHcIcqq7c
3b/Mme7vghDqUBDk7RL3m7+bpp7RTBSgfbwvEF8fGQTaqvxw1ERnNkWUj5ui2hZ+hUW3g2GEgYlB
cA4hzhBTv/TQVOIL793VfWAX0bFyiQVxk2LOmqPDSMHGZ597jbm1EKUxpc0BHZqFiNd3rwXTnWXb
SP1Yzw8acC8U+XC0BkOcsZwErwM6QahahbPJoyp8zW3jDMZrjbpwkbC4kmXuuvuO7vDv00zRZkRL
jpgoghHLjEdOZMirCgS0DADJyQ2F0GOQoJBGUDNc6vvVypwpIElw9NESk5+r4meuNwydRbQKgZCf
YWERxxWpVTcO1s6X+vXf31ncf3qIbFTTdNt1UgjwwnKXcf9YddIMs8ooTLL9ZJtv8O4wUahkaLND
ANzFYrjEy5gcIowmRH8oqzsRD12izfUKW6wh2KT76j7la2kCQsnxkDFoZPMkxbMxlN4t9p13u9B9
wJx8D5zI2U/GTaobeNmm5pOmmrEYcUQeBoc+ctGYJGuA23tvHcaKUHnuBqQHZdTZpR9wztNgYwvx
0/ox1moyxelnrH4fYvNS2tfWVEd0LiHhZWTQdkbLoRz1b3jG6s+HXwMdgz5ZPY06HbskiJ/cTGfC
ev8sBk5bPmOvDk731DIAQ5N0QsQrdx6z34VVcJ4xom6XQQ3d9L6OZd3eI4z8gRzGOwg3PwazWc+K
zgRzNwHNUzPXD8A14IXZMv5gb7LQMOOcNF/UVcslIfda2F1Gq2GsKmhozsdNwwizTSEJf0UC8uvf
f9rOn4cfNPKcHnTHcU2ET1L/w3uaWEPR5L1G6J03cpk4aaI/xoOaRf62vq67IN//68FvzKWZ+98K
o/ePViedm1H7m4rGR0weWey8S0SmD0Yr4g2RFHDBM/0FUXq31zUO0L2EBnD/eAB0GSTAedm2mGf+
pu3GcGpQ2dnFCLqF95QefOUT/+jhUjSGLbLSs1UX9dP95loa9PIyFowZSkRIhTk4S18h/0BPQ9AW
CWehlmxh9eePuCr79VjUQLGytPjChoxtdbDDgx615r7CkTV/EbcEFBpRIZcQf7A0J95RF1r93PtE
//gwpMAXsF02yjn+3mnh7kki1pj0Yen4MseB8N2aFkpl+kBvRa2S/wDI5yx6tyn/48jnOLqtu66F
9scRxgzz+PuRz1SMzZKWcervj6rjKjxqA6432OAEFYKbNs0pegvteKs4UJxxXZFJFwwUEan3EsMt
tJroqhK69bobaXtZcsIIsQls7wVh7KXD4veWzkb9YbhziB4/rBrve2Fl8ZOUKqCHVBe3oW26jU8q
yQ75xU8dvNE2afNo3TNhy2gGPPpZ8iXQXZ3Z96lFwvjJqrrzhKrku6NkuOjbZG8m7Q3WY8dRI4iu
zbLGqYNPtgsZubWMVUKzeJsSg3my3WQ7q5rvQlrM8ajXYMDBKyMS0EoPNTnFF1na4QPT9eqcd98S
R7deijTvL52j31pIZEaXFy+FJHoxDrNmn/qOjzW0oLuoYAzPVz+BXzn6YHBLwuxezPmUNzLEW7h0
37cFCuO5X4AnS+JUjta4uNyFnScMz/G/Pcs0wGSliitdh0tQEsOtohxd6Pyv5KRKrNySiKvKN1aV
aLLbHCNC6PhEZEuJUaPNfXXgOhs/NUnl7zkUEbaPB9MoQ5dpIbzEzGtnpVVKD7Ql/VQf8nYhFX79
ZD5oD45GkGiXqIcMRDKHIrO4uDh2V4UWlhsXgC5nHYeUXy+wbqbwLWBlXv7p2+51Mu36l8gfp3pr
jJXzffanLZA02ku/IwWeKUq9zXMtIY3aYaMaTffCcJqtOc0uXumJt0xiY2Aojo/LBNSVF2Hhk5Pp
WtsycchtaIwVGl/BSdfRHwdXZ6bAsfDeBikiNRytiWb/IL9KRPXuQyjDbzBQcYnzKRyhJqXbicm1
FhOsCRMThotzNtA+LVKh1/v74fv+JW/yIdXSdHM/nt+fmikyTqNFe88py2sW1TckRtOnQy9mWdQZ
SZQ10ILYcED/DaOxNUwsm2y3zTMqV+yZqfsT2Ix/0P7nQbneN7vpDr3Z1VvwxeIlSbmAcqfDYmwk
RK82/NYO74JHbtPD/dO3CwwxWRM6QGuVf/7XQ6KFN9D/9dJ3Odqqwqf5kbqWe/TwWJSV2+Khxna6
+30HymKXJoXssS2mtb3yZNscsqTinW/6+NkZvUOc9MVbpNkYErTIfaQ4RFgWiHOcOOpGmMbD6He9
vw5qMHamXco3rRCLCDbYo8xzjk5wyhBoVd1GyoKRimdp3z3PZWBwvw/GZvU6sUc+3Q+bnjukC9rM
/jFJJwbeyrpYTM8eu9pEJqXEBR7egR2b4qT0wmuoDTFQldxcT0l09ZkwvRlDr22lffp9l7X1ChXZ
fIDEWUy54uTj1ihjDZt0WDLFs9SF1M94SxPAoT6kFVWPdfIYEHayqCd5Jaajf7VL8G1zuVIqgVhz
nOaMafyzLk4N0u9o2zdTmT2JOCD1ry3yV6XD40mT8iMuib/OGeVecmkBiA+jYvO7lk1pr2+iIoyx
JE6rlKyvc4RVSEticfU7ZnJENqAzGHeTC6SXovuHlo7Oe6RlAZ1qRzuYQwEMDxQ3ukd8CdScyXOC
Ufwwes1tBqz+Xl6mFmqHdEixoeYMzqKuTZ6Mj5pbIIoupXcPoQaEoAKtZhtc/g3BQY/3PyWT2FkO
fsUuQjHgmCwL1cWDv7YSQsJBFgNkyEn7c3GjYKQcPysRY9CScma5QQjBiKy9+nyzrx1vn2HkekiN
0jhSGuvH0i+vcMXo3Mc1Uj9UDodxLiIZJheLqLObDaZdgJyu+sjJ092XbcL0FFn+S282X8zNoPVF
PnihuUKEimS4aXmiPOwh/rYPHgfgg1aAlgwYM2VB1t80yZrUAryQAgXzUqKA+eHFCZJyRWLJiBf8
DK0ZLUMckAYhrQyVfx2uncqonlgC7SrRyTPp515FwqUjewMmVKU+e6n5C31q41OFNupxaNBDF9Bz
nal2bjOPAnY0vcqhLciUIF4+s+N+3dlBTYBzKd78DjOALl3jCN8AFKWF7r2GRBtoL0abcj6sLE3/
6sysPKAdZXMtLFoMg+luVBKcY1gJW603miUuvgrZEWWEG4ufMmFgTqyRS7K9ri/uBYA9lMEWTGcG
crsruHVrL8y9EW+XKjylIiUrfrLPprDiJ8Vhoxid+iDLZqwfEHp/zUzzj3uvpecjOnTgifD7NzDr
yZ0HLQ8wojZJBhq6NxhvXDl5cCG2JX6KWsTokGCRTLAQ90Cogn3Qq7f7KymrqsD7Tjz8vdJPc3TY
wQkGErPERH1NekvIJAHppvSuDN4QkGn5UbU+AvKpP+EHas6V6T13Ij3e//tIVzethIX6e2UL+rz3
zScRY0B6OTrbuZ7tQ+MXutOJI7fOME6fP/YipTBw1PDq6628xd4vSyOwCD1Df9IiI12BQSRLkh7z
cQZFJGuFBH7eWrNwFfsS/1S5DlqaxhBOENGLZJHmt8xu3IPrBgs1FUc9Jx6KkuJLxQUUYXM6G0mb
bf1BX2Lx7HaGCW4qrpyVJPeK0dXGzcDmd4HEPYGsYbDqX22i4uWkVR890tfEi4nCsGF3tW4DwCuZ
fk4gsLDHb6rI6ok412GhVgm9+7pdhfow0YEMqduH7Aj0h9GgQSzCqOauY19F61FoFeGQMDbcAFZj
XxrhEmm6Q3JMTlUJ6DOyTlU9boAaxFvdMx/ssA7zpcuIclMado8GECozrm+yN/qlRQaqD31MSP91
6uCQk1HkPWg/qoTZYNJ54XoA5YV+61uq8sesVz+1tj3V1Tfs+ZcsIm2kxcCdRnutkI/69IxV7Jut
tBMI+Z8FmVFxkFyw/x88ZxNUatfSaPNQOLV2eJPuaK36qfk+JSC81MRBy2zSm8ompKIGelmYsA+Q
ClEqqaWqSZpkf9vPKsaxfLahxHtEcKfBUQtCAMPUGTjhcHiYD1mLwjcfHG4H/XkwgO87VVA+VKlE
8fDD17BwooALmRsiMnUn6leC3dZahyJXTyGCOTTRM+Ahsrb2yodtyEw8XLgSXVknQyTVmX5FkKZa
aItmY8QbKfIf5CJgvFcMbiere07T6cmYSgbL4TEaxg8tw9edkTRiYyoDrLMMWTRT0qA7adpLSHNN
G/RXoomw5ObHSmY7r/OWBBrRGctL6JXtEXnjTTTJLtCNvZ04H6PAQs3h4+gjS4RzwqiAg9uii72f
0u4W7FX4NFvuTbGg7VJl/FNN+ikRCPFpagvm+gkKDt4xfzIRsKBWJD6rLIn/6bO3gV9z1Lyjo5c/
JuU9e4owdauXOjGk4WsJz2MtZbKd2r5eiLEOFmNGCkOJM4TgMSzVTnHS8vEJhfBbLJozhHr3ZoXq
W5Wl8GgaCdjBoT8Z1uobM7YnUWkrOfqLODW3NVkaOrjLPrBxZKNFrMQUEMFJLeFixSxSbwlxNTkW
FyGLqwOW/aHldjKF3k3mSP52+B9GxMDnGEcVOhQmDQIcw5Ir5RCEQ7ZhGg8yCzUGSTPGN5f+TiP7
ElsK6i1MPgFKGZ3tFn9x19oLr2lZfb3x1GXmD5qIb2m796xnE/kFHGuO0YVTNIukQ/isIV/syAxc
IMWjCTGsEGz1ncLdKyqEHHqJPR5KxsqIqmJbEwQUahqR7ZqOS2Ougj2kDSmqLAJKjlFxLkXCpVS8
0qN+arP4y8QUseiMGnzheEg0CHhsCuEiD5HilpxZhrZ7KcCe0361v8cwgQtfPzA7wIFH9MjMWFYD
CEL/LGIYQQ4m6EVJyJwjyXSYRph3dFku0JafQdp80JhKHqYYVySS4Tmg5RrV9H389lyng79wkzFC
peGAWx7IgvWHg++YuHO8QV97YUQSD7EiD2SWvBhTry/aJvqJVG5j4MY3Cn8XBANh7na2oMoGfcwv
acfkn9QWRuQgsclMhn8Bv28oxmM/6CF319JkdBQfw6I8zGuhwhzshGf0Z5lIkB0T1mqWyXenjN+6
Qq0NtyH5ocP/muYx6SFjuG3t4ibIwHwoEPHx667GFoAG3IS1x2ZHVLDgFw7prFvatirjXzjQ34NB
YanGpRaSle3R3FimmN6U3f0MchLYMun9aqzJXJDCadD8A/DjxQX+Q2+C+I7cE3P/barFPrWijT6x
905h3x2lrh+VleI0HLE7pIjPObFwiqDb46tpBz4YQn36TF813wPPRdeJkwxjtQfmJb3qfb4JTfhg
ALd3upVilgkcdxGr8Uh2GLnuMXIyxNtnnM0rxj3IukXoLMqweMkn4BWKFMUgw4PgWV+mTMyVFdHF
VSrW9sZXWRUznMXBZGPgBmop4x+EjyFHlowXRWXdNN3jOE4Btc39FAPUXqffjJc/Uhs0WlQEqE/K
LBKnSURv9khLjBNotu1sEr3b0hiWkIvDPeYUK70xjs1ebG28xSE7C3PqaDFwICJ9ottw499ZRvJV
wyA+pWP/00PItGzaBvOlwV/sFGJd4sZZKpm96i2b6Guv2jOTbh6cpkPpadntQsTWBnkuIVMxAw+m
ONHCsU13ybuOPMmEVkCbiTYQyiA/EyVDEOyYGChiTMfdQkk2/8aBrW5jQKqgfK4gJzxKWZKUHqkF
zU+LooZeKB/VwiXlCuFNJ/cjn8qDHufbISJAsusBJMfxMFftKc2wpn6oO4JQOGrC8/LlNjDoqitY
8PTF9Y0dJukhIvLYM5J6izBSbX3sC26dFCefzqM26d9JaTyoFC0ZraJflhV8TZ5G4nd760scupo6
ODHt/yZ8GVNn4WbDs6rNm0wjNj8CCiAuIf821bMNUGBn+wGMCyl2VGeEh/ep+c2kEnHNWHvpbTbh
PFF70/Vx2TDMWyB5ZlKeWZ/R2KgV1JAY62vwVA8yeAPaTC+kwPZgx9PazstPxYtZ+5b4rgQTFF7+
chokAFAT1bA5Mj4Nj247fg+bBkf6cG196a+7YiiW2YgRUw3vlI35scxC3nlayIwizpwqnOWsQ8Kq
bc2sag0VO+wIkZBc02TvILPd567DtVMZkuBvpK0LyW9zNueHJCx6wgm4KtgdSeop3HDfleHx/tXE
lBlJFyYODO5bnWUbUH4vFQfLhZ0Z5tbvOzwjvKeewwZEvbNqWNxzOhlIImcNOSs7uE4NPc0Wq56t
PkssfdkXULOGwvjezQOZ1kk3Rm/N2lVUG21ofzZW+r3x+oOnF2qVhs4aECs0269p9lF4KF8fpFfi
W9SazwkY5cOQ6Nsx6Le9wvE5yHYrPXCE5MZlS0NZ0brU6/pUhfXtPgdGnB1tMmjka1EwFiYvDDZ5
vQj9wnqh9DNO8Lapy0Rsv7TNWJ4ql6CQ+3crq6YfECChtoFnviQMuqj2hNgHLgJuRI1wSkx/H/hd
+arFxux/CKJNwKDkvaq0BWoA6xvDf7a1REVHsKnh08C556Gav5FZwa8sVeOzhHKwj2SWrO7PT+2F
fuDABCBVa9sxJXP44adrNDijfK2hR4Yh2UoZ5KW22RwE8yxuiD4o/9jGHylrDnkMt1+ydqovdlm/
qkB0bw2y5l3iqR6iYIHbAbbAsuXussvn76q6vFa95lyaspG3usbmMT89OXZ3NB3uWfcfUpHAuGNy
th/tKjwEXo/IHk/DGdH1shvT8Ml3eer+/BR/08yJFuj/PBOJ8tFtWqTqpp/QGXAJQK8L1Sy00EAE
LoLZdsuD3aS/OhEOe5va6fdTplk+Ooz6j7//wvx8RNiTO6XO+V9PkVk3RE1+0ICccQpuP/JyEgtm
ezm+3RRXG9YLXv7YL0YUyVT3xoKhQPbdtJmF4AOOcG672eMYW9EiZ/P6njnBMWUE/6o3jQOMhkQs
TInTq6EVh/tf0Ih2WjRITE2RzBY+Xd8CsxLbrtPrS9iB0dTMwPnMPWszOE67GXOlUwVQqbb9ZJ2m
etLfGtp4nALf6OZ3Z4bgiFu8VH9ziOLc0OTxVoGtQwoqjGg7WAD03YkMCqqYhvoxJbgwQ+HsVklz
82pbXAKo+K2v9ydWeLZoxXgIIQN9shsK+n2VvWd0adwgW+O94nnmMGwG6AvBehjq5jXaI/90TZGe
dGvl12oxFNH0McXVrcbZShPaW8eh8II5DoKLPEi+BWMnH2ThNjfSKZIVowVBjljfbVXSBRwUq0Uf
4icXGn0bWKcBbQzVnJSmNMCZuXd2rTRYx23cX5w8SlZpRch1QsP1KDMo+bGayh81rMjJFNovAo7O
pW5iGNTxGfs9nZYm9St6Nz1RWEbjXa3KbpdGiTGwQP62cTwor1Gl0ZbUW3AfECF2fW45xzQchnVO
3u2TpaHpb+3KfBwIRTwzlSwfLOlk70PqYGruRmuTN0VOFkV5JSHmsyILoHBa4zbpBjbGcsRXVc/v
aZPpK6fCkXr/LqbHtTRwjxRjgv3L60DudaF35RY/IPeOoLDomF0nIi639ThhaWYSubFRjK/bsliP
fe6/Ud2VTvO9qktn3kLFIeIseRFJjMV7/oYjBHNfw3qhXrOWWTBdTA+VXGd0RMUk1YXvG98TDdaS
VkbVU0WTek9DZ1hlldV8ZsZsYONv0AxzFsTkiFOvkZBN+3BaJ69+0KinEfvMk4hSpoY0ukJk3+ic
4K5idXzKo1K7aFYxntTE4LI2tEudNP4cpv4qB1s8NusxVoTpkXdRbCdZ3cxeeeO5tYJ0XUzwECbX
1TbKYqvCuXcUCmJE17sGvwlf4h9w/ae+EdFRQ/K0yZLp/f6NTFi7cRR4HayI2nd+QFStHe4PDYuu
RiLvzmdL1WGXa8ItHq+XXh+04+y0/f2gcag5alHsdQ+dkST/m63z6m4U66LtL2IMcniVhHJ0KLv8
wrArkMMhHvj1d0J13+r7jfvQtECyXbYEnL33WnMdjTLbLS8Z/9/XLce6Nj8pfZF/q8Eh5OQGRysn
+IT1OMACxjMBJYFud6yuSc5jNuSp4sDUXv/ZGsVTX6jiy53Kn4pr1dfRSQQhpOOmNgkPsG3aHHxq
+/Owo+Brz8vjuLQJEV4eVkkWdsBhsNuKwlDXy0HCo+kry2zfJ07lh4NqXyKrqid0zzys08g4R+aH
JSoHdszA3AJhPXYvQcYhNgDwhr/FfGjyLPjEVWo8ja4enZZXLK9N0ZrvCmoLPFxwuXzit1kUieja
wzFhAl/rmxI8zbbTTP1YcUe9yhIMeKXV0UfPO62zWPlllPYbXdPhG20VZh95xZVUjdKL2esw7AIv
fle86ba81FZQzlRZ+z51fM7t2KovZeo4G8OQVJMW3UICDb33gm+dckP6IUlwWTWw7J6oNySEQsQI
DbF1LwAs8Q/NLxli9Zw5MXMZ1Cs+c8HgGOe9ehurmnwcvhFJucE3MDIntXHM175o0kMa98jNE6f4
rM4ox9rPzIribdAX9aEZ6Ob2UXFBWdt+SkIxgHC62WVUjPpuNXSmk5kJJSR/lb6Ox7VjttJPa0mE
eFPyB543HY3gNPOMm1GpxhOR8nIffgZq3J/xdJOUg/nnhd50+dIaa13xrOdlRzbMoAHdfbgVcWlj
xpR2SpOYwXxJNPXycNnYCaboSmgrS9rMZkIwzcumdYN/Hi27Jhhss/DSIw50HNYiH7mvGcwxEqfz
Vtg7+leKCCJeQ+FulSIt1uhCDdYYZCiHLKG/c9rAvh9d46bMtU6imA+mCmC+VDkeO5onR1WDZxQO
bXYHJUihygnSMk7FOJk10PEb7b5shiQA/KVJ7P8epE0433F0LgR9s74tTqblfU4zeG/ZMDml4zNv
DEsCal0Oto4rtxZmgb8vWR4tr1u+AtvOvy9e9v/n6WV32XT0Ef1Kr/i4iam8Uz6LS9iCQG2C8h4M
MiG2KsU1K8Ip3OXzweUZ4TG50KzuvOwtx5ev77QRZ4tOasKym3RVhUqZplUW16/Lob9fQFJYQvBl
kh6WY4ohn/PK6zfcBfmDq/V9Kmk84272gREOh9qjE6SE/SsxdNq6l/3PLnXEu0kggqfg8TU877UC
ANpUrHwUnQCYUKjGBi0wcd228bPuGzQ87vjZoJ3eW5MlAPmYX8MEgCwvAv2UpVnwLIeGuL0hdTbM
e4PnzOy5pTcY2yhliGmvn4XQBQ4oCnMhJCOPeRdMyJOHqm5b1eSAd7hpn+2mP0UBQ1D0KbjMTXLt
6k45j1Xwcwh1MDdl8sNjCAoLRaGondB6N5kz7IOISDqT9OonJEsMU6ifX9FFfI8rOpUSxwgRNdMO
qkG3i8sp/45eC6Bbmn22Vqv6asKUBb0SdVuuR69BOVxVptKfjt6Ya9R9FHt1bd0VqG78M6dPbIba
c9roT209sl4F/IRn8UNLhP0RB1q5xYDDarWs4PASgP5iyYicalJt/UWXDhouQOgz/8qDqm7qjJtn
r2btk5pNP8ncrE7LXqqST2fRdrdtq3laDoGpn7Cvi5vo6RjQLSsfA5jKR2SX2tYdyJSIDMAFhZcf
ED1G29hI1RNYoXkYOD+kzxYhGhDuCUX4z24swh+dU73XzLhfMmqmPWBjB7J9nL16+fS6vMBVURXH
eLCeR86TA2lN4W6sFO2bm3sXKfXwR1LbzYq2kfsAyBkCThoLAMoINDuDDtL8Q+xU8PG2toQfwc3N
LPs+MvGkREf+oAxB+Yj6Kls3WZK+OsL04wRSw7KJdGPcam32vZASXbqci5maHl+xxb0MsAY+qe9g
EgPB4NAejMdX7mvps5c1pJl4FWYsIpc6/SUBFDqfnwWn/4guNJov+ym3pUYK5ZWobj4NSRj/JBB7
PepTvStdpAWRpu/yqs9J1eowWtMiSw1Pox9F3Wh4PxDxc5tqEHs2pn3CdRSwZMh9onra75GNghhm
lrqNQdF8TzXlONl6/oIXNbuQP8Bndz5ORfrsoUYYJ6265UX4z0aGsb2Ks9EDOllpu6KF6mXH7Xhb
NiKkD9MkseJzjz00potV1xq8J1HeG9YBJzvIPjCWeg8MmfpRzZ3fqd56j2XDgHzYIg4ltej/HrPV
6gg34iULUiZAJcSAypbdIXCnK6hFCjxCIHwnLZytx6Rf0WV+j0AvxEalvNCY2NWqKf3QIHyOqnTc
W3X3XjdqBJCkQZDQZawDjDy99C1Vfx/94JbR0E4dm+vySJsfxQPBdJYrtQ2e6ydYC/LqtYm8Bows
rstu3Hc17QrUm0jJGOvmw81iJnBrIEncbJxWm5HcXd4PdpdjKA5/w0bIjzEtLSzfBnL0WHk4srEu
ZUtwMjnlj9yoSabMgdTwMSQYXXG7SwnYd5+aNUA/R68O4ZT0R0yL2tGT3PMVZ0jOatcxw5osjVZ1
ZG6rijpV0RODld6UPCoyEjaD2f7w0jC/1qP8lQEReaU5Rg1UQNoLJvGl1UO6RkhV1Z12BZKAn9Jy
+e7lREBta5lrQ4S1T+zXGGxwHYLmC0yismV30ftM2SNkLS5dNfx3U4vpo4/oCWpane0UUzjY31x9
1YxhLclstsTlz8MRI+a5Dn1s7zxRxdVzLhVQetilm1zh3eqt2Vg+5KdOhfQ9lUW+Th1y77u+nnZF
ZJa08XCxtTT4WjS9vk4T6IgExz6SAmsfi46FgsmwfbM8sRxrKUT5K89PLy9sQxXT9LIfGBloXFoP
D0Q4cl+FhX7RCfdmDmlIPvdSvyzHCF3S/nk0HxuyxkMACJFiGslD/vPCv68pqeXUWlOPf7/Bn+8y
f21TNPKo5Qxj/n7p8uyyIW9M873eCP7zw/8+u3w/BrfDKpBxt11+4v/8jOXF+kCgW9Cpp2VveZlq
gMhcydaeDkU5/vld0GQNQOcp8SzReFuzEealbeerRxzdrFAZjjnjEvxCymCcnACxVUjpu9eMwPYL
2Q0bYZjtodZp5jPGwgAy2elRwvd7ZNgbdzGh49OExNotudYEitNdnBSQzXh1opL+Jqbe10o8ctX7
6jzlrTdjpAxJBplJVkmwhTfdXx08WqYmwVgGWqCtIEjiSbTyeMfJAC9VAwqeB796dKA3VQnIPp83
JlLzVnTibAvIvghFRj3snxjAFedI977V0OSfPKcdLobXXrRk+GHJ5ENRnXBfWbZ2T2txq8w51TQ3
bLC65oCYmOBNIzlzrYvfu65yj3pO/Jo7psI3PaA7UdFt5iT6wZDWEXMn2RAuUZGa3mQ3csxXdRVZ
1Ca9w8/rH3UtiMusO51VeGdf86J7CWDld51mfiNKhfepbrU3J3lNLPeKeQZxUtoeK1wjBwr7nT77
9xWNFqmpjrAownKLegtgFPIpsxIECzacv6be0RQBC2qM/RMwDoxsGX2SVHcVOJIh5JYOxrAnqhBr
TGke0dXY1Mo8W9Vlci1E8R7PezUIKRi3ob8818Uu8jxpzX2EmXxHCvkv3TDgcC27+rIF/SqOy+Y/
+yhZudjPz/RxJ45/d214iCB/52eIYs43Rtd56x6S0FOJweipMvmFyri55/MeGcnyTHn757nlVYC1
J9fqrwF6tz+bMNBh1XRRv/l7bHk0TdDBi3r4z3GvG52rs2yUoGV8q9eMIP79TtA1idjKLfuQ6EwK
gyoUj7BHeRLDIwK7qpK282ZkTeAvn7xeiBjPXXZLc3lDoxR8Rs3bZJg96xDa5xN5JhsL8yCaIaME
+oRWojJGuPBG9RTTFT2MMvllON2DoYL9CAbLeiQyVLcVYPyARdYqbEhZZrQ30rfsot04C+TzYdw1
blWclZRz0vGCGGh/797zMXYvVRVtza7OT6IsblNMQpgT1+V5zqtFkKeXG6cs22yzHFRH9Z+n7SyJ
WUFGkXUgUMdfnv27Wb4NboaElM4XFbBWUk0jkbl2vsNNFO/cKpq+z3kAqLzpZdi5CukqctF5cDxJ
GPoqQQ6A3IxRIIJpOycmGq1Qe80htuw6wMowVNp1qwM6DQXTX32AgaJWc8Baz2DCK8R0BAE/s0/u
nQ5nCqQZUJhQG98kzbgVPFSDIVQxvvXJzgN2/013MK+NthNhMORVcMjtHSZW6efzbhx65RqSwXDi
XfzSUr3ZeoFCKqKk+di6W4o8eWm+JMiAd8l4+2QNaQBbSLPfWwIg14irlDP6fPPVtGpS3O12T8ek
2iHO9faBl8hVicmP0G/bbfZDScY1UcDIockeYIWlMYCYN7kI/SY1wlNQK/8cIkdGO9fF2bNAsK6G
CQW8mIbnFtXHoatHRA+Z58GeHQ0I6Bm1NQINXvN3k4m09tOET05lCe3oBLA8UHTMW1XmwGiWw0vB
uWwsjSVmGhAv4RkQy61wCHdG2ulvoS4qJKgwnE24jm9MuJbDQcgKss3ySwwi+Rbbir3t8lmsOu8i
0YQL4ojsZjEtZQzR3P/neJGb9hUyyd/DKYoT2qX1sUiy6YQudzotjzxYuFRAGVqnET5H9e/xgZTk
E/LwKla+aEeuJt6PX2YxfUUhHy6ic7/ZfUo8YOUafpIkATeOZK+7XfLWZMN70qjxyq2m9sJ1sL2E
WEb/PII7I+krS1oKc6JWLiFIWWHIYM5Qjq0eq6hW4Buakcgv4cCF32R9RI9v7AnhcJnEhh7HojJC
t8w7l0RqdtJylWDv5eGUEHZNpczlYj+y9KC1WSKun4hNTjSu5H3Vn1RiKMCujIdGqSTQNTu76QDk
WcW7j0HPPuGIE8PhNS9y0Ma1Slzkem6LH3M737Kg0w5xFMpzr1byvDxaNnLe/XOsHDAhB5O5sWpJ
Uwifn3emtv9nA8vTOwMnOTBKzbaiF/iOsuI8YhuxA+ceJcK9QwsODqWQv5N5bzle5GI6aGCFgoRb
6xg7j9yDpupMnt91czyyKIM9K1+HXjmTATWth2NKAgr3iRV4suleVN3viLCPkzT5Ixv15MHSGl/E
mLunJKm/sxQ0NcOg1v9sRwiUiaW/D7HMzpbVgkvURz5OXn+Ajr4SqqIe6izepaX+qtFCP5aa7R4r
M3hT56JncA0NQqXL7HkgTJfqjAG810L/j+BRIGWHZkh31mRYWdfkhotYRzQSBtkhcn4mWvgc1ao8
5AqdvkQf946+KhPw00mkAWPu9K+hTwildLMdMHfE2srBaMpqbVbqmc/Fvi71a+5yb8uvuHtmSQ8f
xV6tkeQ4LsGUtuvHeNPvkzHdBKHH5C/Kq5JDsKgDMoxGW9eQ7H2VrANbqTzaghAkbBllgndiaEmM
4P6w0VMWCIV7IKauITrtZagUeQFJWLLSCX+lddkekiSCetZ0zaoNg7UJ6XvVJTVNQrJRANNsRlT4
I+cTGHDYTJH9oobS8btw2HWeTlmgDyl6G+8QDdy1lSIDcsiCeEzpPQ8MUVzpfoMt16zVPL8D1wSA
Hjcg4eOEhABWR2AYi9EPJvU8JR68eDfhlhh4p1GMtPg0CLX0KG4wRyZCyosLqW7WSi+/ZVU5bPU+
9POC5muSx8XGrrT3Nq0YvdeYdGKbHF8teyrRKW/Y8DuSpCJlr+zCMbT9pPesb0X66qpzDxwVNwTS
qnvIsMNBa/qpgTveLd3+WmrvbtMWbxVTR1ZqoK+X3XY0nlq08Zfopxe7OsAabdVB+MLY8Cy9Bnrq
4MfC696SBrs1Y891niOKzB1VMi9WIX4X4aGCn2hgZLMnGgYSxgzWhbDdh5Fjo99l6YorpksYpuPJ
L1aB6uoMFlC4ZrRmxqJE+uTgf8o7PCwa4rhsMPEAFkhdHc19yuLurCZ0//s637SCst5VhkfXNq9G
WIq1SAHipimzACZeaFkZReAKNNcjyMwcfOxRROZPJwTjxJIcmKEoFWq6dtdEaz3tftECP8iScD6p
XoCK/VYZ0qxKxv+71pZ+o9HVCbgnpRWD4ngED1pnKXQmdH4qXkgwRQyb7GqgZzGg+q7I/9mr5vjS
SqM+0b5amVi7bRazBFVUxSbBesYiePhWR56ykQEA98hQrolB5w3OPOHwwhnPddPgtXC5IcdKM5MP
lQR5cfioXU+BF4tUe7kjdUa/N1qYM5kLlwBZQ/nEvyP2nssRVHsl+hHyEPWQ46IJS8Aoh1N9G20B
pS6hORhCk+o9UElm9EybjNkvbLMIKUxvlqdRYQqpVBE5yWb70bG+g6xztSeboBePKxWivXNRWDvW
MuhSKhSBgYVTSqF1FjRKsGEhCLN3uAYWbMdx6Lpzp4rxSIbRuikLKvDEFXAsEfLCez64svuUSprd
XTB1lonIMYmp9LOGEqIMyAPJVKffWab2VTBcuUA6lP5kQLZPiRx7YWUbq8i4vG3DoGeGCysnZ9Ku
ExfjW8wYMMhWXkc3tVWy8gGnobgxBVzr0vILBhE30IE4WWuc7AFTtqJqsUzKztq4sEihGujTOhyS
T8aF7cUSstmaCkCcNBpfW5uujpETTSWfDT4Ws2BzPMfECZ1lEtUdbdN/95dH/ZQqm5S2658nBgX9
cmskYs2qQtvUsXqItKk5aEa8a+p6ztgm+K5ttJWG8BbwOXJD1xNclCbtqHQ2FinP3Gm0cA45YgF0
t7C50p6GMeNQPdReRnTKVefGK67xeSbAcfUm+tEM0BywNHKhMumP3IyAFokvJ2ewKg2i42JvHtDY
iJUwLjTOFu6idzTtars4Cora/SEaTKd27BJUUKVAxyMJwThQuAYQ3tWWIyKMYe6PpUBCIMUmOIdL
YlCS4lK4dX339AxablCbGyWsnXUZk3GLyAk5RdNcJ2261XFtrUJZp+tCUcyz7qo9clvavHV0aGKu
gartxd+5vO+MqcbGo3GqG+K9Vzk/mFMhTO+YlKHj3plRu/e0sbpkvXOLlVTFqIUsqyFuki46ro/A
0epbkDSXkVeB4kfbkWcxCBO331Rc9yf64EjTmwwse/+qNZnHJTLk4osyMjPds6oh17Y7671BO4i2
piu3Xo/Mp2OC8KdXI6e+92tBjSDUVpwtTAVnWE0/ME2hkzAILBwj8yWyMrljlIQClLspcz0iD0uu
ISnybYV10IQIqM2PitRwA3P97NGj50rxQzNwShqTXfpjiA6UPjlC3+6SQmo7lt5HxahxS4eCP1mm
o7OlXDp2SvUzCHKydYTXMt3yvOtkFb86bbiMNPYfdOsRcSJuWnWeoW1gy2UfbWs9uWJM8C67vDVG
bTxxUavJLdSyfeRM1sOgbgs9ImOs6mFGtYYxUFcwViLjqTS4nEKNrePYmNdlz64HcWtl7CAZ4Syo
wxSJDQmHnPwO6iUBnQ04zwcQFMqhLNoJfbx1JbTcZVPXvXFR6ooIJ83LfaxD/zxhM2pjJjC/cDSr
beCwyl1e/Pdrl0eGoJGaGNP9//ulEcAYhOtkJXSdZVzwM6GO/fuDnV6/CrvtD8sX/+dHcrbrx9gl
nkKEv+KiGHwWDH7YddMnVBrCLhBovLdeSc8NJvUM8gBirw/mEwbH2NciM7/rvd5uu0mlvxJOyg4P
/izLal6RxMuTqq4UCM47fD5vsMlcrnc5PZ1RJfKSWR8+iSt6IBYfWkRSAKdBC2ThKEwY12qW5d/z
OWbBQoN4IjqEBhb8/SbbalY0PY9qRnemHawjLM4TLjjvVg2q/sKQFo5cXiuQJditAJpscEBGu2VX
2ArEohpXG9oBuVdnwWeIefRs1/kv5vPDC114/cnKd2X0NBJt+gLiLOO7pL/dRiH5ct5rDLX1IZtk
W8cKH6J1Lrnd5LT4+t9GlAA2trR1JsIMN/ZPJxCM1KrZVxAXwHLbQd0oXXtvxOAcIRmsjbLWHkqC
o6nssKMV3MBs0eT3BIpnR5KdF4OZV1L3EYWmsxUFwSw9+NBdVDf7KSu+wgEbQppU/a7sWZz19W4I
GfcL/WPQ6pI6ndNmaM1rVrXbzMHYrVZMbkIC0Imd1fLu4Db2p4tdcGU74TcnYE1pyxtyxoDxNFpJ
UeU7Tj3rO/CZdVS7e0OPulsWtsOrFSJYdhhiou+PdpkDHbtLwQmUg74RFeaBemDpH7DofROeejcV
K7+QF4cJ8FKY+ROTolveEVgxCermfg+obpPgUCKn5dhq0ZvdBB+axgpIK5VDWXpEtAyQG32c02iY
R7CrNd6Q3Ci3uHrvSR0fmAQ/MLG/Cq8EWfc00TxtLMyfUwYV34nLFZ/umxtmD10HLipuzej8Ho3y
wNv31bFAzmtic0qPa0ljUxmCQaIDlA0G5oY7tt2tWinHDEZsND1ppBAxjTo4wQbP8FYFL7wyRobj
KelQU9Q/UI6wHqBV385xhPpZeULximIP70maTxBZhwxyNKWBeonzCPySW+0T3f4ULWPxXn0uIbus
GCshxu3tnUiKLRGKV9n0d0FH0sumD/i55+lHPlRUC9Z3y3iyJYFasY7IvbQ55QgA4T9ToiNy2q0y
2CAceu8HfFjk6geRgWKJu7cuTiKETMq2zBHPddn30DLvWi+PjLe/mVww5+IEkc85jue5ndhCB/QF
vjpXae5Eh9kNQafe09CSnFycK8V5AJS5O7pyoJeysmpMmI11U3vv0FdjSR8ZMj/C9Rs+D1dWhB64
n94gn2OTFoU64s0LWMoL8EXKfeDSb6o7+tJ4Ix3SlqPsOMTV6zCjgevAPxWZ+Qt7+pGT/NgT4zR4
3U1NmFJFILVxPjGojvP3koUz4qrnPhMsuXoqfVfjVjOoBzelFdAo1ocwGS2YPQR8aioJNmKax5Wz
9DmiXeYI9ZtD8pXfzs3A+e9FF6hZZZxWK4CDPzE8C7X7LHJgsaJA9GZz9WGw7CsFBYJsUeSzzB3a
ZlhlcfM5qt4h12LfYgU4xGRXzCLVtbRRa7GySbgmpjZ5NFhtc+r2MNN2XEr9xNPvgw5F1hkPWP6L
VZviPgmDo/sxSPvAEECxp6fJy78aU36ToXVABUecW76Vo3nBsOhXjMDDjtGXNc1vJvEt3Q757jYe
bSYTpGer9QZ68z4fcTAP6qVM5EN16K4PES0TAxt398JNRLLqubjDBxPaad2oVK2xrpUIavZun3xh
AfRTs7wScTZBmrYQrNB4xfLE5XzalJHt11124zT/kXdcuDLGaTFxoEVyydT44fBxcaCLys691aH3
3kuisWLKVxJU9iTXWUZ9kEZ/7oR50DRlX+rJ2XEvVE8Ha2jJyErRAo3tZ2HnxknTf1bKh4VScF9p
XBtryCcAaVRf+0GQwJdwU2onvJVTtkUh+mRZjVg5I6bLvj8BPPvOtAKRpREi3I8u0lZfWGdvSR7b
iYa4tEFD8R8r8vvU4e0iKWNF0/gdVRF01r74Qo5+qGxOWlGjvSRtNjIQRAfbcRYaYgJdOdY3R0ep
EcKHHOLppXPLL5RhGh6ViRVBnrbfR2s81ljCSo+Y8h/YiAgTH64aNyacX3lGWHjKeSmVFuXRuSzk
HDW7MVvYUHo6vI9iQhNK3kzhXfHR3K0q2fJpnSUnyU6X8Qk5yxZu9zEMIepPV/LuYqxkKW9EdCxa
60wO0CxU5iYB9iDuVgwyXojLovJkWjm4P6IpejPC5Dp5dF7l74KV0hQ467Z+Q1bRnYow/EU07jaV
KXx4Ldx5Ql6tftvVIHCljTaCz1tLa6MXHQYBcTEpX11Fw8if+9O16lGF26gkkAefCxjgg0WDwkqJ
nqYQPGmgWylZEJoQk9pOQblpo+RulspxMLqDdMv9fLdRU4DISrtxc6wxjvptNHEcOXTu7IwEEu4t
O+KsrqGeYoNT6ve+yTaj84Jc66FKzdsK45b21pfR8snrgSW0fGIJuMX3UQMDDx6JzRICEYdvNASs
eYj+Jx0dk5k3HzEIjgpFHL5+gKR4pBXudpUnVzQODoUJBNj4NAPrJ+nN2Ckb56mk4aJJlHdAqd/1
TI6wlkHWFqR+mqZ1l+bwHTEA3UJaZ5HePI2m9m4VZ4pgd4WlO8R9ku+NiU9TT1MkZtgNYedq2tYd
YYRfFsMJ4Rr29RZkHp1evaQx2KT9V7KDrbCrWdmyrqo+CLt5f5jAt9aWMvO9kR86vWpuGpMbl+tm
nyn+TnplV+yp3whl+z0F8d2NgZ9SZLASMOxXs8bmXHRQeBoTBC08hyK+xipTw546sS49v5ZS25de
uBk94PgWQCTKlGADaeiqQ1iUgZXSa0x/FVHzqjpb6BwRnRoWVDhprmpsxDgppp1tq58qEWJFpvuo
DdcxdhmLxXjItCJIV7ZCDiXrz/a7lcCmR6FoDDRSUqTREBbGXvialm17AqkxJBih6gdptSUh2G9k
tGviZtslDFsxRqUE6ySkTiEdNrNtyrdN+EaTMvlGDRynyfxOh15WJ4cZYU7IvVKN6yZCza8xDPcG
v2HsnloOE4961zQ5KvAWKUuxo1udTgVpgNxgm4qUZujUg7bBwrszzGYrspYMTMNv+px3CqSOvkPr
utXKYBc5XwW1U4wG2kYWLcvhoBfquTXA2MWv/GySdPhHJ/1WVQjhkeGDK+NxLPm9y4zmgL0LNGMH
dY8rpr5thnErXcS2sbOtknIbUvtW7c7UuZ017sYoR/Ki5EHPnH2Gc7enjZEn2qPjp2uGuY3QB+Bk
22Sze71W9o2FfKcBVaSQrcU0EG06TeFDSO5bFdLcaWH6cAcvDccfUgpeGe+ZJfhqaSIYjf2wuvZM
QYIhObSqt5WTdgjmRgPegRD3BmUecVUeMooBvYWKBpw3kHFjyHdwrZ2Wx4fCHraxHh8qAIqDPQcH
9DvNaTdmMm6V2F4XsESiIl1LPuAjjaiaroEjbh7ngRTTlk6hj71pO6K9sKiVR1rATePQFHa2dWX7
spZ78BnbWkdQUbq7EqKvErg+GeSVNc2sI9+0bSAIz4aTXOO88SdAKaVuozJ29ko3+U6i83+Myfa4
KpBI0Z7G0Dz5pkoBlqW7MCSSixOnbwb0HuqzSxzv/HzpKJsnJQapD8taJf1awfCcjZtKyS5p4Bwo
4HYlkUESInnYbWYrN0mcamvsZxPurJrqN/O/x4mSPUPFvYncL+rMXVqVBxOoSdoizJ+sfeiZGwr0
I/EPgHpiP3bXhaHv20RsySegYmhOoZmf0948lQR2hThXwsL4UVJbaXx4I3XcdZZFbI/csGYcJx+G
wNZpXDLU1U0cRteGXi10h4OSqPsZUy6UQ94TQ2j9gNG8Sas5RdM6png9ZeweOH83g7pvlPoYE3yQ
8tdxJcs6AvWMn5Dz/CrrYPJ7d2LMNylGXd0q35qyOeNuDsWHtDt6ZDbYRc2HjeYjQccxpYBmIshR
8+rdbNigRz5ZDW96h89bnQG1ywYX5V4pMwZdPbrZOfcpafPoUFF1nd08CnfMuD6Ye5irWqlUH1LM
PzDIlhnqpUWS5yJ1Ivo2QEycOJfaGp+Gpv/O0AiHTVnLS1YYw59NrVl/wGqtMkXnDKcIYKTqfRj2
dUeXP0Pt39nMRVomNafJQufRVQSUNoGWniIcVfgD5uR3jfCqhftkYlEjTKvWjrVRTFdZkPn5iW7v
H5AbOXfp0cqmr4X1SrNeubmRV240FQiCEs5+E3oAh5w0OExEw1cJFCMJJcw57xo5FL3JvBl1fiu8
JlhfZ+CgVwaC672nnlUAA2ezD9/EUBmvFm1thMruRtPDZIsVSz0v6Lh2pjguuyZSxnmh+KNtFHKa
R0e+Z9r4YplTzdgqU4ut3V4YhQLGWv4KRVXzFshx2rJg/Lmkh4XSTvkMeSRM0fan4unzsxlH6lEz
J4/bRUdHJo92LDbJO+UqtVmwNMacC8sFyl/AkUVRhEeQDizAy7hYc/UxVo0GvWBBpjlwSmjt2yOa
NVBDRK3fg/mXVdxc4xdq1kBvN3+oPk1EQghi13RHCX6rFOob3AjdDjOiyaWCIX5Ay/7P98r0xASz
KaACYzcoWhmwdmCD4xgdds8wnkt1BsjGbMnXaBSYkP9uiqEbsRRnMn3LBor4ss0Xc3b6HOYwZMZu
34adOJlGn803u4ZhNXDXjRJ07jpTIhYrMwpuaJ3mVqjc9f/8g8aepXjUHgNt/BXllUXOFAxBF2vT
3LOJDq05/sEOpjMb+S+mshUtFhy7kfAgAPiuhn6qTmpWH3Sv7m5//jCydn9ZzqvbwYUbTSVhJcPG
fFDV9xc9C/fQSILTspGjCAhviz9lDOu+1Wb6UTw/q19VmnlXy0Z8smxak8sEs5fjsidmAVNV2FcT
z+l+4cUoM5ioQte5C5rws810YWwef8gX0ah9F+Q0cb+G36hNqsIwLDWpnfhJ9fJD//6T/uy7nZqu
FAQi2+WZ5d8kA+cBxjemn8GY596PrDrCqnEBy5IvhKH2V+869X4cyMMYLRW1vNFYKCQ9lTS2mQO6
4MOEyJ5qGfWHZY90zB+REAOOvlZiGDTEpp6ZWL1pvtb8cfZxPHrn3hY/c30sdsvesrG0VpAUOD+L
pVyQwVKvO3fEGpBUxtto9ucpkPrOtcL+YeqPoZb61bMYtQIj6s+o9Cko9P/D1Zktt41sWfSLEIEp
MbxyHkWKkiXbLwhb5UJinsev74Xk7Xb0fWGQtMslkUDmyXP2XruscFqGRNfRxlfv87Mf9QCr4Ejb
2pji6Sb7Ggnq/yPzcG1yijURIuJuwMbrmPVuCnzHxu9uoyBaHgY7ZEbRxgKlFzIYXMNBu5GVacHR
w7WgHqoBq4KJunRDqDXENnJh8x3hMiP0kTbeOABeYF6RIRPyFx9FEr4nuXzXWrnzLNM89PTC98hv
8V+WC9NnWXzqBPGV29OH03WNG1UbbXItmVcXeX8MyK87sogdaDFE3+qMNdhG++SgAApWS/Y51h3a
Qx0fDkxTPd7ZkL9W9fLLRwFaeg+66/JNz0YEoxFY5guG7X1ZGNkjnxENlH2o4W6AS2gFBqywLl13
SxvYHGP7yvTGutr6+M/iwKdvNrzLFiOqQ6l+6AY4ArXp0lgu1VX5jZ/I3DEgooUPz25qrGFfal3Q
Hi12isVH5Z0K+RFI20P4Hj8Msz8RwD6dIivjsq/yDP084NCgT24RB/ajWAy/MOXjl6EKOWbHlTmv
hCyyTWrQH7aXysbXc1gFBa7vceZ/YiUSm/qyerf0bC9DZjPtR0zUWPJsLmAbL18jy5Hj3vAJ7Rrc
Eja5556fhCzHTOFz1h1nDkJAdgR+Be9N57SYeKcRMXEE+23hKndT7xzaKPv0ESjrCw/PAgC87u04
/bCk90KHqXbm6IpNuroSulJfG2xXAH6RpjSFXlzpuVgbm4bqKvNLwtDB5Qkt1/eLju5CQEkStSat
FSSnruRWtS0Cy1a+OcotfgMfewVhQxxq6Eg6leYtZ/zqq9l0FvoHVzGAwKWyJtb2v9UEPmVqmvgW
tySPOvXs3tKObJ0h42Pb67mdn8mv8b91XnlxDFieLkek0NL7velawIcRQG4GH1iUL9xkU/cp5OPR
8fa6YbTrfMSrGre9/hvvxp2PK6b3hjJYS+4RhMOF7OrbzWuoi+6EZKtHSmSjl1te5mzRV5MWmUsF
pJf3aVi4v/zEcbmVZDchRoN/YFYQkjMrfmO7QW3XtFrBzKkB4L8h2Mc9dgmStmjZ8S3NouFNbYYi
2sPrnrbhKYHKM4C6OEMv31gcj5bOFldJ6v3y3OIPTNdmr76PLk2LQw8vi9ZmLI8gFrtD3PAVmMhb
mgBlsvoWpVEzhFmaU1P82xha6vjlnwtjYIhWKfsrV2O7Iim4PJk6bg8ED+nl+WUZbpSfqiAsj3Mw
7MYhOYVgd4+iMSDsA1LttxNQiJUzLrPruULuvMQOqWeN3zIWZOBomkTa6Y2m6YBws+pUtNZJlSvq
oVzGdGEWfdrdcmX7kb83+/atQGKGc584EYdIgNcogwgtsq495Ei+AuYyMP5yUmIJON6ocsVOfdyY
jDRSisG1YjIbvWEzUp32burGaMsK+WZUToJhEkhl6Tp/YlyKWNrAaQkmiEuNMDiBd7KHEEzY9AhK
43MagXLrJTRSb5LLFeYLergTzM+wPyjglVe4xk+dPuiLZZnVz1xz5a4kyHCsq+TUdSbqKrcYtlh6
UTB6JuwfGUSP1qauZEaBfhvr3JwcYHoifs3u6gE9ZH5fJAvLNeqb0VdqGGgJrL7bY/2cXqrUy45q
EX4uqHriA1hK0Yuo9XQE1qeZA7K6oSbOYbmeB+FnsGZ9PN/m0Nye9VdV/dFaHFNao1tXf3lAgJhf
XLKk74OByEwtDU8OW+kgLENtYt2njPBuNLNQxczCvqv3SHgxj0nI0NKr7gp70CBfgmW0LINaCafX
cA56UycvRi0s4o2xLGVp6jx82wVSEBGGUAN9fQQB4gDWuLtkwgbrt0oPRpqZLyHWKfy0QB/DqYMO
HH6vuDneekASmZ/UuzRF6i+Y92y7GDhHQpd1Q7w36Jcp+THaRXfkz8Zrwlz6MK7JBv6NJix80/Mh
enWIx0mhQ+0hjYWrLmsJuQo1aV4BBTrniRyjamE2uAMtSsQD0U7Emn9V7/lABq9jnFqHQop3Vb7J
GhqHBRxtAFRwiFlGwLeT2bV8bXWUokV3aAtyrC/qU5Y0wYtjWe4Ldr0Fdyo983vm6dZBlTAhiB49
iLOjoEV10ykrd3ZcI862+0FuxZw3WMAZUPQ5rfL/vFnT4TH30ZJF1quVSyzv1JpgC8LY8WosaNk2
ZkgpJNIsRoJIV1LirJ6V94SAaQw84+w672oJUg9d5PjrsWIAFk1Aw9cQE46tY7qnWjMILW5qmnHg
zfduViMdwbP5XosvHD3ttp8XdUZOpjdEP/3aJwmhzNTYEGOTlTUP9lYsxqij+t+oP8mgICBnPHUm
tizYch4uUqsKTkbE6G0sk3jna/qbXhKsZ0axfXdb44+MGCEcBnsBJnPEuKMhxqFPAMDCZ6O0Acfo
Bc1etOZjMMZgb08I6tOlIIXT1B05ajiklmaxzvywsI/0hV5V8REJrFS96OetrMQpxBf3Myk0IkXd
IX/NaHjs5glVpT4HgtrOYiqxLF/tMNS7EG0Qnr+qQ7YEn2eeEPJ4fjhtnCStNoSc1bSeqvSD9Cjr
UpWFezcFWjNz9HP2yc4BdgKPxSPEr5cSZot4wu5bRgtHbKI3hMDRi1oe7FJ+qS9P1rR+W2mHOwpR
/64l3+ukYPDpUAy3aXtmKv8BzIYTRFjdhanZd9P8NyLsVC2WEy15kfZs0OoHJijSOFcAQ0AE0odz
hpwuV/+hKHtubJwnc0jxcEX1OdeDd2v5tIH7rksqbycKjbszl78Jo68vju6nO0ui3OXigJiz7Gvq
oSBid9U2cXRUIcNJZL3Osuz2dmWPd5g+O7Mw7i6htAz9lu9nrBFIZw58xRLakzCId+qXIAgZAcQz
W7SjuWuH155dhKqcFLoOx9BQzfMq0fqP2gnid+Iz+Ov6uDZJcEVmUGxwk2ivofySy49aMeg4ybg8
44DQX+w51TaGNGCFz5SmVgZX6Um8LXBWGeG16InnnlPhfYTJ8IqCZX5Iojyz0I9+sWh0hf6mDsHS
IhLWazIdZjcaRdRG009HN1Iac1F+bjp9PVp2snHtIf0I7Qmd/gfVrfHDwkCFSYVJmVYffCcR9PK9
+jI69Tfd8ouXGfDiAUfYp1Vln1bkk5RRWZ8aAsxVHM/QwUNm6s1ST6qN1qsMdk+reY2WtU0tcLgx
6m1LN2FtoCG9hrlvHsZhpOmtmekmoxQG6Zntas69jcFdQDCF3KAhP7HliQGjSP9zRodwMA0jvoF3
RekXFBiPeJV3tTxZWG9TGAQvXtzSKhPuffRbly0uwMJfBPrvTNq4P4YM6H1rv7XvfTqGwGSq/O6W
5OW2kGrMt7ELC9B/FVmPPUuw+g+bzIXruiyLmSMBOph8FZWc9ZegchEQej0aPcgPm9DUfmh6D7Uk
/C51gy/cwJdD+Fh5kMj/j04ZGEfpOTm/rQzgevFAiAOF05SGJWgBF9V+kLxluRAP1DPOoykysE4j
2Ih82b9QtJ4Cz2FG4FVfRRVF3zw/8e5lbB8QRUffYmPJCQcZjEK9Z7YnxQd4zmVYLn6oV7lXWtBA
vWatXgrDidZVSa/Nt3PcL4iOwgoH09+VVscIj1F5PKoAab+ef3egvVLrTyq7R0F2nTaWX/bCv6bu
gKHDMOXSz9BrOLpiDcPMfSgnwMb06ejjUzXLCRuZvoRYzIyDgKgfq2gwkRZ28Ub0bbcLhdQePner
qnfasP7pT771aABjbH1mbFv1MjXzBu4pUz6ATv6esL/PlDjOKqumK/eFeB9n/3c8JfW1S0q5nSBP
752ajGrcgfV5Qi18sNs4B6kfWifRT+9ISjKm1pyM8L4uGKGIAXiYXppobLZOmGOXmftiX/ff6jEt
L+ALzvBk6n2ytIMm8cWSwN6T4njKQi19idBX9KPWv9SGfxAiMw7s3gz9BM13Ecn3IBbZa5Ja38VQ
Bih53fCoa+706UnmTh5T58Cc6rWwyaYJ7Na8IAIGt6r1BzsmSXEOJtRwYuI/ig+12W6ZyaDTl/th
6ElJnJs//MDeKwbKbF/JpNhGAsmrWsBD19R/M6F1iedyoEPTFUYKrIPuTs2sOvLF0GScsuQyYxPa
W3GLWrkpASwaZrEz6b8dMlMr6E83DWoRVLMAgaMTi2EFKCKLTpRCIy2DWyzijNMZtlRiqTZOHVmf
6I1xoy6FYu9FRCY16IAZu/wpyv6QNm1/n5MMoHHHPIVjlbuutbQ6mkPMZCe1Xjopz9ZMja2uC8MB
SxwsrTsgt9t6FuJs0M5G6CwfofwTO7G5L/Qg35t8ePj3wNNAqI7WmSn+bYqpOJdzXh/mQBdnM58+
7NZKX3MwMTsDOg/4HXJYwr6ndqPqCU22hwCcZBdkqFss+9Uq3QQ9FHS7yLJ/UVjUl3yum4t6pjlx
z6BBN9cu+RKbOMXY6C+2ckS3+KH1G//tbFAlywD0rSzn+cVuL7b2CWVv682leVWFsOP2WPDo0JrL
oc1ajqPemMSQgOkH6W4+f2tMyrPn0mELPtQQ+hyzk/DTo4uwykOTWVqm/1ENS6epDh3+XvrJFfPG
tvVuAxVOSyBpGjh8JY3Q9sMSvV0Pc7wpI0BAY0ykMf3Yxjth4elSv/oE2mqd4HPdrRa4uQJ/Dwsk
PDPIME7N0VtTJ/okBpX2ywBIfdvrWbDORQOapuiGrdFKgpM415DGag76Tp0qrMItdnMnYpSUQ3zW
ujzmuM1kkc4oSmGW3TFJ+i33yB9isb8UCd5qgIxlOoXk7L7YfvBReDZcfN2N9zU2tAjU91b3DWJk
plGeEZr85yFaelR0yX/neQKpEtrbPcevghehT2BHUh9EGT3snIHRRpCgvFG1MYcY+g0lKHxY9Idk
wMXok8rBDKRnhyMlLpIO6GAQ+2q/HbP6H6T6/c0aDTTSjR3suxDCu6g7tNU17IK4I0AqCyjoNsRI
yY3PMGpt5lZ9S0GDMMh4SRPPvyBAZZ8zyzgm7rVAuRB5VkMFw4JdN0V/CLvx0mriwgiBstvqH2Hl
vteIxuHjeZdeJYBwPBbIOZ0DKeWJ7QLJJKZuNbBqGsjhR9QrGWdZ3RFwCHpzBOnxKoeROV3dv1L7
faqegYPv9mAP/ZuHGGjg271bpTc8EmL6ZjKoPijim02bknaMww4E6fKAUZZgXoOQWsez9nYaG++C
7tSJ9MHxWufFgXSWYlvNmDcMM3ozqdmP1RJ4hE2pfd4DXD2s7brlrNW/aCXE/HiT+efZLjDH4nsa
9dTRYz4C9p1zgIrIbMzWGT7ySt5LBrsns0hgQVLmbYNYZ5JRRngL5+Kcuumv3l0Al1W2TDK74BiJ
BmiWWT/ito3uYY35aTmClilNv5YOw0obati0HnbgStOYojocxAMtjE70G4xXo9V5r6yvvoONGdbc
WhV6feG1RwfKfz0ScYK3F8UmoeJjl087s25++zn5AaRx/Wh6skBjwBUMUMvh2lge7SHXFgdonYwb
snrLbCT4CcTyt6TyMQxGJGSCf3LY/JOy1a6mebZOUzRaL2Fs3e02ak6JEXvbyuZkAOMNce5S7s4V
UaRBb32rAs15idNXFMfdKmtT7Z7O9GtqDSGuUWLlUSlfZjdqL04SbjxHfGtVbpWf5m9GZiYb6fbR
98TlkA0w0Dt5LU7fCQSodMti/WwmyQwtuPBoVpm1FhyCwofYnMbh0feZZ8u+W1wcuDLmwfhiuJq9
G5pWXLtQeHvSqgbS3xGJJETUyyVgBigOUpEI13Rr4Jq22VcDVHueUfw08yx6PP+fCPG2euHDQYXv
e5awJm7U38m3BZVoFvlVVcpGkoKLHPNk06ebaImH1HSsnOp0U+Q1ATWW7jG9oZfpRhpqPI5lG/Wy
6exb0iX/OBmgTs/VnGs7N+0rUsp//WO10fqWgCSY/B+mYtpDKMLeYH8ClgaFsDwBBU3gxHxpE0u7
GoXlz8gjGAu10oE8x4kx/O0uYwV1O4RZlcJfWBpzVpFjs0h891ue6T+xwzr/oH+BEiW8d3dqxA7Z
5PTyPE3G9LNrMNgwJd1hlQnYfcgVOvNzznUSe0FWPLJ0JNOL6kwEw3d1dRoyYcqUe+NerdlJ29SU
tlP5fKmyMMMSPHYx8guVGHb4dN6tONjaHSb1xBtIQR7jU0y/ZBewXp5kFP8im6JdE3Zh7ORyNteT
zr9R+Lcr4YtiD29zbl5sO+JMTTqCn8trzZn0VlkRHTRn/CcuTXFGGirfEr8ciE+EYatpj6iT9Rfs
sIfWD/XXxJMhjup1EwE4yUuy56D7MvZ02p3vkLiXj/PKEq31jcEtejlH5z2tHQE3DRuj41yGJEu1
K0TLyW/Gd7/2htk4Gzb9CfWMj5DUlij/XbEK0AFBEfJ3ZjwkeYkFCwKQXolxM4kMy39NKooMFdpP
knSkFYQggJSvE5RYeYJDdmnBqe5bPKLKWTX2PGJ7yXrM5MSleHnjHDQwr+ep1XMw94Lm80TnvNDs
tw6M7rbGjorIVatoeA0PlcBUiqpl0JHWh3gqsVgaOliExLXOdjBmhwm7ACR1ZrMOx3d1a5ZlnS9a
FR8fnegvMKPgkbEFD5cSMjjxsufGMrGu6cb579WlBiVzQxFXehGoyCJgcbJTLnNY42t8YNEmKkui
PaJ4/DM4rDzq9EytSM5qVVT7LjHynY7FZyP9N4Ba1lf0jmBJ/ONhlopIMRBm7Oy9RNhvDnyPs1m2
cKOXEzEU4mKHitzH44aZG7sGUlU1gwPHdDTi8g/Wz/pd1401syTvVb1iu5mBNgDHUy/nhrYeACt9
iwiOxDSL5g8wouYV64g4CIe2dCjinuwd23AgwnQWQCqHsJD/3dvUM2bs2AHUgjjqkL+WzpQ6OVFR
tpduKJ9vqfcTRFTrtuvJY3A09/z3wUlKFPJN9UlZLfmFeaX+sNN/ifmHKlz0PASP7msxTiE7OKkT
Kv7o6FyjBFVHVZB4eGSp0zcmFOZLHmTVLumT/K0seprxXAj20SK+a61GXn8foqTZpBLwv9Cp16Dw
rjrdjL6XFciDRseUnrSmfRsbU+BfiL7w+hkHam1QUZa1D1qvD3YaBkNOJst3DbRZwvaQ5lY6+i0B
5/ipD15zBKC4Qa5NKjddyvvcjvU9lmN766P733fU2/OAVaoY2Rjp7PcbK2KORgQjnEmOF8/QTGfo
9J1d+ksSNybFRLQgIlwEARY+ng2cHyiPRQxRrhuM7Ga8Mktt+Fkot+vlWe1W2c15S3LbveZIAgeg
Gpsc4zGKF5THNMnsqyTDD5y4M/8sHOrjUDTBydJIY1Vbg1JIkDeTsCWkWUX/xm2rg8HJ++BHbv2K
QzrfjVkYb7jUELHEYbufU4++SBdSN8gArNJyWdeFtDeOJEiOLqF4a2yumcoOf/vf1K1iE0Vi7FjE
Q3TqvXzR8qx49US5LgREdLVjth4T3sIFL0fMCL7MIb5qg9++GlpRfbDaT3A6V2NDJ8AWlngrBd08
ID1AvhyddGOzGEvGh713MZPMA8ZIJs/fl1EJPZa4AGMNe4lQHXWLt2TVHFU3v+K3PsGQegFltsSj
juUFkf88xPsiBiFZEA9D82TgS5cyNeinds1NHdxcgh5/uYVOKd/6L6PV4QxfFptuWXw6BzVs35BW
FwQOyNXKwasqCpcRpogfeLggiLYFmnVeOVUAzjM8q6WqUf/E8pDSAsTLBmdS/cHE5ATzrC7/jBbL
E72FdtMWecw/u2yIOaZIVm3u9N4LMLyLHPuY1354ZpcxO8G2VRfWAyYwjaB4Rg9eB8l2bIDEOnN3
SQRNn9RlOjfTtaK0YGBp9Bzzm6aLXwpml7g78QbDBqLsAjQhb2ZAnDaNOSjY6D7/tsHTaP5RtD8q
m0+wXhrJ+lT+RKU0ntNYtNegC2jDJUjJaA6QrVXrFBJT+xFKWklh/xKPRfaumzpCiAhSOac9uP/C
uEWRHj8qlCJ+Nr128ZQeCH9i/B2ZqNo4dl0Lt4lPRuhUWz9szJtt9p9yiHG8ZH157bLkzXHJIcyC
R7wMcugjVrf8hjja51emB4DC++wsTQpVFxVwry+z+6M1EXOJlswnqVZRYVW/XBzvtTQdurO6+W2M
kcdbZoPTvCy+Le3Ewg3Hd8aD/XpqjN8oRNCLqIVqRCI0Ilontol7V16r7o36ClbjbB/jPviTTEH0
PGEGhOkAsUOVH7K5KMVXGKM+hrBjX+e2B/yWME7QJg8TGdPQ3EG+4LVxtLfnKuRHsd/+U3AxN8ua
BdGx/DW223aX10zPQXCO1+eCnxtu8jrGc3k0CxoyQVqkR3thGKiedYnJmrjoJFqr98zlV55mxp6D
Ibyd6uBr5JyvpTZRQy/GfZ8ltm4dfR/X3TOMTh08qfUzbFOltvV1xHEDev+HEdKUAMcCscMF7V6Z
2e+00CDkdzS7AnSi/ZILNM8hNMMsard/c1HVszTtiHuPcn1TMV259LQtIqs9tIbDXWCIyDj0SKOJ
ELwFy3xG9Vj4mx5T+JhQKmigAbNyM3nJivJNXXcmYHbiTYdulS7RXxwsD9wJAycsXgWyI9qjBIKq
RCBh4BX7JJo/dLcuXnSrwd1TkPjeukkKjixhoGEwtojBwK4CpWdxsWOqZ6WFXziw/D3JIQ7u0tI+
eLlO1diLl6Jy5weahG1pTlfIxtEaTkr5WePv3wU2Mcvg4QAnuPlEIB9yDfUQOYYB3W62Nn/fkziR
XXvaqClFctRdllh9hidvBHp8hmOcbZpZo8MR1DFBbOR0qz9QL/2AJgk1kVLw+ZCLWQfwcPTihKMT
9tDy4DFKej5TLx0r+wFCwd//fT+QDjGgs5bupxYTO47lYE91d6IWD042QKkz3GdOAaQTXI0+LdeT
SH4SON6+qDtreSUIzDu7RMeqqdO0KLGc0mfF1wDYaqNM4MKTTowdKjxAg3xvJ5HLTSARLM+4U6Ie
Xb7DoOzCmKY6q2W7IWJmbYAixAuzrIG9OdDA7UtySklABArfiv2AzX6nhIdNxZ2+B/VSbaslc3A0
Tk0Q2Wv1TwUJ0+ewSRAguuHNHYkY4fuMprT7wBRQnr3cO6jTh+u92XFfEr8n3qAOW2fhpuHdaTt5
QfJsr8rS7qEJBTH+NQLLSgvhQVN3MGqS5J8+BqEM4EbAgIXxvIxBohCLCvCO4djRVj+XBv5XCdt8
NYlqOEDLzOlA8pAXvnHqaadn3vhQywggmkeM5jmC13n1qoDJX2glkBuiIty5up4TjeVFRAiZqFlL
Ti8tXbX2PUr86KKK1nACoxD7xnoMqvKH5uODKbkuJhSp19Lq98Q7e2Ccr6FZ++8qF8pO9H9VGHlL
UsoxqHvE2nbeHmLHTvbCjLxH6w52cp1tStlxLMuraWslmAvD/TmW4SfU55u6iLXWvyEZSlbjcA1k
QmZ6npvHeMYEOoSu/oOf6gP9zj915OFw/3+SwOdVEjsD/gubaDVJI7mLpu9TlP5RX6VTFfRVU7s5
6FHg3DShpzD/Ku8E+lusaRxMZ2YwuBE3ICiK17yoFw6RgZdy6IhCo64hsqP6bQZz/qsf3ukOGr8x
yXN4TpyEHlE8v4hMAqHlOPZCtkpwUPeWbmEd8BqSsNRLFZcKWex1CkwgMiSirGxjkLcxI4Fz1ZMi
c07ZsiutdvcSlvgKQhY7Zlr+szxpQEzcWU2iFSG81aEZyQ0gW2jGgUf0XhFFx0YPtT/el2fH6F0G
7c/ynkB5s3JsEb2hZT4k7BGvNiBNFv1yiTUgpUFlN6uvkpBY9Aa2/S8VXg6u5U8IJmiV3wNJb3yd
RiMlCWiDTeHIr9HNxI8gz9njQARAzuj3z/iwRmS3yjFwL7d80l7ZMT/ykl1UJfBgLBxVhmTNH7gy
wRljiNKGqxksEqRwgCXIpOaEji8C6jHSsMkkSnqtEKd4cLtT6Ve4lwDL+CY/ZCXik8yr6iMwW0QK
eEmZhSTXhvvuJsogYCxu/WFd6A5R4WLxWsaAqWm4WMIlt5MdHzlJeS+Y6fSN0JL80eNi7Ba9gdpc
VV+jhGC0NcAP8fVr9XG2h1eNzJ/ueZqB6FSlsf4zMC3t1mjWTTMSf2t6NTM5TmZpMfW/ymzKTfoh
bf5ryMSS+aOL4sH6YD6rcBdoxMVwBBlywT9hGX+EOFNO0qJHSAnWviJDzJebf/5FRlK+ymxGb1EU
/CuXpPhgXGYUDluykvFwrlAC6Rkf3FXXRix4DdlnE2o/Wt7WZ+H503ZwYNXNi46aehkPCLuPLYo1
yRLOe0DX+/48Ltl9PN095swhEqjJXsEndfZzyGjWk5a1JROMRagIEBwVMBZbA7tsWDJC0gwCtLt5
HfscrSrWsNXg9dNn34blHtIq3vh2NNdqGyJRNWaW/78PapNykZHpsrlqFS1arZPD7pnbbXqhf34u
4TCGoqcwGJ4wvrkJjH5ShddpjMiKC0mWUe0KAGKIxi2sJEvzQk3NEIP+9JNS7J8qYycrjr4GBNiQ
YFmYACZ7J4okmgX7n37q2lNGwunKB4xXMo4hb8SOxC4oKGpoWnd3uENYTRmUvTwvZxAG0X5OUDbl
sSc+6gGtnavL6aAOPRmr/opg9RBvCY5O0mg/cGAkaxkl1muikZODBJeEIHKxjKXiqFpgbg5q7yXz
lhMpFKdNXsXGOvaa7sixwVmREw4xO/exdIavz2MCPxL5eksON/qW8C5/qZU1rpPyREMFASIKk/sw
y2CTLmSzPpvdE/I1Fj4NpYDT40erlaKryoA7zznOOd2nZe86onngI/VuAYkbFpqp3qbNxxh0Jt22
ZEbgARiBoRRb30hBuEtOu/AjXJJNsmHBT7mg45B40XFSXwdGZ3tfEFLylIL3Vb/V9KLd1XOjP+Ll
12WundXok5mDJu7FrDaVh/MUe8ZZtFVy0SFgAWwNDsKwvtpZVljyRrzddAD6iy45oz08mdzLyKgJ
m5CYYknKscrCu8RTl16DqNU5gyflz4jEjNTLySKVw0/1ay5G/hsJOrukrab187tlHGKXMzJr2dMK
Xvq77cTZ2ytJqwgi77vf2tn3WM8Prk1eVBV0+ub5CT3V37afgh/zNIyKdofMT6MX9YyRNfN6rYZJ
5jJRUs/+66Xf8pMTWPoTQCSoH0/E+JdNK9+qGV4qyU9ybbpVfxXS2iJDJ2vyGPZDdR05NpLnZ1bA
OzyNy4DvVIukuJkOsc5Lwe8kxJH1/oTVJQ/KbQZ0YyOWVFN3eSjj7rOpKuzhFuHW+BXyE0OaNW1E
fAL4OJ4l2n9tyGMJqGLbtXq9c4202/d5JI7PT+S5S4wNtcTyOVIrvHaiTs940a+aNibv4RQ9gF1P
n8NQfmVMg33ZvxXLSKIagsWdS9iMjQVPyYPAqrv3YMa/DKmGtOBFMhTaQYiRNP2hBB5/3R9MsZN9
RRxbHnf1s1qcF4fWYDkIh6y7khTryE/g92DCGfy0W5ezsNEaP9QBOPargytgZ8CeuCVg7m92K/x1
ToQBY4jq1Qzi+EL+HrHIUVkQRwOwobGxqKiyz7BIrAV4DzDKLKTFhBlDcunVv82kKsCgdkzmbL/Z
FHMyU4x1LpeX5qGsqI/DnGb7XuDgcj0wxKmJzHgZQJkOAlPHonqNC0vD9QZEBzQx4WCF/YCS3L5M
Hb2BhtotJyIuTjKMwnoCZHdZ/5+t+jL0tkLv61fuIv8yiYbMiPKXVgbZI7B1cRkWNvnAPPc/vbOo
ZgjUlTMIlCoiApe1a6002nYWuHvWJes4jnxts5uLN2wd/iZLrWG31ryRDOdRZF8x2dg16NK2aPQX
C0c5SLlQ2AetrtqN6kvCLtgG7EoMqxF9r1Rjsp+vHuqA5EqXEdVU5aPTH4iBVxJCBnFrOuXbvGf/
NaryUVSWea2c9AexNuUP5mgoehzUf02DfjRJKV5dr31w/NV/+vMVrfsi2wJ8q/ZRJ+6aB4tckg5f
RYBvN8y78jMbG+5qI/cPSW4E5+fKhWDxe5TMd0ej9KLdAVbK1M5tB1Ma+EHx0o7ZfqTQdE7WQHYI
51Rl4+l7zDjjZGbrPmEF3zUWE3a70E0iU/EMMLj919W6qy/a6ZXEUUL9JvlNDpNxQt+eXHNt8X0Y
NajNpcVe9Y7N+WL8Yecj/nO/oA2XoVtezRDN0acJkNlO0mwHLFFrZ7mpNWec9jPdFUzTvEya7AIY
GRc6eJrLiGF+bTOrZLDMNNIBtXnXAwgCRHbzby4nj27ZU7+79UwsquvBuKkIyuzm6IsZJQCR/3sL
VNN5gK+Jyq3OyAcJBvpXFZGp5G4dn+cPCUko7pkCp655fc4U4hkNApO23Ka1XvY+gjgGwA0EkhzM
Hsa/Uqu9SyOjf30W+Pc5IFOtxkBRoHZ/L5KUTN4wPKm7Px4WakhPpIBRu+8N2uLT8wZB1IPSnmMX
GMDTXKTuu2qIwKQgmC16GyRrpUGyC5F2Dd1zocPAH6NhP7d2dNdcPbg9p9ajHYuDskjM1HxADG2b
IB6duWSuhztHq+Nne8BbegT/1SjgGPL67FdKy/WOyBBu9jwEr+qBv+/uK0KgwAwP2NPUXK3nul8p
Sx/3TrTKAN+c/OxfNUhuerbnGnt41XO9DHl7AgLPdGkc6m21LJ9JZLxJvUgOXhzncEeJpc3b6ajK
DRtPApxdlJhBTExO7rMO5ByzU6oo8HJD/dySVUtfPXClVeRHUxSqckOQcsZNyaTt2dketeHeh1C7
sCSLYTEi6KjUceiPW2W7W/cc/Ri/dL8Jh/7QSXye7aS/pGPWkD867CErrp7SHydnJ+7x6E8lIZhQ
DD6Y0uF1WsaGeNUsgGQFk51lnhjObrtqdDxfuMC+59Lpr0OF7FYrSB22G40SBLA2wIFxGpGNR3Kr
L9+ZemgSak166ZBxlus90KzoDpxW0gljagUgirFTYMWrdDl5Gr1WXrTgyBLlnjCCuif1TD34xvif
l4avwSRf/lS9VxYE+rpl42/yWqZY3mFYn569KrcH7WvrOSlZy42FjAxzd46nmXhO5xSX8jyXNn6P
gXln3CLYsSbX2DeGF0PORmH1nAGJLEVa7xpQdmL9C+/h/3B1XsttJMsW/aKOaG9e4UEA9BQlvnRI
olTtvf/6u6pa5/DGeRgEAM2MSKC7Kitz77XXQ4KWZfV9kXVXtbZl3g4xHMkpJsmoRUf5N4TQB+MU
3fL6tEs4VHSwZnZDpJ2cHpDQ1wN0Gg7oOtYUKx9qthcPfyInkcnyP+DxsxwII/5AYNKf2y4j2jd0
jB1cnak8Ft7ZMV8Dc5h/sTomImEnoCPHkcsgJS7Q00PpdcnNI5lkR/E6/7LGndtOPwVb60kpKr7G
WouHNCQOkPuHHeBmPeC+Rqs1vLdEaizo1p5bys6XJsoJmE2C01p/uuQMYZofyBOXmlirbF9KwZ6e
Sk9eDoBhPWAQdITrQIpoA+Fp+7qHuzGa/VNjjvjjdE40QYkiNqRZuFkGKzlWwOzVSHaw+Ub6lNSu
pUxozdKz3i+mKS6xjXlLPZvky5l26ikKrJN6H+9/SFwnmz8Z5ZZxRCk10gSB/lKVZntVJXyZ08N2
i3a31rZJudSE6mCM57/w8OAF/7EESxWAkZ+1fNhXfp4i5aSfptprhc3AIVmw9/HtULtDZwVDgr4x
Kd2P9e7IAuyk5CSom0vdZoltkeGcxYxK+MhPFOk0t+nkbIt0tK5UyLc8dhumpBOdOHL8nJubfDeQ
cGDeRjss4MH6AKK/zmAmKMgsdIZzPDd/MDfMB2WyxeoA2EEWD4NVJls1f69iJ3iIyfNgmG2mW71y
XiDMxzhq0Zqq2JIO2s6VnPl7ely9AHgDdhtxqnbSOTbv0wF5kEkOOKY9ziB0EsmRA9ekenaun/3C
blWdbeYgR+KdmKGqSUvrEVxohdNmysb5O2vye+Az0cy0hSy4jBQbfcjd3eJF/NaGVEet+wD66RdV
aqptB28oRTcFiWuRvKsmjGreGM7OQLhGMzJWh4XuNkbzVMXmN4zk6bldavM8ThjWhGiLB9WSQShW
U73PNwuc3Idlo7LSCj96GZgiHpLGGUAgSG1HPmF09drhNQ8Awwc2p8ChrR+FQ1Ql3017C/2IhJy0
hqGUeuUeRVC7dbShJMIcMCeBsAj0sJxA1ev9af6ekM8pv5kNyzOjwt4nOLONCPc0hnObDfOHMKPf
QRLkV6tI17bxV2fY6Qaaam5YE8WKZ4sD9wL7+xVh2KmehugGwwrZPxPcbTMV1TsQT8CVuH6Okwep
F0cUqi7dxgcCn8lvF9LU04T9vvTPQqurx9Se4GMXePKDpltQ++C3+nf8pRFw0HRjOC4OGjiqDyaD
frMp8qR7LXJzZyRGdYfPI38sM47naw035wtfIqPNwgrqozvb1S5s058lgbdwALX80XYtvrW4o1D0
NfKFW6pxD7TAswNPgoKEVoW6keykrHeTVRCThgHitctbAtIZzIDxEAjO6vGztsBBqF5gpbvf64RT
EAqBpTigG9xq0AuurYGMV5j9cHBclB7qZdkZNmKoZNPFlPZqKLtkpfck8+jVORydD2ZJ07hX+/yS
wnFmaIpugZO7QVBEJnWyXZRPO1ZdiGNIRwiPGA5d3UNyqB0SqVuRXG2p58vttj8ZCyO9nSF2SlQ3
1k6PX6C0ru08IQyw5+kxNiuigIoPLdDKUy1XHRiD3k0JgSO5HGk9DET8nT/V+8EV3lAD4xbdoItl
QLr+OQtk28J37qwcZZL6QEkSa/EoNycbOc6/CnsWL6YAjR1l+DnraNZuc9whROpIC7153uTBZWo5
OcDb31ckq13V/FyN0+ty7rYeZw0wm4wqWx/oNFLG4WxWNgZEJ3PAdBkgueSPrsaDaiVNvfZdL7xX
N4rbq573EcONEqN5MHWH0nWn53LWK3LFRPVjcqx/z9b3Jjs6RKbpANpd5ktBUeUlAQ4zBCNMlD64
6cUO6KV3GSfEM0IX39fCbiqLVma/TbuIreJKFsKwjyPmD60cS/hktBwTFrvtBPmTbpu/0FMJcmur
Ohb+IBaKmkigwgvfyYnK3gY0+Z6d+9+x2QBgccAgj01r3RxS/zZGnYsXKYeGJlf9hOcTPTAm0b8J
fMNoIU0kjlP96qcJHvUKKAwNxksXMKYDlL0JS8K9AgkkGKImvOP7O2o06W8aTQjAGB2IlgrR4n8f
qtj/91KgzzkgeTB3On1lQtSIRBo8GHhqQ8E6Oe1pGBbbAPvZvk4hZeE3X7yTJ9BKKsOMD4iTRcAD
t9u4z/hlm1x/UXOLRGC6Rz2y6w3IsDJb8daWvafv6HHLMHIbo5fVRy+LKYLNaopvTTSU00xzLbEA
0ub+C8Lfka5rTEGVB9gax8brb1DLJy+xjlpG6lpWDHIUAMPvWOMR2s5G0j6NdRCs3I6yaV4w3BO2
VtUcsiVzgLNH+pxPiI2QOATLCJaT1pZ6aKV5eDZd7ALSjUu/tsaN24n92hqihr0Da04hPCUOjhUL
ma166TvtfPpmxSg1lVwdSdqmtkF1rGcJLxqbo8+xlW9pLC91X3wEtXtTW/AwBL8QjzvnjmMR1s70
wOeKrnCKRtQGxBypwkjVQ+qZl7Ovj5M/bKy223TmD5/O/kdAK2s/a71z7vWcPJcYtCCJK82Bm4Ze
DwlfuwWfI4JdiCfz+K42XHUhe5GX78mQiTcpIZLMNE37Z+VzKE2Wp9EyL5w28tdqXryr4+W/3aaL
bszEo33tOzAjrW4AAJ1tGR0JQiIHFqVSomxCwmgbFFIOg2R5nxdV+0vTfFpW8lXj1yjis6Q/9KA8
sfOHHFyke5y1bF9WzlkpH5iXxN8smlVbocHtbn10lZwgLgsJMWtnKOMVdlsTlt9phYXQAXSVc5/K
hyQW2XZNXd+/7/o/qkeoHkpH3BIS19AUVvm51OPqkgxLAyJj+KmKxsC12ks1Or9DbsLtWoKy/jKk
xpmyJZDZvaf9vycZUfpIRQm2ghtMPft6MLGLk4yEtUkrZuuxgx62JRPQP8RSGNwaDOxx4E40u/5T
VjpLZ75ZC6fg6e8YFvOTBjfmFPs6qUtt8a4PA+xQzsdXywEAs+RGeeli721sBvMuy4luD01ON0h/
f2A64pSpG59RREc8bhlTWASRnT2i459xVJ01SefEvk0KRx3TggPCsBHpwhcipy1CpwWrXDuuB2KN
aYH+PMxl+egH9la9yuk0XUPDrE5q3XEL2uB2DVAJX/I9H/hxqSvzrJpQk9X8owWol/3dem0YaNyU
XbQmYGHXzXSgpplbeT8EfbYTvoNxNI5qMpi16gfhDvYuYGc8DzmRxCLAvLPuM6jhv32d9Yn4KetN
bNefA1KzY2NhSMtN8aeWzlb1ECWTfqcGkFjtkSZB0Ewa7W3KhujQm8BgO2faj0brP+mIgumKVNk/
4XKpaxstcIMflR3T6omr8Mfo6WejbMHhtfG1gRb/1k8/1+mdjgihXNzubwt8XA9oW2tVpd2I5EGu
bMzuQxt/U4UcpPHo5JHJtKlHN8Cxn54aG8FqTesKhgUstzzfqs4dqycNKhmqzRk9GFmbe50kwSIX
oBQSdrG8z/b6iIZSGkYdecpQJJVlghu42GAPuhStobBTJAnqbqv9vW0EP+J0rOD0jsZ+mprpOKI9
u4kwD25ETTOpBPfk1WaN4aYRlwwhCIdy9CjCzMezcmuwaJJxYtF4sChBgjH/3oyV9ebV1VkTpvse
e95VhJbziZ35WrQ9uUymtxtE0uym/B3q9M7GR3bT5c8UeSBWnNRn6CRfpvogNU87NZQMug4pH/bK
q68tHdyJbD7Tf3dqt3xrLCZ87dg/miSS4Rtz/bUp06WojmKDrhqyVSg6aBfUg+qOqyEVPeF9FOln
YrkqUOIGGAEtqI7rGcI1udJi0tVPtWlaqN+kLZsjzyaeo5KoAuidMVymQx4hjP83mKBtgX8uLR4H
O2j2kUPW5nrJl+VyRDkKx0eK0GLHKu7dhrn0HBCzKNu/7MH8uiWmpbF5gCAISoc4uPtMr7qTJxXF
+UVYHnxlKSx2U40dNMYoE0p1iEO2PKklMx3tbPTNPTBSSs7GRH871MxvFgsCaxQAuSNhqR44DkM3
mAAU22bjXo2muzNoP52UXPlLvZzWOn0Z347ZJK1E8FmH/m79aLRxRGTtJWTKR2N/CarOOKxlkDuD
SWEqlZ1KRwYkTXOBiy7otBdKmXb7/2a5JGeTxkeTBV2xuJiTYT+oh9qZUXwbMNvVywFvV+661XVW
JBKqPPI0Eu89XCrszh3i0VNhP1a6aR+/GhLqWYVFbmPMaMpUp1fNDHROQPXE36fkmBNnm/1a8Wmu
nmy//r0shXURevlZXStRyo/eGkTANGB02hDZt22l6WutubsupsZs2eSh3dEc1+nEvatnaTc0eAoJ
MBqlIXzWDZSOnmU9qgdrANWaFWHofI+NTOy0zM2YHlbvqIFB3dhGEl2HuIuuY2r/zUBiGbs+05uL
jq9hG1BvPZFhab2qsYdfo89hKbnUflYeSqcwL0knIxrox9EqMd+dKOre0jTmyDLF5mvaTq+91CDS
hhr2qRg5xhBCH219DRhf2Yr64tdR4G/z1IdA7iO8NSrxLP3g94z/8tekeC5a0OuFGQ7fRwul6Ax5
a32m3qNTO2xG+d76TE93owG+GLZrQnrsdZ2iImolapMOGYfoJOQYYg4E38fhrRkce0NuGRnmmuiv
7eS/tpB+zp0ZGZDG/+O0Vc8cglopKwHKmqQviagfXlrCUR+duF5fuVZRbzkpzTMyF/Y6xB8peFLV
OWxabOOziQRHHYHqjvuGEUq4U9epPZeUnfLfuZbGVGgZMnXtPkhqcJgdCiGE43/0ziu+taiqOSP1
M9PQ+Y9R1HC3pIW8D2FydAuVfT1gfITnkdAKWqpdlS7vS4CeHYFc9axHyCOihJhSj24HU1eU0kyF
xaGZULd5lmB+JpcIr7U+OnV5sOuDi1sgFW/iTrQ4EajaGlIIrJaBoJIAJgLBktrHW8su7grQ/ZB5
lzI/YbzDSssWbAPIOVt27norFgXLF2wUy/zejU7F7FzSuduBcsCeKWdYkk6mP1l368cieiYFVMDz
Ia9hExpdbR4WYdf+JnFs576pfuMHipnEtPFjJZ+1AcESbr5xhGEe1AhnBhKzkTq4q2WE1q5LEFz8
rZsB+aNTE58qD7boHQmjUVIpY4F1nXjDMcvJj21jkPxfVLlGmzz8FjgNydtk6iHOg8wZbuYkvRTI
Vmkc9/xU7fKLuSsdpSaavqdEI0RTcl5XgJXMYOIgp6iFemZg8z7EPQBMpnxvbGHzrqw67X6YDOeY
ev6ebVLytlDKqoc8wS/SwnE/2833tuTEZ8tmly9c8oPVEZE6h5NJVBHCXc4fksPXEEm4zWY/35n/
nTREaVRulzTyjlVtYoytHRtydz0xuenfIsv4oSXe9OiO7idr2IY/nl44FjKciwiFaYluEZqYXnSx
2HeEUzxX9C0ugzc8qWFsLfOk1LO0PjIbwBmF3XzwdUR+kXZRs+p4dqJtQlrR2s0gh/VUJqMDDwUY
01i0FBzjAk89raGGMTOW6izT6rubehWQLYg2ukFGiOnT2o5BUcAG8yhf5Ymv6HzCK8R8YC77OM5e
9SO2hUt2EsFJjs06qTTPwhhgIhEzl+Yp6SVq2OJ7QXA1Lf8KDKb8cHWbbB4Berq2TXDr9DfPQsIx
Xb15N11s1CtlMdE+VOeupacP1krbqkLbnJ3ksezpN4z9fdFH7Wdltvc6A7bvho9A10+2alJZ6Wl1
qpnqsc/SD54SY9qFUq2feLG9MQrrVluC1oxtJxUgWrN9sHL/NPkORz6RfK7KEzBcMAeS9m6V2wf1
7570zfupOceaFl2/WGtgccYrt1BwDJbphTq3JZqPUPXSKRkutQY+O1MIilNINbPhkTfOW1/vp+Z1
joP6QLNo2jsmEbcabfOdj4Tys+r09MyEdzwZSfZeisV9jkka2pt9hvSL+iHkdqO0bc3Q/0HPFe7u
EPs/8PEi/2ooT+fkpU3H5Wh0wHVNhttAZvxzuaA4MBL9wjAf1Hw/dc+qE5zAAWP+tI2Z79wWH5RA
7FH8ai5fQpVRG3qGhMd707cignwjkSi9UQ3Mc+GAYnAQuM+65WXgS36MDHdPaMPyEoW8VUkRkFgw
n3s1k0u9aOKrYD0//c+zcSJFYKwkaayLdMaNeKp6zOiXJCKsOHNptLX64F1lid7Wbv+Xae+RViIp
cFgND/bk4akE5feum0hvajwQv8fAP1hJrH14RTJDxOFqDmb6yX3JoWruAbO4hmvfjViZNiid6ofe
0Z1tPZakr6ux8qLbGBGlUqcz6ABFYeqcVMsgmrzXCvXedjCb/rw47njzAMmNnf/LKujrcd/ZIgh3
KczsS9TAoa00HHh1iMJez7+RtPC9Hb17f5h+q/NDX5JvnRezlBNS9CKykAzuhuEqt999NsMj/++y
1btcXKRV1FvfIBmjS8LqpW2Gdpto6Nc15Opq8Ic/Ij+P3i8HWy2RJaZ9J2q6wJ5ZOMA/XQvcDCgK
NbzM2eUZuFwwkD/7FFyrJAVKloNmuxuOWgRzqgoqfSfGsf5hU7MwlHjT/ay5qCUTjVJCrJo/7KOf
gYeOWzXxUxAq+ypCDIvPiFmJrd0Igw/T7Uxz4DAkXb2zEPA/G7bVXZa2NN6KuUcqjvQYflwlTNLD
k8l+sBua1sXgpJt0zDAd0H/GoEETq8leuCScM97g9nHekTATAG8AZ53h9mdeGhyBha/cRiHgKnCn
fm/m1MKkHWNNYltFZjd8G63FevR7C5pGmWLf4b9Zq15S5kgp5FdTL3u/Hu6QnF00Ow4xwrs/1PKp
2haWTEmq6+MC5BsDHrTOsOacYNlmdeiIHNzYtntO54ogCiOgByjbf6qgdTxOhz3NJDUvyw3jcwpK
59CH/r1SEMfl/B2jh/cUxXhzJVxhmDvOH9G8zudhzSKyybu3PhWyvx1LxClslqEx/hWh8QDfWOTT
e3lV1wUg9YfK94qdhy371dSa50gMf9LEkRBJajGKoQ7MQ/6bVnA/fSz5CBL4bz6Gh87tPdby8r6J
SAiiw7MJ2hQcQ2/UkODlotoH7stolk+OqsMgLBCjFMlVH/ZLXIT3TGdjPAUWRpnYS4+ZrZ38l8VL
NcDsU/s51SOWls5gZlumVgoySntzhv41zszw7Hc9MDAngZmt6gw75UzNWSO8cCLDv5cYN/Vg9G1I
FzgjPDQVy2fF/+9mZ954jnrxOfezQ4Idx29LzPlv0OdOkxN3EDNBMXBkACMVCJD9vDg1lvkHMVN/
//W+eom5963QUmAiUjqlHux0+TaXtra+Fbqdta068qnEWGQkWhfZwRYdXfJRc+IjMABU/3Q8I68E
4k7BoUZs0U9i7+/y2KeXpSo/qnrnaqcOjVLIjKL8bpEAdpT9ttF1OlDmtuTK8WwEB3Gm+MRsjfmM
QAw0Mk034GqNIVMU/S8zT7lsSkOczHn+vp571aZd2la5E2J+L02v/kXGoyp6jMomPmKZYaDLQ30b
AddwW4BeZIeYBy6/bjXpfx3eksQLD21b3Oplqi5u4V0wqJ+HHgikodEkghfAFG3QiF4cWeax3NHj
aOqs3AVV9Iy6v7npsvFuo9kyUhongy8slhmTfIDC/ezS6Qd7B3aZALauuul0J15uBrkuUJjRwMmi
hqj2S4omj69eat8DwE1p8Ldl/CanOt1zAPkERXp0svxEkyEzyatWx4961EzY2lqkA7o2XwdSOzeq
4hgGtLeg4uhQ9VS9+MPyM+O2cku32zgUpqHv3ID201JTe+iz5hwTL5+vSLF2LtyEexQk3zhpIpYV
MiiTwy/CKWwdJ0ht9VZ3KYv71vlh1+Mol3kiJTyd9rlyMOqj2d2XOib2ziA9nIXtBYE4Y7Eqp0sp
sQo+1ucNx/vvqEUx4g8PswTRZQMYWXB4/p4AnemlHIJ1sIZR4ZwQ0HnGex7voNq5UtFSQhdBKbvY
GobrmYmIE4j7gdbh2aob9tbRM074ysVplfvStDr1M7l6aouKF06BBlDWUwZLF2Zqmj33xfJk9SZG
vwxTX1KYDybd8QujYnwpDoliqeH+amMzxkHHzqUGcWOom5fOzi5jY+9XRdNY0cEZYme6L4zG3YUu
6tiKeA5V4MWNv63dqfsWZtmdGVXeMRireacKdM6f29HCgs719ekb060orOWTtm/5qxXW347B20VN
MZB0WHfV5JYbjWiwTRuPv4NeMm7M6qmmXX9TgsMQbDNyim56TAyS3NUAYCoAExkIJne2BVs16spT
yMWnzC8+xo872ATQOyx3BM+dWAchnxU697CSjGdobLd94AWnycnip8KlkyUPTSi7XxUrqWF8UThF
dgEv52z0NLYJdnKyc9zY1SmrPGJ/GqJU1wYNZca2NGwCcEo9P6h1f05QbOPhsSEECJ0FKXF3eov3
1I8RDogcWCbh1Y/sPRH+bH24U34sVI7ozGIo8rbvHeEYR7+GRF9QvY/tcQ4HFn/P7P+wJjx4VYlY
LCqKfa5B4vxaBJCeIntZlnBXYubZ+yRjnGILUjyWhPljpvdmO3iO0GaY+5Sr9VYETbVxBlreXKfJ
WR+sbhMibjuZ2IuYKUkM7oi4vKZ4pjaPOFUAGFLyudIV7WUVws5o5vuO8DGaR/ZzyxGEE2L3scys
CVs9RHreQPg/crVyptEiGh8od66ZDACMyI27unXGBGMiq0u+skJYVa5Huj1mosfSaqNfczf4G6xk
3V1QLrfVmS7yD0AX+GnJNPonzW5S8yFvyCKcvPnOTAmBs5RgShun+kVLLBM1XtM/rmhd1bswEJU3
eJmP1pD3NPWN7AU791NZGGQvNeZLb3cUQ9I6MQJZTiTPhvOKzp1b8ruol/JBPevBVO1jDY1dVBjp
k1ZY/obfIPnMu19mW0cXNg8EFRLHPmdhevWavsG+IRVdxON8c9AL72NLF+vHaxViu366dRBO9yK8
rwfGE0lZjYDDEaoYw4RasUzeikgHlwHxxhADmhI5jlDESTSHFJ+CLCJp2G8ixs9xNXmrFpJZcHk3
FN139V0aRi3DoBE+bjzu/5Ngd8bzIOmG/uKOuwTBN5cbTmj2xe36no0esUGK8uAC0VCA+OxMmzU8
DFUVvY6ZlW/mMPlDRl78OvQ63Wcd4f6+FtHHevwjwjfc8/862WVq4D9iRjyIEUePOl1p7hVrC4jN
kVgeb+BO3yZ6faw60vZax4TvSOrqK9BVotVDLIhFnFyjngwzE+suw5R6vhDD8ICeamEKBQ77n6u6
J6J1qQLrjnYFHmOb9r7fpf90xKmRHls52xQ41XYO8V9b1S5be2bQuQCAMEY28RD2msg3XZN0BA3y
oCV5eEXEd3Kl1ky9tSTLJ1AEA2lW+qC2M6atyaN6lUGSXcduqHzGda5ZCcHgWUZgKKNHXTINLbK5
5DbAOuj0dFOTNtSf1ThJd8UfK9LiUxOW7n2WCxPDF79o7g4vgYfY3By++akV3CttLEtC8JAN43tV
4bbF5BtsVj0b3SPn2mrXMKyWVVD9ryUfLP2lRC1Bj3LJfneVcWT0ld20Keyvw+A8T6Sr/LGh5ITd
8ModjkyiHn5ALiqOywihK0qLo9ZMbAp8uxtzNNOnuXJnsrTck9pe1cMYJyhqKlyfaflz7oxmo8oI
BEeoLpWeOuEqU6JUPcMOT96uP26bDu2dkjvwHTI/pfTbRLEBRUw2OdWD+hINgx5gpRs1eXH4qYfY
ADijOApZjyZOAXXVgzkF2NGT8sdopzBXpbTGQ0RxH2GA8hDN7jQ9x+qUxHD/tTg+TAXdIWXYhVJH
zok6int6Uu/o0cXpfLdO2mgRExeDzLqECLQKQaIuwzsMaJ5TlURvSyy5evCIt4JiTjtwqLq/QpJ+
kijRSGib50MgST/l0v2OrJ1TOi3ODsT7DkDjvcdeCHLNj/Z+TUco78B5wEzkB20C7xo7ZM91VcFR
XqTxr6Vd3uqjSNvsZ9m3vxlCVD+XsLrvgz9KWzJ2cXax81iCBgPjmniC84wWYCJeBT7VXOwsPCoX
oeXOTXtTEgX1oCQtBJ4ibvWIvivB6+6SWfhPNOuxGpPzjSWMvR1V9AtRlQs7xcztXgaXcspiUq71
K9kq9rc6E79HVzxYsd9dddrY53iZPpXcXJ3XIuLSNiZahrMSjbRW6WKq6YddA6te6ZcQLITHBKjS
JvZE8ksQNIukV0Js4IzVGdIIp9+lLkmWlrZcxyS1HsWgLxhx8t8oFZ1LKfKbcnUs+bNqIKeM9fTw
ncV1PrbyXGd47IqVlRdrH9MISapJHXriqj8QoJlBPiBdqlMBioq1t4X0s1PVvpVW+rE80s6fX0zT
A4cWe899Ppz6KhDPRm2Ed2Mf5dCQynhvBXPDxUUESD5yihPz+BOxP5gZrf45peKSjDVoBTmxL2fH
IA6SCl8VTQXd2g0q+g7xFHFRq67MrPxnNZexbYw3EIIYzjrVxkDtfRX9kuEFl4qcFmdFkdr2taJT
cvSTGqeKGqQIvbuY3UCPF0wGGVFZfCrG2t3SMjKIK5ucu2khjwyzA7CBnGWrnhHeo6CTQUBz8rQw
ZMPp3XrnVgZt1AHm9o16KmTQTD7YdHJy4ok2ep78YmOh10NsUROSKsTSoH2z7Z6j+0hvUb2MfT5h
jyhFV9biVAxox6/qF0To9JmFc7IfUHut1jtb0uXWjijZ1cNudIi58vT5IQxt+RtFSUgYMtAxVVtk
BnDquUbbB4VMYg+F1oKANCPrgIY33at6tCMqNQRdtAlor5/U5VhONFvWv2XxGmPvk5crO9SJloZP
xoIE2nXd3zkZEk+RtrTSuhHsSNoL9kObLnzuFnq/unqYsxKrjL2cYsRfpzbQS7B+BF4JE8VZMOAi
VA8+utj12dd7nvzTdMSUUUGS2n39AfiqEzmNl26aS7wC7vOotANxRh0gX6r1GCgmnp7MZXHEOn8P
tK/08ZOz1De+9XOwCu3ZgBu1KQydYaOTP0KWAgGaU6torkOtOuE/LmXmT5HoCDHi+m2R51fESrrE
jyLUly8NDguNnzR0c+uZjjKhO9BDt6InTcFcqt+U4+NB5G36DaVcChQxBTpQmhqDLZDi82E8uXNT
f6ZS42Kgo9mg3zxAinO+Fyb8RNXU8fq8OSwZIpVqtlHUUlmcoq5b3jLctL+HrqOVEgZYWzE6JZHR
Pi9DzFAZNPqdiTJ+G5mM1QMyEDBkuSgiKa5u9XSnOoXAqc1rmbvfVDszbNvPMvQ8mUbF9KwawsfS
ZysbGk4W9tR453zOCTGifxf5AsjD4kyPkCHruzZOs41mQaGnFfOU5ny84G/ORmduGKoNPxwdZHY4
NwPKWQB3agWhYLSuIVqhpx6e4qbpO5+DNGNQtTR1JaOqLI2ev2Y81ciWM2rpdBBuOt2cCMXPYKar
oEkmqDzoUEjtbuqRLQfTcem9t9rX+uNq+8PjfhsQ8D6MdnXJqiZ8UQ/gdZ6RHkf36pUGSwDcJCCk
Lki0lxrcyj9Vp5sk/cboPO+pwvquZUH1I8dj8+9eLMGGtsR11WxTYkT7yKWjkZck952GAWTig+Iy
AObtMrx9H1MNsrEj1DrvvcP/4BaaDiHmKh4Dq/CRgPd6NQkCbm19/rcq5aS8fukZ1DM6AXUZXB2H
mBU9gVwv+rh5aQ0Ye82MKKepzfolCbAiV4H2qvu2/5zDkpR6uLomw9HGRLO2hRF8toeB6nRHAJkk
ynbGcYmT09KawYfQwCJy3C42ldmMAD+lo7OJ4+XQ1GgSiCvEXq3XHkZu3TjlRdFzYgoLBtpFdAz6
YLr3aVCi/o6psyRufilk1BY5WJk9dssm5l7cWE2bHYsIwW1ObYxASNqNaN2NaC2ieQMaunpAykJN
CdxYAY8njylw3+L4QmlaFtv5t10183MWTs8E17ysQraeNOCqHp8BOBCRNjKiJpH52aXR9aR19K7W
3nxqd6RMh0530UXxzdR8OiuOV2zzEb2blwsbTJVon2AjC0hkGiGsfpeTocXfd4285qczN8VRvdID
nQ5OntGBVa8HghN3PbTMLT26+ar+2MZW7khZ/Hz1Fs85xsw2kzw/VbF9GpYzEZHgpY3A9A9L2KQ7
VTb3rbaLCucA2huuljmLXQRe9pwGRD3N1oM3MPbgxJvVlx7Pmzodq2n314N6b4SOAJq7eVbvl3JS
0FaLdme2nLuynhFL7Q/pvrWZBGyi3sXWH0A7XV/nyfh7atO/YUFa21oR8VO+ul5v3kWl29wVdR1d
SfbgPNNXNg5xK961Vv+N5c58cdz0o8F/tsmxzV2VIN+yUNYn/yEOOhFdLHcBYCstsabjf5bmQkI3
Q4xdFFoQdikSX9fidKi4SpfQPepuDvAbV/adFVrtfYY5ZAeUKCKeSe/JWBTObkHWeon7jODdlCzU
tfEhtIYDu5m6G7by330w/JjrLN07VhgArO3uBVFeL94S+8dRJ2OAEOA7YRjuO0Ee58TOrdsIjuXL
yKJrcKWn/HmUWR4LIz3+qe4ZOeJDUTVFmGBl9TFMOdLoGWigSE0DOYbSFQnC6KbY2tpZRSCG772z
ZWorU/BLn4P4mG2iX3JkDPKu8XrSVmwB39X16k9ocJQ/traYWwUsWv+dDqQhZrJqP9YgsRkoWO+W
F+GzEN6h8y3rIauvUB82MNwTimOS1brNYFX9dX2qw6TcGGfhc+JaFQCmm4d8r3LSq+MGV/PWcNC8
O9oxIGJpIHqWFhwCn06OCkkJoOmd2jR215euzEyBZYvjG6vu3suTH1mHNvJoQeI5KWgkglZ66irH
xamtF1+btesEreEZ/sOvRhkfZKo5doazNw3bVYQKh38h3hcRHmMG1E8EulWHROc8xGiVKqWboq0y
mZmWwDOkniaVtusJ97qfB9Dj4M2BmCpxcfixNqyahigRmD8P4TQA0LFF+Yy0rbynZ3hWrxb5ViK4
2kRYXkpn+BOxB3c2LT95squ8KtvUxmTy47hMKyuyUPIhcqBs4dcg1EQ9hD7WcWKsnP3Xe/SkU9Ip
8IYMvlPuegRip5YewX49h9WCqeLoINWsDdBTZfqhHH1jnbnb1gPfXSAUuhX5gqMBSfFbgfgjcaPH
yXhYd1F0IsfUTKf7ZeqZutd5dp8mAOf5mO6MufMPxbLkdw5qv7NF4rPy0SKLIJ8RwDy0E7k2z4kW
HwnIZlJqB/5DYCHAjALBhSn9rEUGfyRwQvvOXhyWab2lCSD1rpHQlp2TEgDHlfFph2SRqKsI6c8l
61t3X4YTObTSM2yUMoPbzXrczimy38IM7kyDA5rd/B9h57UkN5Jl219p6+cLu9BibPo+hJYZIpNM
Jl9gFFXQWuPrZ7mDM3Wr2qzmocIygmSShQTcj5+z99peQ2Zrom4FHpXWmIYuSXxVzOYlzkptm5ZQ
M+hN63fEv2AJgTWuJmazH1Ge3TNn3MvnqogmHSWyUNepPicFZB5sl3BhYmV4M+xMfUQBvSdu5VlL
vhJI6WzCyQZDb/yUgmpEXLuuwoRXGoEBH00QFkZzuMcOlhMJ5PY8jLqxckkbnM/LM8oPo1vJSt8n
hvpsT2RhV2NGcja92N6Kou/x2KICTXbkUtwCICD7RZ5fp5jK8uFldGvvyiC/eAFU+wL4s7grNLy3
f3ylDC0CehOC1SJr8XTmtF5XEQJeGup+tMkWlaKuSkfHuyxQaSoy6O3QuridA+fSM+zTxKnpbqFL
YyJjPWOvaO+0hNu7DyjkmLLWrRyKPanocIB3HdDbONu8aMel2KOhCUZ49iJiXlQiei3rJ/g4dpyh
8++dUbwpcWVxoM+mQ6HOXwAbVLsKoRYJunmwdX2WFEUDQiFNYX6TIYzzIKeUWb4LUhzxZPa9eHP8
HgyR8sDYnO3DUp1eDA3aMBaC7w621xUCZ25WnBr4JVnOeizMU3hXq+QnGxVCBWuy3kCuD2uavykM
bcV6G1bGN7vIP8mhvKW67Z610t+3VcNKCV/8kDFF2i0dHmTozG5S7wBvc/zQIvO1scsyIVcVfUoV
0RhE/57kM3lK2qhsoRyOZ6DVcH3m5pYFX2nG1Hs5UfD0V/xi0NF0zh2yveuQGNOaPVO1ujeuNfUK
Oa48nmcdOUD162gTOMHvuZtltwKjnz1oBBxi8MIzbQ7RYhJxeUS9OthlnWddW9AIj9KENgkD+POy
nEQBCSfCRiFv6qFCNMDQqjpULgGFKFYN/ng4nIktydaJyDAYOF6RpTw9S0NhViImkBqT8VPLNSRM
htM4Q4h079lNgh/Ga8/RUCFv6B1a6TOMJm6AeD9Ae0QHSqxyKALtOViFCnnQXX0PIuXDFYqbnMHY
zpmD8pDEGSfrYe7P8ghWfS/BkK09sRKz7livSoJsRatNj9yTiiznWWdeaXf1Wk8xzDTF3GH2TfEc
u+3QXBk1N1CKcloHxlG+kR9zGtR2VQ/kzxF9Dzmy1zQF+S02YflRZFSPccbgNJIecWx9KBG2dc5z
2JN2iXJ2EArAP150QGUrRm/Z3jSFnAdqxVG27DKwYLumGox1QKjECmkY+WV+6d8oy7pL2GY7xuIa
2aS6tbF8EkNV0QBLRP5EC04V4SoogX4m5JRErN2iNjY1RFCT+1W1o+Gw7Nbk9mDO9W9WqEI65Jy8
kX87MTloDeRTJVtEioXqTWIMcp1gn6qdNFigxVvRVUPA9SWxWfpCfxkj6jhYa/ZsUu4HQFw9IkY5
Y+DQ6g3V/m8sjQkGAgeMjpndessLlll5c9HaEmRhhI3EJk1rVun0YY7uk26F8iZqS0rSVSkYNsSJ
lvRT+X9X+rG8ya+qGeGROezbRKsXb480+LSQO2BrV18W7CtFeUzRX05f9ARNGS2PHYhB7R5AuFjx
J6cfIUbMpU/PD6Uaw9dy7pQdSZgrrOGzYvD8MtN5DYKecnq8YH4YH22g+VirZ+75QoRmE4ckL5nn
knknYRzMpMl0hIsC57MP9qPwgjp4Wo6sCpRLk5+tBG/ipFK892mjvCzVxkh7ccRn0bcEfUoxnnzR
4NPv4GHhhmlU+9QpGiiAyQ4/qrpEDFB5v0TmWRPWtyxVpw1oOWdLq/iIZhhGXwf8ADhAytFFIfBE
fOR4Uce8QQzjlNHo70XGw4ECNzqCHII+Qpu9DElOpo91lZ330AJ+sNxekWJPAlScb+ZRtUlhhWJA
qwrMgkdr+0qqswjwosivT7bd/770wjTF9HbpBVqNugJ5CufV7+LfrLzWV23rmi+4IM0Xwy+JbRuJ
RZQmR8dMvydaG6P7HHyO/sN3DTLwMyciJVhhxZmQyNI/ziuyGLRohnFTILjXOvxI0sVmKP0vQzAj
NPhXhveLP+X3bC9AoNaye0swKtUY0tq9ZMJNtu3RnssLerGs2IaFo0vN+3wvZ+XUW0At5ROjUDct
3yERcU99xdDGxaPM2UV375oCflGqdyT/Fsbjp1B071VyUBZ2SlYjDRxdQtbqfnqrDEcQEhOXVDh5
ThAa3Wk2UEXJqf5E2/4lninfBgjAReHe5PzErpGcRnaMEELMVCKnf+Ycvs5a6+r7yjP1FR9Hm5hy
PdnFZPyuM097MyrLv7ZGl70Rrgh43BuePbw03CbM8KWMa+aYRWrQfG/iluKyycaDr07xS5CYT7kc
6i6uCrok4G5EjdMpKpml5O1ufA7oV1IDO565B7WfswtLWzunOHTOdAkwq8irh0fpoIsYJY9DAwuE
BgW11M+uUpUrJIO1iLZj0l8M38aGQHgel7tsETeAgXFlAqCplG0yWgVWg7o6RVpPXU08AwFJPahA
tzGeY5AOSL/6qxPi9PVNHVP1kGFgWVSmXjHeiApQAs256z7CiY5Q91MUF9DC+/RFdeD31LoxM4Me
i42i/K4g/CIGzvq+rBgtlCTxU092bVcGF86bhykwg+NgMQiTKRqkiveLgisRKhWusLnEL/vKj47Z
/qe6dq7InrtH4M7qp8r77NNHOi4/f6K+/f3S1u2H9CDXXQ1Q55lo5HBTO469kWuvDPjuy+EsG0E2
vtVVP3wUehruvMhuTrMawCEB17dWaPo/IR+BQslyZyPfeiPp7IzMK65lDMBa/CzlsREuybTPKIqu
6brEP/uBXjg6lmhwtpZvZK/qPIPR8XQCPCx3IwcNGIGPKKixG5c53CbI8GtbOLPr2RyPknGmzSog
n6R+60YbqsbIEC9y6/e50ozrRBWEFPTFQgeyh6Q8ruRb+aKYwPdixBB6Ok1HB9zVPqzcaQeGF4RG
NWWrotTinzbHwWBqhw+V9COmGLd8IkZ6FIVqL14cOx5Petm/R6KAnfPQv/T4N6z/MUxJ/5TpRMwq
ETVGZZ4+GF58k+0+bW4FuN270CS0D7k6OIeIMeEuL8j9riecJZEzPx2jZJ8BSyIdRnbp3CKNM+7s
cQyWvXXVHInulPtem9DjtCe4n23FLgHlYxV80Gf17JUdqpHIX4H1h7LyPRvBlVWQs3d6hCCfUNDA
tM2Xgn7GrqFjLZTM5TqqlUtBf/xn1xWvY+gBGSsj6P8mETeZDocqwnMQ+Xn50oYBLS3DtS+ervtP
CJhPkqOyH9pcvEebZZZPaAyOzOLDQzr/QLlnvOiRPa1Kkfs2q1a/BpPzNQ6maiOn9K6Cfb41gmfb
cOOl2vwNU2G5GUOXoNYx1TfLlqxrkb+Vk8mkJ6Gii9B1iTmlNxnjDXrsqiaJZ10JRx354NmxlW+D
8d0I6RJPYn1KASBjge2UfWDGMK+9+iitvwk+31WVefOLMpdbMpA/sgKXKGlBX2eUz1EbPdWuvwGs
0ZH5UXjYjG1FCFVwzRqmjSRuNzsZrNAbCankQQZsygPez6xEO4ddXB4cszj3dqAfzQofrKB+VSmQ
J1JZ9JM1zSvbNo3fk7h+SI0snBC4lrnjHXPHBuWV6uoNYzY5c9hIE9bag4x6yWuA522YqzvkxdrK
IBB1pUntAMnt5b5wAjIRy4rtfpq3ddPbuyEyNrJOrkwa1CDLLdRLdMrA4X7yoG2sbCWrmO50VCYB
EiyAVXDFAmsiKy+h9W/xuUUX0661+jE0kHQaK4agAz57Q9ZVezSo1OMkQRuS0QwuLFrtnpI9PEMh
tctwGf2qISmNDll3utBWj31P7Lt4O/l+QgAYxQ6th7o+1nFRbKzIRiDvvtVRShdRQ5MnkluVzkU3
UfohAxMn/G4T6FH6wIC7lo65dAtbRAmtC7z/wglqmH7xJAcU7XwA4FIjhO09pZg+qD79I4Rgwbsd
UkkKRmfQwB3NJzKzRhtMKdzY+JCYFn4eiJHKui86jX2KM3MZtUdx9xdxwtRnMrSXVKkJqwswxsfB
4O0gKbe7SSl/Dpr54vckH8HTwArkQ75caQ7ZMLmDKSHrR0qvDkpb/Vo3rbtZZo0LcBGHVYqce8xP
IGymnemUT2UwI/5Fc0zvOWzXyUTeh80/eGNiDNn21TjzFKIa8QiV3SzbjaPl5Se39i+5xbzITmeo
FALYitk8XJlzonyEWbGLZ9N5Ay40Hv0REVxncg9ork7MbizakPFr3TnGEf/WvhH6Xtf0QVkWRrip
VM4HNHDIh0LUcw3x7p6CIPsicUNjzu+onZwsVCELqSaLbsDIQsYydFFrCCI9RcdCQ06dNtnlnkdC
pq0i3xs++ZYpZm1ddcNykn1NwF/IEW1oxtNOkgxVBmLAzJDl215JK16PcJdoZbf2bL6/4OJgdVvN
ZKF4OXQyOZ9uqro/ZakpDjBjfSr6Mt7l1Uxvv8iQ8KKTtpF73WlnpxdOWd8kcQndqLmyo5paNDcG
4iSH72Gc7ec5dq81oJhzX3ALTerQPc0K5hE0QP/QRORV9mngr+RTZoWBsW6tqFyphf2OL9D+SSl3
VJT5G5N61BYElB/rynC3uQBIK0myser5WloqYUHuqB9DRMrrysl+681e/4T4BLtKzUS0D4iRs+uU
4lEI1LOcJR5D/tdFydh3HKTIjrg17Xhdhp5oRLutP3qbJvPDUx5N3RoxxU6unlmqf3fm8KUYGusN
plq+bwE2b+TbuBvA2oIfWrUu8xcvdrkeAksiR574NwPg5iaHOSuK9/rIALGoAxMYTNieaSiSDkSi
6yMwsnM+KEhJxLuobAv+h0mpBF1n6KqIFxQYF9cfXuzCQfjlWa+TEagPaUtLFE67UTxnPxSk3z1A
D5LfrzKSFtzufGV2jq2cR8NNu+aT/KoZzfkezqxdpjN1KyVvlXVk/4iNOdjb9lSSkiVm9lNOwrss
ZJmpy+iqFoTPAXgb4W+o7bd60pCmbOo0Uhpn2AZJ6xw8LZ5fEcg+jXAYXwY9xaOSmSeH4fi1VF2N
wkjM8kYc94clppn5RlSsuFtRvJGat9FHiPI+t8o+pI8zxCFhUuLGRT5Z0mIjAFaxMCKIOUveEAwX
9F1yRkuA01u3Lo7q3QKMLfcgnismbAbMbgu6iLxLY7IutpzlP1XkCZzSFI0wOcTN1VGNN55Jxibt
8J2EP+1Zhmj9kcvaxCWDAYDvGPEzGGtV/QTioNtK7QL8kmBntPmwiYrSvfrUzxCQ+vjskK8VNwzC
5b5QKv7JmoG+BgMmaofAsXWeGncDHvqXzjmr4QB3ApjKyY+q75mgJA6oLa3+xFyuh8L34joD51xD
17m7Z2Xj0KbdLZLFum7YGPv4mDSQscUXgVowNpmGO3WcSQVtkqDYOS/JCG+7rbyXAlfhRglHiu2S
Ed8Zpx0DBg4Eq0ZSixS3omU5j5siJbNHupCgj7WAb9wLQFIRe4xXSWoEq5oZg+z/KVqWnUxbDVeO
os6ftCYlFFK5qt3NtfviVNHleCkmpPdAMtaxng+f5FcozpDIjACJEk2LLkM9PhadjBKr2SXPQgw2
qhvfFCXfB63Rs77myU3MedRZkHwmx652KSagda9kqCrLTW3lww+3CAn+8AULvRl54NzxEc+Yl3wj
sNe06ZJ9VE3+K3CA7TKq9FGc9/01qbTug6VU2TPGSWH/ui+ssqi6h7w8QN5gbBkER1nCNiqNIp+9
fh9N3hnsr87EkDGVkdMYpHBUKGtrHAIDYe/ShzoCN6V+0RdmGFTs115vhf5Zu+sJBbzIg1MhZqJT
8fqWYzuAv7IjybRzolcah8nWLDBVdW35Soy38btC74v/ciLUUgbMSmLeFVLGV7prlh9l6KRbF3bx
UTb52XwgmVgQcJyWUtS0qodNxPAmk5MZloCRI29w9+3g8yjoYFCS63UNHnYAK3NsbDKIlErXViUS
Kokwm0SEmGHaDdoBfdNMtb8p+xx5e+c8l4qlACynkBOSIEW+uu5HF/Mt+3qK4FTSlZw7wAxsqNEq
yjhdOTgHXyfqSEq6+RudIQtPEYkeoul68T0nWjVKNp0qYfkXNcFJbaZvVmnjniPdQrYGhtZpbmnD
gadvTKjzohJ24yJ/gVG8gQhGL9qK9LPizCWCTNTYMQmMPIvza2ub9S1nJLYhCHfeVj0dtKL8sCy0
S5mumZuobdO71bxh1ATrUTUTbjCGEp5ef1IYu+1rknASt0cC3ucXZ1L9U0gK2ko33Zo7A8i4NGzk
btosb+P5GZNpcl/QFXngbTs/RljUaNtOwO/FshD2BUXs5H5Ek9sgqtWGjdJnAXrv+kxnQrmmedc+
Cwclnd0HF/wn6r6fp5+0VNQUy4CYCi2mCVHwJW2encbE8G9DXZ9cY82sKUtWCDybrtW/VVH1uRME
rKofzo2lOa+VX6JWtg/DVDKMF2P6VEv3Po7CdWP01SVx6/LMxNTdEW+gbltoPMgTxubid0O77oUd
VYMLDa5ro015/K7Z2meP8dOPbvSQcIAPzFPrEokuTiBe3InERiXXN0WIhrZ0G/NWh/ytcxJ8hUpk
75fVDrN9u68GyAW0IVJBYYyfFABZ16iHDH0CnnKau04WGZ9Mgh5WKMYvvaDvOSWNRnnnOcb77OQP
300ryOeij4HZko56VkIwEA6xoFatU+QoL4n2iTaGc5egiUHFotJk1EOjUjd7uonI6eSYXM2gXvf5
moyWZJ8ITUr8m4NTfDf2WIKXv8KOiNQa55wWqgjr6XOzOyR+/UUCxnoawtBY83FbDkaFSLMHSmaX
SN8Eo66KQhWuknFAH1g/FNi0W6VsJjRAQHcXXlWRIlOv0jPW+u4Q1ABJPLN+R46OpA7jPcjNjk5D
NbBpmWZyaCzvc9Blv0nbmaYbJDO4hUUDyqPFHyAiDfVn5ROt7Cgo1JlUdUBF0cG5Fmkafpnk11Rz
33XF/i7VlXXm7irUfxViuGPFJIRWs+Xd5DqBWrbdoFDLmKzktI/RjLCW5m+GSRJ1XDGcFofHGXHG
wlVM7aCk3wYvqlVwX6AfkVbYYRCRcxmCorptv8HqI/mPtPsFd4TqhJEDFtbMGJlCiiOoeNGUcG3z
LH72TWeVXoNGc745Cjtol9TIAPG0r3QcqcYqDVi4VB0ebBUa05e61d5n/nW5ghFN2+Gima9LK9qx
3ODJLZL9YpwzL3cFJsf8riI35TAjDKl646wDIg6vel0xyTW6ixpp+wqnT4s0UY8YczXeOqRaHKcv
mjUaq3/+4//+v//8Mf5H8FsBvW8KivwfeQfIL8rb5l//NNV//qNcPj7+/Nc/sTbplmE6rmF50LWo
g01+/ce3Z5QH/G7t/yQjiL6oBxayxAr3XvWwAmNYeUKnAE7yOMYTjJoKz4bcYyLaLZM+xGcZoGxe
BwC2JPpE35vZ/+IQGLuz0rA9incuGWtrXInA6xkk4PdpU20dMKxZcfZhmxXYIL0rSC/uyNSOx46S
QI/IpfPH11CcS+cppSokFA2o2held9vTwHAZZITtXwIvqE+OWzz+l+vh/uV6ePhDLUe1LJMDjqrZ
f7kesQsZwHZByvH0efapwZQoZTp/UfPkE78lVrpppQPTkj9BpojjVb4YmNZXDo/EVro0BsjyG0/J
b54IxZpxbJGcEJKclAQ7P0o4aQjy4LIPGnP7lFUu9uVN1pjO1dOim0YYz7mlhF/lHqbVcKbi8Cc4
c72dfFZ9bLJuOWDhdJOHNkbVRxsilLZQyhHxhkOrMHXz0dmY0WyOX/LdZJO29/eXTte9v1w7S1Nt
V3ewgNkIp0zD+fO9lBdurjhFjqIjMX9IN4btwlSxMfftglK1mE1DZqftFmPFSm6yfzGhY1stRSHh
INj3xNnYcCr3wN9yaYVYWn6URIW5zzwjXVm5SkGAusHV1DdNFPp0BWBrO94udyrr0bdR+0SjH9G/
EWIAw6ChKKP+EBxbZJxb71qBq8xgGL+vYk5SEAVB0DYlBueifdqQZSDQuuGlqGl8ZVM8X53AXrUZ
awwCkAHjc0XiIdSAO9aGJ95Ej8mS9+hhtH5Ks9rCgCaqKqckVClJqnQlKUttQgIUTtLJGed1RV/1
Mge+9vRn+yUm7jygXfcjVAaUS+VA60X80zkfUIdM5nbpacjW2dhUJXXx71ipvM/zyDh3qUkV1I9M
Mrv6NA1WeOLEuCvBpMrCprHxojgeqy6C18/LnTaRsXOoi94/EzrpcwJpUTpapX4wS10F8xnfKLHV
B27Ru3Sekvz2sui+ZisKIJyw9E+cN84G9UlE6MgTtsdBHtvkS5WR0SSPheJ7yW+hRAp+M7sGNVzn
L71b/rTZJLa+MTsvy+AyZgS1V82ZZnLvqDDuOW22tvaWAGaiQK3BnEo9Lclgq5EMdQDCzibjlLSX
e0sXYhrItexEADGBBIsB1wvOFcjiHSLYdKOx69yUqS/OWvQZ86QF86sxtguDJJxmF+wipm65W6au
tUk0Rz/FAoycdonOcpVZUJmw99hmBfppngZateMQCaLoPkx8+6c2cyIcdFa7vvsS6mIMqk76vWQ1
2SWRX+4Xk2ZiBW8Z/K9W2GMYH+sco2i0NjeHTROSwUsNC3glZIhLb8e0RQ/Cqz5bNLblipTX8QjJ
Yngsz9HAwS2KB0T+nIBpTTjODty/v+b06uyt0phPy44jb6IAy9m+W6Ty8Fg56xKVq6AAlZs8Iav4
n6YtrYueVnzJXuTYGMAVBmsHU6vqHalIAyx27IMhT9tWnpU11Zpw3kMbMGi6tTKjjFL/vS9h98pa
ypi0z50zuS80Oo1P4KY+J3Sa+LcKbmGutflaArfkC8M+csnrqdj//SplikXoTxueprLdqa6NIMoz
XE//8yJl6kSV1ubob+xMazcoYIodNXi8kyuJkiPglW/lRXX06qVLk0OBpveijAOS4bH65rvgy1fy
s5GrI3DBBnbFOYkuhFPh6G9UIi+FN6EPEFS19YyfRknR04q3NqGb67StlE1gf6/yFFGbz7C0cLaC
9v21G+dzltTGbapCvK11i1kLjmmZtKyKMK7rZvDWaE9UApsnGASKk+kw4YE5Rm5Ij9ehTe9TkGz/
/rKx/f37daNCYF03HJ0Jhy1+/f8rFNzQHnOLdhGJlQ2lr2I416hS1K0ztuE6tK3qGtRAk2l2gn3T
P+wcyEaWNJAJa3dDx5MENQYePPWQBhlpxJulyPGL1l4NDcYOZWytY0/yoApkgIOp5//2y7Sn5Oor
ArGEu9DUXoMiAtEzdcZhVguU54V3z8zswpxPvw+MVJUhzPF5O2i9GX4VUYsbIgzQPmhNs+n9BM+d
mF2boCdOgVGiERZ7iBaEZ1WZ/bv8wYt3ZoNwTJ+P6NuTu0URfcZu94x7z7jLF610fsZCHhg7JhW5
Nqkf8tmij3XvPNe9jkVv7+XwcGSN3Mj/fXlF5EtIgkkWhWisOoC2yCTnr539hS4OFa2N20teYU1c
ZgWf7Gmo3TPl/peKHtrDLtN6X2SpdfDot7/O6OKK8M7FVp/yBWLYuPbjDNd6UbHFsA+oXR3dUm96
oCPVz6PbsRNPDTEKbBAWSS+Fz95mfu9KerkwPWBoFERMm5k6nZLcevMtq3j13LR8Ncw+R5mWBmf5
Ga2b6ESvbiaHiV/toPJA50OPRQDrZxrPNUJzUUipJXb9RQkXVRDZFE35CAKkD/KcoiZtC/hDIH20
UIOIyfGKmremY1hXN9k8sufyxM31IifIfRV1N4OBhOoRkuEAhE9IWTyiaUPNM1fKXdqxl7ICfRUS
BA55m8GwonuHB+XgzcVtQEhPLOX8kFIG8FX9TfbOo8wmgWpC0+k6Cq2S0AjvXhT+ekl87VRVc3Sx
JiGRjZPxAM0Yk2kxop832CJkirifdPAT3eIgb67ZDb/VinId4sx7qvil0OzB8RCjtqazcPx5vbUq
O6M7K2MgjPHIRuB8Z3dF+8xvbx4tUSLrAgbfti1i+2xz6emX//dX8rOWU/4OD+P78ouNAYXKzDcq
qXLI2TgzE17YHZVp5Ocza+YztX7Igl7165QWfvwjDT2fA1bMII+ntrS/u+gJsKBEwS20iwYXdxP3
Jyuos93cDPHG8oxsNzUE+SganO4WNCpgmUiEVSbFXrpcJuO95OA0VJ+LuUdTzgN5j93gNY5DZyV3
SzpzqakxUrJ+OmXrHFXDBnVFIc1q5u6sPutOBAp3fE8hd0bh9K0sOfHHAvUo2eeOOvzWzUyzkaEd
OrBHb02qbt2wNB5RWtxjkX/o+BXIe9eZN2LQ8FID7X/xg+nk2YOJUMbiI/G5aabWjjZJfG7twTq0
c45tDN3iYDX6vR3H7OigWN+UFhkfFCTZ21BhR1JreLsFQMVfOLOmDGFWWE39mPou2PUaUKi0say3
0kuBQlNDdm3tLVPAUPe6jQMjTB7dDafPKFCQasaJGp8Sci1WUtAjvwJ3r5/0nEcZIziFJbLyHv13
TEdinhV9X9d1sp3VGcNc4TnTus7S4JMbKI+y+CHHqH94/PVSn+HOIIv/H8Eh1mdNpwnMGsAINQQ0
qzrNjlTH22iW2U/xReGXjE1ljlkMkXhT5X63HQsmYmPbYdqwiochrGq5OUZ7LUdXNxSu/6iZGz3a
EkgPf6aOVP3iR8N8pp9S7QLI+3Toicmasmhi1az1S6LYpF066uKYi2wzPrix9ZSIyNnpwxVMyGpl
qtl8GrzBPop/mo/XY5005Ln/8RJa0NRsouV38rM+0fZM6S7GaDQH2wY6Q/jU9AWGhiDjNfGt1ir7
VbfHY1855ctkj/66szvgEx+DAUOhT6MELa5Vnby60vYobPy75X6Pow/q7mhdVHP3efnKxjc6Jdmb
ac3+dqridufVbXNskXOTUE3VLF86Z97jpEZW0eQLisPG4vZLByyDtxyBrLDm1ODYZNh3iyxx2TL2
wrnezwZphkijymMLrAhMIaLa1HaSu0MUJsOyzHyh/4vuOwp2zFT0G/HnylZpEXOrdvmIh958IkBU
J43cbF3hwFOXS/wsjsBfSRkgohmPSecmwBd2bUfJX+iVHYjWCs6NSze2IckdLUQ4b6qRIJWiT16L
WAG3bzlwhCKNfdwHY8FKyqF3LhFdW5PnfKqMLrh0lI6wdex+S7+EY2ldl8e6EaaayBp2+VhRCQg5
W2YMr63MTsXNa5A+ru3buTYfMmHADeroGMEBOJnF8CZF8HrOoWQ5eXid0m3jcCJMpOzNbda52r2E
Cw9sxA0P0OsfMp7Dqqyr4wdvf6QO4aN7TEHTXyQesO+7bI1pod/V3rAN42F4LmNUqxv5NnrsXHWx
UQ9VC2g4Ai3o2ONtUcJhWbR2AKGg3RXfFz2ZrZb2LyEbUrrkVw6alBUt3vLMVL1TKw7CWuCWOwwp
w6pcDjN47RUFIlVlumfZtC276vfwG0W58ktvSo6Mz+Zrttuo1F6hmBYnG5PV2hKeFyNAr+VG+YbS
nTDxqbbWReLVBycP+80SDZ/5ZCSPGBeDbELO9F2ZjeAqX8TQS05Ly5BBv9TimhqcLt8kH61LvkZe
FHxE7eCwLZJ85tAtOMRekj+MqP6iALB72gSZnplSZuxlkbr5X0pU7d8qVB1ivsc5Q3Nsx9WMP1eo
poIGrWqshMNrdBqVhNanQwue5ixzeM7jDUvRmULr+6y643kKjPBqNQQkIRp60SlsHWAPf5j7kKuu
zT5zLy6+6r070uMzRUqtfAFYE1KhG9RKZs7USwI8pzA7l3MJjoYjRnYufD3Zw6nT4ZQJ+btt6D20
cMivE2dKWeyX4eBtQsfvyCPUgm1dmIhCmfKuCeaj0aBuZfu3EbEMnZ71lxAJrypUvx7OP2qjyeF2
Y2rw9xfS/GsPzNJ0VhROtvQEXUd17D9fyBZlq6UGRbqdWv+p9PQsKgBAALf4Kmq631ItoHMiPpK/
aHm1sUMbyTBvmLXzHy8NwP1jYvk85WKyA3SXBxyFRhf6L5L5Ll+sjEpLjdJ1hznyhBVbuZLqYuwb
DZWoZhG/bZW7xvdTatW8Nun/eNSkQLiObsetLp3cnR9Y26pJmy1TpiNbpfpAaO5u7Db2HkmZmxtO
l9kz7/C9DE7bPwdSsTbajOjn76+d9W83IZ44x6SD6Lgm+G33L8ckzOeNnlcBQZ749VYqATMrySgL
MIcwmqs+FC1Ut6aKPsO0U/YGBtTbuGXhcEkf2AEGSG80Z9MbPbD0lsDb3vrYqSD88VZ+ppVBt5U7
BMZPcyNVVCRwkg+f1+cMEZRSw0FsQpQkVjht4jFCJhVG/TbQKprKQlnrt5b+a5Q5RH23bmc93fSe
F+9qYAq7RSaaNRn9Q4OlOWtUEyxNkG+BXFkQgyBI1VqxDifS6SR1G7JptpWnn7+/nJr212MnFheN
g7rqedyOjmb95V6szJJIrC72CWSahvMswCCa7jB2atN1Fpefe4WeS2saJwd+CqcAAcCKBxWyboCb
UrITOLaRL18Res9W8qilNST2sEIIIowVfTUk5s6ldXGBjbOyO/9Z9mN6WNozdhMzuGUaK8XYeWqO
ayT3yc7N++YwcjTjWgsk7qSl0KFsXz3oU6gwVbOm/R+HxaEketEP9LXVxs1Gip+NmuSPLK3cfWrM
b/boZDdpumyG8Q2sXrZzjfoXTYz8whHOU/2rdlDpG27pv2c7JyG/2bG7ZNN0IwAMbyj2nhH5EFf9
t2UPVJL+rUYruyr1IDnIsafZp2gQpRY4H9BVMYUymJ4QsdH18PZkVgJaSeuydCFru/0J8xqKCjO2
JSsrFW8TzbhREtjHMLWbT7WuYhh2xi+NFrRHq01Xyx5ZMAa3c1XRV1bvTqcySe9AY9Uj4wpy4ESg
bo+7YSMxiZrTzceQEpxSQivZqkFUhr11RXryWZ4TO78wdpYYUS7EFM3ujWPPFudJCEPj5+pe88Pv
kZO+d/OEX1Qw5WLj/e9vS0Pedn/qIulicGLTDdF0GwLPX7pIRRsWBXiMbPurde0EXxe1Pa0bRhs6
KnejJC7EHDRnFceeelb74VJZ4GRAPCYbc1C6U2fn0U0niVPlalEO8agHdgrZTi3fx7HNVgPWwNOs
dAIX82u2IFvXigboFhv7yoU7u6wvbRad7NK132OkldtiiPccpNGzqaQVxGNhPJbuX6Ao0ft/EXZe
PW4j3Rb9RQQYimTxVTm1OrgdXwinYc6Zv/4uFv1hZnou7BdBajdsSyKr6pyz99r2PFsHx0PA58qq
+Aw8NtP94LOFVJb/5tJ8AZZRXYK2g4dMzKXOFLWvpHdLquS9kzY+/cT/BR1EgrAxq0rJfwq3rQyu
FtRPa+cQANfn9lVlB2VxWFx9oP5a6CL2tnRR7btkdradZbl39TBbnBIZ1AJfogCgGTSTNTO2ksFv
R/td/6qWOeX1Td3gvdb5j1qaNcTlduFrEjckFZILprQls2G4yEWyPXHnpxSlUsgW9NOS1nuDlPK7
LF1n4+s5TsW57d87RH8f3cSPN/kAGWTrjRNfQ9d+X6W49CbrrZJTTXE53/rR4uArsy+jxIAjsbUe
DL81iIzC5CIyYIJ2mQ/rAH+MXxE6DHd7ED+AWGunGQf2wdPoNY7MbDZdM2rfwFXvskjL7ljgxh0F
x1dL1PIZHtH86LjuvLFQ8J86rnMwfQXxPRogl6Pua4excN8Pg+X8aucbqTm9o1T+hT4IO+Osmbax
YZhrntvBGPeBTTIRXbxHNRJQaluGgvsKvBA0BzNfraHcxh2tODxkQcrgSSAtY3qUHmkzPkWcltmN
G5/J84AcSpUGldfAb8SceatL74cZj9lrGhTFPuAC2xRZO9/5T35KKyO9OvaQXtU/4Ec9IdGZLPDy
jcm1hI4gK5306RJEfioCeETlgtJkTghK07rKKP5AWpN1Ty3vo5JHqFd8CZ9KBkNXb4b74WozgWgk
PpNd05QX9gP6HXGExEp4S5kWfXHhW1mh1FD1ouqezDE8YHfRPgx5JbZTUH1oMoS+pZuis50bcc19
xOGi08GlchiPcn7M9EIexyLyz5WO+n5e/KwsH58I1YK/wVkQslh7MzocbuIpq+mOFDNknV8YEDH+
WNfUrps/w4Lsv7nDpiNu/VtDetW+FRWlC1J5LGOy9w9ljd9nXLILCAlfiCpUR+qlFKQD9lOUH+so
uyjleTKGH12DKtRySwJ8dQyg6xopR/em1Nt6IhmlNoDEwyVIYyI0mRPdNqTnelXhA1r3v2fqZ24M
Onq1U1gZDSonKsM9NJ7mAOWue1n/xIYxe/KXmUk2h+Zp3VUgOcQvMulzmI2kzeEhizx3DUVTh9mm
nWETqbsV4fU1kR12xCr7btb+c8v8u/ZtedGgftn44EhgXYB3mRvChFme1RV1pJboxL7ppg1Ke26O
Sqvv01+Cv2DR2eRxS3AAZic3Tx7WD6K17ZdytKkKaJ1tDGtRJwPe3VhfAh+0ZRfWF8suXUi03VBt
lco7iTS5o7OhH5X+lKklMPIh1I/EG7dPqzqYs2q18QxTnPxsPKqJmijRc2/wbX2XXJJ21md7VS4p
3ToS9/y4zuAIQ2TRhFN0Hbr8BbDh+FBl3UPjm+ICesK4u8kUsCJO26xCJc2gSz8TBsbWWiaSuJmJ
C7KKArjWUSAvaq23BqiJi0rCkSXmEAEPWAnOi2H8pJqiv98Jhf2m6PIMabETLhWXYZn/mZfbppGj
KKJBMtekvasoVfVAXIZ7+fulYHXNyarDcom1/Mnv/WEpYscnM7AW+AiIMt0b/Vd2iVfOa0uKscRH
iq/6DMMsvQZMWs6znj82Bn6bVf+/mABQ96LCwlekdO8wbvWXPkvTrZCe3K8/LEyrPPVV7x1G5umH
eqIzKzLOkwtNrDHE+zy4ZMuysuj4w9Sw7nPlflTCjd9/Vpb1n8LKFHxEfFCC+RP6jzfFQcPbHGWL
IyDMmqM6m9rGQgnUEUEoDYEmeioYsmz6ibCxWvTPSo0fVn2w1fNM5/gYRPu+8dvnIsmifeJ+YgWi
/dSJnJWqmA80dqaHhoJ2aUP3YcUpKloS0mOHmJbYBMyLKM2M8p9VFSOjrBCQ213/eT0dqOpMnwKw
qBW0dlkToco0SBzKZOof69p+Ybs3dusvW/FoHhR73/Tn4Q7v+dhNHoAuURFCt1AHiEjvazZhUhLa
nT+W39sGTvs6rnZKKKXq7gYx358Se75ZaXYygBFAL+ohasVYXpaW92PeiuxZPFPGrxOCIRuKT2WJ
RnFa2tLrRm0EmbPlYqJgDZy/1Gqi04jVfByXaE+mqLDel7GRHiyBoD5L4cxpcd88JxFcvnykHMoC
5zZ68qYjnL7ho3qI6zh65+Zjsk9jmAPLkkn3ah8OWP7+FibkevbskoKHcK04gaS/qruvzBfIj5Bw
7JBhqfHGqlTFRwbgmrW+X5STocmqrlFIBw01StCW4QM5W9uyzwyQRijlyFlMtgWj4INhNPbezdqB
SXQUkRI7kecr+/xCWigjAwyhO6xG5pN6IARuk5G3cf/7RyGYgY1k8Tm1bWitvybjsT+ICoJ+TBt8
lzb9T8WmkJUgCmjMx02i9/Nd4Kp2ZRgeRImhF5PItS4s/xXFYwPa2ev4K6adFs3ROwOYwxbMS3cW
7l7VgyHmnHPIurlRpse2LeznaMXxquXIlJ7xq3MVmEMCJzG4DxXuq3ZRs7H2AOarJ2s/prI+eaOJ
OrKZxTIiEfuqTrwLUsiOCQSJhRp6GieGJyStgWnjBDawHhLEA5H7NJapcyIvhejVAf2BX0Q/3Wwc
H/SJ0d1MAp6Rt9ZF7WOQ1vtD42a0OEf3rzywUfXiikYgRcIXqMzm1Iv4hpEous7ii6JNKo/k1E5f
lSoHU3237gNqM7CmOjmZfDOGPTzrwDvOXevzX0ZwccyjlFEbHrN6QyLpAkk0g29aPL6nvxuRNyY3
nq5Pn9FzP2i5hnqqmDm8Lo5M9e+qBxNQfzkXwXGtt4aedHg2uDPxskiLojK7Y+/AQZOWcJL7ofrs
pCEBygF5VEGvBRfXBM5ROGR8J++rFo0uyzn0Ftec86tlakzyKepcuMFKFWvS9Tgj/rwUane1c4rY
pMvRuDZUDOZY3hrPD84h7Y+d52hHRLTp++UdcS7r3/le8FXZ6Ou4f9DCcrjwyX4jZd45lAvzTfMm
QNkcS9c4dX0mxbdKuZXsATqhGOOHLLPmW54iI+amDS8rrqu1Ume1kxEDov/aDDDrNKR6IXt0k9K9
tJ3BFyfCjwyKJbl7ZEZNZfa6ijJHG3IOwrW9odfTpWlJCMOyF238uu/Oazi5gSnYVR7jpiVCISRu
gNzLvN4aAv8twPn/IW1K+1vEDZMkZXnQAxOX7lhkr8geh5s1+6QJ58MH8grGvT6/kBVRbf9uIKtn
bu9BNxLxxdD1T0azKLlj0lfwEb+MWT296/POoQyomxNUg/xPvb9F3/bvwtYxTFSBOvotCtu3esA0
XXLgfDlwSFraI/WCn2jpMmy6zsNNJ51vLtbUq+wmSDUdyqp6ACvkFUwKgM1TvNPo120xnLwpiphY
Tz/tUu4NN5KPdWFjS5Vuv/eSOCRZOpDgSkrn3TBR/KVO3L46wwCsAiAibSZg//3VjbKVewDmRXB3
59CF/NanFepy2QNQ0xGkRPYFnEe3YTmTR0efBWKtsQTkPGXHnEPALTVt9w+NPsP+fz4pKlWdfdwQ
HIDkstn/QxDh2EbhaILQ5V/kAY1/Nuu+BimEeizo4lE9YECzHy3P/AT1ENuq/jnsjYIpd+I62Oei
dySHYTtuFo2lzNrn2CO0ytSBt+Rh/jmWYjrYwg0R1bsEhJXdc2i0xH9X0bckJwmnS8Vpnar6wjmQ
iodANW9JCRPD1rN7qE9L06hG6XN1tOKZBmm59S23eTZTT6JX8gT+4dl4gN0V3k2N9FGnQVBVQaBQ
XnRgtkzBSKLEUInyOa8vWEamJ/Iw7F2fMT1VD01oiwve8y++XU3nrCnHrYapbZMjjDlatLOVPsib
sQPQxMt3NL6+D3o93M2hLp/qMq42gfNjPa1FI+oYq+9ealecCuICDgFL/6Wg6q3iJibB9Lywd24g
wo3dXMLAvNuRTLYKm65qtSDRrzTgschPOf7UNuIi8PDEDXSdfXJztn+3nhMS1H8dEt3WvSnu73pt
Rs3wsW0T8Je60x1i6SbvJY5+6dOV8bWIzMjczK6OnidX6cVEcJMtzL5jM49TBrs6xXumPsIA6lHU
asT9wf0hkR1fyaiZiFAyq3oHkDshisapTmUok1NuIWkP5TDB3yWJwDd9GNodBVZW+kRnexRKu6gp
IjQuxzCyyn+UVHnjb5PSMO+8V3ubwsE8qKGynkE26eIXmrvAtpGT0Soz26MWkByYD3TwEQd/CtEg
yBqNo2TgwAEGx4V6Sff1x+/PwEom9GZ9sWzbs3XX8AT3zpt+7lRNUz/1jNFcHe9953btzXFz2nnk
CojF7ZvW9Jn7kEBd9TJ0S307WiT14ZhaOmolvsRmGjir6dh+Z3x/kIk7QB61hYjSBYUpkwDppAEg
xC4Lcpr0cut44EyLKddP4+K6GRIn5GgUoucr0Z9n0RkU79ZeXL4tVm+oi/N7L6mdBzXmb2o2oLUo
GW3yP5b90Gqr8aT5+1znL1aXd09A0k6TZDQHLulJXjk/qAHd4DrXyp66a48BBLVA9kFpfgePPNMe
Jas5jw4aQGjCyajJj8Yl6ulfmTRjWx8CeVEvPDGsEJ8rfEybVitD4qLnpxZL0B+WNPl2RfNsg+pE
F6brSRMh/5umZoLrEYxL2W7X0pzxBD32Sktufhgjf18qikpgkQ5JtqebG1ZPopl8qF/EOc9pfslG
TumL+SOZj3zMHtnmuCo+s4ANp6I2kLFKstonnwjtqJK0Pmere7A1F3kcKoKQb/4D09NsGyQCZ9Hy
LDa5KMO8gcO1IGIEoUfjgmkYIv8JRh9in1L3jibCrjYtI0g8TNT7lCwB5DvVIez86NDE5T6YGBon
LSZwJ3vuI1d/aSBl+dRq9yHj3KuZaGT8lyjhlmpkiM3Kq44tAdGHkHu7HbzsdSpze5u3OMeWcyll
L+Acp9d21SKeJTsRrxsaNllUDyoCyPe1b6Q8jlRYXGZq/dGGrCOBLmNwzZKQxLl/UtPUmu7TxpBO
8Qhe0jX8L1EVyDthiXL3h3vvrfSROYrhOUI3+HI95lTL7OofOxbeNBvTw9z/qqPCsiO+mGtrM1Fp
vqgHbTS0TQ1G96Rekp42P+Xmh2E+R0InelQE0bslxxHvS/vQJWO+yRuu1EYP7+ph8GpxRBqd7YSl
VbdihDkmM9fbD4FwHtYHVIRMTHGTcpzxn9eOEcjbeZVB4MHJtjWF6cFoWm/fmGK4OknIuCEiWaKo
4mgDaKf+kujVA/Gx17wQzR1Odomq++7qc/bBmZ+yKUeEly/vb8mMn6sBS5rRFde89OrbiKz2akKI
oG9p1jvFym8CNjhnromdW0h6YM8PIc7g25Q0DVT+BClG15yMtjj//ksx9GUs/e8V0WO45VqLGBUL
/ttzRDsVVcr4Drmtm7RMjbGp/u040Jto3qOaX6LTFlyFZ/nVjjo+J61gYhqshq1BhuAqYre4OT4d
y9BpgBnXEbo+gkfcm9Mh1w6x6ta5HePMyInG6OiKRuI1zTJ9Balrnj0f0VE4G5bBaJdQDYNQ8q17
QiD0Xt3HxM7Lq6nPZAP5zcdEMnWJ7ZtaFtKpfYdp804bHMA1AgwyCDtBYjyty24ApzUT6+PaM6AX
xzo3BhV0V6GOEiq6b3JSCHTjkiK6COE5OCNI1KwzCy1J53zvhLOk2YF0I64R3vVWNdMab35Rc33d
JQ4tix9LQ6YcYKpnNVVSD/VYGchaPlYOiQ40we13sKGKi9bcZFZQQ8+h857jGONE17Q2eMkY4ZlU
jK7nEzGij9pNa12NHUr3QL7QANu7PmCIzqleNJ82bdemyWuEmnljomv+6qTJOdNbrHPtSXdn8RoV
dUWfIR5fACEgTV2e5dI8/P4akm+bcLaFLs50LA/LA+4LfVnY/3Fju2zWdabRM1h7IU1UwaFdIHG+
8Qy7Ov7AykZK/WzGewLI6udWQpadPIpyIcPh+Hda+JzpuKU5yLPlkiAOkrTeqs/eTjkrYBDtKXcK
YHllE+7KukquRWx530y9xhPlGv2Bvqe2QxjYnTItRrA0ZNkNdPk2tAG0U1Cw97ZZ8+iM+jFH+nNj
psH5rfsnsE2h27R5YBrQle5ZY8p9Xhl5ffgJLWDzuB7ZuH6/Oxm+tOWIC324edRQGlPHJo8T6hdl
AY9roj76xWgl2WyOWdIN7/oOSkXdXnn70dWgEXSc4novI/iFcWf6zy7Q+XM+jy3fadM9YJu4qikY
GvCSKyYD/Vu3Z3grGWozq35q5ukwJwamPjEzXycVZaulc/us57k8ti34vd9/2/+12eBQ4oqTNLct
RAZvLUpe4PhzKxxUVRObMVPnRJR2t3dy8a6fyPLrFopENObibBud94gF569M861bXNv9a+7RUfFL
EnQq5Lcb9Gn3fGY8p/dd5G6Yc7cPrU6qnKydvRvB1bDKr5kRap+AHj4YpsZwi8v9/WR7Yl905pff
v7f/qMwh7BjSRmPu6nSUrbfvzRjcuPCNWD+U9uCelZR1nUiOMwFJTQkSf9W3xpO9i+GSbH3ieJeM
kZtnQPJEEeFfzSVSFXWuniF1Vj8BPqhfg+Ssm5bzThdhsGP4cuhAFdaLuEYlgSRax++MUxEfgO7V
97Cdpo0ue/4iqVfxmcvi1IxyoL8wDMm9KHUSAGNWA72LbSyUITRMiuqPAz5xPLB2B5mLxW6EA2lk
RoCyU3TffNqquYFYarRme9/k1fAHf4O7HNL+uZ0gmGAxwMiHAAqrg/lmLZj5fucms/wt8fbiovfl
dNXoO/MF8wxdLHlnjLa3yp4l053JoeEp7UkdQH9S78gu95d2V3+cw7JFM8DLwqiGU5Y64UZJIDSH
FItZQOpVL5EitZuqrDTcbiOOVdVxUZEHozD/gijbXLWUQszl+txW3P3LYdc7qnmuOROPElj0qxS0
yyqOqj09aNa1HuuZTcR5b1P5LwgVshM1zswiAET+9wKfBF/XgZpHA98uUg75bXx0VW7xUEUfDWOs
ThgtwF8l+lHZLbTie5hAw6ptrToom8m6lcrccLZGQoGoIiW6xazBRLy6qpfq2dQ8/f56V0euf31b
GFAwYDJ9llz5jvOmiRC0XgA3dklgnZF04yrtT35vmCcGOt+bbnpl2OQ9KA159gHcBKQ2YBfPs2ue
ZOnoT2FiCiIT9AuHrfCD0OfgLDQkg71XNEe9RsjeSTJvWhe7D2eQ4SUIES8icN1Efi+f1Ctc49m5
1+t9a4UfwP1Z5P8V4kE9AwNE9ZV0hPCEsroN0EHaUUNwHP9q/TcGd2QS4kUcByDDziaGGrhTLLM+
qrOrJ7tzUobFS45TtyhH8wmhyldbRsN+QC3/YElW9wDleF8TFTWmNNGaYjir6fTYMhsve+O6tsUm
6TCUa78y621e3PZLD81xN84wHINCfIfElF89fQSyS1rrfJYJEc6EFDx2pf5hHXZbKWYrXLaB5xVn
ePnVk87R68Pvv1FzKWD/+Y3SChIOvAdkS8z8TPPNN+rGGoPKygWRuyTCDe5sn5R6Ywqx8+8ctOg/
5+jFEYX4izHUhxGhehiXR7sp8XXE1nCz5fhkWWcDycALjSf7HUmbJ6dKhsfYccdL68zfVDokLYZh
XyNG3tD1yf9QC/5HA0gtyFBPwidih2FS9aYWDFt/orkUtVvMBfmWcwxK6NlJoXovUhRPa+wjYpbv
oR1322leuLNyUeSZ0G5ysiLjuigBbEqQ8JBbL+w0tZvgtnLd9zbHCEacHhLTdNDej3wU1ySRJMJi
kSpiM0L7zwWHzJFMTPK6iaKCaMNE99y08KXbDBGSVhocVBPH5eIS+b6Yxm5lRproWrcmW8wpd4f0
qUvrH6MF3sEcOIZV/qse0XAwJw0tyvIySmPzDwuw9fYwhrXHtOn3iMUIa4i3MtRUqyYjhGW089BH
L06jgCQrPNM4+dSEVk/nH2afiHPW2hc798XJi7T5iBOlY+Yz9htX+Pk9suNvayuJhk+6kSXJNbhT
Q1wYPodk3PfJw3qyGbN5O2REBaYNkRAqfYZZ+deklx9wfE7nKZyX6FFO4uoBQET95NeY3f9QXlpv
reTLG3cdD4UlwhKOom8uGY5AyHl6cFqxU/9Ub9WOzXdZIedblRKYWNt6e3RLf7ja9SvzodZI0oNj
jdmhcFDX9ok+X/vlZ3WJtM0Mx/Q5C6phHw/BgbTO4dZF4SkP2+4RT7RzcQEYH4gkdj/00fgsfCBp
ZXA0wYeGO4ssjT98r4Z8Wz7z3rzlhM3ZixuDNvm/T9nS6lv69U55WOUEMRvEIdS/WyUEHY+oor3R
Oc9easXr5hqMyH1c1usdIu6Gc3gpxdmqXc42FqxcAJfmXt1MsmrajUIz6RGFm7I7V7LKruu/U2lD
tA/dTl6FDSLG03yU28ha1ehVWUYn5pyFnnOreuVdb8zpoWy1k09KAZ3fjR5l+OGwhR9UvsvfjVL1
rPSbU+OSZNng2gW0T7cTvc/I4V5SbpZpOrD5hs5BQVN0WdT33Pwq4ege2LdGpMxN/5p0c4AdCfFF
X3vzIUsNc7caBOmqPhQz5vWsjOhcvqyNpUDjgJpLt3uiYQET3kYz52UznP7F7zi6Y37Q0xE51LiU
KU6BO3SIZLEy6s1qV6Gge1BBB91cn1QNWBBMQ3bsYhKyZ7qrymNB06AWUb1NtIZwWE+Xvw4G9G6p
/QY92jjE6W6VuEd9GJGdPRhYOjJQbc++plGaJOJjZWRHx0jAthoHn1DMcFtBgixKc+MPjXYc8wXV
PCyJuGVj/FyLE1KlEe9AAiLQJhyg/axSkzpO6uMqMmnraKucTvUyxJ00ukELFw197nhmKPYXaeHV
Q+n/xQAGD+lk6kDrvOCBOay1VQpIki4b6uTZONmkLWyD3Frt8ppWQuEybDjbwRRtQ6+SO3ocCJjU
g5pcq+pucMt+b8wLGMnFFXgpMRboMoKpajOJa+p7gaFPbZ2GBx6yAjl6yrJ4Nwaxe1cOJwSahK+T
RHKIztUJkwifwQz244Cv5yvu1HY7LF28Oh6yc6A8aJX2NQS0f1glKj3YKFq7y7dfaPsRj8M2QNux
n6LkGJClc2P0Yh6NuQEV/aflyvnPOm1x2LdoQXsu1hpbkTH+WTR7bWUn7iDJnTrT4O8vnvEjr8MU
QFzfLyBMIqqZijcvY41Ee8zYZ8ZIO63iB27FnU/c05PljAtGa3rqTbu8CNl4e0sH6D/53bvMyPOb
bufFYztMZw/N+rbXBbT9JdckS9rHgVLtHCr8Rw9yeL3SOwrVesHargfbctKhOC0YhOXBbBMPIoBr
oKWJP6uORlDlxc0Q4mMfk/VkoY7iNhwpapaHpi7kkaiIH3ls1PvQbMn5rsgLYNwd731cNVtM3vM9
ncf5zvJ9dBaryBxVL7Vs5Xa9OBgmdA/J0gsixsE/OF1d/+G08d+tw7IMg3mmbkpbWt7b7yLorXnp
SYktB8tiF9odhyaHAB4nyI6piTe1By3fE3p4dLiZj37vAnNc6DueGA5+67XPSlYYt73+LcEMcCFd
sHjQqzS/GX7RPPiZKe5Jk90t5HJs+tbNmXo+rN5z7lp+iJZrU3rtDZuHPFcj2d6/PxWquvWfp0LX
NQ19ORgIizfIhfdm78hqSAf4Xvcri7XqpovqaPfiPWgnGpFVDmyEwevWp+vxfkiLcIuZzv2Yo3ny
iMLjZGxc4+Whi1sD695LZoIBqaLYes8F52zjbLXhx7hCrnRbOsJ+ncnbBrcRh+V1LWT7EBoLDh/r
2C3CYKXBDmo3+lWAdYHZcDwGvKqVeN9h3TBZG3UjZVrjYexMJ/Okyv9mdB5JTPN2ZekBgpOTc5+I
WZS72Ce6sdWXbNWYVV39iZ8hdwk8EuhENH9oe/xXMseADujMQteiNT8VgUdRFtQzqyBax0xd4q1l
9+3338TqGHj7VVgWq/1SIwtDf9sFjwZZ6Kbw98kgzY1X9CF0UTu8y+XBtYLHPHfMs/p5aEH+TpMG
a1uAxRWnFBFzcO7O02wkV8v2k5PKDkJ89BdHPtjAwUhMmw7vUO3s9eTVeMGSFr9VmgRsr4G+n4Bz
+2QXbJyMpADV6GzEl1WsiFsWT2VmABookCMyGrUPejb81bd6dpUcG+5WAADHS9IdeafzMexr+cEM
4TnT/+6MKdsF9uDRQtWuaiw8Y6OW9uTeyRTZNxhJdolmcYXPk3ZcGSWaSZCr/NTXHT4Aw/dx35XF
RYD4Dfv05LVdb5xyx9nNBAvq/Y/eHqabh/DO6tIeki57y3pKzdrPOajrHbHoy7nBdn6qP2RWMKw5
a0o+E495tg6FumxKbr1NhoLntMtwNMEcVdYkpCcZvX5tvAuU99csRJSx8kSczCH+2i+A5+NLzIXh
HBhe4HygE7fP1YDUHWiE03Hz9kbrN4RFCXoITVbhNjU5wlhJfFD6lTlDG9mUTgf5lA5ZRheXw/S0
j7CqP4YTzN0K4dqpIGRzbxTDoWn0gXNFa76Hnlsf1i3ek/3Jg30NDxs4YN7jiaO2PfY1dYd0sOyj
wiw/p2yFN+Uq07wgQWSO/FCJkrVAMz6tm0kzmyiJx2ncZ+SVPE4U6pe4akzCcyBCmCMaGGWNbyb3
BaVTSo3PpM0JE5DFUaN9T4txS04SkOaFlxFWhn0Nk3o4AHL60RFwC1IJn/z+9zeSqXA+/7qRpCOF
y4Jm6tJl+XqzpnV9Cjq+aKdD6PekG9JczywSOP1iDs95aH3CE+mc1/ZcCn1Li+JtDtrySU0MAOEd
DJvOg132MQakaHzoLW40BCfOV/MvP0t2HuqUv2BrPtSkmX2ZuUQ3c59c7WKJGXdzsiEM7J1h7wrE
weDLiSdhrobD4Kheag1Et8IhQVelOUKuHy7rtUqnazxNSvtbEk20TWrbQ2aRxcciStOdctl2nIvO
q9u5CSWZhjiL6AtC188ahIl+EBgvdtnCSDNy/WpYrriSsAjZrg2vWI+QFcvEAU9g7ZZyFbv6uWui
5smAp+i2en/EVlQdysWCLAbSFdKkfdK9GuLWDFBicbfro400wNZfnTnrXxlFxMTRzRZiHKd7rTpE
jLGed/ewiLB9J0A3gCDQcu+OxjKn1XogMPApxUGNbvoE0sPf51w9t1eOgkZE+UU10GkPBhfFbC1r
lLoZZTWIPMAG5jzJJ5fbrsxEQVUNK41KL3xQz8CYlAdoUxMbEWK19cZoO1wcC1OjTuuGFqKOiHRk
DOAayTtYCfFGzuIvDzfa0R50bH9VVxAj5340S6mhW63NJ3T6+9gc013o5c6DH31t6Ea+5nSjO3cc
NjQ+fjZLCJlfxu12ys1oo5SrfQBFoqsLj9sX+ny87OrqlBCV6PDX797paexHQyoP/ei5m7Ws8cgI
W//vthOXt87vCJEgI1EsqToizp8gTNziyMiQwAATXA+6TWJJhoX5o943ZI7ErUWYeozswoLDoj4d
Y4gFWX6Mdxuw+Bs3LdjtFdhJYDTbDn6bnwdSyZA5tmKDdj/+EbN4CtvZEwO4gRNALgWbRLzp3UCc
YjiJl7WCSkeMqfSgCEcX5TezLPON8xBkHpjtLCjNmxosj2jQfUn2rEIaQaasd301ETW2qPXRR/Tn
dIjOjN+PUdA9qHkJW7r2QKZ84xBjrBSYaTSJG2FKD5ytUBhzn23sqMbfpR/FFHLXxlb/hPmkxezG
fJWl9NcDk6Cw3MySgFH2Uv/AVdwQ6gXUomqYq8bo13zFcmqs8FnHXH11p+icQSa62gBud5UzvqzL
nhjNRzqS6UWdQbOwELffL2X/MW16tBqF6bFlSMxBNGT/fTpLKmKxfEHALLADhp1LhwuHpM7Xdg7c
sHxESp8fmtwqHweb4Nk4rt8P8RLnEy/Zr8XgfS9Tkm6tJQRcqt5zbto6NAzq1yjoL4rcWdr1uEss
ER880Fd7V7jGSYeo9Ak9wgkd5byPAf8cm9QmctiNxG1eHoySdCewXrhVLdwZWTut99Y8pimTBPGu
Lj2U/T5BYUjc18pw3VXClmxKRqv9NtAtLDqCpLZ0eGckIb+mYwZXt+zvP8n/9rNtBtjMuAm1McDB
vZUPOmXmtSFMpK3UW5QCGY0mswnzR+4M7Rq7xjdUo9oBwTgx3x000LmYryKaotPYu59qqy25Ctzi
yhgKD6A1mqeqyb27i3YJHEfz5DHJw0U4XVUpawctXWv56FQyeywrCyZOSnJJ4Yf4vyHmn+hVZw+J
mfTU4BFkrCp5CieAo6CZs+8ttoGBjMcvMNi/g0kPTpxxccLIRQ3spiSo+8Uldd0TurUIHvJgvpqp
T5aHxKLXFuWz4yfvuBG7vejb8KyCyszRPudFL74OQ/6Fvb59dLMShVKWDShMIgcJCfS7a18WzlYi
UWEolFubZdm9Frr3beLygNiWaHsUAxJuih/cS8CcKKJ5ZuL32XNddduO7K+7WflPk+jry9x7/Y7F
Ya9KbCur3v3+S7Xf2hboBYPzE7oJOIvp8tshhdXAE4nngs/NnN3Nym2aREq2zSD2dBH0nelU4uM0
t/Z2NkS3r8Kmv9paa79LigkEnhE9DVYIkjxt5x25jIBL2hywa1oTS7cYsMIevw7RahAgF3sWGKnP
Uk7jo/rDJrgAdos/xGImJDqcASBq9COS0EIoukQJWOM2DfVPafaT5kF+79olj7Hp9CWJIt54nkM+
jojQ8OedvSlEOBFKrpXXobA66OLAL4Q3up/szLhiAuZXLaJDrFPUz/JeWNTUkHOsL3lPgscYdz8L
d34tZ8Tav/+U3f/0IwRYMkw9tk570UGR9u9FKCgaCcpVEoiUGsWJewgy8dy/J+KOTOdA32LMJALe
BK6ikEBxPQ/n3nWgC4Zbyp3sFeGg/6w5/sadje2gGfHjTGjKg1+LHW3V9pJBQ72oZ+pBkMt87Ls4
IzqJnJ+AfuGDeigd79ezyKEah0xlvAbxMU7Dc5y65c1uC3EOeo/lfcyqJyPrurPjhuLEvAUxvRdJ
ks+lvm2o9HeqEdfq4YPWZjCO8W8dWpOaMRDhB3tJeFNaDiK6O+QcQY9vj9UR8Vs+4sppQAi6s380
vOhrUjKaPUoGHsd1fSMocgn1nGPyNaJxa7qc9HRCErZpE3v7ySy0bSebxUg0EfvdTc9ow71L5Cfl
n7oX/8fYeS03rp7b9lVO+R4+yKFqe18gMYmkKCr2DUoROf7IT38G2/YpL3uXvW/Wqi6ppSYJ/PjC
nGP+y/2Bm4ixN65/CgKTUu+Pn9xQ6jM8Mp1zOtN0Bj4Oe/XkRyZxLGwayw7SPIsPNeZzkvfyyHWq
aDxrM9E50ZITpTJ2PWQs+K6YZctAcmp7+/uPt+zphOdVYPRTdADLdkz0NPy9If2NYqG8YsT3d/gn
Caj145oVaWhoxd1aOTYHqDXSCSyh2rX9fZKZadCYon8goJcrCf3ef3gj/mV7f9ONGyZ7TEbEBiOB
f7qEpcWwLI3B59/gqfAa2yMRuRGzaME/5P131Njv/6RILQ4Zw9EajutIXqG1X9Mu3SfMDdyikOYz
9Fh8bcRoB5pCJzqtoN8ZSqYh0DAmYgb56QWB3SfJFitSX7QL0XwkqwItCDYzUjSc3W3ui3TJlJ+c
DvBNhrqAe6rmA7El+GjEMAAjWZ8tZIinqF5OCIiSjwq8EkK/BYjquvoa9GOAtDHCmThR7oz4RWC1
uGerml3+/f3/r28erjDFkhkpcvfLeEb/eBXZozI7RdWa3jT1n3CMo6sOgm4X8Z66C6i9a9xr/bW0
2LTKZudxs81ouMhwYQ2l7fUlsje6jYe2q4W4WLd8GUJZumBWrV1Xl+VDV6dKaBL0TijMalMZtt02
Skl41HGPuL/bBOJPsTsCZYO7IV4UYW5+90J2m5RbB0yal5OFh7ylsvf4nKttDfqHmAh93ePENQm7
0YNbN/c7P8WcYQ5AvZ13sfF7Zg6bgKDpCPtlr33luCb/wy79nxev3IEcn7qMGEpWaYxu66l/mOeq
RMlLpWmxJFbAta/Ryl1YwdBsy8Ugeu3z339cv/e4/9j9/v51CPYYGKBXQVD5x18HxlElUhG67l/x
lcTjfKYYSuBQ6UYYafp6nhaCcCTzkcQ/wORmTAxjV2xqU5FC4dst8ZMuwtFDNtJy5HX5bTuwrn7z
OSxhP66TWP76JzUedixNVw4VkNXrjZQFmFYERWsN/2FOqd4q3T+8KpSrKg5FGdAjw7HfQ/N/eBNl
HHSLNKD6ylsgFr/d+53oKlR4ODRrxy59dYqtcJmtZZeKHEdP2VESyIOyMRb6ntJErEWGynaaK8F9
ph3mfAFHscicVWVeXgYBK2rkAHRu93dZa+rp9wfzf/+AtBa/EdefdbOAn0v6f/rjfz9iqKnL/7r9
nf//PX/8G/99TD+5Eeqf/t9+1+a7Pr2X3+Kfv+kPP5nf/rd/nf/ev//hD0HVp/1yGb675eFbDEX/
dzT37Tv/t1/8P9+/fwoS4++//OmzHqr+9tPitK7+9Lcv3VDeyA3+4Qq+/fy/ffH2Av7yp/u6eK++
/uUvfL+L/i9/UvU/42GxKDs4K7CtG1zMtNB8ReEr6k0DZBq6cRuWctdVNXi3v/zJ0P9MOegYDtoV
3Ky/hauiHm5f0p0/cw9ymjmWbiNR4G/9/YXz77gxyf/6if3PjHIoL3+8LJGk2zqVkWXgHALcilbm
jzebpUh6bPIQ9tKoP0tzf8gJ4Mxs+dApV+zrpadLGoSuxa9gtEaq2GPCwerK6FBLNgp686H76rPB
1zQ8rypwSlC3S41+y5xJd9DDsXjLaKDnSwFNzMZ7KhRPAyooExBEVFyVa/6y/rKUd106ReYYKpDM
l7EPcS3gwQHfOTRu2783ZJpmg+Mqi/pevipMscm8cnMU0pP+2ZoCUSYRbBqrjOU5WSmCcnGXjzvB
b9AwdQABGofWz8BL9BpwjCW0m4emfanwb/wq40fuBteej6pzxfiv9QdtAYnqFF5KgmNjXypxKm/w
VbL6SBwQk6eonWuqme90CCYu5DWiZfQlQFcGGaDSL2hODotQ9LZ+gminsvDbWq8NP1QdzqP54Oi5
q/lp814rxFxlYTRs+yj1a0PsW9o6TPgRXtXbI2dISEYmFmCv3TDvJDjLb7lFjBk+p+6hWdlYgbwc
tZKMCwrQH0tsyRx1m2b+ZmEcsip+GHKD0v+YdKjIhhpR+d1w2yWafm5ghl6roGKQkOkDIe/4Z3SP
xWA4Ggp9hMnAhNdIOsCm1F5IdHM79Y3jkepnF8XhMkU+cOM+FQeVJAWV7Gn9JS0/HY32Hpwleeop
UhT6UBSr07mVdikxQAatBYZZF086VjLi/IBKiCT11EUmmC4JeO4iyCbcUVYD+JlHVb1QBPIhzL4l
/E7W+LfKuxSCapwXbpG0fm1n/rhdtOvkoKMr7F0XxV4niqO+mB6Mkz19mydHR9u8LlbkFeXqj8Z4
hGDnmrnmTghYoujBGYCmELAgWB/ccAi635N+mO0okN3MfnSgE7AO0o37MRkuq0YgfOMlREPIxDoQ
rjN3d3Y23q/IcVD3sZwtgxXmGVx5Q4ewsK40dxIFMzLrrv4aCVrhqLfvLP05iy4kAAATJFhO6jea
/euW/mWn+xGTcFchQ+UWmdDm26MDWBDBDoDiRbU3IgOoUTzZORdNPnkAvvE9kpwHXjGaOq92iHau
4NpXlZuic0mQ4laa43UtwTnptmuSe61DLJGsAfNaXy7JsF2I34jfLZaVgy82ROmiWGXM9py1tNIN
88UblY9H2Fo/s1UMWqgRpqu+2ejTk5lGIW24eLlfgYHMTnkoAE4U6nu3/mjqU1vwE5f7qZuCCNdJ
C+oR9MXB7sqNoXs8ut0UspabaCIE5+LZa1A521SzD6Jpt/00PU79lybo9at5O6Yvtt36+gw9Jcmh
0Xcvkl66JTaeUd4nAMEoc9PqXXfYErePg6AtndyU/LG1K7xRTL+yfN83n8n6YcmomiLY9ziOUuej
ICt8KR5GNmwLTr+ISwo1amjWTxFJnV0BFWLWD1O6hLls7fP4athI76suZGEfYPZCaiAyLlEmctJ5
UY52ltNx4e4r6nSTlqybYs+SuZa6vYz9vQIxrTUGWqsPgeeGxVBog5adgRUwOdjH49Okj+Qg9tBm
L5kMDUM7l2ZCgokSrMMakKy31zkuYnq3cdWOkbBCamoMXh3sRtldJagwGH3ydCLoK2Uw2K0f0Fv8
AbwB7Nm7TjBcnvvkfdQCk64hyEawsn0Rq0FPPJaHcpPbpc+HUEX/izyU4E1Bvq47RcBl4YK6msP6
rWzIZFUAkThTeWLK+jixoYEXpaElqymqunxXNUrq6aM9QuL80tdCRXhgzhvwLd0R34DkUXTb6qvc
pp9jWiSuIdnQe2drrxrpswrCbJPF0qcD5tAy4gIKoXoQZvRUGkz2KotCipA5tGkGu52x3C0S+oos
pWN1xsDWUCWrbKhGSbgFs3DIBtpySx9D9MmyQLaHbwWZqFuXBuG6Ro65yMFrajrpNefR1aYj94fW
Y+kZzdcaIzWmtwY7aPJmtUoKdgmCtlGnJAfIzpajvbQJNwHxUhkYudatlIyrB4mYNOpoHnYAxVmU
+8NAIuvNw4Q6A2/VyhpUaszZ1bGQIvlFMox2Y59ASfAtZpMG0UM++Ngf0XqDozeBIxuFT9Mg71qm
1QKkIO9g26TbegE9IS1q6rV0NwAVNsJ46aO3GZeFa4NnGNij6URFMrHJI6z/3dcSWJ1E2nmS3a8o
/txicYgpHScQIbKHPrX9VNP+QhfykeixfqFbrXESScMG9jViGwuYFmrQb+YGi9u2HIzRciKiOUSk
bwVWEm/0jvQS6K9Da/1wuLUonDt7ZxM2yxk+PRRpaz0MXXFyFA771GlYUqNGU3C2bzRxLORi2TAi
w3FS2iOixChk4T0E3ew84ZRqGSYS9gNSU11gAje3UQ/KXmAPcBn68lFMHRNdrgyCuceIO5qoBkgw
TyiXFd9o7Yeke+3njDvAERxiUKxnmTO5t5Jlu3CSwJni5sDg3pY9WaKo4DBZAe7KRpt10M3zHnN/
ON1EwJ62TxJ5OGRpIUK24M+xZSXHLLXo1MeMA7D/hK807FUWaoI3x0XJAtBrghrQsYbKu2ejrosj
m8aXybChdTlENw3AQpAgogMK2oVUsyhO2L6qt3AyU9chaBZEWBcnIvCSc7RmxilTTl1PwB+8aTgH
c/lutObo2Xb9ZbQM71BNcWhxjc6ahHbQiYMqgd+LtM9Hh1oFfa5NZ7nUr0sMat7EV++mGo8Xog1B
JLNLcArzqieEomaQtjdyq5+mxkMnMgl0+wwtMawZ7mQnqDAX5q4Dfl9Pb6btHIkYxAHPY76NSPcO
dn2UEQULlM9FI9Ixmu0qsw/XES6rnfXYz8qWJ6o9hkwK24BXRw0IeZRXl4WZ9YVk+arTtXs6YFTP
HPs7Q9L6UDjTnZPV4xFKO9aEPqS1A2bmvHcDGQn6uJE67b7oha/1WR0y7cpI5xB7m3UrVBGXAER3
4mGkqjW10MEotll3V2mIcKFWZTYpAcxFJQJQSKewfSKaPBxXBQTlGH200r8T1TspB3M4i3bFbw6H
ghPTmCxQNO2ZdUuR/EqUT7M+aKjanLOTbDqKhoJXQPqaXV6l1ArpKM6dUHmR5zLexdWdI0sbKf8x
s1PeNyfIR9wnSSByN2pU+Gb3o7LvoVg1TbIr6n0TV+FoXyNGA+Q8bcnLZuSjv6MIhA4w70fN2Kq3
LFC8kgt2i9I5FH36Cxvmu6QBWCq5eBFMOsDKpD5URtQz0+A1ykuXvi0FplE+vXFwu/UgJFxjfL5j
HR/y9oES2pq6l/qGHEOxKJm/mhbolnlqFbEXWF3vRZM/mj1BLVz9crnXWjMYxjcxdg9Jdp7XhHHT
1sSURp0DdwBOWyL5wEZdUE/rqOPMT+6HQQ5NpJRiSu6sSWMkvVfWBxIJUeOqgS7JB10+4KF41NHM
u0Av7umcgkSXISvCg8P72L45TenLgFAzI/IdY7NKzl7G9DOOy4n0IcBJRE5AluPGpvapIUrjWjNe
Cbj0ZsqJsgo7hXLCUQ5oDHfU2rO91Zv+Pp1rj6A1iheY6NEx6RuvXM9Y27YjfKzY2qnJRzJbXK+r
25U36Jw7zy1uGJZP2c6WIdo0wTAkbjSqfmdiqAi1gVkbn1Uxo3Ypj7azIGn4yoXhipyGa9XdZPge
ZKA9kBoYhAQzTzHTmnxYLwg2su4Qx+9jx776Xm4MN6XsLI4jXlBYZ6geN7n5IjZMtShtLmvyMEzE
CQxPMO7YgpFzkD1HpuTFVPzEMGM05oIrbzeMsiuY/NtqhKrt3Ebg2CC9iy4/LQT1lRYEJZuEs4W+
qiBV1oJ1f8MeN/om0i2MO9n6PIyOy3MZt1HswZYnKNL0ZpgWVr1rl+Q+nXQ3A7fDxo8y1Qz6mbEG
Nn1lN5oMx7RTbNwr9X2j87ST7uX4wdbvR7ZBtSXvEmffTuxn0zcVmaScdqGsbRySpWT4idPM3J5B
rcAI3E1fJrkwDLdKoDglDcDIb41+5QkZxbyfjTWFaSuoeiEYrhWQo1uuDOBduXkY8+VqNqdRn/ca
yG9GVttKNEGmVTvZTuDUIvZFoNrbx6EeXmyp3mjzQZMOVpIBeoupu15vPt9hWaEE3ecVHVp/Suyd
TmahlJn7gumjrB65GQlagCXa+eRBeghFt2n5ulQnRVl39Du1dUmHGQ07G5n4lxlTEBBZ1UTvQ+Z4
dJsjirIODKNK9gEG+DaGjDa2YUr31aqJ7qZctXbNJ/BqdOOTDgpxsLSwXs4qWYcLqWQayT5VM+wa
2otc22NwCgf5GLc0hBN1Lgp7s/Qjm73O+KhajzOVD1EdgWOw+ze32pBtJenWNLCcmPTd0O+xfD8K
9K5FFhNaSzdazZ6w0mDummsv6Y8R+5N0/Zhb46TSwc9krzNVWOEqzAeSyTxNeY44JfSk51QTXERW
HyjmNmckMTeSP8+HEtZijPO6J2dB+lzFFGAZ566GqEiaoTc57XbuBh9JFJPabaM0myyDYGYWLele
yTnWSq9ioT7rPG2xLyf1uSrfJhsIStwQeJzj8YOCMmUfNeg+MAkwmWLrrq2Qlu+gbYWsiGL12trr
1gJZZIm7dY18IzHpJp5Yt+ykLt4tBh7fXWd2G4c5r2UBuGKf5pQS2AOdZgYFTFtfORZCqRXXChW3
HCl+KdD4LsWznOBIMrtLw4NZw0FUElMc5884JNy5PiwYf8gC9IwHw3o0RO81as6s+xY3v+SvcDUO
RdKdhzy0gPUJs9kQqxE44NGaWr0QEaA4uO+WyJOVnGRQS/9V2rz1tyxI6WhxNiowY4gkQ/+0LMcx
JZ8Ck3GmO5vWyZA0eqlhPM3g08qyp5pkJhTHFrI87WtWC9ca+IjFs8qWBRvUIYmkr8VGpUzoTl3Z
4MjWi00LWZaEMttvGVFZThcY9ddsPor1tcu0fWbn1L9PZvRTYB3NdZ3T3uHcIIwYxJTWpmR6DDVA
Av2gLD/taISMX3cRXUJszJ9NpuPwrHdN3yk8TrrQtChki0C1UbCgUA/UpTsmNyq20vkJ6e3CmF8W
e3blGeMM4aYpgP4OzYE1vtpLeV4NsPdceg7UjAp6ZHVWjRibLDZLx/Q1/SEtt/KEnvt2ua8naFpI
+yhFNXio+r5g6fKs6MslV9FsgqZxAKtSKhtpQ+37PTsvS4F9Uta8Uf/pmRxVzbnWphCxKerEnTnv
44mWTVf3Rb7wViVhp2HEoXGXjxE7YptytWAzU37IVRQUXXIn6cabkjgkddyYQDHkG55kM0Nl7UFu
2akL/bQaW8Pi0UmmCbtEzypoTGPrNpraGdVR/ukosVN1AD5AAF15W9sf2vrJLoZ9VrDolVGgdVsi
RAM570jHrTzU3KGjtnsrmrzRmpFgOzyJdM8R7JkuiGxNOKHNN0r9V+i5Subs89rZ1ElzJ9e6n9GN
NdAgNIgP5HJHyz3phRywHK7auTFAwlfqtZ7oFe+1tb420qHP9nUpAO6wcpEf0kh3AQEg3/5wkuFR
x+muTYvfNxql4s+AvLRhnZksH2ONfz6JfFRy6EtgpMrYMVT1mrZPPEe77CVyPgbrI+lPlvNYqlOw
YhEpK2UPEdUp4eGIOxPtgfS6tslLytSmW3Hgyay7oJrEWh0uKzzwUoSV5rfKfqribZaWnnOF04X+
1GaPxPufZJ4T3en3pjjX663R7CFjMx6FtKKOe0hVRc64QwD8sSc2SbxGxcq3TTrxGjCUGieF5s4a
pq3OxolgJlcbs2NKwJpZq3sthN7iqorHZKLPOTyQIzdJ+jwyrAL+UQ6qe1lxohe4T5vmsS/sI+po
nwWrN8VXWcXqCjooe3VSPZhXdSeGCd+N2FnpcORucLXlK3Yo2XRlAyONictNq7RuVfBhSrWrgXST
guNB2g6n4VZ5hau4QJ9joExNaLa4lS55NIcqpUolO5/5oPkGMrAaJdli5OEqvxDaGMD4+2yTnwJF
h6rtaSuDvjvcTOmDGJH4EuI+HmYTsfP8KNJvGWkHt5sbzR3dOns6CLrzGAVg/YjwuZ8FJw/ZVjKU
2RSppGS+WcaCRo4ZAMcqOrEbBYV2+pzH3XYhhhD/AUeqQ0OXXR5W9vcpS5l4qRmT0QORr01Engfi
bF8WzDnzM/A8b04NV2GtB+uU31Zflr57MIlt12lJS1SWMQu+z74n06yUrYMETdZBaSpRD3UyEjeH
fJbWq79rjj4eS2IxAlnDzNVTs4rdyLcPCjYIQnuxicT0yg4TgKFgWGp0e1Fs0ikPDOSRDTUOetmo
OrOxBPNz0NId8VDHCvSFPbBbi/YiR6DHNzs+qeqjwzSvZayC9b9j/MNui6HmcckxJ+fjNuMFi+ng
QBh06m472hWx96emTd0kYQppf9mICJeByVw1MYFuN3pJUPOtimp+ivlFJOs2S1Dujmo4MOHNCqo5
J93CY2rYbEXcpYOkBl0/UC6+rVzL3fKZd05gNuAC1fdYEdwbIIrNcmu1W9X0LZ7Vcu6WGw3DSd++
gHtCUk0JhWKSt2FujtMqM4RrvWoC6ll5Wdof5+ycLu9WOnotKfO3oS+mdwRRnDec6mNUUn3ndO37
Sl9DZEqKcZzgscXLfiJtUiKiHJnLnIPWnPw63jrFuTfJJ0ctktZkPLfBVAHcwAS8eOnI1d/flZQY
bX1ozKNa4GiseQTbZ3lpOTn3NpV000fbRn+uxDky+q2KN7gnh9z41aBFK/i3yejnJUZMccd+ZMQI
fySMSx6NIAZ/ROs0FJ96+rxij7G0aUvehJeg4BjF8KY5lxg0DVmEAa0MxcyGfBs3GzuwDGgxd7l8
ausmYKGzyst2Rv2M78NlewZ3UtqVxwVyrkbk02JeR/hwjGdjBKWtfGilX0pXezqnf4Oblko8++yQ
GyPS+NL678J5FLRRQ/nQTMumUPArXdfuA4jJZsophBQt0BmrQdLcyvOr6SA+6NNtmx7I65NjIGyi
3uVa7Clp5WaSdLdEsEUFqCnV9ozGF5w9vcWkxr72Ew6LLlE591KuO7T7q+ExF0+Mo6YUblabh2L9
hmrgafoCa/Dd6naYL0lNmhmOuZOBE04dESVFT309En7aBKPS/6qpRW/jXkkPS6af63o1OLfQgbPh
+aw4xjWcPZLKGEDGx088s5kXtw/fVYz8mhKKlyntbmRtRjJSQt0Vm+kG7Jk3TqGTvMNePZoLA5zA
LPNQVXD5GqtnTz6S4M6GiBLPbkOoc7lmfpl9GdkSYBc49NKxaR9nKhmwlDjIUt6fXxIJTcVw0DCs
MxhaKFHH5V5o0yaSSTgCb89IhWdG+zIat86d9D5lPoixOS5ITEqH7U15BoH8ZMF6im6ReWvswgPb
MmAcHE93mr2B2MexJTdR3pJkpk67Eoth4/lji44TpSOlN/KL6tIo91XzqM8fBCXshN0wM1l8jJds
8kyviw+Vjuqh/2kwad3Stxny3LH7dEv1Ek0lH2IWmDEOY8xfyvK6ji+L5RvWVnmNhk+rdG+wR9Mg
aT5+qmv9Wryu3VlwZs2y6q76+JTTU+eyfA8HwCOjg3Ev2Vb6i9lbQUeO3DrYD/H6PpXcXLUNEUzc
jUwwc6nwO6XHM8AqUuYdHzVQZo8opTH1pbULHeRtltfnImE6ZvJMNxYMh1AjGQZhgWewTZL24Eeo
jxYetY0qbe3JIM30Y6VdBBqzTGdH9RfF9Be13LdKHUQ46J32RcNuNJgFwViSZ6EmlbXxDq+h24/i
WhjKgSp9b7cKEyqgbmo/+Wpxsq2MMAYrrPJ01xtgdUADxM8jNb/BuahHLx0twTB3m5yQEqaNvPvI
kIc4mK2KObf0aNB6Z9J+ycagmqHxKCsMj+xJZxNXNxnNoI5mbPJ6ddoQWZDlj3ZTB8JhVDeJMI4W
L09TVC4RxY79mFQGZFV9A6jqoDD2VhywuOarDhDejpPtZNnHScnvDPOyYgaZiR62af7kLgqTWPIr
+9F0SKy234r2ZcjMp6WbP4eSCMQTilxPGxB8mwetVkkioo4a901/WEuLMXXlFeqTld5yeJ+cA7jf
85A0odreqyAfF/MwtpObyKy3o2utnlMFTEuhPUUk0bnw1rgrKegYBo8/uSXOAo54siYIr8eXiN9u
CPMy3UJB2IPJQ79bFM0fieZq2i8hsqCzxaGj91m7W8AdmMH0zqqyQ6KzTr4d/+eM50lrzB4zfs9Z
7iDh7QwDjWyWeCq+P73l7ho3DDd3fA7YN0aNfEab5C2m+bHyxoNwO35yEpjiISbHfN2k43l2HlP9
moQKD1xl/OJJLBHSlj5biBI7O1zbl6y42Nn9gtmvvy9r9dASB/rQ9Ns42fVOKJ4UfZePRzXaIpUD
Syuc3GtxCNnMP8z3tlg/81IJZ4nKLtFDoWqe0pPPN+LPTMzUx4zkl1W5kRqD5/s3Nvm9mbZbpRYh
QtyXrJ1BilU+mztGutZlsu97BhyleV2BtUFs28RtOHG+92t2rG46gmZ5SBEQoGF/dxYyTdo67NnJ
6KXqW4oSjJLK/PG0qmZwW3zUax7OU4WZgeff2IDhYsLQtXuZhQMqGE81KKPmgs/mWnFhxOTB6THh
LSx1ecBX3bwh0co3ZzzaMxEb0Zu0/phEV+DX5MlI9LOavJYjBhConXXLUhT9P7UVOcR3aRczcZuD
qWblOA8M9e5nW3qPravkVA+6eiGAWgdZl7PiFjWTTxMGpPliCyYHhSDaGGu++mANko/0Z2NYHyo5
FEzryV/zRfQtE0dv4U7IQKXXrRcrvzDpYIB6V6fxyFmgs0xuVjq3/NRn54pGQOWMsrjw1qgGyq94
loBCYtHGNtOvJn83Sd1OCuwrDWe90/txASzgo1cTmmCwj/HbqFtMO256DJVP5ZLaT7VCBADygGBc
JTZbhScv3LvqIf2FdPuc1hQskK2L/lSXH7XxVuGMgx7xLZEGWZXRvROTbjx9GNLeGQw/UZ9hyh77
OtpgaeJz/J6cU7IqL1TfyEuEJ6T0yxqKwB7bbcaSVsoYac5svxOe6nrvKwnlhLSReaCzT/UwzT9X
BJGUP5WOPSQi7LV8zbXlnCmKu/CU1HEVTwV4Q3hYq/FQA2SIyBFaxa6bCfso8U0XUgAtwlv1T7sR
J3tyNmaUPNbGsrd1Z+do1lYe7uzxacliRgfMUqjtJufFLH+Mivdgb+PMzpgBiyKMqtUzeLoibuyJ
83C48ABm+im1NmqVQE+kR5QYnAAckXwstHNT4xrmcKwHmlpL8QcA2lNxshq4aY2ZbTHm+eow7yx9
2sfFuB2k5Cpq1IDT/dhLn2pPtIhFeg3RALLZb/qm2K8QqBWZaR+L1h5pYmwHOqnjUlU8jl32bSXg
629i+aUMjfW7GLGyvWUWPAmicmWBm7T5VnEUwcJwbVZGvT6fpbSjlHo2bLbceDPJDWgQXVRtS7x7
9LKoF8nSw1TBUdCJA9lDrGR4FWQDPd4aBlbyb73Je5cvW4ssTq6vkaEXtrGErv6HMmpbqs0TsfMh
jNroYRgY5UV6szMccr57D1jvpoMyndl7MZPT2IinHIKDhfggG14KiEN5LX1bEsGOtnOtG5ZMcubZ
in5OI/lcQ8Wk3NCjrKd0uBnLbtDJMZCX8o7B+wHsH5kQyw4P9y5OsMbfqLHMBOqGhIxhI4vpVFvD
bkrO2lfN0Bcz1bvFyoO3xaxPckcFripXLR4OKALu2qH7AaxQxAgvVnNzg1EkYg0bY9rEdnJAFtqz
JI6T5piMB5XjLJZidKAWg3/2kgZJm9oQIWc51AtepU4No9rG4qj4RE6jH8GCkA6Wqwi2seUqeTWn
lNL1VxzVn7Ai/QNOs92E+rnJHtaOB0xRMclrLyR67haNkfz0gQOH3aYCIzN/Zrfw4OTwG5cqIocA
QABCq3J4QC8SdGq5QUMfalrvSwbUf4bUkoqZcsU2yUNLkdZHC0ZKnaPWkWSAQTwDInSznbJr0A6x
nYQJeCHS0gXpdt8r3Z1locuSFdJjSJDL3+xJMMRHsWlDcOdnk+AK3L+B88DsM4jJ3jOLOoA/cxmH
IbTU+V5CuRHdg2h1ITEgCpvHKz6bt86OqXsn2AmED+nM3dBnDVOQxl8JpjfBxV8rMtFqatDCyGCv
WElYftT+11xKCFCeOorNFPINhlSOgGErGWyZo8BkO7cu3/P6NUjSjorJXwocVhViH1XvXIJXvvXk
Nvfu95Uq4C0eiPI9UJZMnXiubndeQlEnht1q/djIl6qa4JJl9WuURxWwGpMEuRpxEO4Xbx3VZ0R+
vhbBeCLYmSWcda+Mo1+BRwOqSGtChvevPq+3Sab4Zs+qNds0YtpmpFpN1ZuNvb3uGEbHsbQdK1T5
dTgzsyipBFiU4IJDtYeOqd0s4kI2wTFfZj/ifdd19r4014JpC1KLyLQQIJVBY0P1VNqtdFvCxdIz
h6Zf5/emcts7T2HencglIhzTYWIcHXhDTkrExb34eS5ByxvOcbQVoAqjyTqoaRwYarxVHPRdAiA+
I3rmIVh1ULz1Tahj+SvJF+hqc9+oFUGzsd992FyQA8rA26qISTuyoPq1qp+lST0T7M7DnbFCOl2a
tAgm9FtYeR4qevMoZ9JMZ1iZnV9f2i5mHwrtp1t3kiHxvjfXbFg8UVcMEN50/S1dKUQtWhFyVSYu
qTX1KvXAkuGZnB+/I7GyVeAyGC5mwcemr/adEX2qOndxPTfbVB8fpFx7UwWlklaZG8EMppTloCMW
TYN62AJNnheqoqpkmrVu5VR2VWold8KkLjLV18EMjCpdOPOLG8qmwbTVtdMptResbtpOihnm2EmY
00VmYdXbVOI5M4ToK42GsKQpw/P+JBWO1xJ2S3vq37dOtcH06tn9us/WrxwBG6w5wDXaa5Td3Cze
or/o0nfDIGVGwehUr7aywAJh091+kU2nYdpSknPP8zNaCNJzENGpj1Brt0ujMc9PLw1OSWsgYRuu
i+lBHdi14KBRoLsqOroewMuoeWaS7fS89Du0cXp81YxfawW5E37lwP/LEWXeR+Nc1UzaNobhRVXC
Zv+0yg9x86DO71PFUEgPMrwKg575C+8sKI4tBuYLvuFvq2SQwpOBUrafuUmqd7KG6fKNK4biQyIZ
LuUj8FopmLRms9ikC7NU14z/x9V5NUeqrFn0FxGReHgtKF9SlUzLvRBqdQtIEu/59bPQuTfOzLxU
tG+pTOZn9l5bXuahJTxgfAcYuNFHEkc1WAO2c9BYlOhUgq6/J0Ycfi3tAEIRDrMK0uTUU7sQ7OW4
ls2kR7+M6bDxxxhcruf/Hd3kvWG0XtoZh4nZ3zUcfv080CdMH0Ra9HX7u8yJHW9JSmJBnZnNPQeq
bT8JDfB1qxsBMMw1OyR6gyQRJHw083vEobwb4gFE0Hzrl/qpLolTncygJQEkacV5lTN61WbEkjuI
r4F5bVOdlkV9ttMiN1WEXQZ2F/Puhptmh7EmKPX8MmQGFpjFtl4Z7t4cu0/PWSLi/TLQvDqTeBl9
6w+E9wuR8+9DG5evXkyU8+K+FCCYgkqz64NIyLfIu4bttTPvo2ZmNloA90VIFT/amu/iQ6Lw5UNM
jbApG616EiObUdKtTHcMCuSgg9nZH/1oEbhj5cOdzoudL20TKqcHTsCueE27fy88tXNLefNhZ+5Q
qrOm55hbKihlhD3jJmUttUeooRSnQQQFYoK9T4vV/fF6LaJo9PzHKEWa5PuIWGXB2y+3fpeZSE6y
h/dFvilGgdT95hp2DrYeo9xI6HzAebhina0W2MyXpYn3mapeEz6/GVBcIpbF1kCK4EsTojG07CTb
Cn05ddGLdtETxn/WH9+4B3rJwvotVg9TCUYZxdIqvzCyCuzmTGQ5k2R2p/laoaPh4R9ECWkFAr46
96UfHwyXpE18aZpF3qBhoD0DLhy9EpS+c5LqKKhnK7JYBe8YJn9s8tnGm2c9np+iAT9THo/q2fIQ
pRijeMlTmsX8Zba4bBop7+upq0JLsq/q3K+h4whzJmt8JWiy2LLYwq3t+OGoFchakttoVPSG/XGY
1hOh7E4k0Bwyn/CBASoDC00ICloiM4TDLHvLkSVXmWGGlm0fRBnrnckkPAhYEtPvlvEjGlST8pKd
uqOaXWw+4VDf1HqPvJHZ+ITy0UCVpJPBIpuTXk+/JQOpw1g2zNOmYQoQrGnPOljtUi82S1q57DEy
QbNXmFvbIcIK7UKVFM8Typc5vk9Z3ZpxQqzS18LMLZeCfT9qZ/BJOvcfYGYqtnnr1eiRp7u1sGJY
GFj6ycfMTY7SphnYCo5pGFEIuZwL5sD1jd3XtbnJoCsxjGU7HurDt6IPbSDkDdYvM+5IA+Vmho63
PLbMuvz4d43OwePVkvanlmPNZ82jSvQRIvSsMEs8qoI/IPYRzFAbxjgje/527G1WMXuZEZmqTYcW
8639kRfdDnsQ9qUvUBocJ+hyfPAZKOydzWRj1wK+WsZc/BVz9gO5gfTzeznuGH0GU72HSrTTTZrv
tArVyJyMPZ/GwNyz3gr7U1rsnrp7Ltimes6rV4+h0QAYftWxLuWpjLDRug9lMuFAYtfjwQWFHWqj
dkkHGkngqPXBNPh2RHtJ3QvndsXSLjdlmImPUcxMGl9LhrZmJhhCIl+Jnh3RsLF5GwpGu1yOrcPU
ALDeRH5qYalNzrPWsj1PC8zL37QQGsVBOnO6j4gO9E3jXF2uC9PNjk3CRn/ZrKPnoj1VyHDgXQU2
0SfqiYnTTA/cXUQKJS+0o6vDrF7g4YPIiP9+P9Lpu/bHoD9WbruZpL1J5p3DartctgkJCHWEm04e
ocRtKeID36v2eesHGrejxeg5+cNYNMi7C3oHDvwG7+c5S/8ksmRI1yN8YZP8QdpEaJfXqL5fF0ga
Cw7kx3X9WeYYD9heEO5dCbU1+zbQtYG9F3IE8HITT43RXyImpw75Ru6bzwi3T98qnprJ5s/wqpSI
n8t61w9p6CGyXZWYoJx673VhKG3r91Urz6VJCO+QrmF/rPbeZHus8yzoIpgoLCPWpuQcD3+N6Fbd
Iva2A5fdaNxNgjqSFdJM+AiWCvs84hTo6NGr5VHr0G4nCtz72Y2ewT9uXM77IkMnp55zOZwyWvQE
2Nm4tZqvpUZGb9zq5E+dnlpETuiMsvFu9v9GULr0uNrAAmObtPW4Yc3R3rCnIAjt3Z0PDuLJAqHx
X78FsL5q3PgQN3Tmmt3tHP/bUZwuC0POyca291ckNIYj4Ql8F7TwdXGSVrvRrV9i2hP+EPRJS77V
NonOqfxVdNPGpg3NjF1afaME3RQebdOhJHSBW4lBlO5Um0hNAbnNbG1LRm5JtF9sFMqWdpw4Snrx
oNVbHM8Ix1aK9qYFDoYwrXnTY+c8qq+YarbvMAeWL9N4FgB35r1I2+361lnYsktaIFGDEK4+J5wg
oHCmdRwHCL4IIKJs0PfNxS433prsm4sWVvSwizktzbSkPeHdINtNXlPa6UGVH83seXH+tsMhVh82
gs/6DzCTsPTJ9IbsbYVa9MusEJLYdSMOLm7owF2Kece4oE2n6uaVj+4sgPK3dCVNPXzNY0VMiKE7
R1LW1NH1SL4u2dXWbkGzRSe0syOVYI2RGhk06Gy0rnzIWPQxZPlrCuvdWTQkzHOKh7i3oyffvo40
Sa6eWi9kvoTVyKzdqOMpGOv5T2Ln3ks70ElFcf3W9Kwp07JkIdATMjuyNS89Jshuvp8mEsQGaf/q
uw+jkC4YBiMPx4nRlKc91E4RP1rqC+K8YoHGUaVZHU4lx3CpHIfvvJpfHcXtiTyMV/AB/BRPp/PU
Rg0JPr2zI3DjXWex+juvExyWdAoW6yway4qZW8+BryVC3yYGFE0CBPsR1cwV+Mp17n8JPvYWX4jp
pmxCHvSUDwPyCfzLPesKBrcGG2kPS5T4PWXiUBAslF16f0buyYLJ+/ZW1PJtLrPnGRORUyynBnRP
x0yTHOpl/O7cQzM+19rFU38sTT6kPL1ool2K+ZdsROrqYHzqt73JIA4pDUD40O27jWM9tghJYmxK
iarRG98V04s/WPe+/6Hh29GGn8XiejmaamSObIEgHi+NxXeT5KdsQn6Cjnu8lWIoQoNGtkvFu2qM
+yVnf9419MxLBAXDriuksSXHfIv+rXUCvM0bpXn6H8atxMf0IKqGQEbJcqvTllAzSp7cJQtFOnmy
i8mzOqsJeC83/2unha2qx6vdmyvhhheHTL8DLAcfAALXcCQIkM3u0xVdh46Iy08f2VhlzpPqKL3c
2g5Ljdwwo6qmI6i4AP03/YpR2+gXRom5Rrg3pckLEQ8bwu3qez4L+sZg1rirzTlQYzvt8N69eMAh
7oy+SbZD5pEuu6iLZ8JXXViNP0bWPQusR2LnXHxx7Riaq2JrIVeMuohwPa1zrk3OrDyvxzJIUwdd
4UkvjCkcxwSKJdVsO83VnVqQnyOPPiR19ts3EChQEOt7arqj77YLr1RIFuJzglbYy65NjC/Wpivb
Sg00w5R/6DNMuFb+nm0xMX7NsHaTP9FmNevsTP1lhLPqcZBl8rFlocIXxLOByUd/IQxx5D1045tL
qfa8iYE/FImI+71pEM84PQK+VCtPOWvPTc3TSdM9kzot9X2UuKxmSCZlW3mo4FNu0jrxAr9xiwCQ
NLA8ScBuMRCE1DBOXp1fWlet3QmVYiwm8uSyFeBEmsYmTdQTRowDegnqCISfS400ocy5+hu9fIev
eMQZeIotbr44GW7z5JgXcA08kdVWi6V/6IscHX0Gl4nJRuGikV5iNtPcfXqK3GH1TxOLkp5/fm7V
wmIckT3NU8Z2cH3IlNbSra8//PnFnwdlu/MJ8hGc9Z8f/vxiV2usUkxMtyRWn2g+Rjv4+eGM3IY0
BB0Lo1PKJqBhp5Ip2Wm2ohCnfn2Y3Gj55+Hn1/796c/v/r9f+/ndrhv/91+rCBg4ec2pNHkLggsl
GHYeIsQseitlqGnMNVyzu/nkxu+HlIJvU5HSdCZCTP7nhyJ30Xb7gtwFfNMBuNnqjPKQ1IKf39A5
XgVuBU/NJ60a8cYBSZlP/zwMkiyMcUAbbGDTaWbHXWMKXequ//7on5+mdnU0UeSRCprDKvjvA+DK
LDC8WKO3tICPIbliMGuf2agte6TRUTF3BA5o2AvXB1uy6zPXh//3a1GtqaOWD8zSpctV27nnnx/R
xzOGymZmEswzLPqazdwVprGjRCj3jezfIbLrZKklXXfpCVBC+xgVu9Ko5IEB6C3pbevsTVnaUL6m
NrtXsm00af6fnydTvJyT13//wM/f+vmjfcGnJNKdYruscSfMcP/z0C9Vc/4Lb2tjRkKefx5G36QT
+vfnJs8B+9GewYGFf2E/ReKzMxrjbNsFthrPrRG0KvtpGbxXiD7oGehLDOtBK3L9PkqYf2iyuR9M
F4qabB8ss0tPrG0/DHxBqMRQqCNs8fZjRwNiN5O6i0dMq73hnyCboFDGo7MdSVKgGZLJxZHGJwId
e9daot1gsGDQygTz/POAwbNlCqQhfejhKE0p8aiBpnGA9oXfbbUgchvzHC/t7yyLO9TRiGXQSrQR
YNoqjn/FkVWzhMvAVLHgYmBFHV94I3QVgrkTJowbCbS2FNVwbnqEMbUmHpfBEYfcXY55MSIraKfy
CJ8ARQJC08qZcSJnjOP0pN2Vhbm3HUKxlahBNsTKZXXcX2Vklcd0fHZWKE6M3rsY6CqMxU72xhrF
gdY8Orp+itBXavuB/fLWXPydrk1haaKwtkDzouGgt+o04xpnuPuEEONmSbTkZND1wj9kueDN3a6r
xbrLSB8Ln7FZu3TqUsJLCpEn3sq7xe00ivYx2aY2U/pUR9MIWDBoamJXwCz//NcEw2N+iACSFBVe
hDFdnosZ2+AcsZkiMuzZ0bCzIE35+YNzzRhdp9k8FgZqF5ifzt5WzFoHn4nOjCkJ0rG5Heq0ZslX
drvJihC7NL4MKmZND6SsrtV8/t4I2W/JjwC0nFOCSlNzDrlTiFuhUZySGZTv8f8sN9/tYly2AyP6
bnkHiDg+ODghV3JgZsBaMNZg9EV+lypGVq3r2a2sxN2wVOYrr4WxLfPKDZKF1SQZafGekraHe0R8
60AGUFZOLVLOVWsaxd+FmAlzQCoc5UeGQ8z/MyC0ErQCAuzpxc6h4PwA7FL8MW5VNLe4yx7JYfAe
IQluqlRz2SX07mNnmMPeYHBUrZFKk+E8WH7tPLgob+kNzXz376/Vcp1KGzZKqn7qrz00Mwa53W1Y
2N/jey/3ktHI7eehzcl0yvgvDVMseM7c5OosxiUyVtdoScfaFjxNrR6Lff4TmJWa2U6HWL1JwSie
c5hEZ0bk+b4024llPBMbl4uwSy6qcuILFbYw74bMsVhMp/7apTJSM+Z4b/tuRaIOD3VMFVFWlb/t
VcNUhUJ713aTQe4sUKAfjhOMmWbvrCO1tqnLuyiqUfO6PYIYG/tKzLA8rPp+ulDwE+An1V23vht/
gEMLhC3eE96KliSqL3D6+Le5pgv+wG2xTWJEnQz2s4V2N3R6e9Ewhk9W/x/KMsBjwZqwZzTj3Tlc
KWelp+4t0dmaRoj9Di0SdR9D4UMGeCqoGh1f7vpv1TkkT9uybl09MDIqrObB0Dr3Vti4kzQRjr0l
jv8E6tI7sUl1+bj8slsPUWobYeGhAHRk795+Ek4yN3qF8uaymWLdw/8hvC4N7DXdJq0lVqHeM5ik
Ehgm+1RHVsyalzyfify189A+to1iTpT73n2M8/UsOrc9ZxOhiVhqo+0sxHCvynq4n/T4wYnxc/NS
W2E+k5NpZrW3NagIQ08f9FBDuXPw4MxiUXQeYtN/qbrZ5+6jrfshPbbjOGwt7ygGzma06OORHcmj
2WM0hZh0V/qdcZjG8SdvSKEvmp8HpPgXZTP8kL25TZZ8+STf8Xk0MIFHUpDkk+by2W8w2DAy4WXP
flEr5duIKuJoiGzl4aFEqQG8VSxQbwUrVDd+9vzUWElADZbU3N73Neq5n0Mqshma55VEypAYj07d
WofOI1aGIL64x0uI19BtZqLlc17tfnIJKbDS7KiEu410lEM2LEaIh2VCUEHLm8sjQ4ZxMDswqJPW
KUOQADn+n/eXi4tHM8b+xOQRBeY4JXedtiaWlvyVFB3gD2xnXKS4mjayzWJ4EhE7YNGx9Hdq91on
swZgkzeUnzEOIx5+AtoTpwfK8+M4+NmZ66vd1pXrvKVo6VfhVHVoObiuja5r+8KDjzaNurpmSRJf
nae41LVrzGG109OxCPSq5qfrr8EURrZpYH3woUJvdIfrExabe9+tD4lNulSSLuKfT/Q8WHdeaSzH
rkdEP5X3Px+4ZWSNCQgRXe7QYQQhXK0i6Axjiw8hjMVwSldmtFedkIoDECE2eVmKH0gML5HMjCsN
jHEFUEA1UJBUQObP3lFWet9FXYq+NJX//KjtbCa5xEiYjP238RSxLbV5CEHAvZpzS4AuGW6hZwNv
zkAFxEljBFMncAEOmNSnaXj7yXcdU8RsHlO0zAQJgnsmXTcs2f3UDXUYV97eBL/KwNWebt3sfbeJ
K/eOp6IzKAuCsaPdXM1/AW0S6NSaO1DEbuBAFQ/ThYzS3M2srdDSXY0W+cAK7Gay5kRFKHC3Rzkq
6jhiATpisZ9KzFKe751rm+GK6fRvktwet0i+hVGj8KlS89eQe1woTHRnfHB2F8kDfm15UjZi5Taz
MWtx9fstgoQIee7etYbdnI/XySB7u2iPiHcpdGb7hiXqse5JA06iYNQNfUeKH4Vk5z8uafysYDpM
+xGpNHS0D8vO/Sdbd5AiNUoGZb31U3SaPckVoZ0n0ckhvDyZ8aAVVio4VZbr0jS7ITMzhmVVtlGD
/ZCX1WHxCjo/tFujdYDDVFPCzuUuZ4UFJpgGY9Je86kjVUYBH13FJLWHUQeE7cYZo2vBM+2aq1hk
uMyTZ4SpJABMet7VqlZ+oJd2p3GYMdBdZzPjhqvFMZ8yzuHmxjAYsEmHDx24gIPOL6hcde2HgjIj
+wI/E59BXqUBueWsyvIXoBcM4dS2ojN2vEKgDSZpOGviT0MqMyhqdAROEZ39wTAOmrdeO8vvIYZC
LJhICm2pL705vuox6rNKX+70evzwXLqtjmCPNrLQr3s9ultRVRvZWfWxFqwGLSS32YT5Tdr2Y5E6
PismEgJy170DIUcyA/S901xa7rpRYtiQXUgnedKMOPSn5a+RMnpn1oDYKwHdLbWS1AX1OjuQShAr
NIEQrXWOZ/MsMB+0nJEPZjnetxZxlrGl38eF37yMakC6AbN1O1cPvgfckfPOvsYd47ylKJnCoxw7
KYSm3Nbk4bEL20QpcAAnNXYtVADmjMkxsZp+x5pjVdM6CWg2/z0xwLbMWXPx7aS+B9NL6Y0OmuQz
Bi6RhsiyeWik0t7Jt9wbXvdEoPu1apo6VHl70jD94cQ2llD4Nl/uKK+Ua80Bd7l27MV4KiCPhl0O
VmK0l+dJjcWTi5fxQtX20oOT/Sn/foq+SO+yE6m8vz2zQn4yOhSwZbFnATGhEgKDvxoNhBup/azP
KWoBNOnkEaJILbn2PMkCKy/vJmSDrKm6QBLTaThDv2Pd2gaL+i26+sVJAA9EpNgWNKjbaXiIZDsQ
bWJuUwNacK+mmdfHx1RDFzoAgAMCOn+KJIKvIqbfSATw/TsQigcCTAjaqtdhNe60CsDQyNeNrran
gsdi41m2eWjnL31uOpBG+SNPeM9cn22V5Y/etuWFbSyJLhwb4d5q3d9uadlnMf1ZCAPtqvnUmQTW
Ydx+14mmD7Oysu9Eb2NHB6kqx/eu0OKQsDsEZrOxn6eS59uwMMaOzV8NFkM4Sy0NvBbRY/KwEK+8
SVGi4heph1AxtALDMzxNLvm/Ws9oWfY3jMLGRun5WzIb37rlmhslKzPMDYZbuUB4L5GERwXK/IXd
XI+62OPEDf1OR0fO2+8MBcRkxdyZ8rWlidh2sq7Dgsn7H3++Fa36Kg116F38XIXOi0rwgwxym7CL
Rq7J43mjBUjId8JoRLh4lbkBSfeSwCMCUFescP4Pw53VzpLvPkvV/di3SAL6+s4nTnMdEKNB6Gn+
W+25ykaWdFK99Xb/kpRxSOyZCizbeGoXnf1yu2VaKkrVvYnG+Kvno7p0mL19g2tQUHjCFVHcWZXa
27XZn2fACb0OGoQogiRTkGxre2cPMl2Bh7vOLR6WvnhPbJbog42gEO5aTBKhs8NHyQEIfSNICTkj
7+7RoCxtSoi1WrQvZG1thA5mwI//mln+ls6AKAj+g0Qz54ekt+Jt5UPlmb342xqNKSB4iYtJ0/+W
AAN5qadP3dV+FSNhy2XBvmamknGM5GI2QJz80YK3isc5Kcs/VvtmOeOEtLz+XfsU79HMDa7pzccc
UerorbN1+hJVGLqiyqQiHsg/OaxDsEi1gWN4l44VcTknxRaJN17kJdpN+nBf5CCX6k35rDl06L1g
/1K0bzQ8WHVm7k/XfASxEYUPdiE/G1Xj9I0VE34O+MgZ3+JkNR327t+4nMx9rJg0Sdxngi4SHoj+
qKdfWew8d66zt4aFdDiWSnWbm0wWWBLqNcsU62i5JLh3zqCdMpn80jKXtWUnqWDKT7tPUOaXyN4m
z76u1iI9Ig/Pmsh2jJoHadiM6iS42JTgGuExZfVXdERbzCuEUpBvhZGe7Be+rtQ6uhV2G0+hPpgS
88VaGIw5NqRo56vJcvfkr2vfpWIvS7vvATNQRPVZbQ0Ody630DD2ZRGfI+KSmiwKwRyD6TVREgKc
ISGe7o4FsF2ZakdNxZ7ZYZzrztjwDDz6OgmwaTvWIeLRJzm55xjh4OCBg6T4YvY2+Bemzhh7Z7HL
tPlXRVIxelfFfTPyH3rOAu9hlshS6FtU1HxZq5rT+Oz0IcfU6H5kJqIet9jaU+0yp2WYUfGl5VH6
Ng3d88zVCfjFOXiJqLeEwe9Lji1nTebFkQ+8Jt1YRX7LHEKkkMQWNP1Cwt6E+OOVvNayoGuDr/xH
NXxIerfCuiEuNS4A8BzqlILVYx/qHiL9ES4NBN2IG61FRQWiWK+Kp7FBsaEVQa9D4NaTP3EyfeVM
nTZWirSd7jMoCiTnHHNoWPX60wdDv9Er9bDk86kQYi+LIn1O0YyONGE8k3WQFqMKzCjnduFWAtUz
vHRg8o4J0yU+xixnRY6GA7ZYsp1ncCfgU87Mvswgq0lWytQvq2gOCFU/hHgcu+oJzCaYBJNoHK83
A3Tl6xODMrGZ59NQcv5EBMiJOhl2fVSWbAngecrk3ct8sbG5pDZtW5xVM+bbPP2ci8zZmiZwFnue
HkSKY8GIBtTNgNaoR5s9oG0oviwTVuxa04p61008SbVr7cVEpq6AswSgFgZy9kT+LralvCP/dMjo
XH11zH0LK6DzCLy4CjzZ/k0jgrZWNyGWMTSKFbNCid3UNnUHmdzDyEcgKhq8GVn9peTs7Bqrhw4R
PbFlwRsG0JW5eNj3bFLqsb5j5PQgsTwcmvX5G1wYN/pEI5r48iR87Ky6AwXZvmSdhs5h6r9rEsZD
Rx9gphRfJOIhHLHcmkgbPvHCtF4NozM3BVFiEB2MP6Q535DOdQwWYdvNSXyfmQz2ykVezUrkQRLb
Oy12XvkiFzaE8k3NCWn1Ppqb2VruAPsxL/N0poZ8APZLpYdug4EV1+/Z9dmDwuYamxT1JzBa4AdO
SBcdVGuFB8SnRsECeyrVZx1usXk/O5C9TIvaoXTR4ZRk1mxcJAmVRkyiNaL1zPCeQhF5HXyC2Fgd
8EZuahIRy+qoKrM5axm7K7gHS6EuFW8nz3TGQzb1F59DykAQZxXumx71Z47mcx/737PDQg4kIio3
6FEkFj4xaQN0mJjc3NnHsvTNPs67e9W4r5lbgm4p9rL8HWvVHZ/Vj/oH0cNsssBlg6EJ3rNdibMX
G3dK9pc5Hm9FZNTbhHqPzaZNuYiZh+8c77HLEsVGQYVbpgf5U0MDazNQruRzbQhZaVeAwgc2OMYj
g15cSRb5Gtvqc5g9sKLVTOY4AurSuroyHk95fixtDxNM8zqzXuUFdD6ly0tuLFYbTr0IZo36OtC4
MagJlHk/QpNZRn2fMZqgCWzjgO+cgYgz4XSyhuelrX6h8clD0u5x3Oq12PiL151abnUKsw+0Z0A7
YgvoAWOjs9dNy4Yn4BmVup9L/5YT11GOuNhGYlvDzHAfEQwjJEFpQS7K/OpjdbY56BWZYIb54sR8
/zqlcaSxmFt6gIMZn3D6lBkVs4bcCgkG67RHokFxTWgaaJZK/HEv9tJwAqu+CGXm8gGCoxMuyoJq
b6jXZmIZDw9mW7rVr4JesZJJdcgU0SAj4BVXpQxyTUxnWXteNOP3gmGss+KWzXOGoyah+F+smIN6
rXofc63hLHAVGxOjRoxdOHogp1oFjifVFhBLguouozsChjhbsMPAhh2W0X/UExwFjuaSWtnahJS0
THTLroVhVqMUbRHGNUytM2angeHwl9vBP9Qm2fKWRkvXSwMUiPea6w+jG1EjgiDZAO5Hu9u8eivF
xxiil7btP/oaiYHTMX1V5S4zu4OuzKfWnJaHnjgaqkX+9tzliOOtaT+1HcmBG6kc475Js3MUTaiM
uzkJ2cNcq1iPArDLiEka9aWPJqepF29HT71yZ/BGjn0dYebEm7Fxzowo6y2pqlej7u/M9sXOTB2y
3hD6ckQX7+W7eEg/sHqtAQ7lY8TAYRtJ965f1b5lOjU7aKdPXQkmyVcmUs+IqfjciksLQDFCBLP3
YwNtWq5/yIWVPGTwYz5wmPeVfuRDyLEiDfDWzh+Cd4nrgLVCFcJh3bXxPk5BVlZMrJSHeTlyGhxm
kcYzbA84HOymolDjrvYW9cjeDhuQjzVKU+VzX0Z0BCbzyKWCdmXGXzljQWpKSCfsP57rybiWJuNq
gVHZIhB9tzBHZ8pX7T2DGbGQ3YyjaWj2nLA7X/P9nYYCUfSY+DWL/XQ0ETHfFvld67P5dNq8usqJ
2ooss3zjpZV9kEyoVMzNnjQ95gKgUXqK82c2k52ZFeIQ1Yzlezaqi9V/yjIDVvVQ444LqF0wWZs4
GGNDnvN02tH7ZeEYfxaCKEq9TDalwfi1XMDYlSNoBz8yQuWykCxIE8a2zPqDyJUkjJZdk8cvCrUC
mbVo/ov+IeeSjlVY5Wjg4I2xYD/nkZ9t2wENqp6o58Kja0OQikwJWzegRneBy65jQIlcOIzCKW5d
pv0ReaXhG3GnIPaqh0UrL92of/SM0YIySueN9PXbz88gBZZhoeCRApyfQ5dVCiTpUR1ijszIFN3G
cxFutTNmx1jFHOkOT3Q07gwHMk+lWIkTGffdtSMIWrh2LYr6Ok2+QU8idTO8ZSU/Hn7SB3oDIL+Y
ioPjI/iRNvY2o0LTlKxwe+GgnBXFrSdPg/U4erVZyt2CHRMaP1TAQfeO8XpdpYJXro/xSBXk9ZVD
d6+nwwlN5HHQyO1M5+m7pjOlLjAD13C5M1u8A1GEOrtyp/OcYRkDgu+HJnRaRJFIglIupvXtAbul
AmuzcnZKyj1TdR9p3007DTpAY0160GXDd7oUr0Nk5VtT23Z0CHxMxyXsscNVBnU9ydX61lKIPSRi
Hj+6Y1VU3Bteumq0cUBwLA7dXyHilxzi06Vdig9VZTN1U/fgTU52dpriAk8dqR3EwTRr8ju2ZK+1
KEkNSxIIQtomMhmlUr+g0GnMZW85PBsy114pNedL4WUsNRa6UA/qNnGZLD/N+axGR94oKifFdHie
Ip1qrJj21ZAfKKPPWgfxQVuECBaH7Fb+MRNxH+5Q+9DpyaFkHEQWLOI9DyQTAVt7mfIP2+YSStPF
d1v0IZkSWIByKyNBgrdZQkbDlhkLb5H8NAiX0Uxih04Pp8Oe+V4cAAlND3Qwwo2Vu6OFlm9GGl+b
LToT8VXxuUyElnDs8n2IonmKupobrihpkRD4JdWS3ITCmbJgEY8ROnHLp5yqWAfysfG45qbdosUE
gKdwhpbpe2bjuSFE2ds57B/OQtduStrxHTpbIDnydfRTc5elZgr4Af94HUMLwt9RtySWNxY1dg0t
kOUayrEh3ffYPVqcMWFqoUH3k2S6wPwH4zukj8mI8ggWRwbrli99RDZZUFaZiD6aaj0wUOtkVc7f
l5gN6/hGS5geLKd+dkrdZCeW7K2Jo7knbU/l8S1XCFos1n1gPGhVazBbfSwVE5Ly2NQflfwQNXkp
Fa2evxDWUHHjzqX924r4PtoCosuYrMREO9ualv5BGthjW9j4O4v+V+PgKF8KKLEVEAv0Q5zcTEQy
hXzO9z89L0JlaNw7WfaF/v5Fi5zdUMqPmd4imAzvOkYlRJEJZ+hcFHzkBOqFth5PBK3jhR4QZBX9
s+qrQJJRs80Qq+/mdul/TVYLzrmcj3hm7pDsI+jvyVrJSAYPCHT5pTN53pAiyE0CbpCYH9glvO8D
wgECG9H86DJjT2Ns9W0pQQ7SXA2YFrbkIqJY74e9YjUYmK0kHNFuVnHS+ic8PJZZ/KgPgqsVJai7
jmy95sy6atpgHORUz5BNGh20p07/rpoUnauKPvI0uSw1HgMAnF/YFRCWwm8V/Ts7iBCZArRjuPXb
MXMIVJ+eEPTgjax3dYuk1ZifFHv80NUefO3UmoxIyf5hL6wKNNdlVQZOSspxo2DltcNwzKPIPsfU
6UWUWqfkf9g7k+WIlezIfhGqgcC8zXkiM5NkkkluYBwxD4ExgK/XwbOuNsm0kGnfuyq9eiKZQyCu
X/fjHCg4s1pSA1ixp5x5mVa25RjCfbAb2JBsZvy4eM91RNN+bDWOoP4wDR6Xfc0e1mIbD1W0DGRK
wxiGfD0pkq2vJx/oxRUkCDi2rd3/uBVYDWduSx6afAsFPFj0EDQUEH5oP5jtJZEi7OT8SSj5+N9l
XP65WeDD8A6mrTukrxIT8pDXPKgLwEn4cdYx/cZ+C1Ro8HyE3vaSlkQGJ5vNoFMismhI105FslHw
xmu+sRsMD4YbljjeMKHzlqQOXVhTyoCB+/AzJi7CDHrJIhfNqbbOeiHe+hozp5R0TzIc1wus1iEK
8rSuG8MhL1WUWFwJHYw4K7l3zR3RHFExuvTCCWyuehVBwt5GHwpIC0cUMC5EiElG8+ZYfGT8ZFl5
k7DECqElx06AFiDpw7uQNzhE1NHBzbiwLPWeFXRDuVZ6dyxZ760m/KQgfqtrTMJdsy51WDh1W/U7
Wpceg5FGyLp+MQSSNKtDAArhQ8e4S8io+KnqUAHE8t7N3P8sUxu0bXXWveSli3BBp/S7glDKltwh
t40JemuA1sFaia28zWN1LmvpGSoGg3AlC89h0zs16SHqV/FxJhgYUIN07DBVqhHcBdjruSARQSHv
rZb8ck9hWkWd1OizJSao1nPe1SbcBHWenNKe+d9XLSWJleIUNizrtW6lx5vqZsso+9KC3yx1cBu5
BgECVEoggaR/a90F4diTWKETdBH2JTXU5l/s9N9tj+EwqigEcctqw0YRV7RPc1m6cTTrgw3gZ6hT
+SYRRfGo8aTAFhsSjykCrqKN/NLi7qCZpb/Hz3N2wro6ji3XtsLsr1pPjK/VkGnDX0wgRxpDLZIJ
8RcRptdJxBo5JA07u/uOm4xJc5T7nJMDbdXCmsuWpSYVsuxVBhmrf/Xf+8H6dRzBc6n3uF0hiGTK
+Qy4wi97/D3pBIqXdAUV1F6wpYE+WlYFq6EB2zSxL7WxaL9gwd+jUbnWoo3UP+fWLc9nAvue3rt1
0BM0n8zwAU/PhjfC3mI+IHKnjxxgJB7+oGbALewUO8bcfE4CFkk50r7rIaxTgUmWtP5QGXn5wdaN
lQGZxeFPaIyS7GMCzM23wJzZf4U/mqs2MJZ20x0zxsftNAYvHXVsx7bbKXiHh0ZUG1BQ0d5u1XdY
OwlLNd9FeCmWvhv1z7jqcYkN6SnjZB5p6N3KwTinnU8Er8KdSUsW28x0OGigy9r2uavbhuMkXFmW
TQ0OWUQkhwQDEU6WC1rSnlIIQHoS8nenN3M+FGZdnA03vyY72GrDa4b6A4/NP1uOfk0tuDt14H1x
KqMFmxPGmJGHV6N1GJZCpa2CatU2fGymAMpAhYzE1ZEA3RlA6vhpwtVfJZ3kJGjg2hdaFyzZ27c7
rh3oAsKKVqZffBUV/w+i7FWyL2WhiUUrpgO+01qQOYHcQU9MQZenh7gn5JmihZmxxDjRy98WkXgY
jN9Bg6tWcIryJ7C3bnieUL1arcTczqcmaBNETJyJocyO6SiukeRropIDW/RZ3DMkMD6FYlWqceNl
YDKbnisFbPU1W7pT5XHCds6Dxt+4MGufyFyotnZelushV/ZKcNOKe4zzRdyC3xv0j9xRwPpBYFiY
xgqUnQE9BQAc5buJ8rb1BE6nZMBYF4n2OowcWpMDB4P4DeQHNDcPq0XZgvgapvxtmrZJWv62g3sQ
IT+NusHtCMqKH4T8GlLBzWRMDnliU9YG+0Lzj0ZM+CvDnO2HurPXw/FaKHgjBqadBc2ey1Iv3rh7
6GvlkUDC0ZFjtW/7KWI377FStNm+Nzfau59r7ETAKwA5tSMKWWc+M19tO9MAAi/zmR9RHBk3EFVM
e60x/SBrkIRSmK5grJyCaXrhpGkW6Uh3QMKJ3sSOzpJnHoxTkgjCyTb017Asr+19zyV8adGAudDg
4CwsUV6zgX5BsNpOfNYTwhz9dC+jd6WJvdXjkhM6U3JRdHz7LPMhRjXlggXCvyDOYlO9oJmsYFTM
9p09/cZn18P3JvXW84ejIivDJivHSaHUQ1S+6zwhlxYbJ5778i5QdygcjjdlMr7GWdcuVcfJMlgl
nP5lHIHST9QPv8Upi93zHAIeVHMCwn2TbQjbqV6nsd/vpkIjCYqmnVkAm6dweHdrf1xgeRsLl1wW
Ym0VuCVYW/1S++c+8oEGxc0rFbbdwn8uouErha6/qe5Twm2lagHyupXzKLLozqWzWpaiNtaddecE
NfBEDpep1S4a6FDMLsjO8pEv4dFV9g4Le4cR0CFk47OZH4rkpzJIO+OzCGcZQZNqExmM2pOJ5cjw
0ZGEgJ4694obuvnJymylRTEb0bjYmTObNf1SaK7bpii5Zw0k4PoIxbTwZ4lp2MWdNIFrbRmaoGQJ
x9tK2wbn24IonkQxrZx509hqr0ZW+aRnUILCpoz2WnXLaGncZ1B7BVcmLlFQRkyWMmxxtnoN4zmZ
OEl010IDNNqjwX5x7MlOmUOYLUepTn6YPYW5/ZdPR/qLbz4f8hhlcllHvgcMCLK6M6DQRsg73LDJ
9kmn2WW5f2qMtjsSLZ0HdYCLqPhHz7Pe9ImveFrIfp0435oFys+35eNgGCQ0wu4lMtELqr54xQBP
tCngjJlQWxd1Hqx0B83ERY5kATCwg3LZ0gywqeGjfVop+yX8B19eyLXJ9tRLhnS0ioY+gV2AIm8b
qPpcs9JV58K15c2u5YWlBEYCz/rJHePkKd/boPGQsahJPDdAF6LJWk3S/nRCsolEcAUBVoYlllBj
iihB4/MiLoAjKZmC/Pcyzt6J/7vGkb0Ydpo2/kZm/ZZE9pbB5knRHFIJ+ruVdeGb3eOtQiGNPOBt
kY0MTnzQC7oVC50e4yrfPEPsQpsvkotYUgA1D+PcWWRFoG2pK/Fgn5orlfcXMxXyonXkHK2o3ufs
OJ286bZZ2D8aso3XsmQQHoZg79nVt2JFoI2srJLIxRTcEXrM+nNJMIvhXYEPKLQV9xf+UiM19rqF
3gOZZs/tcSV8FGe3Ed+46RxeJM4DKgzWzcQ2HZiitiqL5DtS2rUos+fE6t+mANsAmvB36Yty3XIx
q1p7h+/iO6n9dI+VfZ2RtRNm3a4IEzU733HWQgHxqqJPWoFceDPFyQajSoYu8LBCklw3iDlCzR8X
eUt6pZGApn2s/CyyHkJ90g6dpd0w5XxF0CrX4dDfx1ixA4huOuDbZZeTzjCepxGhwMbkMaU5COgW
SWBAbpuUi8RHDbZfYp9Nq/QtoPeerR9TTBwY76IeUYSKD57vrvtTqPpm1lzVtYDKkqS5VFp3aFMG
kFIVH4kHbzE33j2VpHwlWfCndWSupR0/9eZbqWe7ScbpCVP+sqN0lQj0MiXQ1Tag87XhszeN96Ju
z1ZqvTYGF8k+Ng9YrSGFlitFBJW5/ZPI9LNR4/ZpegFG1E7WZoln1mCX4Dodg6ShP7Im6FcCzWUd
88LqnVVirCjONY9cTRWvY2tXB3fgP6ANHQxnOMcS/3cXwsWf7OCS2MTHQ4BKRPkgZBoqfe50j10q
0qZqb4GPdOq4eI/9LL3Lku6KpJJcxDY+ub+I/He16WrYOMRbSJaNM1MCMnCfxScnxsFOBogDslZQ
IeCQbOyzR5k8n2wGZyEFsEmrvPsWwsc4voU2KE5RRkeAMAU/z5Jr0V0cl4ajjiWCTcx6lQSAYjzD
YJIfQ2K53fwERfwaIpLtjVj7o/NKawrc3BjRKL9jeZSbXucnoYrgXsc5yvfHcvjHTqP+ijF99HNf
LkQ+PvZYwFZxnSDiGl8YGvOjoI29q5Hd+XjC6jDtTZQSew8K56zH2av7jCbo78CaQkBOMC9SHeWV
w7lS7WXKnGrjcSU3ed5xvZyI/mv23sxZ68rkPNTz5WYMX3ozpfOzNx9tOE2OIITtdTzj9Qif3FxG
bcjkzyjTXdO8Zmn14UZtBGWru5QBv1I+UO/qvlcmx43EqrnKonYWjiveYNPfBcL4CwZWQELWKwq7
0bZyKEghXnGMdRuns58B0L9WHRwmMNGrwmG4KqS27uPuw0lzBJVBndo2KzZF14rV1GJIdtdGAgLD
82xv5RvmvTK0VcdVbYXJ8JboqLSC+qeVVmF27foRAtyAewv7J7EbtyBdnf8kbOlXseeKjYWDKZ2t
eEY+/lCFwsWjVS9dPPHaISIssHAeM2FPM9CVxPKMBnNBio16ZSygzTvGLfbwwSFt6yvTRX0WIwtL
sAlzd5C2b+GgY0NYE6z7CqmSigP33bagKfYeWkLvvepI9dvKYfVYQs86kHsuSqda4mio4aI0r1Xp
5zhaQUaEXbxyZ7pDNuLECSfcyaMPoVWTN1tCLSHK2VkwULokOOS0b7IT0HgqOba78LiMBCauVRop
ExYV3S4xxVc4jChbJtxBSegWEIcL9hzdQF3jeNgNSYsANlO8xtiSJMSrD1m5vCGFpBQjtX/DwfmY
PLpySidmvcf4HBk5jwg7PT2ULOSXWctDoDTt79F/T8BeCMI0K7Bac4BMvIDrTZYKh9DKxMO/UpqO
O8adA1sCclxO41HLRpB+Q7RGl7IwLyKO5UXRW2e5zorH5Z6n3rgyQ20/1f6TZqLxEsDwa2sLZ0Jb
hEl6quZeM3YbROkz74amj8exnfhoGhoq+CApKOGuQLMgIESApizsuE5K91eBhKevh64eg2gdK3H2
VDeVFVxhErj/DdBOlMDWvtK1aZfdn80bselzx1sZ6XflIejTWrTMcFLEAV5HBsNu6fcwuyjcsnon
41AqiJ+V+oZnSMC9Fk+lZyiGJcvxSLmxUGgKqp9C3BL4sM1Niw9sqYWFthlNlpem0Ld62RhQJtzL
1EuxNULoCuVEzXOnlpaZX+zw7g7NA2iUowNQL5E3LfhDWLyYIn9mgI1hTqAtO5m9Tuzk1tns+Ooq
/iVTchfUJsFL7KhbMAwbpAoABMqTN2PEPiiOK0Gzunmjmqx08qNbkmOpoorzVVR0NvBxTtuZdyo/
io5Te8Sf1Tu451wDuBWO9Cn8lCEWymZ0ChZu0a3oml03HyheftTq7icUI/xrXvQygUeDd2dh/3iV
9mlUprvp4+TPTkS17YWOccxKwWNMzNw8Oh7yunMeETn3NrnAA8ZRQsiBzv3fQnyWDoFWJJIHFmcc
0j6W8SwAnh29W7Z2V0wQG6cvX7F7Pje+3pIQe/KNpt5MovsTiiyoTGnlsAqsKBUftmwGc+AHwf7j
7D3XbfcsUCbeJ364elI4f3KDPgF4jSyuQlPt0WB+sDati/CL4wuM+IzBmdOTn9Pc9Te484P5aU67
RMn4Nhm0fQbvrTWwFIWUpVf7GHKSlTvbiC7YsvKPGCMwL4bVgXs+v05JjTf1gDTSDHy2mDTpEJi6
9OJzkHT4GHOY0uZ8wBP7pOS77tJd7+fvkltBrMLjOKXvxsSRpKlN6b3XgrF8CKBgmNFXqvEc+paF
c6ziq3y3q/BiGG+h+cE37jDwFMxgAMFnZDPoH7DUPHIxWiVV/eUAk2hodhzeCMxS4Nf1N79XD6zp
V5U3Gyr4FeEmd0Nxl5JXoWMcsJv6CMohtbJljuuAhwy3U32rWtzDxtos/I1/Zjeytm2QEplx5eLx
UffW2gsuAVKmH1pXG1JJYXJhmF0JjmIF0QXHIANnHOfPJLiV2/2FJmvQ3jfHxUCDz+AbeydJdp2I
3uwKjAMX1Y5Xhon0vcR1zTV+YXZiG7nqJWzSA13hupSXTvQ/wrgZ1B1xmtAXnK6TlK8n1FHLeRr1
kBllXESa99gVj+PICPT/21ixjbXj/9DGKnTqh//Pv0tP/1sb61OZfxbx53+uY/3n3/j9/KeO1f+X
qxNW8A3b0HXdd91/17EK/V/C8X3AQLZv2jpN0f+vjtXy+Ee27biu69uWoc9Nrc3/rWM1/wUtQHhI
gZ7Jv+ja/5s6VsMW3n/tqneFJVD8dNfhEmjxOxpzX+t/qgmOGoUcxZURGCdjfEMd9q41w3OvB/Ze
yvyUp8baDwdyFD5rTzsYjp50HoIJ0rQ59nKLJ4ibm93TEZ/KFXVKRy502s4W+btIbDCQ2og2aEt2
b7N9Pk+Jd8hwepNw/F5jimD3hXprJGkQw8P3nKc7y7IcIAevpmvgFCzASUzh9yjseaDJuKiI7OAT
rpz7XcB1TpAGdYchKm2wyRgRNTHkbHy3LyH9+S9iwH+a2yQxA+j0g2Wfc5E95a60HmYS1yR6yhET
duU5l/Y+J/uEUXTNKss95n6Aeoc0mKIw13XTQjxm+0n59iHQYS8VvXjGUEVZJnoytGxAg1Ozq1Tj
bNy6Veu+ATJmJtsEs9lcNDDhdk0hvUGjUMYb7kU8B6pGclCevzbTnp7aGtBJOK9ROh5+zmQOzGcI
qmZib12yL8spxVBJPJ/rlGqvlVbuCsbAFTbrJ6OI9105TOvBIdCCzR13IDu1yIHsi4voYdrEhY8M
1KQnI6Yyb4ixr2rBwa5IhbGVfat08Jk5xfLIHQjmDt1IUTCeqBrk3D1EwsL3VWYXgybodT/qGTmK
RxXVXwY2lCUB9XATNBY6M6QtYnGg/8f+vRV/dumX+8jsrmnZH9mojTuizYKqLtYxEJadITzodIGw
PRonggjQKWisHI1sWvv+b1pTW2cPlcTo9K4qk+NZZObKtLuTVUvYjx4i3Vjpd4muuJtbUorRohmO
TPqmFR6pcuB2SDoW2xpcTILQtqE0E6IVK63W9MNNydXOsqJdnE4PidK9rVdXn6Hlkd2WDSTpkgai
Jv0cw7DZpTOUJcep6AUudqjuR9B1y0zXFkvZISRG43QyjZNWGf6DZ4Evyotg05qUPwUxA20jE2Ic
aUsMPGh2BKmfhpwcdKBo3MtAADatfu9iN+LaQZZDE65JW4UORB6CrhKY53WXx6k1QEO2DbxgeHfn
KEfG4hpseE55J8OiyU4Sq2ax6ivuM11kbDHTIkezHV72LdyXCAsCgFt6LWRXs6AN8g23cOweWC50
FFKsfHPyh1RxMgixHrv+LjpghkFHs9QgvwiMYhXUSa8HdvbZ0yWT0uK89hu0T9FB11aGs/HT6e51
oGFqF89OU5tvemNyjri3dIrEHvf2reKVpeWdy3DVE8zL4osa5EdQ3TVDvQ+6xxeKXoVgNolQC4S9
FLN4zCXaoeR1hWo9tyy/ZElJedFdCls7DnS1UoJp7ULsb7swv0pyGnVhvsLRKeF1NmumHwDr7F2x
dA2PdU6Grg4RGkrNONXeZ5MAt81jJyIa27EKzjCsDdmt4frTkRAkPjzt087YaIYZbMpMfEA44g3H
adCWhwmuhs/SBLwPO17Urd6ze3jvIzNMWcEbN18GjUUwVcMzatq6G7Z1nobwgjkUtoiGoa8CL5Hk
lGUVig1YLRXbSNfYyB56q9kjC8Oock3qbhvX/mYk440m2AN0fbgCRcCmzDxZUVyPU6vg/epZlYJt
8jbK7J+MdOqRqrjetpn+Ggu+O4aFTYSFCUmhdHzQW/lZWbFiBzy+5KkOJaQtyZdGlKsNQCzshNjR
yA20syda/LwGnYj8boWmucGSNdf3tStweVzPgaBBJSNd4/ORsmhpOUn9u8AccMhNDDg5+B0Le9rK
zux0l4O5n3rzUnTZPTPTB9VNLM686MepyWg7lOcsg5CKHBog+dSC5RaFS4uRhyelz1kxEZ66NpUh
qDGDBNQgHnlD7q+tmMmyJE62YfAktZg3HPPMV9TN7vn9PODvSP/RiIHEM/N8PYI7w5WVx9vSDcfV
6OrPUey+JUGFV68KgRRq7pVAlbHzacbY0o/1ZUMSfUy9gKtm392nCaR4iOiEawvhVE7G3WxTa+tG
5VtghPWp717gYCc7e5rgsunhKu0sOS8ukRJtODPGEI0Hq2c8weJlLNHkmwfMbnzu2IKtbKPoLiEb
C4sHsF6Ht0ia+YukEQudZW7y8AXZbJrUQR5QRJYLC26YccIEZC/NMPVOYz696B5zi4GfoYexgtPS
ch9NWb9BsmZQsdXA93J6du2o3/kWZJO+edOLJDxkBts4V0WPjodDp86uBvEE/K3jtMPFS5W0k7zb
NiEPjCLaRdDIoHmsXHrHIoRvvQ9xCFB8rA5JDIo5XDPHmaisaXMzvfqkpyp+7IBCZJSA0Pz5aZkv
FN4CRBgJN5JaNVdNhSdFyYnY3VBHu2TaCCm9jWX2+c2a8hMIwARdaQFPvMusfZHBhlbOdxAptoJc
UegiSTFi1oqxqdYRJzDLPrV8z3daTaFH2417mPD2pnZl8aSLqGRz4qgPl/6WTpFPlVMPax1Ap43C
+SA6yptNcoFbv8GNldRRdy9r+zqknn0sdYue5NJ/hC2XvBWYlpDA6XmOi5MFEOQhMjHPG+rNz4zp
00sPdTjJezMyOnaMSVXERqg1zegi9eihYv17xmCJktRSCPrPf22gvjJ+uRpsWb18aOcwveC4WeEJ
ilZDRU+iE5jV2nPmma0P/ePAyLTlqf/ut0F/inRFT+n8n6zSXOu2ydunz5H3LuC18gJh0bgQpg+R
+6UMZT+nLJWgxmXr1Lbql1jUil1tpG9ax1yVJgkxBHSeFL7JoJSZ/Fd8pNjOpPcpwuhA6ByX98Rs
DIVssDbYHK0Hd25HFDbdFfCztTx/514ZXKU4NA34TCBh56lprT2LwzHVQroOy3IHZYG0RZfbAPrD
nVOSwzU7v0TXZlHXa/iIs06uKg21R+eat5eTvxU+G0LH9N9kPbvh3G1iBfvQGo2DVjJfB+UzDjwi
8mJTaNkt59RaxCaZRykEfMe2oHaIhUziDwvh2ndP+OcgBA5oW/27dO6G51yELIn+wI0L8BentI9g
MAgXqe28dKFy2C+DeuHav06Ss29/KE2ePCkJThanvB9XcFOQW9B6YElTPz7hTjQ4zV2uZnN13tzf
FIQYvAMkTq1nq6qMduWauL1muwXCIRmSwpNvEb5X+EDGr96kOv69aefnc/+sScmTE8N6cF+G4jMi
bjRAsO4MBZ9U9KdepgcybwcucqcAv1CFcJ1X6WNGiVcu2chJKig529ve3Un8FLV27yJn16A9wQDa
qlTbNJXN3C9Z4UHG7aP2wdVYiozYTziK+Muc/sJXkfrtTCJQThMr7LLwtx2X4Sn6diRCMa5ym3Kq
eo4mtNnKgDAxzC4T+sgicmjznoJddeVfhrFFGgQkTX2So8qVzhYgHpDhDliXd4bWrcRsv+DgtAqx
ZoXJi4NATKADdjAsMUfttFmaz/m9GNY5jwAxU7Y5IuWThu5YRDgdjQT51IH1S7NN7FtghltzV/bN
t62+EzxJ9C1hs2Tvxk1D98ErdRge4ouTf2YJMCruYzVQPH2A667gHbKmzbG/9zi7fNE/sHVflHMU
sqJLucg/lLjmPvNG4GF7G3RQkU57bilY3jblzdVRUMYq3enlbSxODVhid2rRVcW6BwUaaJj+xkve
GIv4hHlyMaQlcXteSYgWFkQLnYLYpHIfJeXqoDRWgeu/OoqFaWJekwxcsd6ydOGu2DjdRDY4Lwl5
4ZWP6axpbP/Am2hsKNXRLe6A+rfkR9R69Gh1khTpTwu5zYbeKSBxY4myBeh6/LmKthIHSKdWsyUl
IN3BIm/4Yo4TeeKwpysIMR/zszSg3ZVbx0YOVbRC9PStUh8NNl/RYZIE8DyJrc037pAHJSOjOhgM
DZrfEgDtCDDkGVMBydxdUEbsN6NhOfmjWoMRY9GXjie3xXIQvdWd/yys6erWBgUBBHTylpuE9B7i
F5lEZ9tlKSodPDGcr1S8GrfJxixnEe4lQyieIwZFWsZoqrLHp2yqvvwgMkB/eyizKuDP9HJKvATd
U2jH0aT0JU9Lamuc6qoP4wd8I+ywVnbV2vxJazCX1REJYyRfpru713uLvMftEaH/LfoGuUYD7xDC
7nXT7kwTa7zInOPYic/Erh/Q4u8JpBSeJ0szM6N1JyEzqoV377D9cSJQWzw26QoYG8FZkX1UUr8L
be79Q6UiCUwjNt9KatxE62Vrq0Qk5iefczbBRSWoSAy5v1NVwHI+HtmxQgUs8j+GPT5ss+lRtWKb
BeZ3UAN1IKb4UzfAHeaPmQvNaeH5PL5aXh6/TbED18EtjP3p6DvVV5s37V5F+V8ktU/YJ2jVlTSY
zPR1Ypj53tIA/xPb5jBxypNoc25oY/GqGs08EIdapQZoutbWrmPqRztYXBTaadCYGNEnrEIs5dRo
i13MPe/icMKL/oLLeKGyqlhZoD7WIEcLLA8u/h7gLQqmHd/wZZ5hRk0V/hWukKgfTvqEfW3lguZs
gM5e0zi9gvHvV9ItN0XBWi4oBAMH8n1UUTeIN9gyaC0psnZYFQSfAscCjEHEILdzbYMa2y6DPLNI
b6hxlSt8WWRrV72UB1UW54gvZZvccZovCwi6GiCnARu1Q5UH7GfzzccdS7/6gxeYCN5YUPcADPhL
8cLxbaDKrH0EqO0NWx4wE//cr54VM/lAp05ImqCyaA58LqunGZTmsIdKGV3j30Z+KtoS1dW3zojg
ozqkIxzcvbyV6hp48CQ3DYYpByYlXicVftTTnwC0B8aStKO7GJGHuQmC4j2GTCuVUy9FCD2Ux2U8
vCckAeuz1n5m47lvskWEIlOWL9B9mIJ3HcsNKpHSJzv/AOW5LjqMJ4+Undz76S3q9lAX/eyuxS/I
E8z8bMPI0c98SBk8jZzZqYXcwFSOvYNB/jdCJY2YQv9x6pYvYfqWB8+dQRcRtkpzwLfo3xPvwS53
XvyaBn+BBhKVg1K8zUXr7JMXiqcPXxVWift62MppbY6bDHx3o74CfmzB613KN1sdtOFaJesKBJK1
9tuDTe9IdLeKt8x9ekDN1ixE/2PBtjPAmwgatcgMrByv8zWF4mX71DkL191R1uyCrLSBIA1EoKY1
7IocZ4U+PGVEiim4jAUEKlY0cQEtctjoBkHfh0bjDOWZvkPHn5KXGFN7PlAaZy02OplgDfd9b37m
+Fs0Siv94a/XT7Ui8unvlfNkyGYlKzSj4FPSWmlueLwriEn2oQHk5IUseqp4XVfb0NjYNZ2LmAO1
7uJuMtp5uUSJQzd+hN1nDRi4RPEejKvnP6bydTT5Hnv0K3vgox4s9el1p6b9icUZmAMeacolxMav
lw45bY6Y4thjV7UUk0RFV9Tw2doWH9avnuQURG2A8ERS7zK5KUSl+cv8HhmEWdjoGLSsAO2Jx6sN
fISbEboIGzaiWO9ZeAqyryC+wDlclGzTK/nlqnVRbAPz5E3HSdwrPrS9QyHdviCcSzgoxDDVfOn5
yXHXVvqI59gIALqPWOASVgr7Ed+CveR0RC4ytUvY2PsKlR0TnhIHDQBDsQEXnPAGiyVoIyxSwIQ4
Px342zChHwLO2xwWBWKle4dIkHDttbZl+Gsj8+janzZi9XAunXms5gaXIwx8w/qBpTnPswvX3ybA
Iwjc95tY2wXDwe1/8vRRVN0+7LwrQbNVXT+n3biGv08i5cxRMWhP1fDneMEhIGKpd+cmfGY0l3RU
1KT7GVw9LioB4GCLHlRHfvTmXrRnzTmA/OID5D3mORdAG8P0QbH8DDUdZy0xBn8Lfrqfs4IJKiWw
76a8BCxS7U4CMTG2Vn/jf5OHZ0Nd7O7QaWue7LAfefC/dqBmQRgOSJE8yeyYkmT+Rl+CzONi1euP
Q/ji5zfNfeJn6P6j6+4z7cPFlKpxzQOkB876W8hnI9nG+bXkyq68i1s+NebNbC08RjD1AXfJdIfv
eyerN9+n0XoXlgzwGzd/ESQHtb9I/frtURMwSdfYxKi4acdLEL1p5lNhPf0zBnYrJ/tr/MvIPTO+
2P21rk7Kpy747Guv+shd/Ve6V8O6tN1+HHfUIvigIQi2RteMdWsU3DL5APxbQ7c+us4tpbM12/Hz
yGnjaLLZfpnkFlmZBhSPTPcwvZLnCPLHIWEB/zgAGWf+I3EGfJkj7KQP7w5Efm2ns/LLP3uBoxqf
XWtvRbEa8B1kG15lDkCSUAt+tEceU7ECNT2qCmicIfJU8+/u7ZE9EMFhPPFPtYDTotYOSawq/uzk
JWe7xstnGdcy39oEsh58kCv+gz/Hfy+pfGxB+UZXvXvKmp1HmDbbOeOtoNRhuGjxezv8Nsl3IgFV
9lfLvIzV9c1GGwo5h2lwo3lGfFbhe9dfOWjoq868xz655/FxGp+k9dZUJ8owhnaDoXiYWK3fnOH0
D44LaSr/dcOn0X/mjMnzQy4ejOjYBler+ixtGqkxGMzHa+hzyVv4CbIT4aLnSgufC17tRv7IkMzl
Eo0pKhkJ9Tev+zLwDITVr0N5PV9qfBYakRAo1/0qsB/ZuVfO1tBXc/rIOgRY4+Ew0Hw8tewp9mPy
KNKvwmDbs+K39+vnENPTo5VecjoO+hSzzhrrS9Cdc+VhKM1onEso1PkdwrcuPFvFc27sBQ1wmIwZ
vGANrnCYMvjxMuYRtjmkjgKfRc8flcTvXsky70JuIQQ/Qp3xkxmfDPPJFzhrtI+4v9VcmrUE5Vu9
dekhDx8c+S3VbWpespiE47lJmHpoQO04XoEuhxHHzYAHcfxJnZVefFvhS5y/tRF1AnxwWp9+Hvn4
Hyyd127jWLaGn4gAc7iVGJSjZVu+ISy7zJwzn34+NubiAIM+3VW2RO691h95R4DhqZH1G3tCpT6e
8UChNEpWBDZzKVP+zfOD5MWhiQTAcc+njvJCqbdl9JDY8XPru2tvMxpvvOzhzphv3F98MoS1m9md
bwXJxprWOZX02P4o+cRKEmLwM0jMPOB21vRqSxh+7mfuzal6mMTxDWeTaZxfia9gLpypv6ckZgrt
cilmwU6ddn66nYZXxpXD84uwaviLRQ5x3aMLpEk3k/ChKf+kwMP2g7S5rB3siFyqRvunsbFK7alN
3kalJXzic97Xzb2z3lXDKYgRKpFDU2XuS2deuiDbKObGF7fF9N2bm1Q+wAYnpktylM+cKfykJoUA
R1Xf85fiNyGugSdcI9uHxZ+6yAYFlROS0kYIBodoLPCH3lMqAMITEzuFmjyvCrBfjS/16U8UHEg7
sX9wnKbWa04esXaIl5fb8Kj+aUmhYzBJyV6jZGREB4MWPkLvzPWa5HfmDUV8DeMurUjt9HIRxy4/
LMmGxDvYVfSg9hQPwKwxStJ0+5CRDKGDZ1E9BHQ086IGBq86nXdwKTwNDNYqpu/+WKvbQbkLlGvo
QLJ1qjv4W9aoVBwm8HVVHqz4nKAn4d/j+zIwTxr9hTgzft213G+TYcXNLJrfei1AZ90NnwisdRJ7
tJX7tCWQLzIS7s6PhWSgy3564TGQoiyVV9K5c8m1lkzxJrO17DaMBK0eVFAeyRvEYzUiDBQ+JjSG
fC0B21q54faL+0tHavo0ipTj7Fqd4l53GB7II/XmB7Vi2xI/RdUruoA1cNo0XYfSJWiLYeOfZhzT
QUDN5EEO8hQr/hvVGThA2W9TkeBS5hAuRCF3x+ZvJj189JZyIJnFMORco04sdELNUZrPPiaYfZss
RcY+doljZ9i8sjI6NskDGaFfoAi2nT9uCL3Bt+kSn8ZIhyxPppxz689H0zzBLRrNpuYRF28N7mtq
1kgssTuqlNYBKiWPPysn5IgobICpKscYfQwFRP5nI73iv2yCTUK7I/oUH11OfuzG45g8a8NYhcSN
9Jump0OMtSK+xMojdlOa16e9uDO9uN5OKQf9vdReWfSh17eiuIjzpg+xUzmKuStGOmFs3EaTsTe0
28ykQKddfy9ZCrFVdKlt9m+dQOnICfqBVnKK2QGr4vg5JJe4uReyy1+5dEELwr4XCFS0FbKueA9Q
XAQ3xfhu6HTNDknoRvCScrbNUe2h3iVQnp7YlBJIhY1+mM/j+JGld7n71pSfsPwifJF1ISPNeKMh
ig8vtX4gLC2VbflPme+x/k7DJf5B4Jv4ryIkDgBPfdOryxjd0vThlyezPRRkJFHvhHb5oDPWxAez
vUXzuVf/oSxE6xFWZF87unRXpd84vkfkfm7rjR970gqGkLCpVcV6YU8kRh58fU9/V0nXKqHv4jGN
MCp5NYr84a9BIxKpnNSY+mhOAvkaM2dk7ir2RfTtyJC4Cqv3u1QiYMMA4JbjO6ubTC5ovivRchHe
QpAofyzSmJUYvhPfg8zkA7nMmqWJALxPTOf8GzZgD/Qg0pNtOJ8i61SwnkXSLoCOtT7a+GDVNp6h
GNHq0K8gR5D7flpErVmfY3ZoRiaeTZpeM1XiVf5B74Wy7r0tPhWSfwzriwQ2nnMx39f5uYo/A+FA
iR+E3J9iHUvxgn+GcnqwCh8boLVR9PNSzDYFE1/jgAcd3RW/V3CIFPapTUr+/eAtDSTgwvNXZ/AZ
cXriS1XEiykd6R0QiEZh/moUTzWQJ3ng+vMZOTB/Zm/3GOjoCe4y28QhTLFC6zbjkdFdu09wIVK/
HntarFikcLlaFW4pENfuoxPeI6mkyIrogDBeTf6/jE2gjt/4wLPhjXa5usU3YFOjtVKrU4kMRy3/
jT4bM7aVVLrI8pscHgv1jdKEwHBVldD4fbLzxzeNOz4TP3klm5QuUgYS/SRm75aO1SXape2dCK8M
giePtZU8PCfA43i4JNqpI6Yha7R1K1Omk1ak7oAfFTfSQCmjOif5Dro9IJnlOK0FXJrPlmDILy16
EPsSyF5ADgfK6HZfmQckgkTds6Rwd9QJmDwTMbn58vzJ+Q+C7b2KNWzU5DR0Ki2PCVc2cik7VH99
rDkxutVB3s3VUeA4Ci5hceTLUoPNjGcufBNyiNaea+Zfh8qK5w6w4BzarNe9g1vKIWKZzpiUmTil
CXUzrV8NgGjvQvrHH6WxUYijXCZa7BbWI0NijTccDVnAA/NPz96ZR4ritmTcRftW+FyBi0O6Hxfg
eheLNwMxKFi0zZzDorqe5ms2MIKTwMklMBa1Q4TTwerBbXWkfwdu0dF8zuiWm1MuPixlKzjWOoNS
FZMLmRnAMQSKuJIrOmL1Q/7oQmysVWJwkv6779CIp4DxQJzt+JH7lKXdtfKptU6Ie23ZvuJL1j2D
fnIy4bch2HPCl2BMB4i85dGp0YAZ+5SmjlS+LBsQGVNhmK4i67OMtXUxUBeCJtCyrWqnxE8xvdAs
I1Nv678iUwQEzu2Cnb5RCQrX4T7im5F/ydWpt19kvtaaw4Y8flY+cl3P0MncPEjFQwZYaZ7TtDUf
onAQ5R2FMozQTKKlup3NN3ITiuK71tB6fsfDSdDPFh9CI1F9sImCa8CMUVKIwF+g+ahF6SGiHzCk
ansn99ey/YubP8W4i0DKPXIZczFW1awb+X4OP4roXRp+J76KhhuYNOswcJL6u5G3JczCyEexkaR3
c37OAGBMEbZE2o2RPQWD+oxrkH6UPAeFTP8iqmyCtv4boKEHgcKsfLcoKsHFVOori4Ao5Uly6xmz
xPTG2yHRAUwN5qzw1vOKLEzUbwoebfk7qXxrZ5eXJ2SIoZBDJ/AhvE/Gh2Bti9XLr91s2pjGmxbh
8jom+q5Qj5xvqfIeNlcj+yprtv29RuYZhUn+xjSfkw6e29k156fkA2oA08l3U2D5Fq+i5ubWZiYZ
AD/r0hClgt4Q2cc5yhDpn40VlcbGhiMr5x6NEHLm7cBRdIHZlbkDaFlGyCg/DPVLm9INH6k47spy
pzFx9PaAApvvSRJoEtooLUZUEmVPk/YmzYe63JXCfvE3tpAXPS6RAmWmCyLJ+yr9gJ2MRJjbDYoo
ImoLut1RQ2IyT10dEp+xkpNee1Pq40AfVFLy08q0dG4Vwa3+xHhXd1skYnLlGemrF/5N2KlVcqeo
nzDgBBT06jJKeYIx1elL41IpT0rgkXHM+AoURLZeOdVeTUNkD1FnULw8uJV8JqHG0P41ylPM7nlN
6tSjmByiEIng0Afi9F6tn2IBObM/6rwK9VqT7fEAQCg+4mrDWEoQToO7kXLYjLBc8r1IxHNDqr5L
ig5DTxrcszke/fRk+W+RBtGEp+1zee8tSEeOqiOLdvOnE/E0rS2dFKQ9ufTI0Q5j7fSEzQVeKksE
I3Ldiic5Jpm+2xEVBi5HoClRZXlOxLM7UwtLc1pxNfVHIe6xxKm2cKug2psvJTaoyVaJEwfBX/F7
8Qxau8LYV+FRC5a6AezxyjNPH6KTACGre3V6W6RSAqMNSWzkBwKcT5Tm7MThCOAERbTPOUeS/IMH
m35oftGOHW/Tp49wvlvJF9Yrvdo3yvnvXTSfMVeLsmCi7UUdnbHe1CzKWQU0D/SFNl59JwuLDCqf
0jRQyfkrNV6akawIbNKtS1sBMvb3wXdiNtktT2djHcYlkBN+gdJhf7yqwb8OERj+P+Jg+JH5S3hR
hwQ6QjkbfJzR6hJqDNV0l3IFyswptXkb5/vszrZa/QxrEXOCqzu9i+CZgG/AIwEUVbVlwyBHiSsc
WkWWzJUAEzYqv4UCALHNSk9RD5Xuoko08QwyhRFisW4NSmMD3SGAlXONWlXHtBt25CZGwsKwliie
uMYGy/fu0FRdXQ35F2k6ydNHZMPgAaiI+rd0ebmhFlrs44J+6CaGIrIqLuV0p2x1cF4V6UUWU0UJ
st/VyODY/WVXIToz3gyKvoIQJdTw0rH3iy981X12TBcQQCdva3gj2KgMeU7XcMW2ipsu6TVu6Y7p
Cyvs+BWN6A1LaIf4g1Zcu5bPy6+TsIG0qwBVR6afpCZZgyDaorFvpGOzXOhkzcv+h2adKyofzCI+
FNmu+e7rY9l98lHpPTi+upNJi7TMW1riUdrAia36jrdjHbWtq3T/WsxH2fSphvQ9OgJrEH99vyTm
r/RhP6i/s3Dv6rOpfRNzEk3/AgTiw/yrujKpZ7fMemXCt1HX/PvsGmu+sWlbdZt2r271PrVlPlEL
/Jpt29H87eBIK4HAwcWO1ap/0nhPhkcAfGuZW2YsysD5GKrUsSQqoD2/32gLli99L93bOT1TpC0S
p5wlDq2SHp5V+mDcmA2k3syjGxFS1hy6eMtXZkS3oDo18lEMPiEBhmgD2tqWO0rt25oUEPbmeq/S
g7ZG1M+2uvG3TIws7FyMIrdJkGzH2KcLD+kCxXPKdB+DV+BDVBOWMwknEhj4/B6hDlgV4RyiNK4B
kq6yS4/4DFU41hu2n4mEZTrHAqKtGNP1/kHqmNfFu9ArCEPald6A7MUbrKsyvWGBIl+P0CrpJgJe
pNGvvIR4DV7SHED3SvmELBYEhKw55F1P9ZvAcdnjvqerF7NQYZPaDkENZxrv6V5M4o1Pq5f2SdzN
eskifVPLSzh9LKdPnzzkYq96gyMSSmJ8Eh+9GhOi0fqEJ4A4/vptdEHDqys5hqBVnmFzR4HYur4z
T8SLCyThc4cYTyptFcPrG8Zy4gFjZlTUatvBYE9fYU6A1q7PFqnS5ZZwFzG/FeObKvz5yt3330lV
UvSd3iGV/JtaIr5+9OhLkSaAA2AUahX+fB3K8PSPTA3rAuQAAGdpR3ZKZoxgBKN6RmQJKBx2/T9k
oKtwHSEH9qAz+MmLJaIlJjKbf56Rp0agTB6qxPb8gRwx6wvqeRDR3K0Wz/1utmHco2PnCKglsL0S
vOq14kkAFtLwzILr5INDASkkKEb1Te7/BM0/cXxUItnm16UKvOFRwfDJakmrhH/R9FfC/8q0PQDH
eqD6DH6zYeFF3WIDjwLdrS1yDDfZsxCO2AZV4l/pIq1NWJalnZJ6zMDt8s86v2nj51yf/dYlr5OB
4VdG7CRUGyDhnIM9breN+lZh/gqLq4hMMIT2kQR5LxjEtq1S4hpsokDQlAIEoA+6cCPjD2MdOpuM
yNvQKzHRdyKxAvAxvcVInx8jQrH9/Vgc00WgQbVWHJisanezew/c0CNikDh9d/i1/o2OtpboPSKH
b2lGarpPkqJ91FKDR+5Yr/yIAsavVqF280JxMKdo921yhfVA/zWpyLTbOEUj2w0A2Sy8pO6zNW5M
vDXLSOiI80KegGjcBIFQR1cy33W2eqVnlNI8hS+wLQ+J7hHtCK8tr8jLwyGub6vm0y/f0twrLtjf
KaNYSUXOhLEAxgkBJM2GRJVIOwbRFmE8T4SE7LTbo/klCuWCK4aC7rf+zlGLO96mjs/kpfU3UDMg
7Zc4v3Xkn5vWOlVJs6fngrDnewkL30DGqU8oIKQ3Y3DgHCNnBLO/wlkVbUvhkCDo6FfsK8TqK1td
8EhgoPfKFQiSMMkUgZ4nvL9hbBgF/MTifbQbUkARmzuTF1JTtAVP8Rr92DX7kJVJ+VHr16I0E1Et
dR23Ea5S4hn4IrE9cewEHzomq+UHl0BPqCIj2Qnwg7q2cpmfqXdfbHYtu27AVSOgK6TlmNCLelfl
syOLHYvPGzmGDXGBII3oMDaS8UrVf/5wS8pDqXpq8VUaoqvidlEdPzpU1nGgyKO4LYCJSE50m7Fa
x6TxVI86+1z6y7vcXQoJWJayj8747Yyfsn+Jst3LR1SOJCztaFXmxrb5FEFxbMExsJ95JCzbXUKT
N+INnUeAxzb6UcP3rLvePvr4quJISDzJjhxGnZklT092qcL1ppHbwyiNGbEw762CAd7YsPRkV24F
E3hv6TFtl4ojJVqPsO6Z8JPA8qLO4sCle6rnS9AwBnMVkFKMJ6h1wHpUc40u2kPYCm2EHIHztyNe
mG/IsH1fXkfnqmzJN6tXEjx3KZHHC7a+0+Da640qHYPsBN8BWN2zLPCXLg5xkjx3MgCPyshvtJ/R
zSB4jQiKVeOIa/TfqwDQcSZp4mowXFDTbMsYGMir5T/0rNaVuQrRQQyHTLWAcy8BYOeM5Qi/OK/c
yXcVSJCD/KyYEUO0jwY6+vRFsAwfbxTbXAeeZD1BCiDO3/z0Rxyjwxggi8hvQnsB+SLjadveJ6hv
hluuSfM64ttHS7ruVrRVS796+x57nL7tqa7o+0PWslKpFU3cMgXH1V4VOWHhmmnLf1UkyLVnyXrP
ySqRZQ4Nce+rbKflvSLyIBO55qt1CPogumXtpQhD4oGBJHJ6sXPLllgq5TM1/hkNaKB4oQJ7HWku
dmIQ4+wF4LyKvwhiR3xBFCuRdjn24Y0fnRsE29aseQXC+po8oYxzNeSHqvk/HRx9mvjVVJXLfm0p
j8L/U0nojvzNYB27aWHFOFiyTuM5oCLXC/8Gw0EBQKS+qleocZT14AGtLThP+O//F4z8jiYo3upe
Otz/u1AhG/ONJfyUPGfF+KOUKiV/O7p+SzKXeIi7v1D9ClZQHWdWdKzg/EVrqzpmq7OFTIrmC8l4
IIVEsxbQPcEXXGwC0nHiARc08Sg1e7wsfGnxzqCtlYep3PV3y+LYTrkAolsUHpP5TOI1xPNnlv4D
xybso9vCk0PrC6AQZ6W/SheROQL0C32ihYokULyMsiqNTzUo/thiCa9ZLxfKAKa9bhwJSQNvQ9of
s9halcGPIZJeRr3aJkXgSsYeuuYKjds/M9jAjBIrSpnrfmTv5mkiwztm6OoNkslXX9N/XB3KmgSu
lgCu7QxSJqQUwam8iXiB2pexhNyvA8cyd4tEM0WYNRpwbi7dMiCtZPr371JbnqOELk+Lrpnieyg/
ULfgrjvRIsjJDD5pdzixHeLGymETcs3oJagpLhvE6aTnsv6CRhL9FAWfnXyNpq+q+JWxr3Tjly6+
1diUQPQNW69PTG1+fovgSXtEAQv4plObujTAi/l3IODNRHkcHfTRbWmXkZ4TiuOM5DaEZoDWfw2P
QLbGZ1h9BawwwFmy+Kny62nzHgUr8kRyiNhgBkA7ZSWuRWoUlpCstP/QfqfqQ+6jVZNtMVNPp6F8
1xVkag1uzvIXi1JtecQ+q/1xQH3Cd111LpRHINlq9izNU+SptmG8jRtz66t3If+UIwr8dCS9DeZZ
KDwNidRt5FxmFSrwwADDryPee9pux/OCCMsRclXuHC14l8lGEMKfPvs2ICDGoLQFynEJqOWT4kRe
ELfpaRi7aDrK2tvsv5TynE735Y+2hC8ThCFHDjSaRCFw8AnhzSJbf2Kpk7ZIqlapfmNLUCmR9u0l
QQ+UVvpUodehSJPgb4yeL5hakq9cpHksG5lM0ejS6ZWvCV/mRyY2YDOKNhLhWvEdGgsUFAZF+1X7
AHRQR0V4jwZnljfEnlsL3jFBB4+Jm4NgCWqEE+th5O/sAquMulSMGJvEyxIPUTu8FCPxVhDWFZYU
JM3IVj1xl28H6HgLk+3NCg2Xjiuadr47VI1fDQz1LBKDq/x2KMSM8GtmE596kg/9j/kT8rBJPiS+
X4xGCLTTkAVnLwiYcwsXg8DcZqsoLc6kM+MEPvXja2KdnrxlP1L4SR0uw/BY2yMyUJioHM4SamGa
HCCiTN7zX/XjT4/kZFmE0lIAyQVf1i/L1a31py/kcSoMeUImUf0eFJdGPLN8q8lvSDmzGL+H841d
XyKgqb6nSJYW+KLLbnCSAm4jbEDUFDSwcJaborXfGM4AW0fFHzcHp42bcIk3HAncrVVPcOnwo9W9
vfwsAKzo1yRgy+68zPXVgtoSwggXEBwLxLwlEly1uQXytYHSlDiZ+wcMWz0fMPuhgBU2L+BKjYmA
N3FQO9D3mlUyB0QFlRXRnDnmvFbINFc9oTlJJMN2V5V+o3JEDN9+m3a/lpUVP6PHmygBPofaAy5e
NPcTKUZddqqFN1oX1jxv/rjL6ZpRju109pkVm09RvIjCmfw1tBs7I911Ngpm69yvO6j0q9xt/Fmh
uGnbAvHA5q7IeWv4LeE/FqzJme0IlpQq6x5304h6XP6Ts3stuv6zEm4ooww+53G6JS0ZecYblnYS
c2coB+COiL6q6qRTLQntVKg5aepk/XJkiMwh872f7sv5qGbestuF1sqysexE+zK+GCRvTJ5RdA5W
ULA3+l23RFnLyQbPCoNQVd6ShEd3aYJS9kvUgPZh6OdIuxtIVpOEROvoXTGfXaSsDCDJS2A6qQ2N
GKwhiJYZCt3ZmHwlqFTs0a2iLXGE7fgpRSfc6U5F3i/OsnXk9oprmYdAegnhbyvfI4P15hLHXwJG
uawlNoFjzczJMgE5iAOgveoZIuDhiCDXwPwifoXcXPpILbfwuhI+y23ys6HtpXwPxr1wGNgllqcM
LRaYh7PkH4fbAqSk3Avpoe49I3MTGOSk/mUL5ImPLR736AeXWBi6nXWWNERwRF0ymhQ3invqVWQn
dF6sRMZsG+uspe7afDNZoTuoHwMEk4kl/y0mh2S8FUv75QHkCJ6J5nWeqNnaYsah2XN2dfka889n
msj0jtiBZJOobOzxoW02dBqM7uTws6C3p1xuhb1iNLdLB/KrBMoedy1lFi2zZL/SCJdhEE6W4gfO
DmtKwYAZ4CeZ+HdSFVlXlwMXPlZwYaWxlfAVjFjSzOWpz1mAekaXNsYCug7qfaPtLQ4QDdfUN74y
jLi7LkNNJwBrmEtaM/pEimFAt+c/H00UAXnWreb1qludDQd5RHkfohM/Yuz2m3j811yJhWBIVwnl
PybFH/l16DkSUmpkdzImIERe5opSxUPJNgbFhM7qPutQocPRANKXsiMTA1ZDL8oJQ0dsuxBcA+ul
AxcTHyThy69ek/6cSp1Vp3MM0qLaBrANEc17wsRXhg22DKhgErraGXQIE+ZKlPYTj++kjRu1UkmV
/jVErE0HDlesN7y4/UYnts6rmE9Wujc55Xi3JjaA/ETF5QT7Kj2JNkXKflfYPGamxA6AVTiHNN8J
qRtmB0xjivxIWIbmm9L/xpwwhBstK5+e7keAiAENphIhbSc0PG6AmPn+EdmFyVetgLpZx0kBQaai
J8KvNfYfgeTRSY2CaVzcZqsi+mkGWLmKZBDbcvR43zBEQNEte0U5M/8wkJCw2Pbw2eJTanZZcbHq
z2XgKn854troGRss2Sa7X84rv8Dwo80pDK0xDuStEg3ZwJQHMcIyUhUDXj3WO9REYvNFwjohq96L
ql3uIRRdhCxskfC0+NzGXeOHa4lhtiaySYC0WOXoPr2YSOV/CCRwURrQmCeU4MsFvkDW65cBSyIS
zfcfgtYcap2cUYT88lNJIMe30F1Df+Mx6CgIIy3k3mQnEWnqUNxitFcpGv6GgxNiak2kwqpZ+3YY
HuR1A9R6W4gj08TRgNhcuRQG4kPWD6NFffWSp7WW0m+wKHEy81B1ldckXI6MZlHpIn8REUJYvoJu
CaR7OeYaAm2h1UA5F/+zzcssaRvL/I1Eqi6vfvs1wbbnCPmX98QyUQaxIlWrIf2ZSNFDRx2pd8LO
3Inv0QWtoOWGUnTFCUpHiy7knAC82oP8GHs0EzBry3E6gwC1zSIMYWOfSFaH8RjX0bxbCO/Cfy95
IASiUOYSXpXfndcGFR09Rt7CIYTdbij/qoKvyhZDCpUuI+oejZ9peOvQj1jvvLBN/s3uUym3qHwD
pcIGZAgcYPTa9Jd8fKPswQ7bh6l+f09A1eFaVd+xY68D5a9z6aaPaSBTTsHqp2JJbUKI6IHEUoAR
zW6u6VKTvBMl0D9iqdtH0H21SEn0kQ8U8bnFr5N2CYGJP9D4c38ht70tnbT5y/PfzlcZbpHbdy/T
2spMt8xvElF97XfOGbxVeCs+IiT3mEP/SZBQpR84hgm6wuvA4yV8cuZUE3HpJBmd4sKt2n/xsBuK
E0ulcmBW4G79VXQo0Gu93H77vjqP4n1h/6MN/TSwDKCGA/2x2IZosCXLn1woZ6gRGWq7hJNE5f/v
8FDxDi1iDUCmchtsOv1TC75JoQTIAF6IABRw/0KhrIXkqzJyW9FBbBRH6Heceap+MrscjPu8aBvG
hkd1eLdoPjOpqdn2EHncKnOPKYm/nzfCzTwDrZAbsUyAlUaVK0SLoQKQUQHPIe+P/dCW6r1GYJjq
f5nS35yzj3loOIirPKJCA3HJ1j+t6o2bdjNQSTcfErzWQ3rqw2UAySNUkZ9NtU0EL+FI0m2M4qz9
1Z2u5TG7LqyLQP0Nz3jXwft8oAqoylOFR7DqvwHcNCK5ow8AtWHJk1NdxFS8zSax6oD1yyEfW5w/
yO6VTl4pAOX5Np9sIb/kNJsmOzLaGvlf2vr8owmahBjm/ELTJTV+K/0JE03I9p6pLbrWdASGdcJO
BT2PhD9ITVbVKx/aGB8qh9t02iyojd+9i6QbytJCmLiIFcLGVkLsTJAJZPXEKJy4hQLjYBUQapzO
HwkS3eGuT3B7NmtA07M8+egWIewWp9+JS5mQIDxTb0QOEhld0q822f20qZHSyFdF8nQiuEWmD6au
ZfZDXT44QnCADl1OffSudWYihPqMehLd90ZyaESWO4ZDMt7KI/oVG1hZhN0FbhLSFwkTuLY+DLLh
TRdHlq6VSADvaIcB/mVsQmn3qf/JOXvytjU9Eb5xJpHT5t6TcI0Tfo0E3MDjTJfEWmlvtUP9S3k0
G6+JnZFHjKsPc5Nm/C0uCYFGbn5+to0GHpyWYTKaoOzMSyq/QvPKIznKWzIbPBNqTCXjQ12ZoBgf
hkNkx3CIWAxFyNHkupynXFw9YoXhLyy3MscUi15vk1MK1HaUIIcbuJlS+RXIza/fLWvD7lfwn+SU
KFC23H73SOyBj0M2Xq3417kEffic9+Ma6AOVvg+MiC2g902OdzK1px/8lx7sIuvJ5HCvdYdFF9dl
noK8oY/qY1P8KMgiJFLsgC2VrwWy7+I3nb/V71GP3zj6yRVBOEtAvzGAfWJUWBgI8RbWqUs6nkth
OTn6C/gy00/hhflJtFBsgq9p+VbTzgo5YpS8r2jABhj9hWPkDDa0rc6fmAMZimOJUoBL1nhYiLlC
L2ZQT/dx9C+wrrI0rb5Jp1AunbXR573fHP0f9ovuJxD3ScHYa/J3AObNnHXY6f2EakPQfTBiZl10
mzVDHhPjQODcErWAaQ+Q+z/YDyyFXaslIpJvgECCZVltUJJa5VtT/Jvea/lSVO4AecmzIDmEmFGn
qqH1bz5rVJvyu7Fmx0tvoBi1j+7oOztOxXduh65GThLCWKyZY3LVEJD7P5bVkbJiruDEcHlwav8z
hS2jsszXFKcIVQST7RhCVGCtZz5L9jHydgZm5gLzv7FKEy+I1c41T5gg7GTkvT1PxcNU6ovZHqdL
4qHqVLeNV3jAKFz7WF2OzAy+hDU+XEPw9BU5piKVElyS+Re/m9gffSrHTFcDLyyIsGDZDr/D7tVS
9bKg09ajXXrv8Dv4aOYwi/BwV9GF1L+1PFgHci04v64673QunSThONqMGmN5rhC8MjMxJGjpefSB
JWuUjpTP6NsEaCijwSgEASY8Z1UTbgkiK2BzWyRdA6oTSTtmX5HFKo/vAgAD6QxBFNTdbFtX98rA
wcDB/r1hGXDNZp/YAYXHuAl+rfI7sp5TvGNXTqPbIG0q4bQASvwvq6ZUnZGzJWSKtRroT11TrpHW
R6YbzMqHqb21+bPI98VGROTghdTaQv1y5nybyqb3UdzEP1F3EvIHGAf1mNP3FH1qjKnVsxgfNDeA
XE+MMDE35TdSDY4bBXEaYH71Ian+Ojh0/kwvdbVWbdP6/W/3B5FPhL/IITJFh8Li4UOhzlAF9t04
s9vDoWAjh6h4TLz8wjURr0J5nJINA56OQO3k909B+5KzEWp9WoWUe0zBb6x9CVlxt4bfooMidAmI
rBeOeRD+lskwi37F9tz8Y9iFUuvYwfP40QNECcO9456etRuaYVIMDX3nRydFPos9Jd9P4k1Q04ye
Gp5k3RFxP8904ejRBfaAeyBtCfg4D8pzIU+anDOCsVs3bFI1GIyyLSbltZkcI9H7QyXdPgNXQ6uP
LEOlWQ+THNROwOtXIxpa4kNNQNKMFW8R2M3mdyO+sc0YGlEc3gDihCawtMnJCHAMKf37FBIttmjC
8dd8VOrJyrfL8DPm10UEhtyo73dTeNVRJ7fCt0WfTSWu2uxBPjniZXw8/fwuMN6rlLWoYDWVcWj6
j0bY6fHNSk/prAGN8uYNN+BFHAJQwhtVcJcjgJHRgrWpK298EchYVrtmBJI4VOGfMFzG5kNB3aee
q+QSzNx8m7J3Y3KzaZyfHLihzFraAaZ1jiCug0JylLUMeCc1h2hAbuO7QXueRSbcg2HeOp1qkL8o
fh+gEjrkXcCXPCI1ze0WK67Kvwe3fMoobhgdXiF+8aD67VsHxp4Dg3i5HECH07m6zMKa902Ir7py
EcSHCrVnII5fFLdpc9eZzsPwtHByyzJkJY8GRWOiXAOJrvqNMbmVw0UCS36nV3MBNdoS14F+odes
nRgiklfU/yYd6vILLABaJ9a2EfObVkuww3+6QKfTXkL0DM5breVkaxXPZU0Xm5tv3H8/R12zqY+w
I+2rjoCbu39o2SZ0FldsjKN8yLjeY+E7Gb9pCU0ekcK4vX6V+s9CIRlgODO0l5Ev1dkR6rRptdgW
O8IOImuvLFILh6STAi1Ovc/Tz7r86DBZFo+er0aRHpcyfBqFSWThqpeZtbu/TjOW51wiXSr0DPbO
ZXvyqDrp2gMQEwnVW7LDoWMWAjIIeLpNh9Jbgidc6O0aXTTKZAyFmFvav5D3WmUAaa0Hu9MYMoK/
cM0YHZC2hNBiMcpT5EeYgJl2qwqL7SSfhOhqVTD3nAUL2DwgCN+1hBwvRWVuXuxCl+mUC2D0wDb0
xCESm34tWk1YPtVhg9dhIcjRbS7IisIXIiX4+VEmtcPOByxYZBprPq/mLspUQNXfou505KIjn71U
OcryRxoz26S43DNA8F0wvk0FRx5GnYX66SoGOrBB2V5GDKhCFMk1WjFmNrXYCOEG/Eirv0zieYvs
V2K5NV69DvNr/CgtJPWKUmwwvBgqKhA44XGEzeH/SDqP5caRLIp+ESLgzZYk6D0pUtIGIcrAe4+v
75PVEbMY01MlkUDme9ceub0cMOYAJQ3IW6ihilmX5mu0XhpggRoXc1U6dbwzRvEAduVyRE5bzpl9
yzexXHdwI4Q/+70GN1fMJP4B0+RrhBWu9D3MLkHOw7nRGdRn2B8tynLLjRJR9Y5BIqSE0Kr/2BCQ
osyUMl1YQcAnMwClEq1EBn/1tPWO9Jbd9OL3F7CDw4XCri2HVFTxzsF/9jx7J9U5E2HStj+5/NZV
75m0LZp1QHIFMCbyPvhRk2SGpdOSh8j8PWQH079DH8wVaJ6Wo6EqeKkgceQK7B1xRoVLUZJJiT6b
2a9fMe7ENGdv2xLrCpIavIVUorGMzAV84d987gkaQf26W41cFnR1zevhkkY/Yge2OAVt0jYUiGGP
3zlpfwZgo1hZdP2nxHQJ46xoGwTbvrYMkrm9whQOsu6d/ikspnPIWErQjA0+jRhJ1j5q8B3vDpWa
kRE1suDLLgWpc5sjOsqoKSHNtyIirEecbtkAJ+Sb0Qq+TSbU3hX6E1XhWH7vmnbJTrkgE6fiN66J
gPs3BjjVJvJWxNKCDd0ieS8khRRiw2JmKM1PnnYNxpOffhoOcfrbWKIjC/cNMcELDxnpPHArkvBm
mCPULT2AoyA5Fqbcz36/K6I/+5oUEplKoDnYYjuIr6WIL814BRnLQVQD60JXRDj77Zj+cVEjGwI3
WpbrYDPo56R4K71d7BxRavLRk4eD8TceyM7v70LKPXkShSDvVnAP9e9GvU/I9vQ5YEHYrCmMUL8T
NrsFQhZR+7ogupcsPUFGFyhD+6ul7Wk1DGIa/kZjQRMlxM4etT8aeew7DaUooEeFFq4SlqYQ4LVG
UovlBMKImvKVqkyYBtG8coxvy+LBVxE43NqcL9UwT0tksRTF0EleogDii4Z+cCGaGGBYBYH8e4A+
pb063KJ9deoXCE4I+7Ug+xY9NB7eLHYpyIG1v+q63754C1k/bHNepPeIJPfQuCBOxvtLLDiXvTif
mKor6o9ydmWXNZu0CUAskDZEhgzuPbys9jno7zHEUddobl/e7fFpEuwohySy/KbBLmPSckk2zn/G
pkSYx9OagSgwYssx8MDsSdhKqYqS+Gotni+bVTQs8o1tTxuetUWrHinjgBKB8GfQ2tgfKCvEgeaV
fLK3nrVJnU40YuMaYl8ICtzExXvcncT56qH8I85x/iuhp9CTL0/5jSPOpADlR33g0wPlRcW3N6u1
ASMUBCdEUNRtaAVUcIfavnMTyyJf/apRwEEUrpVvNPuCMaHC6uDrZC1eswHeDxLEuiHBJV2Mo5+G
YRIfZZDMhqsLDzeF9yQ9Cvzfcf99cpm25h13bSZscQza1REfIOwzVx8wB3yBwAV1bt3yoK6mpTWe
paWMo8tNrQ81+YOdN6MncQI+cn1Zv9jdOsz3UoKCiuoOxwctdD2uj4Ji+rEul8HIjICcspDfPO8n
GKnjxUOIuFKXfnTnL8zffCIRuPn5XLVoSfAbTZnbGM2N0nJm9reYDRUz8aQ8xNSohZ/JnJGlPv+g
LcsrVpBwTsQwMcAzIehKhiPgRYtApPnJpxXqHPFFNCVOPV0lRId0mNJxU4DDb8nDkM1D4aDn6g4j
zuuYtm4ip8AnKW/AND3tcs7AgJMFrrVyiX4RM1gWr/sTJwymJm96fFBQjN5r9hWgXOMSXRTc3iSA
AfbbC4cTvrSdRSelnADJfDMIa3c190uweP+DAnvkraQCEiiusdGod93b8pZLXzxtAcO5M/wk4C4O
gFcAkGsX9bc3AWtTvp7x1gfkLAnbCKFaFXsIktEPKeaMT9ZDcZxAArrGmvk9KeArCkxoaHbJ5BFg
nErlBRh1E74aSzhMbcpmfJFP5ABlYI3hVa8nIZuHOkQYhx1yZXrZqrMueka6If40y5t/E/SG2kYQ
luZliOlK5zvkrBXwbYU/JtmPfIv58MWzzqsL2GHuYGpMWL2KKzwJxOWq0T+ffWUv3wLTa/64rHiI
QreORkZ7da6hUokxb44DWAcTqlq/m+NxWvmbWn1KbriajIMAMspk5a24deH3hEhIIdOnRZFBID15
HghbuLps+xaKH4K7PiMKDszUW3rVpyrBsmhoLkncqTBunVsfnYv9FzcENGh/PpBj/LCiM1/agkA/
j8sC4Yc9e6u8Yzent7b90o0XsP1MBXuEXFsgWVb5FBzaKxTqiXp+HL4/8g/x963FoREgLYXIYtho
tF/+nUjzV7fwnpq1tcPdQEi+2YOKqZ+jdk6ldk3hAoqHetWrZCN7O2roFuMZ2HDBXjynGdLNA9SJ
i3huTslGK1DO83B0dkYDHsbs8k3/6mhwwVlths8Msx+fjAynn4iTgtfzUTjc7DkiIVYzMA5SXPlJ
HYDe+kIhxTzPd+IkqCySkFzK4eb2+FJ7PokYW7z1KbpkKMpDqPCSiMk2zpF+lFK6vP+s/K6JOCPo
Tv89Ln8GuimoJoT439XpuWavZ/kkoaTcGvGdSt0+Wo35npEZgDqUWUf5HFO06DGvMFAO7/tbWRzK
8tIa35TSzY7TtJlQECSKAL0qdhGadsQEPHPmrcaQxe3IXyFcUwpHS4IleJdtvJWf3KbgSpAPpYO4
3rzukmgCXCVPNpjIJ4A9LAl4QNbjb6at1WII4gaoA421XYU+opMXfqyEE4iOkkEnBJYev05cyyo5
KMeVLUtrkfdloMg3OS74FTyizo3eYa9gtiflaoDjbxjmZYarfP5tC5Scuy0kQUy8P7BgI1pbBF0l
3QtQiNx4cwWJCRFJDGEflpeTHYhoL7FcoeSanMxFVktdw2wMFXaRB6lwRvVOE0qrbfPqDFGvF1cc
M5bzEVNtOlRE4EcsHl0w0+S5A/fZLH22S4/iiLId5zYEk9c/cRMCHIPIfbLJkmYFwsjEeMI/XGJz
5mf2MTfTtAEPczdM6Z/G25iA5I7U7M5zSLpY7WbOXmtrqKR2xhpkljuxCXkTVqFtkaD2nBNdahxM
pG1wPLW6LqJ9LG8MaUnSr/yYDKqBIWzZfpGG8kzqJKEjBU3W2QY3h7oneFAsR5iMR6JSEHc2wdLq
mo0TXnWKi+0GJn2d8CP2XJy4ZuG6XbpuZobMkc9wZ3cgoKjiuyLB3Lvo7A/WPWE9yPmWxTysBiyK
0odEDXlKsYN/r6Ub8VP9w/aOODT7kIjMcd476L1JXHfouclUQtKTdoF217VAgoD4PYPxC8vDQvY3
evnVSn9FdAcOz/Jzh5bDByg3kAoqMLFABm7fHDwLYfmxT75Um4lTdMeA2WDXFKoqi8G2Gn+ZTfka
2Xchds2vghLCWjtIBr9EzdXehUAsJW6/q8f3kXwGEUoZkNhu2Vr7pPsryhv1n5CX4tki63MoFmcu
b0KaUK8T7MioBQtrLnIkH9LKwQuJyodvH28QcxrhJWvVI3mfb58ICjrEZmOOY/RrwC84e/XZH6Z3
kISfij9p7N6s8Sa+jsp89OGhgIeJV0610lVsZtts3MeAvprQn8I1mrI9jzlOK8J+o44LMX9WJCdJ
3FEYI5EDZuFSe4q8eY5TRdrCOTvkuBCdDY78yAx8IMfWg+n08cSTa11ilis2ZJpSBxNqjBXOTpK/
qu671UAfqZvVKWkTkU4FhEFhISFFEekH3zZ5YlyTSFNuibiOm51aXj31UGY3DyGBR+CXoGR9rtqe
vSITzUlo7QzzF6DVL64AGTo3feJqzpEUWGRbIuvRmMnfo/3FJjnnykk9AL9vc3yP1C9DbhZG9dRg
DgjIAZYc950TklQAEIR4VcCefvEnvtNQepI9OR+weRA8hIl6w/HMF9EMWxn4E0dFyjJvrPVwmZbg
t++29F44f6a+41TIpaeHrsIqZJp1n3wyUtNgwgGh6M55dDQLvvmGjSYmk2RFFP8yIogBSkZDO48y
J/QPmrWxjFfefOnMLhRm0eYEgoAkDYALXFxClNiSrjpdFTYNmtXmdLsskuhuZ3v+FQMDRegROyYG
W3uqEZ3mjDTUJi4NKwCHWVj2Wqk3tIfU4DLWdMw7jSUmRin/I5q1ZBQdzA+JfUgQnCXNDpaB5J8M
0DGSOgQj0byR+a+Y19TuJmRMHPChzoF20Jq7ZfyForiruUCyeD6xYEgJ7XPY7wPv4tdvWNEAvF2P
NccsJP5eNjvvg8w7oUgBWYSY4CqI8y+vOwTmQWvPFUBQ+hOTaTqu64qxsrEXWk2HjPJrL4gs9X4Q
aM4T1s0oLFDmEPITCUgAubNxQi8pNt6uVrFRYe6jHUVrEDyfVaKzSulTq7VZZb0Pxsc0VRvD1JBU
Tm5mow9J7kR4YwhYAJmnJf51lHxsFGjCM+NaByqGg3qfVGDV5NsXROQEvAzx5ECu/Rbhn2Pc1eou
0xX3Ny5HOoC2DJHUS2PTFfCf4+2Y1SscZBwbs2tHJOwLgKPcRj7IomPADxxEDEaIpwFiTcSHGT+d
ujC1LS4JejqJ4zT3ENWS9y7U61b30KarajyFn2/ixFKbb6xZYmFnH47STyl4BeOjH7Fq7SRE27wc
PJQq6uCalouQozrDeu/cwhpn0mEYLtYYzdO+n7/B1oV/NRpRupXCS1aF5GZ86SlhTzMKnYYbceGI
QTD1rYm39v5QM5JOSryiCWk23rPmJlefAAvMYctJAwxb9Ujsc/k95HIe34xdY19KrmgN1Z5oB1vr
XMzSqbmq8jOof+x4H2QuGt1936/CTiCHvmsupOoWOBf+FJloi5JaVu5aFQEAvkYjvJC9vbBxlng9
tHnF1bRR1G1PYjkaXVKxsGtwn80V7uovMraDo9wfPTJSqD9Gw1MhkFjaPWWIe3FRiXsZtACJ1lLO
9klC7i7nGQGf/o8qOo7wwwpAfjAvBAn6s7OOAFbaaU+SgioPs9dL9o5ycSwK3h2Adenbat4n5w30
tIFrsdnAhulIHyPBnZb5SNJLD5DYV9g6prex3EjjulPvKWa2qJoZFBbUi4mE1ysz06L+QOdF4CZh
XvnKcYXKY1KuI6ZKYHa1ceaK2i0cyP7MgBY+0KWLuVmn/Ud9UTDMcX8K+Fszssew+VNZlUcuEYRy
tE/rDUqmrthF0pFw7FmFmVZZ5wladU5LgzoGxIDie9dCZ67pSyPceNlH3Tq0PflrCxRLCH4bj69K
cvngxNiVEzkgvOaIGaSnwKxwO9BLivbKO4pPwlc/UmuX06mK2IRk8TysFnX/UZvkbzJ6Wc7OM/d8
vWNwxvuAVrlCqRah9W7gJSj2JXLT1ZBbSMVRit12eFioW8hon8XexxvUdXYZF8VciTdlccpUlq2T
+AWi8KnJCNIWEL3KG5QY4cEwGxwZCFus4XtYh8BHLPNIY8/AyfOYpMZSOtd4NlDHK4SOT4Ub2PAL
s0xbxNMlgc05g8FpPne2wwOSfkkGwYn1XE4/Uv2akhlL1evc17+z+qgVt0n/DJCwqWji2jcGKrQg
0jtxb2G/YBAKm6XOC14emoU8l2j28ihK0IjWdIhvptwRpw/wlvJbaNcGX3/kZqDJHkakOLkrALh1
sbXbM8zVG1G7M8N41fIhw0/c7Ecq7dgdxvKhonUUd63Kw5hpKGwNpOtA1R3cOtoElHEcpiVS76jY
WPnJQBMeriimYGiAZCYWEPYm2EXpokluqQxWO/9ybFqSOVzjkXpzVFi19+lEB4k3F9gWrd2CuIOg
3Or6TQhX5PBdfLZOj/moujfhl5PiDwSyq4idWZDoys3+ORYvxdq2BN8kr0pdD+MmDN/G/pnW71L2
GzWvzOAWgm8Yq43F7RR5yB1OqKlwH+2a8pmDT9PH8G9bVFQSuw99SW4x8zF3e16eST70qx8bT2vW
3CewJJb3kW5Lr3v5yikvd4ZOEbHyGesfHdomuX3J+Q7AgQs8Cz8q0zt0SEWCrQweH+l7Tm40q7+l
7U4hJtKlRTiiug7E9n+u85PUv9mGm9sEDlBKm67tGctKcYr1v1Y25zZWwm8Ted+b5RoueX6C/PWC
n364IPacxEdqbTvnXmJsofEBdOWL56wskSRbKy9kb+RjqLcCHDLQSdDYwZKlBUv0FKN42lENlM8I
ZfmYHOtsaxaC8e7Gp3gRsX6M4JgYmBXSqNhAdMBb6xXxQEjKo4Rp7fQfvplJPrYoanwb1R6VgvZS
KcUNtlPzg5auoukka49Cuml4G2LmY+QYsEtLhXBEw033hvFOw20yHSztgKGwit9TjrDCvqC6IXt1
xcSgqyvTQmB07pr1MJwLC+WCs4yLNyoQMpQQrOU1mdv/W7EgSDjs02Qr8P+G40k3lqLxJaZ9xG2b
TzsneNL6FDJIlKStuUQs1VNcQqSTdMJ7MGJ1ZmJy9pFyq3qChz7qisdO6EQFF8nx5U4G6wprRB01
azX/GcwXHayLGPDNzd20PQ85FSm7wVwLJ1/0qeE+xu1LlK63EuLkODgM3UrqVk4H0UiKBspiWqoa
JFBMP9/We7zztZ1w9CsN94bQ3W1see2r616fZdVKk1/UYzjNOSQJG9UOAbtL2aaB5C2HV0FYPqvQ
vwCVR+r6l1m/waQkDml4PKv7zf0buftAbqEMg8PdEOY320KQCltRL+uHVW8iIDaKhtWrZZxwaiSv
nAgSGUQcAKr0/yGbjv2/7gAcUj6RcYtO8zGqK0NlSGFnoOTyM0V+Syz3cISo7dQtDQQwHBsEukgZ
4J3mNK3hU17guyvXmsYgshvaX0Y4hKQgu/ywYXZNImS/PYDFW5Rz0XBXmX64BGsiI+MYpt9cD0F6
t0j+oQiegSfu97CtaKoi8F5lNZGjdfflQ8FDbEIOWwMuzY8RNMMi41qpLoinUnmdySJOVYr3zpIl
prEOFhGNUWezik9z3f+ruqP4w0mEQK7N5/TvejoJDCzKPiy6F4SnaSKc18D2ln4YPUgUlmssn9Mh
ba5ZcfcMAq6+m0oEWB0LROomqF2tk73zsouzhrRa2lr0BwVHQM003uCwCULSxU6NvmdWSmsOIYxJ
uHiLlfwlUxCEfMMRiQ+E/1ALAQJ4Jw0gGX4Kb2cziVPIUIEiyVw7DaTPQK4H7DSTXYZK5VCFJBIJ
TITXH60iPlo+z+VkngbihVCeFpS2dXsrIOjtzWEqIGWgYIpzVK4CyH7tmPNge4hQtgD8Bfq9FmxM
BzgT60wy6Kswv7ZxjjsyWUz1kygxL32JB7qk0SPRALZc0hLt5NzWpMQFGRD/SqQNOsBpIouVDtdZ
Uu/9EhjirJnvTv3ipZ8HmJXgujkgG8ShmvJZtZgCVi0FaZisGZZEqR2KZZQOuG4Fm5r5N41PJ3DO
g7IZl/rS8bHL52iHGte3Hr/fMv88m2HS/+hCq1HZbtX/eHBgqCQXHcq5Xt71zpb06YgmpxRRtfPT
W3/iZzDJtPBKesfrS50DM7oeI+K9XKB5zL/F3tkSGtbdI7BKSf0iR1ku9vjTySJSR7JyHF456tb1
yyAKemui+R9jQoviBY2iLR80TTipgUT8XShaLla6vwW3G5S3pn0kzrN2EJ/ecvnoe5siPFiAh/OK
CLkNCrYZ7X0x1/dUX0vd1bVfK/vLNOIZ6OxZNs0n/YpO8lKduzwLXL+90NgwH5faPBZN5aQczHg+
0TVYQ8a0lWNafbbtQSO8JtxZEWvpEnedl711YANKZf57jDQeDSIX5r511gyMGJs+IFRzgWh5QfAL
pyxWFvqNWzApMP+g2erMBFqzMr6hXMmsQWNIGpAwjJsuL4L1DQQEmosqh74A82DZ9zq9Jv13OJ5z
9acP1U1TX5tKg1ImDogSHt36Svr9lB1rmNqEW2+CIiiUu3wz0T+km39XJ8yYfxPJV6n5NNAbDmuC
pHmkj4ScadXNzvcd60PlFEsCbwjJAkYWe4rafusYNsanyH5p+lXdnZrkIhMElu9lIFDALHthYP2I
fDA9zkovE+HLBsMXL2W64r6OOpqH91ON3jYh4ZhXCtxMJgbryBFgMoMhrAivgfHHoUBmiqWvqbDx
/F9OAwR1vxMiDSo9udmOHnZI/bdjZp5AD3uIx1j9IG3AgIasaya7fhfH23baYC6Yh39JjYjo2XlQ
Wt9DvVEg6/DB926BPE9/JvzB+nkMXxLtvRwWPRGDw60DQSllplmiFnRkt072I3nnwljWE3IkyK+9
8LqqmHbKTSdxX1uc2cd/MirpDnpEKS7Zm8s22an+xpYeqkFPzAqrxibG9WWg5mh5gZILIX9ai2Je
hNJepvCUAwGzJIgMD3ymwgnQy4T17enRyvbhSKjoCnmkS+JE1j17rO51trOUPVFxVXGwiks7I5MQ
LQLxMMVdra+w/nSkNhZ680WULrlD0Uk1/XGITiP3i9xSkMPsCFFN2t17y8SYl/e6fh+Z5+urVV0d
LlFNXZMdSK3tPEajI4CqUroa6hv9QFZ7DINqng4fnc6BNX1D84vQ7ga1DPJ8u6txwm1Jbzc3wN99
90HDwhyXQgbUBzCBO5CVUCsvzs0b8Res6eMmV+5ieX+2fpjQRxc94j5OLDkYZkFxUutloSFOYO5a
69HOac/OsCdbc4R4J78dNDPunrHPeVcfbRZ5lY6JLjyZoPVF1iAfemrahu7NVD8KB/ZUrVQ3dbE9
C82Cf5TQOkRCVMB+ES/TbEU6uvDNaMPTAmaNiaCYI4nJQZ3JOu53k0lD+drMzkp5iJBqSWeTDa5A
bP4wjE9lvKbSJnN2BvldNQCpUi+loCQNyiZgA80flsDmyJU9z8xPhVPA8j4EX0ZcL+pUK3sP+xMh
HTMtPUzlNsZUkqDdYfV2e+1if/37AMcbllqX/r/IO8jOre++SHrhipG8A9LqTEHeh5Q5W4mVSY9v
ws8c8eLIWDlr76k4XyFSl5pYZF4JTsZ+aRl49CjU/hGJcxXJAPk2wwPpaO9+La/QczvbukEZRfa5
Y80Lt01PQX0tauEWMrctVo5Rfered23/IptZNAgCLeTe4lTRmxM0iB2x1i6YkUmvIsZWG0DTcSwr
BCLSwuShON4OGkT5teGFMfep/SieQ0J6qoVjiP1CJmKPbzsgSyegj6RFwOLxWA46aRkYTjL+o7W3
h20w/PR2CTqNg4adFYsZpEpFJqewUKe72j5OA/LwBVNpzFPlrdD+4Eri79aYEGA3QvXmKzudhds2
ziblVkLPh1CGdFx+3jwg1oBip3lnbhVzmwI4ZMBjLbhZ0dNPRhyhufTTTY7bzd6LY7R2XGUJPfPe
jM+o3disR8OdrMhEItLegFbSoAGmkePxwPySgr+h9U8qIusvEA1zzhfZ2he0PSxQHnfWhycWdRKg
oJ9chzRkmVzZnXZVw0eGP8jCdgfLGJ5J7RvDY9Eua/uBhgbZPa8jllZnvCrhnXRpB9xUDbxjoX6J
shZOoJZRhSyBFrCU8Kd0uEjtUY4f6FUXATgzMVPxDllpaJ7rebDEMm5gMKe02Vv7zQKkLlg2a1s/
Bqzda92mY/XEzJ4SudEiNpZRwohboiNd08FDxxWht4Qn4nBFHG3YARJhYh8/IM20kEgHpjH7iQyd
O6pNzrrxTHJeJQs5cHxKkjtCCjJ9VSJAPUIJrH0giIsYGp5UKoZkwoT/6YUCXun42DZLECu2vDTB
TLD0vcegEcp7HNs1MVAxiqa+WlsHPT9Yizf2Q3s2uTkBjHAlmGWoz1l1MVjwllANjWE933bB3Uby
LjmL3qNV6RORYTQHkAwvYpdHU6YCzKrHygAqfzRIH/w1pF0x7MWUjxNV4m3jjefhnLqtNO6IqeVh
1MjUIz/NsNaPT6oCyXWUe8TZ56Rb5SJhi1Qi5y1Jl8L9V1z7HK5ow63x+uWTmJw7yBCvDpHZ5Nr+
C+xDrkuoLUSkhXwml4nUdoPhTN4CVlbfsOcZFv+cYHvZ1l2Tm9HQGqoMZszRM1bJJbl5LM88k51D
7dy6iy9QJk+NfHCWZ0SM5EX4xjPnDQmm7ziiWE/4HEj5xA3nLfLhMAbbpGJ7FpAsSUrdqbYQP6y0
gWAkskOoqiF6Hm897mqlXfFrk0jTp88xOtjJDgm6R8yBvbYROplXnCPzuoFx2/to5EkET7VtSACx
QUnlESIDPF5Wj1EN0gsnkhPpkRUkKfMLgBAnqPx7hvtx0SCHEfAkEpU+Xk3pe0bgnVPvwnErDMhK
6Qozs2rvivoSalsOmcJB3EmEDY9r9Vbjz9V3KUO6TH1lybqwdSz2NNQDI5sV1D5Hldpd6OIoxmve
RvPJh4sUwRSQEZLBeYFo/n9ptMJIxLc3kDBKkHrhSg9cyl21mu4kRfqoTLPhVunElfiHsHkNzqoT
jln4R/+VpUulOJnplnIYLJL4TZGo36diIYAXL11IzPjqIU6ePaQmQQWqslLozWTZY1c0iKISYv5R
ubfGu/BiRZ85qm97uohtzgqP0iKaK93BR2blUwry8MvNpKxt7214ZICu0knyblW5s5y9bFCejc2Z
cMxmRHBxTYSaOwCDiZ4PggVg/gftO3TOJkRzbH1Eq2BF0uEU/pQSR1tuzgfpLyHTL1+XLXGOCIPr
Aveec83knd7THcgWR9zuUR43jryQCYUYhdZPObTN68DH0DCX1tWZ2MN8vJR0+Qz6KUoOMhJb/Yz4
JSmbGUiAuH4jbcPLW5af9NPwVccQBj4lVCJejA7zoXeFrzKvv1JqB1WGfk5N4tByBAagvSWDoZ+v
GhZYoZ+UTjVCD+kmfsGWJIFUXo3206fKNMR6qaZIWEhFjNcI0NsKbeO4NuKlpD50oABKUATwUu4t
pGQsQhY+x2BDn9ysYQlEedaF3GXdUw9IhPdOUb7SyHEdHCwQ2PYU5G4EDIIndgk3lH0yFyTl5U8p
juc2hyjApAguEEgS93mKnTIcV1BjXKUgOKs2XNMbrFUX7M0DG71dvcjhE0p4+zaJWaWDJjWuQsc8
ON9ixe43Jfkd9afe9m6GXfPFW+JdunbXpQdFexO2YRBbP96Zw1bViX9e0LsyNb96+d6aLx+1Q47Y
VqlJYAb6MMrlqLuG+T5CphJ9F6grsbaFxlW4l/RyIfmHyjlCb69qlMfQOsQUiDlZsS+98g54b6EN
8EnjgwTmCC0fubHss9+yf2MgSm5MulFD7qnQ9YbhX6NcQ++R/k7R6UUTcb9Et5lNv3nHWiPkrLuI
8oZsE/F5ydRRAbtp7bZI57WDC0yGrN4STEUiJEhEbp8nLm1oQKo2uwfbMZidmZ7IGokJ0ESzI2cn
OkqWCQ/pUF9l70C6n9B0kbHGHM3/LUS8sgSBpYuDR42vQoxymsordhDpUMDQBWYZA0U7lPIzkz4a
546D2QB4UG9Z8FET2mre0Rm04gYOcZajj97qNi0Pb3K8aQU0YKKmbS5Juc2QzhBbrDNVj6+cCnvL
WcAv+b89fSsWUY7oeYQ0nIg4hh6L/4ma0SHiyIGjJkULfpw8LT88inlDjl8Q/mR/oFrtN4D8Lh0P
I5hWu0+1VQnCrDJ0ftfBVi+QyqLtStawP45xIFxy1pRb4VeEvRaINiu+eamI4FAiQou1h1Ztmlbk
JhvJskv5gegY+asWNumz6ibxv0wRP+IfGNb5F4ntRkt/5KYgmLOHlX3LFBGrCRFg3RuVUN275atw
aJBx3Mc+IHKU53OVjdwkQ7h3RAAXKq5lvGFV8FAtstCHZ1k7qg2vG+X25t4mBALoIjAOwjAd15/i
MY9d/u9l77L8kI2s5pAYRC6CH1cnYtwFuKmFVwoK2GIb7ewQgpszBWgIHEiyEsxCpP2qzTXtWXSg
sBEtBZtFsQ+zo2GdMC5SFfvmw8oxz8y7kpVLwvNrsayQfl2FD0k7Nh7axB5a/VNPVpkPORVihKLw
mogGSUeKBCKn7EcTzgXQq8x+OnKQ1D2QnBa+BcY1j9emui2lW52jrdgaKF1IjrS3dorQR3PBlXEr
cmbU0a7ofkfm3zQ6Jh1K8Ix11PqqYg7pcjNQE0RbmdiwNOWrSjNiZD4Srj6LEq0OwpS0LT0csZd4
j8osv1QFrpM67A16MGiXHmdktKtMIqWKig9xkff+vTLsYy1Ff21VftJcwl3lZ/rCkJTzNAnXEbNi
msl/mu6cg3R6pDIBVJVCSAN4vhqhHwukXcNFXBUb6p6PirUe9fzVT589bZI2X6420MvlS0eTLPkp
N591Sjxa0K1s8Jyg9Hc5GfdRmh4qJslQbqFUlTf04vMWFz8xMf3VRklK7CrSQvxvWUzvBibLkvQL
b9r3gcplig2k1NcOZErb8cBVMYfmuGS1XqL/n6uhdjgEQ3vs5PZoOcrKL+xrr6YyhEvL+esWaAO1
QEI3gyG0i6/BMK0kRSdu1FnJMeOmNJxUuEgkGXbukExkLbvGXA7sWSJrs+esqeTmx9YjqAbrYjmC
22GXSOg/R/jmoBsb03xjhfhFCflDZh6AOpnFtVRJih3JojMHwhcHN8pJk7HGVT6hc6F71rORXhEt
6fnVqphggKGiGvXFYSx1/VpJ6RzUxm0vS4ckyPZFF1IcNq0TZIItwgfF596ERRjTnu41h5cK6Y+a
LttCW7XsnCUBr6HObpzH5ym13zoHq0dnGudi6g9BVKwMn2Bf9MhWoiyGUtTmFCx0E1rDBOGjdDDD
rZ7yRDBhpfjeWMGc9D3BfTL4w9HHFETa5t4gQ0COS7exyBQl91HQGHmkXGqHGDY6yqgnXsa8RmFQ
7nseDQYTAvRUOi3LVZRbGM+IJSLantziZWcTpAV9MSk01wsRUEUXjcJNqeD5tru9on9J8msiUKUQ
Z8+PYhFgY1FBUJOnVUN6gph6TBQ6F2DMpARpS6Tjh/cjxpIE2YoBrz+cowC0HGopQm0YGKxJKANj
G6LcgPYjtRHeQgc31qOjk7wX7FWjw+ZM0cZwlBr0DxRDTibpNERrNRidDQBVE5p4nNCJNWQ+p/Ei
atlwBuJdodWLVJ+rdFPYxIWN3Nkq44bz5aBdKmkHU5AS9ggUxN+js2EVzofHsN8WrRvEyszAcMUJ
7Mvsxmya4bT0pt2YfJRTveQHdanZdBMDed3EoNv96A2YEjBJdLKtvRfuMlwfgKlMygukSVoNt875
YeFXGMQ2GtwDY20pdIDBXFJbz0T42U1Xhu40fhR4fFs6yEILkR3YBDK0UOoXfpCuatodbD6RBK9H
QgfAzAMo82Q7wmNnIUQYNzoBbn7q1mg7dYAQKZXfQBRbjkXx8U4i14YqBIkMfAt1taXzsaGdFz9c
yEKb5JwP2rOjw6gX8kv+wMJkVInYQ4WkJaFtEGKMRpPRR/KO3WNkpmrJ2xuxX3Ndd/nC7yVXDdHb
esMyQ4I34RWwsnURQD/WwGsslQizCyQK4chUQjSQip49UwhMxUSZEgLViUmNR6lCroVegAQBNA8d
n7merTVCvQov3uuV4qbVyLbBAgcw6JbmrSrgwcLfnOBjEwxD5QkX6V5Gky4m6NxcVEA67NE1HyCH
O/GF1XgNGzZjNhHlP47OY7l1Y4uiX4QqNGJjKpJgDmKQKE1Qkq6EnDO+3gseXD/bVX6iSKL7hL3X
thm7ITPNSc5wkDoUaNdtKHY2BOOAehn9VfNnpF8SK/FMp6g15sEsK+eKlf29SN6rDuSsvofhdYdc
X9MJAwSiRMx+lJBJMSNy0XOJMdEuakpDGx3YMNYrH9xe89WkexsA2sC8q2Y3p3Jr57xWHRCJrtqb
vlNfZNSgrIgWmLFwNeU8KU2FivazE9+BD0s05W1+7SUpprSS9UobsIVMhAP02j6pno2FK4w1Qt98
9957N5yc4JE450J/y7VjHT5F+QG0QlYPJTny5ddpL8VAlWLSsDDmR5pQaNSDNZgB+o+GlmDgn/PB
bWuDKwMJxeDtnM5jPfXP6MEA978torV5gjrPRNToLeGeKWy+QPgpXzM+lDS+DCUbfe0rk8weEvEo
IvCuMEewWiwjSApehtkgJ5QA2UYORXxQf2aqBctM0zoKiFKjDex45BZ9ZAWivpDP7nvqL7b1maKG
TiZvNZs/HCNEV/JtQlT5C7R72wrIFszcAoaxEJMaXI5h+BXWTO2JhCLaIPvrW8STFmoH8VFjNCgA
h4hfEf9JplLFZ4YMNKKZu6vpNy4FrgDSIV+V+CwqmF4fIarq2YSnXcMI7DrmPVHly1gDzJa+bCcc
oeVXZzys4c470eMFYWUMWi5WCOQKF5m5G9RXv7inBOkCP4r2RMAKixwhnkC23iQe5duR8ZAarFM2
s/FFxOcOotZLqz1VQfuvuAELwYTPCPiFTR+n41Ar67WJnm3UF2noLSSbgIYqNCjhR6uEiCgFHDEM
pCrvBY7Khm2BKZ/8K4R+WJ+sr5RTZsipWuRa50v/vxQ7QeuHyVznxm5l4Oq+tc/od027WAaM4jxI
tnFSs1eCGDl8et2MBkxeGvbAGkMFmkIEw4QistDmjz+SRODlmyEvN3G1nPNDaERsNu7IKs6MqpSY
MJWTQQwbbUa6Ie8NajSI5Rc7pX/oj+TcjEgoezff4XOcUhc281yxaw/+SyVflePFig5+eFXA66Fp
b/cq7kVcPUa+zR24fY+k+jeBe1XAfraMKUxxn7/kafFZYUvxecm5M/BHIVkXggj7cCJkQ6ZOCV1u
lE6bCHUQugqN7ilRQemHKNSNhx6VS727GF7u6uKqGA+FdEld+xbe3Uq/hf/Bqnyysv+PnjrACW5R
tiOFKtA9NcNXYX5k1am1ffhHJkEbtIe/OidI/hpmRL39acHJIJF0fiyz9Fe1H5r9XQ97zTsXwGfs
fYYQRuhMF3+TqnBH7S2OD0q0LXl/a3+lh9K1dDQR4q9j+O29wzoDClt5e97LUB6YJrC2YxnT7FXn
QBQPvvta7ivslumtnK/Z8Mug7xv1uyg+0hSR7R+/szMecuPGEzJOz5xrNht/eoR8afkJ6DeJbygM
J7iY6smQNQHdpCVrW3t41NQBKemHtW4cJYsUZv6N4ET8ULl+IpztlXNRW2ZUR6+8Wu1PVm7KQWLw
pW8JMfERGp9NXPtspsrioQU2T8wjy9/HERxUfzOb61whCBUtrptj3xSXLE6XVnDQxLUzbw0zlARu
8bWzSDfbSVfzT1F31Sjex31U0sudSEjnvy3ltgdtMV0C5iOedtPlR1WIhcmdmsRnDG3sEx2VXeC5
4vSqbmPwk6ZfIt2w02yNa4q+m2bdnM5as8WBp2t7lbQQEe09dcRUuy7b91BF7HhI4ovMd7Z3DRi8
QbXrvX3FqrI7FaVr1MAXdq151VtElupjsu49+gWRnaCgV7SMUjC8qc85hh3eeE+8N9muLo6J+Ain
kzrcDA6CNnzwlREcA/ifS+dXc8yDmBCzcWPOv45OL1pn3x1rXTu+MzQBwx76f0r3xlhejMcwYnH6
UoBFoCTz9YPFsg7zIksUH8Mhs8s+vxfiTrwQAtizFWFBwnc4XRSwkPPS4m7JbcMwyDgkeH0jt3BY
V5gHdttj+0zZyPc4fuhsZ70rdWO89swzf1PFF9W5W4xipcmIMuNER5qQXMzqYVunoII59BqU+zRA
xb8dJiSRG+B6MrgEyBeJjHD0c2TKpadSha+55FiL26h+B2j5ff9qJd+AHRI+0bxFl0eWy1BQa3F6
djeCsIvsN4GvWf6Luf7SY+CHqxbFggzspfDePGPTVWhQ3BLLkvOlVN+j/zVF75bEm6ocnPRCd7Bc
U4EEsI0rztJc/1dw10g8WANqmjpHy9NHq5DtVu5/mQP50JR6pOGg7cyT0xiQU08HGrN+CMRXHLzl
3btlPYqRBcyqylaYgbxx33QHLfk02M5nZz+4mvx/kLLNQEFrj0Z3V7lXoh8Ox9pcaj6ehEXIWgqM
XnMujCMDlppJMQZCZKYIEr5SFJTSuzos0GrvGgnqJ7gb2k3z/ql8APmDb0SZXo2WD/SvYFaGiJGP
XkekC+a23RkIy32+tRc57H3vy6h3hWA+ln+O/k+jrs2e8Xdx7IdTRFxMt42iMzxjGnjZb8iow1zN
AR//zk9Te6nbo68dtOpJj61C9IyidwX+JmWUof907VukrktUk6w1nH2SsyHehtob39Wk+KmrLbK8
QZI5mr7kSJAIlsBJQqoxw5O3ELONAGsnXkuckylncQcbEpwtpPaFBec5hR7GKHRJWVhIfxFJyazq
d37A5uFB0TArPEbmPhNrjrbWeCvIAEC/aKZ/FWv8kIxJOsAFShTQOryyQuwIQ/aVrWox7UKRymki
+13dfeCDaCZmXDtPHBgeOriqI/+pMeOmAn6pe6zC/JkGY9lG6YKOmkzVrWwJHNV/jTlQgZqmR9sX
w69V5ayy50S17VeZXU0GC8UuiO5zm8aL7apvulQfnrtkDDsXRh2KUbsiL8NDfXXIkl8dR1LH+DfE
WGiG93580t7llD/RJUpfCWrLPLcsZ9ND6rPVPsj4ZiS/rWC9r34Mxk9h/pT5X4mgP1uInlTBXdD/
s+JhgcF17g9b5d+ceZjSh3XVzdDe4YLVVCEKw/zgimGVMfqnriLcxEtKllSy9eQubbZeDcpsLQj0
sYFXrYeJbPhrE9+kZNj9DJxT8laRuwBVUYVxh8SOSj77S5xbi9K3+OEW5Zfv/WsOBwdQzcyYhWR8
KZiKhCwTD7xcy3KBGhBCafHEUdi98NAE5TvPQKKfFYxZ+dvIXC/ZaOZmzAhHvYf+wYYJTY1S7Sr+
piRLd/UwsMbWR65j6o8K3DgiXLLRIZPx6ZQ4EtjQsI96YYMHfUMjJShc8zeRfY8YEHFOjDbKla1J
viTqtKYA9qFs9REXBQdj4hesUWouBB6ZESl8aD83RjGujDFCD+J8dun07ljaW6FWDJlYVmrTl/S6
mXX4KrkENBTObZqdRv4kp+YtZuoW2sax07GN9hJsULSrdZ1HNkfM8eNVJhXEuDVjGHHOkG5TWe6t
gdqgyA8eKvpUsiWWwPQURN9IAQZQlXlSXSzbuxyKNj20pj27sVaBmpnod6xLZBso58i34o+g34sg
BTShpm2SeKOn9X7o9UOvxHjoXibpudNYuApDSseOQBiiogwghATPwaNFsTEDoi3A0bo2zWaddoRQ
VAXx1aZYFt0VAtlmsoOT8PzXWravzQCBwxlpuQ9NevOBSndfjTOdOoqjJgAkEKurltK0LYZdGX6q
KAbSkboWvlOrrbMwOaZEspcZ2hQT4TChblZ39jjrBc262t0wCBT2efSHTcporwmAiCC1Glnq6DCA
ouZLzV9n+W6ICyYmNS6LtZeSJaKi3eNqhAM2vsdRhnNnOrRoOMSAabI5ONMjTPzllBGNlJPIQ55X
bIwLtWhQJY/bOv7ucIUxsonJlMDqt+GjdPMEo4o3W+PyHx8YMu1ogX0l/jMZhpAJCtVKQ17nr2N+
UJoTUkujOwJRx0i8NDSEXYDrlW50HfLLLCK/TFpDk2KsQOhoa7iWkVXU5M10JVB+e0U2M+cRHzSz
WI260RtAT3jlxA6XAKKm726qgv2vTTh3aqu/YnLr0qtSTes8JKms9Q+6GHeybm/4E6d8OCDPPKjJ
yAMlzlnWvNIArw1S6nDW4BqFFDGQUw8/IY+uKtl+pVTek7G/Kc3vIMNNb5sP8LqmHK+an+y7wt8Y
5Gg1GHubRD+URnVXyuhXSYi7smZ5b90fnIc9FF9lT0yv1X9HdXYrBN8d6lJs/r1sL70ynHohTpk1
nYIYiTGnZBMQs8cmzLFmm7A+/tTwnVqSjWYNvrpC+JCRgpSUyVddFRwirC0GIhkoaOTNgQw20KIj
meucq4AmVposyWEt21n4bEpWR0dAZ19MCFZCST9JesXcv+zD+D4G6l+i64C/4u5UO3+D6G+dNF5z
w4RE2y0tY9r0JH9nZr901OGMwwxVhAptTDcQ4lFedLzotDPZKaCCzpGAmmG89PhO95YCftb+QPGA
kyf90r0DcBm2W+YsgTEgY9YO0U0CXonyroXljVAbmND6IfXLW+tgPksN7ZmPcbfXzlD3uU3L/On3
U4WN+mdQxn9DTzAKAsVtCXbuwJXpMJV3GB8mbftSlXO5gUgnyQlnK2MZHjxvethhSnbDGL4SgIiw
STFeclJ9gwZHXM8JmpUE7OrsWwW2HCJp1nBobka1iaheFlPBqsYwq10RPXVCqhyE9YAHyGsJN1IL
Nsbk7XRZbasRci+0FSSfTRHtNVraNkH1hf4klazbZbqbApN0ox5an7GxoFM46rEjbcrTcd/BIClY
j6Cu4h1ayzrc5n20nAqc9k31qo4Yx6MA8Im/wFmytfX+YPmw8lVl6QXWRwiUK/HSRdjznJF9q/b1
urJaIjNxCNcdXVh0CGnYxjDfgdW5CgLc+fKvJhtLsiGQod5Lo92MLdanVt2J6H3o+HKLSlyndvhQ
g5qcD1rtKDirQvyUiHSzvfQ8lIVAhMthVSbtdpYCMJZvedOYO5K9BkB+iL8sn+W6wb4jqi5+Ue26
cPqZSEjgGb84hrUdWu7KGcFmcUMbxTLrOuxKeONRw4h0OtYKn7c5HYxA3Zu+tm9t6B4hdH0KBJvt
vhF99tCuEhhLKTKVYKTGtiD99Ie2iE5lFO56kJODQHILGgHroFeMx4FhY2A2G31sXcWH1mTm6whC
QNo4J7oa/FlbXylP8z92gFK7IiJFuGfFEZ7M1js37OSrYVolUmHIN2zrqEYj1OwmVoCSqWcJCp/I
eBeoElGkwlo0oPYTX1y0CrDOOch3SeB6+on4ZP4aGFv4D1170XLaaOYszYks0ArsURj+FAP6PHDn
o/Ov1t+ruY1Mv3JlbXvPQn3Y5iveGhHch1AwBAZo4R0q5t9V+R0yjvLjjiE7gy3ro6msZcLwYLwE
nGMBrMlSKAsbUocTCDirLDAhZWEDVgUOCueCf7Z1dj0Hux9+tvplhtebHjMUdWfg8uqyt3my6TtX
h35BB60x1JeumV+QwWS0JHm1rsCf2V8+h23D7JwNOw120JJzCMtED18b3GNURc2Ivv1IehaefOqg
Q0DwhA842yhBEMdurXzyQ8heCN5kdi+4eAr8tjYxu83C4ZI0agcx+SEdX+1y1aqbiXaWyrchYduo
3mKx4eOok53inYX/VRl/mo68/G4bX6Vxs3R6V+i9Kspd/aaF//i+pz7E688UrKVvv8N0w3c01WjG
Dm44k+SOOVDCMgiXIPrbgWkZs3nLRTaOCUZlRRzHpwGVlxlAH2dQkGFgUGzSWNqC3D8ecEd5sVq4
hPhRGigcjQ1tHWt2T6rulDwjiwnSH78IIyBHYRy70x4d6EiNa0weleSeMzuWHYaQEF9cD7K5nv3R
z5qwUY0Cicu6nGdtTIXN6VsHhFkwUSOyxyDGR5GfdowYjX1R6iNx8qrFdxQMHMvxMsitVUIQT8V6
zlISMqqdlXcZdBZysbMJxxYzHppw3lx0pSQu8BSxzxmabG16iRs1s3O2ci3m17KjXxi3SD9IRGNB
TDZHjINX956glkl9AAmbASn2d2CTBybsXqSjRWoWvkWABrZ359rL3yDlUlTZhkHeMRglm/7A0unB
2x+5IeK2lvisfCOSV0V7eFHKjuIrjX5V7SlaGoqLN2zJ1nXciKNCWqdIfhYmcCD/xxgvMj3jO2GF
SCE/FVCJw+8Z7aZhaWuPQ3vJ2MGMrK/+77fp5GT64YcvvXjLgP1NdEsdHISkfMt8XN9PyqhU/vPV
d0uDJ/KIOarFre3YwjR4+q2UFgmpef9m2QebjyHw6r2l/Esa4oTfgvh1om0mKGPSHzwdUu4D5TWc
7j5sagYoifYVs3Twp6efY3+FU81Wn5NmEVnmgguVmTmbZ+VJGBRi9FuQ4m5SoIQ8B5ayEmEfj6Pz
1eaqO8UCD9e9QidTJb8D6Syd4NAN/8zUZPHH6ntUMHIuFIOgKmakRXJHB9+geDGtzyjhpU0+EE3y
rBjKtr+xDeEeaQfrTOwuiOmXYZMs2eG5ueVcxyZZz1+lNihXM4OsESufWmMevdWy2Jg+GsYBwpfo
yIOFhBqjPkUYq60mLVgxVcIsE2Djwf6nZSun0LaOQuoget7B4koV7XI0vV3AtMnrjf0QFyuLfWqh
ADQjB9VyGEkavRtxBfcQcY1oIAmEf1fPNvydKNVj7/evA9u4xORhwfyckuA5BPGWnpn0IrKcOsnK
+uZHnJeTcQqNYiOQbygeqnlKDFsErlRTl1dN5njm5hW1cl+us8haTTJB+CI+ihDWSTkQHA75Tq7H
3jz5FV6tPGADMgsgWMn4Dx+qhYwR6jH27VF/UB4sCz9aNeXNDGJSGUm1C9DchG4wseXDruyZKOwQ
+CY00KqqQBuMXY1fIRp4wnVvX2bnUGYHLNAgR0rFtSbnjf+0h+5JqCieU2sxqagCNLggGkSsMoZ9
TcwVpBDTgAoHCCEFyDRp6IEHDmDkkQkLo7xn1YYFp0hWcIsWNVwwcx49N+Uyp8ShNguaw0ACTJT1
pyacVikqjyyCfOez/e/Esm/GVd97O4UJENpcAVyq4ucNvb0JQXiaSbuWow3UkxW7rp5bZmmTl66c
RUV+ieEZK0WOq9EhX50u2wJSSYOzMot+M/bYXlBkNE7odqAjVaSuoa0hXppw4RwtC+U6u+8c1Jvf
yHXJJIiRxSgfkYh2aSk39CWtmi/tlug3xX7WtbNUGUxSp/OHoAq+JtFmmOpdIMn/XEzKwaKhsyir
YpaPIzMQB/CPSi3pE5z+2zMJMlCc9LNF+U+J39WCqVM8LHt8sbHNfgijohNih+u+S5g0xRkyrWQH
p1uLfF5Rxy3CYva7RLQF8dMuCSj+DFnujzhF7fZstO8WW6Lc29bWNTZ/DOWzo+ePVaoZ8VrFtwjv
Lub8vSliV38N/KOfx2wJp47XVJ8KU7mHUbVlPpOvYpKoszo8zq1hUUxLB7/OQEhKftUBynRuEp07
kApJ+KEN90p828lR737NbDOE76riRvpdkuCZrWP1UlU/qdzOY/cx77cqnZyuHKJ+CcLcE28exODy
1WzjVUqyiih/YnZmYYPgTn614jCbjnxw6ShAVfmd9SjCrw4bDROVoWfMkhN/0bT5yrEJXf8IdHPR
M8qL2c315o86ezMxMLlG2u5CBd9cSEH55qiPWhEL/gfgPawIc204aJawJZivZYYHMd1bguwF1HG0
gRb0SUoSS+AQVGvCi0gKr4gwZgs2/5g0xTxhj6wnHRqMeeK9CUP053pHzvpNdy5jBGOf4rIB9o0D
kQ0EUizVSv+17MaFXm8bjlAlNlnNh27CNrLDa6ScaoHGr292fkUKSwTbwPcZ4MLdhxWZQ8aotGZZ
4d8zBtZh1iPjPqydlv17vRbZtB4cfdUPKtrUwS2K+qbonx7HtM3gFUx56PQL3YlQf9Vrp9TdzvKW
uhe6ojGWXSzdrijRZH/qI20JXBzHOdXhw9OCl8m5JLmNVN+G8jm4Fd4DVXocqjq+h+SnaTG8xbx8
VnlDTR0IWt3oCfMhljo557FxYTSsjglv+FxqYPcgY693CE5BRVwiI2WTC24SVj3ZJDTWGTqXNBjX
qcfQ3v/IkDtFyCp8411DK4zKqiT9bCrzzdg44FHM1RDDZ0JtEU7kO44Dge2I7zG7FiXZZiRqkNOb
aoi2MgzrbK5y1vAOx2OnMpluUKH8DVSgPalH83kSwa0e2P3if5vX7FU3cgu/NWyIMsmaxZxW9egt
hqIm9g8jJS+uwWzRkjGZsHUOUbRoey3hUaa8VhaBxr/gqqMVXcfhWxGhfsPIQXnXKPuuAyf0r2BD
lmsYb9I/raH0Fh9T2xKe5C9Rms0D1cLtKvvFoAOfBqLrlHBT2NOKO4tcoEMDt9siabTw20PVy72s
sVho7TokOGNMQYcahWC5wR4mOXRxQBJU23EJTGeQcx9IQVKmzuao7XKRHTW7Poe8cDriKqLXs836
khjG15iWxwIo2CTOhoANY/NovGglvoj5ojcTxZ1arpmaUUk1nJK+XRctuUqJOPlOcCs78TY7j/QQ
kaMWhXuZ8FCoBbYQIuq10/wEiEjbdKP6j/zuo5f74MzkplJHHrQGxpcFZi08WQLqXV7u+sm6TMbR
c4LvKc5vHoOpVKnfmdcxec4h8TcgJbz2H8jGoKlvSW6goAA4x09VxPgzDwbbpj3FDnylaOYFVCef
+Ork4bRAthx0y8kjdaKVjS0qjoa3Nq/BnFCt9M8EaEutGNtkZEeOIgpZFebCeHRzvz5rQYFIPan3
PECHTljoTAzONCTJpvgQCDFmm4FSfag2uyuzh3Q77UURbxmkosBCtO5Ul9Ci1zS5wcaqOlY0omFE
lp2VPDujQpzh6/9qWbqm778bvvnmif7qsYtz1DsBANeEN2lUQG05zNNewrVmca5ImkcCXn96NA2N
wZQssfbmiA8sitdqxavOq5Mp5u8BZWcm7rmDGEaMD0chzmXQaJuKMHm3p2gtDSpjy/jr/XyrJqUr
+tCteu865PYbP/YWG/5JRxHll4gFe7SbSgKrLqXYt6z+7DjY9FpKeTZer1VYc+qg+vUxHFYF5EWk
3IH+E9Qkh1XkBtnKoUikK4tXGP5LSR5EzMMWseesy/pgQ8WiU5+3ZsXVRz0+skXT2xIv8VWfhssU
YRXDzqdUqMhnvGlAmDwCIobxUQLshBVlxw0ntPCYd9MTKRz1+Xjkm4828alid04Yb7K2XI2kyLcm
zdxk32IEFKoWgXONj/ioXQlQ0cpuqZ+ucZYr/vhsEClEgeGicWXRS668V90nxvitT/Slph3G2Dma
DZO4lilxvvcmAsN7GKbQFS2wotaA8EfnWCz174lmTmDO8nr1r1KTlejNTdTp+zHWH4mvumZrbouC
rScZrYD+UR64aejfRdOc0EH8+bmx1INm28CNt3u34+vWEaEOoz1pgm2JUiRAmxWRLhZriTuZzXfQ
SLe3r0j8ll2ZnCpqmzA/jE7GgoiFB1NZmOVbGyvXaPqMQ9NL3pFNUHqPcciUJQXJubcOwhFExoeA
fwRNG9Mr1WopmcmSRhetD+lJRvXrkG+IkYUjOXjKKc2AhOoIUr6lHDY6z++U4jQEvhGyNZZE48Zc
9tmExGUSh7LHFteqCHnNPT7sd7O1/4Y/m2BTTTKPMo5sRgX0CyZ8C0Oeq966jrN9szF/5+maFnt7
jf1CGZSXcrIPqqeecnXEijmumwEQl0Uydt5dZvFASVfVKxNM6OwiM+h6GUgqQyqubtUbUdQXvwfK
gDlbOEnj0oy81AADhO8BKbShMupuA5pAjN0enHBrT8vOkO95hRXUY3+Tx/WCmQTKt2klT1mG7FpS
r/qYE/CtxAa6qKa4OSjVwhS1AdpC/Wl2lTuQecBtxbovshaxbHcdO2gY9mKMwdY4hJ7j4ogdNuKt
d21Luoio7ZdlOh4GVkIkvn+VDTlx9V5m6cZ06oM+dNtEh87MzLIzo0MVIM1sCXOXx3LAo3cQAfqk
jP1VbxKQU2wbBaovl44SovqxmOM32oI89RRfX84lSOZBwbqgaZuT95YgWIzGn7ZI3WJ0FqDk9KHZ
pFPuxminxtAg6krCFtDBTGiLrrJcVe3cAvx6bvLBp+y6vHqtGohf8mGZQuBPhzXN5LYmdbdhxm8R
813TkePDPJQEU6l0ZSWGhTz+sEEn1hiAwJjKz1JCcX8qUU4nhTZCoEj2gyUfsRsmFtO/dOnNxkkU
f2XdgFv4GMhm8JZEzzv49RootSOY8bnqLhhskhzV04iaTBXMmbiAqy5kTqLPkjVE2OVXU6HKQr4V
0tTqpLNmIY6NArbjxBiMzXyIwVbQHKXkV08BDuouct9tHa6OyoXdODBvSqyDyFcRSVIzEJny01WH
jEW3DD7H6Luent08IkrBGFoYfeD58Wt+ZUq7zClyubpw6eXsG3NX6tg6rb3KGiqsJPMZBu6qiTr7
roXBRhGvmkVSXxU20LQpEANdkLLTauQ+p3PYIBENeTvhQ3DowIQB66tQim6b1Tj6nBAZkNkCsbZg
7Q/5065ksDR06vXgPZ2sbz1qPhKQMEuhhkt7wvDbaCU/P/I/dS2i9MrEOazI+LFljKJUwj/pFV4t
4CMtRsxRG9qrVQI5SyXDmhzQXMmvkMcmZaCNIDtTY0g0aXESZXOpIUH6ZYhot81st2kOiscVphmD
XNgpKk+FQNVumrcqCV+ywICXMoWycDPiR/REaJsQ3IlTFpxqAtG3jNFhRkYWsS+m7BxMEWwsLh/S
UCkmIfx6fkzcItKqweptRtvxsra9+pBjLtRsg+ROrMyKbXyXvQ2qdSDI0UvuwiazQonbH6B9yy6x
3FhoK6lhVmbAtJA0CFmIbMD6Z3UzHCQMDzxJMwXZAmhbeBstgMdF/Yu1mUx66SCGDT8bOzvHhXKP
DRPQjk/Pnx+CvjlEZrlJ+oIq2kJIUE/jQeLfCpJuyxsr3Cil5jGGi2zsW5R5EDo0rwNFF92cIHi1
RbqKU7z6k6XTqjcq6xLEAXj+AU0iBOwV5AxCEhY3zOhRggdCC36IH9pbH0+zJnBslI08pjE4rAaU
vUrgRq8xttbMAFXg/Jcsi1iZ2gAK/IE7REXUa0ZyV7WsVYPipg3mn269ksgBnFExif7xL5MKdzyy
3jtibDULuj+vPLo1WgqPafgaUiIT2CTn68yAjKYHfEn88q5HBTYUc1gbCQ+XXvd7xe70tZPtwyZK
92nrraXNGDm16bH8RO03Q+ofygL0Shh6yMaXkntzMfhwPiMVKH6WEAg2JYkrxgDQR6gDfve6VVPh
U5RMqhf6aLTriqeonBOPzOrbb+145QfTrEFPN7E502ugPw7aNC3HCY+mNaucyOUSbdi7TaYMK1kM
//oy/Wk0IjksUdOiM8XXGNOr0aMi9XubTJJArkT/9cBSlhbL6tZjZ6vX6U4tEYnZzA9LWR5FXLJU
b6HhhjGArthuoIXhpJAsBBb6GyX0P7/JcbDEE/IG8ZX1SLT7YhllzN4q3/ypi6JfVSAhVZO3qYWv
1UMqEROZiynxFHWaaHBvYrSjDvt3K/rAnXyf7FbDqJ7SPxGEpk6suUfhfZgIAfLJ/6lSFK2xTlJd
hHjbSdNn0UXWRg+9Q5azSLOAZ5Uj4MXKtjYeK5Zll9HQ6YZxUyHMsetbC7JFCxuwPmO0aVM06i/K
jSm5lxPCodEHvziEk049PJ1kz0yn7nrctYJaiEihNPwyExitvXfvNJi5AetNkSOy7IS/GgJCPRSe
e6OxviOt20cVSQTZZBKliHFCK/96z/sbBfOAgbogLBDPlTFtKcqBzA9hJdunmlZraavI8R3102Pa
MwxIeiJNWxrjrKbWMC6HurMrdXDnQrE/HLh5HUSa2rjFkmZCN71fzpqUC4tBRX018ZqIbvwn9FIB
bUK8INQszQYVwQWWeOrERiShJnEefc2TkQ2fkYXNOJrIhRWGfcyLe8x4yoo6geSbj8OwGf8p65yq
+EXa1kLPfUD8KtHCSkXImlAy7+BjU9MhysmZxTblKSufpH92TrkygVl5qULDhna69TUqm7zBe9sV
aCrqkmrh6sT53jYAXdfEcEdxCMqmQz3r5TZapN4dMoOF5hgBnpj0wyChW2hFcDaNj1AHB+B5IEe9
WdctiY2AkBCBohYG70YJAcO2h2ujFwfd0NRlORFmynartqHYaKyAJU1/kpTvrGnPqcyBAnvKVgOp
7bTGPucd5+Rk5lQn3q3jywPzEyqrouPgMOtyOdnLwaOCtxT2Z1l41BRjIlLltfz/nSiNaKVV+i5u
mRvVFWFpbYPIw1QuJbK6hLKL+SmehTbF3jXQ29jSbNGDXktmDAniGSxsLUEvJt7DvsT7PldCcWO+
OTXiTqfbCr/Ad4r8vfKZeomquSYCs0+tUayk1QSTCVwPoith5B9G4LNFG3xMdXFIG1VB/SJ0aJya
rR7W+jJTONlLXHXm6JGIzehFyZDe9PIzqhEpDmrGqt40SjQgx24iEESTDmN5BeIcEmS/w4WoQuue
30dC6JcWKrDaqq41eh84S2yWDCd/Zl7FFuw/xs5kN3IlS9OvchHrZhYnI2mNylzIZ3fNISmk2BAK
ScF5NBpp5NP3x6isKmQ10GggF3mhIVzupPGcf/QA6NL7PrS/IAe+R31PwaLcU+2LeF9OFXpQXHRB
wOkeOigH4zA5ZjA5jaKHrKiodsh6fea+xKyYYkhTa6KOcUnBIBdwzmvUzaOMtigAnkt7uHYGQWwR
lSCc1Wcf8S/L2mvNbQo7VmzSjK6PVtn9zrapGR6yTzHSWjC7HTsfcbywb92mBy/uLHHkjoMpM1zq
sSGGfIT3L/ME2gFDk9tYu6YI+brvoOFD99bN1BnJ/gNZLciqIsexICk3bYqX0QWltQI8hoL9KUxi
JL1gQyO3DxjNo1/W5XbE/MoA3mymCWORzHUCG+F8J0a0CTN7I3pZUlAMrljTTYtiESV1DlDfuS31
lo4kQGIZd3gM57iyt4P+FHXMEOiPr4JTqlPk2Gh4HtH732tE/qNXE1Q+j8FuHhqyEKKHxIRrwfhC
2sAIW10i2UiV/Zp7TEa+MxUIoVHmaRS1zN3Lzq2HV4xzhZ+T+hAkD16rfA4y5EtFGl4CDfsbQ43p
peg3XKSYssfb3AbSdoXAt+0KYrbKMzUMmA0htEZL3RhXfMYL/MMovqxZ2fCtBvS/BCbzA3Fsy1M1
kSA/qI/WQqCyyDVjn01F26+IXxd4QCHLgxVEPxgYSI3LuBL9irJcK3t2ilkC7iFnmlt5m/UPpd2t
HSAEQ6Ua39A0mqeW7AG/gOnGRU7tkJsvm8dlKEo8nzE2Qh8ZrcjSZxF5yTHwwCyzUQaHXJWQWiMe
CNn5p5hH6rVFalxZ5W9eLe7n3qbuuvtMFY9Mq3D5HcOvrGkFV9pC6kj23NbOfN3X90kT82nY4DTa
kK0WRiRKsbKOSYO5yk2oyMQmYWcQIkudgQcShWmahFpfcgWcueM4oDYzWgDYCnWZXP9ZxRVBPD7e
3qy263VW5LqBgc+1avEvGjzpc/MzzNcSxgqewcVDQeIucLqdPHpu+wPeZQ4Y56ycHJ6xFwCK8UMZ
eTGuAefJjcE7u8LcpmNErUzs+btxKm6KfgC2irI7tzB4sZi7kgzeoewV4RlaUwQDPt3aP+miyDZN
4LbclwZX1dR/Yl5EHbtgNbJjb1eE6XCOy+ChHYb3ZixA2lDvHRSyhlEHbGUmuA9DJMRT02CLYg2R
ZeQcYs0EZ4O2tRzqfkOH75AnK7ZhUb46ROtjlOA7I7MXodPP0Bvmvd1fLwUWIc2gfBVAMLPhEDQ1
CO5IwIBKs0z2w421tHfGCnG3ekW0dXMK2WLSRRQbYh5XYEQTpiZPgTAUEg3ufA68gcYeR4K3RPZd
YTPAewl5qzULdF+ijsQcGGc11F6ij7ThbAvPIsnFYe/VLrXKU75pkWlvHOP9Mp6GJsVoIBfWTCv3
dq0az8S1v7upxGjdQ0EVtQQf5oGCdcj3WD+HVQrX0z3gJ61NeGDwFPvou7M0uopUhCWwXaqta+3q
cH4d019WV73VVvc25IAFscTJ0mTqNUoTzG0DH3+i/GdHPOU16d6kvVIXGHIeTcPOKdzfC6MrtzFP
hNzqNyltp4Mhw7AYPImUpjqUWXOslCLpEJcB1s/GwgNnS2c/0yWN5fFKpaRvxDft1JPbSjbn+vWp
YUxEZkhpx/W0FuMNPkh5gTBvS7R0LEnzVa11ylelRbpqk9MYt45Y5+sFVLldDe5aqZ9Urn+EaJjs
Jbo4Y7mdtOjRqzGMAK9s9UiFZdQwIc+T890kEOS0uIMdfPgicgjX4tVV8ldQGWoJZ0op0wwJEIAk
uRhU22bryAuOCMlE70Do3KnI+4mS8le7dN8DW+9z8KVNOT1Y3riqIxXRgM2P2hBhkMJrqWRBNlCu
e6DBIO059HUPZKZkw0ET3IC6RE3ETVY5TpJg2suELI85s6gN1xCwIVFL2r2myW0iorLLWf3SkRXa
TaGLVT6QtuYgNfFPbt6GOFHqaldbvL1hjq+5iPyjY/EUmSbX0D6bHCMdIbi2PXxSUbRfWpxxiL5e
TVX/ShvwpqWHJEEy+SNqFJYz/2CZnLLPSEJ5gDlmdXz8831DluyoeX5sKvvJS9wnGIwPDOoXLZis
XY+1sKr/bEnHNK15m+Eix7Xf3SWj0s5/Jzq4U933HKCAgBousnkZXztr+ao9VDE2FsW4eDYTu4/f
D8+Nh6O7ZixTC1xQ8eB2Pu2A5c+GZseoa7ZyIROgBiHQlUBTIsVhIFG24rdfBeu/7FmkQ9k8TWbY
EMoxFsCiNWmlKLatY7HfutMhsqgZ8DwseLlEc2DbnFb8FHjVL5X6HxVq1ixLX9NKklz7XUz4OP2g
DLZSILtrMtyTLTJDHlyQv5CdHAW9jpJtl6qfAfayOsU/3HnIMtNg/Jha61nJPD00P3ScG7rXrvEC
vAfpwoqpCGnpoA3SBggqSScyFWXxRYuHu6pm3IzdBwz9hZ31WCCAROJU+Ix/G62xdhKgcfHHMdkR
8EosUOhTEG83NPdeYyf8Gof0IfPt81BozN0MMI0grcDVyseJjGioMDLZVQGPlnQ3BLRehpgR2lge
O8ni0k5RtROCB3e4XlKDeMK3e+fGk9pWI5+ZjIZnb0RAtoQftiVc2C0SxzmrxPxzSPCSCux6m2Tg
n+TpUxIFVd16BcvlrJ3q0k3DayWfq8Q/F3W9KdGpzUHO086UwICYwhs40LJu5t3SsYmXpv2t+/DV
SY597N3zii5FgkHRBAjbSCgGv872zWwYPTQQzVQ4Xx5tpPEAv7fI5pzJeUUhiUOzxvDohYijionU
9IVhUHuJ2YYxQ7I3MmynSQwfZbYduaZ+GLz2k0+aquc3W55IBnrfhcfk0QWvx5mrxnnj8ZLAh5Nk
RxX9k7ABMeE6nxPSfKhCmeE5ViWfKF+HCHCkN80EP93LTTVmXPHDbG07dvaldWLkC9Ona3HW9QnL
kFnmY9AS+diHXG26ZfP3AyhOnV5Eyexhsqi7Suyy5a9fJzBn36bWiy2ZA+u0ZZVxvOMgpjWlA1VH
TD0N1Ey+AVnGuew0v5ceMUdVOSzzQj0FBXIiBAPHxng3kkMdxyTvTBfzzgVeidWv2i3UtxAhOpHQ
2UYA5yUxPhWIaNdl0aElA9O0OKdKsTekOXipfV/7CMXb2CIvyVBWqQdyUlqyZFsb7mUQ8870tMUy
CzpZvQvTNkZY+LNUz4tg7C8KD8ecS+iBh2UVNyj3moBDrStC9RUpGnXfIFjgnm795uwYSp6HBO2R
pcITq/U2qbgcSx8sZMrJK0oTEKNpgC0CisMTsUa+JRECxnqeXiI3DM8ty36Yg08DkecLStcAK73S
dX6jRutx4Bw7FKZ79zroNifk94pANxcDna9yj8/LbphYnfl7EjbNSZrw0ulmFVjf1Y0dnjMIzI1o
nMuccla1adIfmQ+PVk8ndFID8tqxxapAC1SZkE4rZj/cL4rjyyvNm7TRtgZhl17JJooA8LGhIfzd
iZzbI3NJO2402R0TVyaUl31H3kG+NTWGs15SYdFMn0vLqDfE3b22MDUV0JpNRNdjQ91MXaDHy/Sg
zr4WD9E8Nt9rxGiQ+BoK65Zdh2R9mzjkOMXlMRw48eedXVMqtrRvYFuMWV4EZsOIPi/YPO0SPyMP
fKoL+ysUN3yi7XdgqIh9NnoTsXMrZn4qFQ6Lch9uGkQKG+wzRyBJHK37MaU0w9idRlYCWLS0Bh2X
oNWyYEE3aXp0RUBAn2O/qdSzUBbo8xL3X/WqXchPYc6mWZdE/YbZGtQ5MSV5V3HjMs3MMakE7biL
uSu94lQE/HfkkiVOJke/Q8/P+UWXaFf4PxyUmtriNrMzMcPX6t/gOQsaLmIfOWprRNGyuh7o1o0m
Z1+1zXGovM+lWagFrDjhpbVLivDRrmhx8c0a1ZjaH9NAUFIzeTeTg9zXqb/ipJ02xpCP7GE6dAl6
FE4G8TMjhk3ZiDunKem6bQ+tiJDGFgrSs84uJTEgxCjjqGnD8EmIpjsUvtmSU5IcFRMyghH5u+BO
2y3Jm5f39TEZi/Ulsyazaj20iQc1Ovn5oRk8+sEpeEDaZblblVb01HpWdfQCxG7dYMpNSwBbBGxM
sy+j8hx9YKyqR4fUnKj84KoiImwZOfvrZTMnPuHzAhNcwrbnTBOKe1Vx0ysOl16h4OfOpgpoxO9h
WJgtYVDasqyQYY3GLa6I7ihAU66inhnGq2cKAdJCYftu93Ex/LQ1u1E2pi9LOvbHjFouAXaiQkDa
LG5vKnx0aYdMNlmQFczzPG2mjsacwnoqDehNpDrvyLMHPtCpdwnV4X2VLzeZ7+CaT5YzeS873BT0
otbyI49eTEcCdWCj3WiT4j7JxqdqjkixalzoF9S8dci5tNSrPLOs3lunvxkzGBmn4rLp3Jw4lPoh
LdG0u3K10qfe8xDkB+PNL7oOPiqHfSkuUGT6Bs6eLCZNWc2Uc2HCgVQLsXUCMjdFMoD66bcdk5Re
eTSwhEg6pDSr1U5n2xyi7pDIN47MYeOwemGlAZzSdbGRUf8mDM9vT3DUKyd4TQfbuXQhejxXoZjP
3HeeVXvjE+ApfDIEirRFS4VkrrTSty5h8irGvRepZtvI7SSQTwassU3PoE05bsSTTE7U36SkbyWE
K1o9fEEaEd6+PltwxOx9aHyaUC9Zqefjwha24btPokaEWXGekO0hfiNDLEeCWKYaJbgZ0C/Pz10Q
60POvXoV6e5UiBgsULL94pa8r8Pg2SmDYSeWAs4x9XdpQm6MtihfDRGuD8mS7yT5HCaNiX8MfNi9
RD8WJSpULBimmUnFDD+NBwSrZLPvBaaNOYmfTCpoWip50Pg6/WpdJcArrfOUxNTQ5xhkqDVM+5in
9Qz4URiqN10ma9LqWeV6DewoH92KtTQeSt79FKXPGMzdoTPXsQwnnug2Efh+RBFbFe10t7J4fRkf
5gXgbK7xVERF1R1jezc2880s8fQ1tX8KXD2dCDq5G+2XYalpQR9rhPgNDxDMWEAAYbMnKki03FE9
RZ2KcioiDz4MAbZd2f2GYMx3XmIdxeSSASzBVtmH/CO7A85swOIsEw+hInmhxQSAvx495XyX+l1w
RkU5npa5/8pRfZBlWlrbeWK3S51nENgeheXAicAsPA6CLkN7G88ZjRdBumunAf06PcSeFcZ8T3m/
NMO4z1B2hwQ3DZL3E/EYlRZTvfNS50eVtvUO1tEKA0mRn3o0VKwpEmZoxaAZO0SFupTDV8bUc3bC
8cGipWPbl/K1iONfierza2+gKyIJ0/iUWS0JKAjlSp9CNPx0qPgaTvjUBfsMnGS/lA3Q0MiCrsoP
tAvEk7ou8Q2+6Y5BJD+LKTjl3I6cS+puoqtG2yVxnhY6eiiOcKvlpfL5N9xIXNKIVBMxZx4MY0jo
kWUT/7b01i6tiqdodgmrn4mkbtKPfkTWVxcjsWPc7aUtJCHi5hT0l9Sfknuz4M5emGYR4pU8p+gJ
Sgr45gQnTNXUd/5kV1uTAlzG+AHOvRnwD/IEc0GysPLNhCagXpvISDiEI6HeQ+sfw2istgIFV+mT
/+C6MaFDNSA12EQQktIatD2mUghRHFHFW+AwRPjanbZBqMzeq5rX/iNb5CHx8LAoXLrj2O6q+XGR
WbaLEJZvXd7NqCBTIcnoi0vqbLu0yJd4IL9z379THFYwVZuv2ffpb7LwBy3wy9Kx2uvUYki1SIQo
IIAKd7mt+3A7fPSl8PYiUE9+Xl8v+DsXDbWOnQl+kGYx/5eDTXQXqYJUbss8zstNpNgXm24h/K5E
zGTQWzsEMDaJ432XbPV+SqmDyMV1oVkwM3+6GSwScb1Vkj0LZNSslQMdz8yKGkkbEGbobtbcEMv9
rFZkG6MeMTvlrxw3OGIH4uh48K/KY5SiKdpMOYDC1DnyKxV4wZFNI5W4u6TqljOn/DEPoVTBR0HE
RP2gXO+mWzzGzwklxrrDlCgwscixyjedu2xTslR9x9zjvXrzRdhwBqZ4y0VL8l2PZnAi213yxjRq
PFWxM3NP35cayftiYaAZYp/c1BiZ+kCY6SoTs/M+JizQ7LsiGBCQpmc0rsQ5xw2AuhPhGph64t5R
cMuEsh4fybuOed8qp6hxyvdkhuYO0YskCRaC4wHFHGU0WaP2ec/xMS0KZCKqOC5i+E98dnuvRz/V
dSCeQ8ogSjYtwk/W6NZM9AeiEgudPjnM7fBcdCQ0Yfcct1XP/5uU+9zDm6RK1bsxrG8tAuO2fb7r
kKhtkVVniC14HGWyUtd2uqd/OLkeSZfm5OpRNGpS0nqgHSs7tAmnjwyq6Zinw50/hhxTdYByMoie
4qRCxD4AjeiO2Ja5N9eFGy7HwIbcxYlsXX3769/+8e//9mH+d/LV3DclRGOt/vHv/PcHZsI+S5Ad
/ut//uOpqfjfn5/5r+/5H99yk330jWp+D//P7zp8Nbfv1Zf6n9+0vpr/+s386/98ddv34f1f/mPH
k2SYH/QX8VVfSpfDn1fB37F+5//vF//6+vNbnub26+/fPtbtYv1tSdbU3/75pdPn37+5jvvnjfqP
92n9/f/84voH/P0bwszxq87e/68f+XpXw9+/OcHfApZs0CkvErYtw/DbX9PXn694f/Mizw6klK6N
sMH79hfPuyH9+zc/+FsUkiZoB45vO14Q8gJUo/98SfwNyUMQ2T49pJ70hfftP//yf/kE//sT/avW
aNyyelC8GBHKb3+1//FRr39baLueixDAj3hxQoaR5FW0H++PWZ2s3/+/JHoRHL/rTBM6SBLIq8ht
J97nc9Lv4YEATucRMrRcu/8oeZkVQTd9PvR3PVoREHBojArIKivQFmS1+s5tStWKxKg8oOhL82t/
cPZRrxxQK9CkPtSHMK3fe6pQwRjLk+QqZOiSiMIzC3Jy1LtMW9ax7FOaVyrwEFU3FiDutk4IKFEW
oRU6FfOlzqhJH5r7KobcDLUDMuLB8tSpQbeU2/5lWnikUBxPBU+lN75qqaIUYXeq6/RY1IATUR2x
HtaMHzYpjQGBfzwAxTZzRh5Yc8GCDFNYx5l/RkgC/qExZ3TRPmwx7vjM66Tksy8E5RozVb9Lwaof
2g7Vf4Y6H7/cwc8ds1R8Ta2qdkZwmq8a+Nn2EfiOBGx4xB2qydAZPHlHbKHZroO3Bo2kA8ULAF/7
Amy6TtFWDfkpdVWEmBqXtUPRBXc6KH2Iq6juXtUY3wKNAkfQX7PRCmNkq7sbKftHa2V2DEvIWkrf
t413hVsYwc6K7C1OfpQhcQIxgPowsHJOBahxiRjlqoC927ttQLRyoBdCAhA/GRIzV7LtavED+NHV
jlKhNd81CTbjKRD8vBcQwrcoWm4x5QVGvHaAhtJhLOuIIHDG/m2wM4QkbffEcx4svACBgmD8cq3k
hzXUX/UEmljHA/Uk1BO5NW7AqUEwJQr11DdyP+XRwu7KnwmmyFvRpTxFW2cbmTVgrKG0RAki2IHf
lMVTCNTVw8oTTyBxFjqeVdLSKwxfHXFdwwB90Q5jQ5zHiyMsvBVUxuHD4SXPPVJXRrk1GywgUDrj
8T45zEcNq+gp7bG5Rcxu+Cpo/q6Jbi8FT51JvRGuI50VSzQMkHkW2DsHcVHo8P7Ng8IBq11ulPh1
AJ08ExMZXpZyzYnIaYDpfKQRqJjrSm1MRhmC5OEMXU9uCv0QzijXCeOmHBSVIymTk2wR3roYG8c0
PNQkfz7Wep72lW4w/ECu5QpBEklbe4tPppkPJg8eKzfJuA8IxiVuj1DNlJaKwUFH0HnAjmU9/9QO
Sfnp3B64/F+sqrjT9gQvXPkJIYIBRCT+tZVGpWzSfRkSsqsMklMy/qpzvNJJuanQ5Fo7R3g/AQ24
tKLqOWPHjRY+26ERmo0C3w5KnqPrrKxQThkaHqyDW3OSOAMZ16j1NkCK0Q6L2Fs0Jmyvi7H3qRoR
z6JlXdrKoysQjmBAfUgsGTuPa9xtHjQtrXjt6q7+6GcUl660WRttNnFA65JYVRuh4dYJ6dj0EexN
iXyI+LV0pYzcKEy7CKC7syk0No98McCj1jnLFpbqVSeHbtjdmcYlGxPNXhzdJiNaBtU55Pa5XI9+
vwrRoTCPCRKSGLOJ6EA/y+RQ4z2fOOTJIu+PZeUiIBfcg3rWcCMdzQk5d60Ya/7snq5RkDMmGhy2
cxA9tBZZcUQBcro59sVOg1ccVgBVNdAttqQMg+VBx/QsFBLToubyVlDdzXJKVBRyP/PGFGHFLDKX
tLYEEjcmSKY9kNxoQvfk+qtoLwfNKatVcG+QBMz47Io130g0JFlG1aexK0AgEmcPHV6pqIKdIGqN
fSGCNEy8aYCsmMGuuLpVGAUEPHHM9LH1ECbZj6G5ETj3yNxQH8NivTZZ/jKGGESR5Vygx+zHpHYi
BB9YRyr7I5fLU5NI2v+4PNssp1MWlS1FlNcj+vmJbvUiGr8vlGvuMielcp4KZpqDCViLfukxwMAT
DPspIEIviX8E/TzsSxC3FrxlFxPeM6BrVuIn6aYhYBIJfogOrTz75Y3qM4mggrzYJizXQlPeo7Qg
ezlhRYAfXUBIdYimOAln7mQEbcAeqb3Nluy+d2yiD1a4HASDfsMwmggXpYCV9s9CfR8Iu2gR0uyT
vPiUnNOsVwAzfY8wN4PdtP3pENQfNXaAKwQS15YVc4oRBVZiGalWAJ2Zi6gFvyaUrX3TZTIeTQCM
V7AlDSXPvEkDKGa4Fq56O24RmR18b/LRDONW4Xe48yN06Uk6DaF79uDup8FqbyuodPhXMmc8mjTT
AB9DpXO8D3N2EdqQ4Cade+bcQ+iBoC1OAjbSFxVhMQnRjeQo5sbnT8EBsFWxhBlxm6ei8hCOUFi7
4Mm02ro4FJVF+DvQKg81HFSuIJLcdsQGIugG6eUvO8N7lW5zRxfnEtMvd2Z5F2XQUU1adddd/MKQ
cBhC0hCbCYd+bpOyh0TzsKxWvHyxHrhL18DiW+2oB5wM2caaVrX1cN06FVnu4/ITCWYLI5LT1x5c
yNkkzSrtAa2bS1eMwVEYXP8ltnfwee87qotxawLrMQLOpcEwuoWBJ5ZyiyJlDdNy/ea9zA1hfDEU
6xKQ2BtXrUE/nRBDRrJq3Sa3czkdA8frKSGcv6dl/lqxy/gpsDdxQuSRYE8NA48KpWihKKgMb0Ob
jJhWp4qbLgDCLBoy5fvZ5XqEBnRY/LZ2cRlmNuh5kjvlJMEhW20rM9LPGB5U+yBd3Tzf1C0akBUm
KNvxQmU49R0ujbEuTUv2HF7UoofLKgqKTDxfa3JPy1Dv/NwvDnnJWd9FOKtCb2GFVg2iQbZ8bnaA
+yqY3gYvBaUNCK2fSqCPKiGCKaCQ1XAcX01tiAQ7qMh/C8Wa/tRseC7t8jbKj4HWWOS5mVWGg2ZM
GMeajFg2JyK0ZHj4kw4ZqicHgRXpmoyZCIJbAZxNbza54UI5uwldemmbVTnTEsIFtqG9lkaXtswR
2RJVjyRsb4Kl3ER+RRNT0cB5IJZPVno6J2P3LW7gFpZki4aHpPyi7AJUrWbVjw/eecaws1kgEizH
L08zKR97y6CyMwtbq1hW88P1GJNWkYVq3sTk3U16AEUqBadfJH+KAteecYn7dTwDbuj3rL8UHSwo
9wjbTfy9UdBgOcUhPcJNjsPQwxSIy9cdHJoyguKr9aIUOTNrZux22wJZzzZau7/Xbeiq9VD6rKEt
0iU1Loz9B6/GZSpdnOWt74qNn/hXbn8c/Aj9xuS3TO8I8WmHrofwcY7lowgTInQWQ8UNsnJLu9a2
QGly5ds4NB3qLGbocGexuIzEWoiTg85Ex1AV1jGfMZ+oCe5bZLjAREuWmxstR35SI2uqeQmBeaZ3
azn1ORWMFEPBFuFC7FNG86wFUB06Q8uIs10Kpt88wxliJ/VHM+QRWpAYw0JmORzx+M+GAssp6b4U
BGfEkQaD9ZulBqiZcouFjKs5ma9BkpxtHyJj6JnF7YVmLMRfJAAQ4JRPdXKt3QRCHFHtNkcu5uqs
PlZ8p4cW4IrsOwJR+S194lBlOCG5CiYQkpRYXuhF2mVYvRtSyJgqFVL7Zfa6rTO6GEMdfe0Go9zW
YHZlQvXFBMIw2OijneZ7JvGoAcHuGcdJBA45zss6ltuVC5jAtHck3ImcOVAs6atLOCUR78ULx/Zt
Zc83Q7s8ZuHQ3QhiNOBOCMlCXe+Afez7+S7Bul1aU/aoth0WfEdjX3C4Fgita8IhPS64wsgqyNcQ
BCpVZIGFvNHRKUqwcri9tG/7lb6Tt97iqxMa42HbjXAsFRRXHPU/umAhWaJdq62elGUhmMmAgHWP
iSFvKPLpTYB8phP3h2JgxJMrQDmPhNZNNdnfE4KlJZne8RNc06yLIXyZE/Yggjy85EFrHoCWBaBF
LXTT8cFKuRAT5Zoekz7KnyV/8rX9olecDM7lMcmxRSETSUt0dI5gTKw1yJbUORHsUX1e45gX9rLD
kqifWqIfnXBFc7xSwKvFsUq5qZ3mYhnUqSqm6MYxBOaLH6XJdhPSqMtsVRj7IH1UlVb4dxLOPZR/
uG2bo259RpkEIKppaH+ce5liQKIxiUOu2oS+PMxlfIk9hkQ3elxUQHNxlu+Q60IRZdVNyQhOEFwK
Ph5yP3lsv13L7057BgUjn7VebiR5Du7I8VYhEiAEI0m2SV2ONxPJc0d76G4jFWCp6ngmzDX8rCGl
dNMsKy7XrcYsz3zGaZ6StYgeeo5XlWd0dPmEr0tBgw0/O3KMHAuFOJxTxz27FqFxMuno0kEqavV6
3qkRmb80yFNXi4YFq3CN1orxPofbnkxeH/t04Zo1eD48ie9+9S8V1nSyCizpXkpfZi4eyJvUce0+
kSPddxhQRySaRwKx7sdCAJPqzj2uRuKoGOvHdKyds2ORdthYn3Ndy3OFIEXPxiFiwuhtukCQ9CaS
tCePb3EHHTBEFsUNywrx2fW0oxTqjEq7P0MZk7JIdXLcNc7Osu3rvJToTuky4srNjoBp4GA2sdqG
uPlNY/DmZy6q44SisLRTtFBjuG/BcAlLDOEFrmbbfU+nojgRDlPxuFyff/WNY9O3ZUK4zHje5pIc
Xw51bMLuQCuiYy4irLtDGpUAGKaklcUnfyPGE1rN6ZWnEAKPIUuuKxfsJ5b9VABbAoEOp8Qt9H0x
kiwr7JTMQ8k2Gh5mgTZBzOhJy87xL62cdw36yxPTNTpQSgjc9QRW41e8OM7BokIUUykWd+710iVm
Kixi5E/ssY5+FDgpjtM8PlvTUpzqCYJpFgQJGKJ+o/Bspba7xRhUHDJidPCMoPIGDz5aUNZXIFcs
dhUOrFHNn4tu6YvuYcs9Bjt/1dZWJn6PK0IrLBoOUWa8d+S7cJI+sghd9VMTXni4ybCLT4GNgSLA
JjuW2B0KzhOdNtmu9CiLrCz89Egs8P1+6Myn4NFLH5yRLAvhPdoeVTKE4y+TKw+i5fjpPFbBWDeQ
3yQzTUt1mLOedD1JpLDThnq/JJD2fQFFgCs5uDjxtKsKhj+gpVxp2oTz5DkfeMLYLoVrZpbyQqXd
Gkucsz5FuOAtYLKd8gz5q3H/KFZrOxJPVq9Vqe/XgoGzgg/oe40PP2d1F8wYvU0YdZKscmuweyiq
rR2N7cUrp9+mHrCtmUJcrJQdC4oKB+Zk4n1RvlZ+dNU1RX3b9d0ZFvAosAegyN+1c/RVIlbA6kcn
VjyXaKI1H6qwSVey+rsIMfWZ17ztZuYTy52QTQ4kWUjz0Mdf8TB+RBU7dY83VDuSiFNDw0TNSe2/
orp6ntDkY3CY7uOJIByabshy4XCpihhniU2nbeccZVzikXZIvGALzgcLhgsSZ4uz7lnI8TjV5WfP
BsijPV/nEaLHveE8TaNCM6xvXQs8ZsFqzfMGO4agpYmgtG1c6exgyQI/ibZPjU2ATui4ezVYr4oG
ml144gKi9KTdTCLtL5oVHNzwvU5dnOkVzpQRUbhThFwJATm5cywIkW/FAYvfe2WV98amM9hLSwSi
SYb9l4nsOvKqQxozoVVttvNdYj/ovsP0AAl4JSfJbO4bWgfQ8c3WQsqxaMUO9Hzi8TGF8BP0dKE6
ZKXcGmqH2aHvk0B2e6vT1AiJeVuQwUWC/+zf/Sii+MeS6BzqYYQ/sgcD+bne4JxZ1hyPxwqHqeSD
vu6H4I7qkuxM5+5tUTiPrKuC3/nLRfF4VVnxKTfJCV/7uXDMD5L1RUswBFwng/w7cxRsWkKRSek3
F+Iybhhw7uH9GGq1QqtrX6zMfmkD76hrpsCASA5i3OL9sGKdWf0zdGzOJrjaol6VGtFr2+HU6fyZ
86CPjybhEkxHqjj1FN6llh2gjACBxQpH7hRSQWnyc23Mi23ym7CJbuGAMF22L3643HcWD5A4x21r
KYNqgsHH5kl0lXWw/VWIL8F2zeOCyh2/1UPiT3dzWB3JtUmxx4jltAAZnXg3/tizlVNeV7mVUwyZ
vBYU5UXFOUSFyhG3/rYehzzRoOTtEX7Uw/mRCMXfDpxar94on8nfmx6D3nuN5vzWrbzfkQth5qEw
xv2oRHbrd8l3d039J3KC2CyH5FWyazKUlMmI0rUpKZkaM+JrLzgydzo0y32g8USLuEZuh1y95sC6
FpX/m6Vf7EviioD7iQqSQX+Gkny3fRyliAbxgEGxIg5hePPnX04YXILAZTwVn8Tev9MbxBMw0I+S
W+iQJnR3/x/2zmQ5bibNsq/SL4A0jA5gy5hHzqKoDUwiRcyAwzE6nr4PglWVmW3WbdX7+hfxk5RI
BSMwuN/v3nMDM8Mc4kBMYdC9cu0pOvjMeXBtUxcJgAI4W3cx3RKNpvIJxc4w4xP8V2XtvIxV95qQ
T14neb8JJmky8LRxLisCdXVN3E2O9Zea/J+BAceHq/sljKuD0ulLnacfIz6nVT7Iv7O91JXE2tjn
Q1OyaS93FrmGl8LwWHl7AD+a4NHLAQXlBATXACNhu3J84wnkpExsGzsfSSHVZb+FYI8Gz1IbGOO1
nz4PDS5OfWTIiKlnYFrlMLPs3IKOcj/ujxOW0rUbILzNTrbPwldU1XjtL1V2RdRgtldsLz2yJgAN
dpEh33VfnvgTY9VF47jO/B4FLJ2SLboQDuJ6oQbpTu9kkz1JgxnbOM/2xiEpjamy55v46RP2Ljkp
NDjLsHayzl6sgRfM7c9G40BQop9oRd+w47Erk/S+kIx/qALzvS76P32HIuZIvI3tshk2ycsPXfvC
Dgj7/uSaq5vMRWchoT43XMUekmQYSgBP8bxJa+txaNVnwegX8yEJolDwakzO+JkXRz8Bf03cPtnl
Be3TfjZvlFE+CLusrwHwn5z50rpNRbfK2vxNWuK15W2FeAh2fcQFwESBrgLo3nPIrh30CHRQMH9t
5exoByTr2K2tnlRuUmyGiYBh73cvcEUmY2+MGMSbzkevQeZkj9eBaA+HR4T2Y7x0LgQl/uFMUJLo
9nLtNy67gnGEMsDAl8t5afXvSRx/eMBeGjE8R75HYqm23soJOcmfae8oJ+b2XotwkcDb21k253Vi
OEBCloQN6tgY4P0ZWBqm/sTvzDlB/lbfsRx4iUx0EUPgyJW194t0KuJu2x6qoCCnuMRpJEkcuwC0
E2fsPPryODS9ovDKQfPl/FRMrjiO1WIkBg4MIXrTW7a60+wP1syuODZqbBseCY8ycLxdLnghUN4B
I2lnkyn3p9m70KYMoiagyvld4t9I2Ex/6nYvtFbwkdEQGjO7XVxRCw2u4qK+mj2OChgdm9Zu8Y01
gPXjid/Mi+vL5M68OWlHOdhd2SPgx54SBwPDXKZNit/o740tm+tO+xkOdX5Gz/URYJu3gNXL/4x8
/5sjX/f/OfL9Xf2vy2+VVvW/D335pv8Y+tr/8KyAlIHrMGAVgSX+a+hr/8NdZrf85ws7dELvn1Nf
5x9h6IYW75NjM+QNgn9OfZ1/MJk1be5OIS5eosP/P1Nfn3/9X2e+y7g3DD1hCddzfccPGUn/68y3
y7wKXxvZorCu8GHqBPXcO/jiz+yBTfUR2srAvCsz2ubCfDhn+q+BC9WvmP8y1TK3ZRdvjcHbxdzM
LaKCZGDk9kXFDtS1EvN1di7VX79hFBHKNzjfH40/qX0+U+5Ku1VJWMz3WLviIMffW3+U8e9RNB9J
2CCI58+6DVCxyBcQn1DnDoMrOB8E7gAY32JUbjwi7ktLMJX1ztou7Y2/xO8cgtWCocxk+l8+tWnp
EJZ7S6YnttA8bb1lM0pvtfIJapcDdWMscV9EXF6IpH6JhvBMQWM6To6tbq/h2J9shaFQYDYrHWxz
nnwUkU3Nrrn+H1vFf89WwWGH/+T/ZquQv9P/w4bB3/8+vdx/OJweUNg4CoDls7f9z9PLsIJ/WL65
fNGjVtKyLetfzy/f92lYxI/B/0z/n+eX7f9DmK4pAkRpy3Q8ztf/fGL/DVeFaweLa+KfrgpPcIo6
FmEVNi+2H3AN+PczTGqzTRGDv9IGxIRFXfsOLI1CWyq6pwqwKVC059Tb6q6qXjFjq8pVj20Kdr92
0m4jjWm+5p47I5Wm5UcrIn1keVMdes+CeUs3yjUxzfuMNfk27EcHSMizE1jOEUlpENyt+hSlv2d9
d/GGtHm1LPi03KXeesOCE+hMOcoyGcccZf+3nTMNU2P1XgwG3jTqT+OucTbKDOxX1/LkZsi8nKKR
Bc/Qi+luaJiJx5MLi93AdDy7H5Nq9EPUetZ9XF/70sD01ZU/8iAATTDP4X0Tg6gZCwn+PbPTY9FU
T8ox8zMaWn4upcqpbj0GNcCXdvTpk1TAOjo/wyfosgUGFYE03/Xv8J7zxyF35ks0eRG+zTj6JJwZ
3gurDu+TdPwwe388tC2CcZUO3alsRgoqoCtuutAHgu0jeA6tCaisBrOWZEO240oN/nf5/qCq0dNk
f7g9ZahjpzZR057ZQ7A3WSYeetnlVzO3wXEa6b2cDX1Nstjehzpaav768BCnU52Db0UPVwRBj2Wo
jePtIxzuxnGyXWRxp+3oOAdbhdHNoAWhNVBB4TZdhdT62jmBvpqd8E5TXOJZMZgTN6hEsMnxSeuf
eFqKHeNuWjjHynxy44vTleaA+q2dh5hJ5rMmBIGA3XR7z+mT59IYaZbx8NZlnbVrCVgC7rHIbRiz
G51uD11WeeykXVrFHk0GkOj7ZAeCbOx2daspOgxeMqMUZ+5O7i6V1JWk7260trUC+UFkhWj58jSd
sD83eCLQg0R9Nl1Non5RjDwAeFAhGkETFVAtOyUo4aV2SIVjbpN0SQP0NN5FJ6yC++/fJghLSs+s
tnrolD9tRDO3K9GmJgRbzEVh07MfiebodHuQmWfRCrI8BRdLLLAkwz1mE9qzbob+aXQPlUAzidED
7vDUbivXsP4wpDmA2e/uk8m95JlrHCNXmOBOmALG9ghecHnwXUrc+oJjMIDojSUj00cOJ2ZNoRcB
mxqtB6+5FLi3P1XLLKybGLY12SuZG2rrWqAGI30ISTaXH27FfgIkt6n85DQTGHsgmFmtu8GlV8dz
sU7iQuAXtD49s0nPsUOfoGpFf/x+RQyaEIYoVI9z3fhbJZKMZG/+PnpF8MMYyHsZQ/BBqCi4fn/m
ZhS/M9RgkrWYpyKKmKu691d+ar3mnmKglDSWd2p1OGNTIsLq2wo7vDebz+M4+gA3vj8Jly8PJug6
o+zpS2nvgia0Xqzae+mJsJNxa5MHLtXyPejFL2TTmq6V4iuY6Hkcls+8PMg3RpaP++9fNSjiH+3U
t/e3h1D6D77Sz5aDa77KKvEYAeAJM0rmS8laIUx9kvGSIS+c59xwWDw01UPdZuCoBkrNDBWSRZhr
SPHL32Rojn0rjlHl86a+DuTXRcEmkzKRv0H1lcQeXV25m1wJWIy/yPnCNRNWhBmO81YUE/Urlnzj
LSp2YQTHxSS69odLi1cNf4qk9tjgVGoNKBrTtKqcV6PzP5PMhucnCQpag7Bf+yL6FCU7Kunq6cF3
mxNIDgL+hGCoVkVNJY85vvXdCDEveRCpxYLfmrznPB6/dMbwfrSH4VRTGLQhdw0MAw8QcTUywXYs
N6ShpospgTd8v5odEva55f6wYoGVHEb2xLGZ0IcIK5JXbT5xofwBxz97NmL2EPVkHVULXyYq5gRr
mxLPNT57JpD5RiUaplwVUM3bJ9F8Z8qgXMeeYOtNAKoieo8HUP/sZ+aQzDpC2PR2ez/LWZ9mYoKy
i9WxyLsvcznJlUfk4PvqzSCu3bt0M7kjU+G+SSowvjG0nvweSSLd6V6nTEpT+cZupllZjtnubc9d
W00ALW55sEUU7ELzrTLXvSuuuo1JCoOcyY41yXouIAe3kO09ppH2Xk1cU/3aU9teUKmVS4a8TU7B
7AD26zr22MkmHdmrsY3Fc6nkq1d2w1FOSPJ+pxuGezx7YmMJu16KmLDZENBBqG4o7psf2eubq6DG
PxRUKrl0IaP5wa3vbwdfUJEt5JJsxe2fvO/f4gbxzg0NCn1HFybarFpO64RiIoxU8Ei6J4cy+iBX
DldGLo1UndUlxPLqItza/eo7tQ4J2Phk2yeboZhsfb2VikFK7qLYOjjets0onVdJ0Gg1BibRm1Q9
dMBLVh4DfCoJ9UuUzppWK0YKyZhOe2wNNcAD78X1bf/YNnA1PZIqB8OCJCcfiRT1V2d5X6cBYIoX
CbWrIp9XoJ6mRyyN2LB9VV9BFdZXbzaKs3Y0yanO+TEl6W+LfPlP0x1OkpgLIWZEwlz61imfMEGg
11E1PDf6eUxMoKYEqBkravVp2kczAfSesJLftbnnXelOP7agvHwnefOCGo5ZhH4NtTfgMtcO56CQ
EYOG0NnXc1XtI1E21EsO9jkeg486leXvf/sgjiHw+52tqNABFIQNb22raNiGSY1XYbnOJ8sDIeTp
bNnxNtfIoAKf1C5zkv68AKzW3WSPvxPxq6/rU4wh8We4TAMHu3We7Iy/mRZjdnDIRpDeGXAf2HbC
Ag5rp8pV8+6F/EvAc+5MB7gP3BKH7A/8G3YlB20oe2dTb/x0e1i+lOmgORhSPYaqmkkfiZ8B40SJ
6pk45Lf6chheVCC4Y5IuiaLcxu/vy2NF253fGR0tAnN3P5VYViFcpshHePBM0rQPusHyjpPgya7c
35xboTjGc90earuy0MpVyJrHNfcuWhalZrPettEI7pBCuHUy+v4Fjh62Wk++xIRimIZzvUtUXCMy
xrvbldlaLs8d7a/9JUvK6o3y7X41a3t+DG2d7sgzugHjtYRN7mvatSfXIGIR9VWEd9e0zzO0lXNk
t5sJJNaeRZPCeuHMD6lp/KJuAP3SiMSnaoaV6QRLa/hUXnKvEpe6Y67H4ka+BVb2PricEN7oWNsp
0817Npkn+HneSZQoyHEp/zZA1d5Swvc7a4ysDc4RspIO2P4qGotT63mbWgCzNuMEylbQWk+yy9aj
E+QPThoPzJc1kwgNAbBtWHAQUE+e57G3LolBPXQmr36eeT+CmtLcpoegSLq6e8IikwPisPPfkesc
ZGLux9Zvf09Ts3WYz6PU2Riusf1MzAc/B75c90PyOEZ4a6OZZr2hYp4IwqR9TKMm2nXxNAByOWES
ww3FB2aa6IsbSfCo9cm7fRXr4u12At+sZIg7i03Z+5R2VfCsqbPxIOTBZePAxyddtTPjvmq4TK2q
4Xi0NAvUvIRNML0X1HhzRxB5eqzoc7jdKgy4f+eSPfIusg1WTn033HNbaNbtYFd0Ujf2gWksdhqo
ePvSxd9dkfd7mMLG3xgsMK+u7t2rLzA1DjdHH6RzMIVBfyHvzS/fztmjzx1hXUx9/dp33DKaWPWn
jqHlqrNc75jMxImXRfPtQXcYtrEnkgT0BobEIDL6EWOfX4dQaLvKvWLQltvOCrjw1DGCRTy255m7
wefywdRn7U/hGc/KhTPHTP3gRkV772QZ7DNlMtgsqo5FR0aDGhstEo/Z59x2X4QNuxfBvQ3rQUuu
ppzEJbAleJH/+mh5Y8c5SE63r//zbzA6dlUQHJTDqJYZFEWY1SSvLPoIRpsLe67RjGs0WRUrmWE9
mJh6bktomyYVjFQVkoyTrGu5hM4poq5ZMgzQuBmJx23anj26er7XCQ3Qnl+sM7B1NzR1kaD/XlZ6
c+it6ZF/xdvPXXvZhWZT9WXNAbO2xFnaBfAaN9lMMYo2hhfb1DtTFPYDXjEGSrZxvr2VVZBhTa/I
THLdH5dqsNtDN9gMupaHf/laJ+Q+zcufCVHTlcuheBwNhfbU1Jd52UemrjgP9KyfC40C5E28oTeh
+1vtjrNkY0IXTYoGls9y//q+iS33rLSMHeJ43MQg+TLucyeKWsbIuUStuYSVapcxGZ8mnGCbBuae
aYf2LpQu65MkjF+ocPioErCQgn91i3D7q7bY5SrZLYugnJom5thvSH7HBnT0H6Rm/84eo98yT9J7
gF/tpk0Kf4MVYnjWRTbfe1ixWIb2XWq9GIUu6echbHlbOC6f+TnQ05aRWi07b+X1ffdAgjc9KyC4
Srei2RQYjXUiDwqsPxhhw8dIpfZ4VurHPBrSfURf0wo/eXvNJ2/zvfJa3kPSvN9fuqkJZFRrKFS5
OHUxEUund+KnOC5/DVP3izduPBtdqp4jJ+z2JFGwRZO2fZ4toZ6Drl9lPeZ9lkH1k2lKnMAt3RxT
mIc47HganV+w9/KtF2bvFlsCE1vA0J9hhxV3YqLJi0qf8on5Rbwi5ESFRzjJd7/I9X3TzmI7xmTf
ex8P8EC7ponn/b10nENk2OIZ+Y6btZfX8YNRFwU1kaj4C91BXQuSFlhYvY+oWBrtc797raqKa7vx
lYWh/jk01B0hvm4hC02HIKp+1LMZnyhg4bBuu4RU2wDFLQHI9dM16quLD6JyiES6FRbm2wraKfD6
h5KertuaOwFaSRciKJGKye5uNoR51LbxV8dxsTOxbW+11bJp7hV17WN2nw0deNAJ4hm9Q3rdQvve
xhPcbAdnDfS/JOyOzYjlvXdotKECIBVx+0jIe7g3cODlpZDrEtuL1E+VGH4z9qBcpydvbLFQJbMB
HYZsTmA9B0b93MbWq2nTJdCxjL7zvnyYF1kSvyVu9lxm2av0CJcGDLsEyYd5xlAb4pBMS7b7bvuE
ZdCDirWyXf+UJTAnApPcW6Ke2iRzMMVpWkQ3UPavtKM4VCTRcAMFNJHNsaXTVqvsFTBUsE4dJSAm
Q+uDUxFmwatZe0+BMg2iADaEREX/E8gRqmjOlAzDrBp7PKYNQQkZwt8zdbs2wxaj45TtQNsswJKm
P2GO2xDQiN6p/1qD2/1iJ+GS40YBBv7+JyoFzN0WjmKehv5lHtnNdo5/13ckVRy8+Zei+bDSsryY
CkOaq3/5DIfPwgRvOmbnPoHmNMtrCLJqQxhoXWjP3kXWDAcwd4AnT/ajM/nXVDDRTQrsP7LfViVy
VFVaQBgncPFygfHGGOgDgb+wxrclMjwi5MHcvd3oYp/2NDVlkfWErMLREYk3qk7Z81ttd/Cr0Xhu
3fxXOlNNlej5R7xw8O0q30aQxI59YMR73AVNGZn3gJas+8Ewf7cevEZgc9seiPYh0kyPzDrrL0FM
E2lDs2VbJ2eAucm5QW6bGkseRk5A6nIA3+SYvRDHNu5HYdTkvlsMW4K7XYfq7YiXVgXVqSdiXQMr
fyXusZn78JGgYvjZ1vcFgX6/1+K+KjmJPEVfp7HYTu1+NxkZfQMVQoqKGURafbDKnOmxIHS9zoDR
sGk177ANGWAYngJrsVUTEF/1cjowpejJMUXl2qEYeAgb/EQ1dLq8oK4qHYLHIsX4EFQ5eFBQ2146
P+GNZh4ZRRhg1MHzEwU1jAh+M9lvAFq9lzyYva3LQB8HpYvbFoLBXaPL8AIVlDTtMW4EbYLSsUD6
46D2FNBktCuCBU5FKnv6Yo/xlWV4BecQj4stNbPOBUsfcQ2yRtKyRiNPjDZPTebSPBBhjsFS7FjY
lkEzsxPR9ZVh9XGQ1iYrIva0MtqxHE4fi/zYVmF1ME1MkHA061WCBMKg1sEL1I3uTsmBFU5t1hdt
nbHfVqemlPMxsHhFZjpdwIAU+4L6XUWChJaXibKBpWdKZ7o+DJFiCOp/wbjqVyngkh1eDxe3VPJT
Bt0XlWNzDbLerJ9wRDCTLrHKYn+gaSdaZwh9vvOjH1W8kQpDEJfy4+SpjRAziXwfqc82nX2LLa0Y
u1PYGWuohdCDIlb5XBfQkyvrmRjfOgrT9rmy0191Aug1bCmy8fmzN6XgA7b50Y5r+9IP8t6MzQff
tz9NuZhfyqvWHd0vuVGAXC6fIFH0295oquMcK+q7DcbIiG5IyD5SllMOR98fr3FXnHMn8g5GGOwc
YY9HMoW7OcOfFQfDB7co5vGjfe9N7XMwptaJ3paNm4CjqvxfzFnZQc61tXpKa300rcT4VY4try/c
JZoWGyATJmqFFv5xMMefKPbFGv/pu2H6zUmCGhuo8XEsaiQat3FZVNY5P/zYzva1VvNPmPuvEW1l
y2uA1y5/07b+akxacpsEK5MuunvsFV9OGWSXygHoJBG2LkNsP3psPdBBjBSrnFVU4RVQuzrnIFAQ
O4sDauzBqckLt6Fr72aHhue4C+In90G3TBbSFLuAZHJ/F2rvHutlthrrwNi5knpauPKYgmZi47TG
By2IBdzoz0rKeZuEPxLLvqqZfULpg5K2qNfty88MIolTL8kGm8OAOCdlkICbOWGxU00TYaWCQxMA
A8tFAhwisd9o/npTHWFnn/Ki2GHWr7Lya+7dYKVqVOmuIbbv2vO46fGYoa0N9l2rgwgdujCO9SjJ
AkW0a4/6qxbxCT2QlJRPS7BjXDMdWbtpGrMT+UOThStuUHtDZhHuZjPL7dhAibEj+ctRgBcsGncx
3iDmRjZWlYLd6Ygls64b/VMDi0lciLxOuPQvhfgLy0Q9YNTRu7lyz8MoCMAZ/dHyDrbyuU/2VsOy
mBx815B9MVT+iV6PCx/oyVbO9NJnjpAPYBSvrHX/lNCPWKEt/Uf3+bKWSg1i6007xCfTGycgA4Pc
OtDauK2TrDRxKwgVQgSv3bOmlg5ZxF8ra6QMFdjG/eC/jDMYCaewX/lxbxUcuYPFMoet4WRtpAkW
JcWIfylZOa/sDn+xplwO80T1h0vK7wZzLKsuODLa6VcGFxRCE8Pf2W3+jpAkIedC4esyn2O429mt
Xf9q5vAcsWmz/TC/vy9UjpqfF9sCqsadEZPbKBg1lKrl0A9+MWVbSjfdv/FUCdi2VkkqwHuIA0hE
OrXf8R9LtJ3W5luD6g6EyFsG42LXyNcGD8cPup3/OmhjWxU1O8dV/X0tK3fLa/a3wYbo19FPc7TC
AyfJq7Ca+ghWns0MvPsVC2uyXMy3clGS2aqpucPGzWWC/hVYLfnaHSjSA7digTrYRmLO7kg852sH
ymvQIJI79l/hWR+9PSFAIOXgF6JWSjhHWhICytkjim1orU9q0JVlnJOoHdWF+P9L00z3IbFaUN+F
XuseR3w5fAY+brJe5E9tPWFiopixSe+qGIIBzlRnbUEReW1jUAZSPEKNYcNTGiiuRJpB00JdL1cJ
jpC6A4bTB0Vw9IKpueOegYLZy/RgxFTHh/XwlCZ/6d5h5xDsEzF1sImp44uC9yFBOZATgh+XZZw9
kj7euYnWEfyAA2gPk3Y+vNrdUOzYo91b+RgeArppA5X0S/SMRqeKCB9uLkJrooseXL/duYZod0ul
ZpgIVnaRmb+OzgMRvf5YSfrVEqtlgJZF2zZZUoS0h2rhuL9cUJVQ4Z2PzM8lsS/zSlsIVnpAum0W
bUpmiqQcYJT3ZfNLsPAkm0yFsJ/yK0sP/5YXtPQtTJNLD4GJa6k+pIk/szlB9HaXMF1Z3eOQNlbl
AFoE4hfF0ZwJg+GEVE7ED15NeqmNwKvNSwckfbL06hGI7L1zornximEEH5bLs5DNeSqLAxkikkJD
fMlERD0EAmYRd+WjmRbHxCM7LG3NeVQOewGqBNSGkpcIFyDn3vg+03KzqS1iNbGL+dNv4t9+5nMp
AT0UWS39VpZzZ3qUHhWyTPCaQupQcu6Okr5pVPnwfQLSf8+7eQ5VA7NvpMwy9XbBXDZHAe+bcGV5
CM2chKSPFTmqH6Jv/nWNN21qrq5vrqFp09YehHpFoo6cW/ZJpU3zkE5yK3MdIBUorH1GVqzI9SRL
19hTZAQfRGYApVVIbAVLHj9qemAw3aORBGiZJXHwDE4uddmhzfd5YNA9ijyVv+CloL4x19A/l7VS
2SY488ZOsk1s8MjF4NVD3d3NNlVlJtA0wXtJJjDchDainAz0mnWqe/DZU9NkFuzj/E8iZrVleoBi
m0frMnWuJI38lTF5M6sD0ss9/H5nwarmHWcsW8TSoQM4YE+JS81URxdA3KTL7GgnMTsXm2ItD2oB
T8LMdnOZMyEUb8p0vmBor3LlPgwF8fssyq5JajBDR5+QkvwBnLCV8JpnKI0Q7or5YCn5ZrBAIphH
uOwgLOMr0YQl7ZbEvxdQfmx77ScM5JZWnCg9mopAPxb1M3NkRJspsk+QGqfzaBv9nbHcGGfP4Z7L
Q6Xj8RRTUjy7OQElyDK3L09Z7h7yeXjF1eI8OEuk1YtgIBkVc9/b1+pgJ6TAPZl4LBgMs/MwBgu8
txoulJ35F2b9rFfmhH0rn0kzoUIux/dvtEV9uT3MeU/5uQvUObblrg6A7cS9az4B2GyPYukevH3q
25hgHUZcdTo+zEVgv4nZrzboFyhY+NNZdfnDJsdhd1fYNQP1KmX6TNhGsso8RgH7bOiH6HQGVxw3
w35Q1GN5mgFI8ezNID5R8ZusBjnl55lKsIO0CNomLmYg6WUWnwbbnsKTteUltD90hYSCWTubaJlo
q3qITlLGm+8fF3a4CvIpVXDmp+HNh6RAsAikMcCtIQvKBzenCyg0HHsVjEFMLRK9BmDpuU1TabBM
oJNlnkan3S+71D7eXoCPzP/AQ0aNfEfuNtj0OOPFAfFQxe6tBfApL0MQ5yNmyyb0sifkzUehlEON
bpE/BXPH9cof3fziDpl+KFT/junUew6Jxz/ZEdhPYMKdj8dg1OoR5BU1InAxOfG3/iibd0WYyavh
aMTJbfDTzyztnHY/Uen5wKJ6k+B6ggdjhCdBzmaQ7NduD0kfnOIaW9WiEcW2iI8mDWBAt7ufsRmX
f0bS1hDR3deow0o8BdHi4bhLKT84fMum+D+5XbXxhsWzf8mWh8AYilMTy30zSf9kz+bC//LcZ2Px
aoxptB/A+Z71MgELY3chr2erbIRtcDsKbz/CXnrCQENoqjTRhcc67nn3AvJyA2s6L1QE0yPPO5Go
KPFmegGBCNYs0RYinXWsWxJNt4c8nqUkdkj+vW0SG2EaKWDtIlHTKYUjYg0JiCgZVgZUFwbo1PQQ
CMRhcq26KbrqxhbsJuFyFou3QOsGf4ToP53UGLcB8kRX2cW58Ck9t8RMue60Kz3NRTzx6IqqWg3G
zpfh+vYTbw9E9ZgDR4qFVmMVEUPD0DyHEBU4ZLLTRJiotL2L29k95cOEpmMZFAQQLfWcpd0MK2n5
6V3IzpXs67bOI+s5jiK0AdOfXRgaHEdChhGuZ55vaEZk42/qUuHC+bq97mRA1bnd9tqhv9mVp9qE
tCAWX8iM7gjxZDpWPiYSNjrcuopoO+qquZctkTLXrxZpGnAhs5V0k3g0aevxuSG+RUdCcx+F1kDd
JZnWTldTCyehzNflOH6EGVNubQrO1rgNTy6oprs+aIYjFruPuFcA7Bbj8lQucnGjxbbyWvVIH8w+
6irvQtEFjJLbr16kEq4j+/6TNMXP29mQ3xjoTNNXxKWsk5O7FldLPpLJpLd9CHwSdCotdu7H7V8B
GDZeYv9QLS6jZjEdsanJz/Wgnr6vlh2xsZL+SZ7s+B8PMTjSrLayk6Fn/jDPWarEHTHuHnduqxCq
vz/KYufY+8Xm9h7cDpfbG1HjmaB9SGiLtDb7uAZhrsqXw1GgTIUD/BJBz9b2dhZ2njdzP7Y6+14l
JTZE6V6D5WFoWESJgHS+GziPZJLGfSny/sR0DHXbdt6CEUvm5PTupWzdv7ZJaRATgnTfZ6XPQC83
LqzXKZF2EJZm+s92CLma2omKPAwliEMbiLXMajqJ0azbYsF+4ZzZ3Q4O1Dym+8eM7QtNP+K+6BAC
OyY6vEbmOulMgbGSjugqK3dcqarflQ9JZ8K4RTsi8qUudE41UFUfA0g+38Ity9FzNzKjuV122dDR
s3JTdAM1/c2NpNzBkwGY3BV4mAg1J2HtPrTcaEjLPg7DLPeY4kLOTQq44rrsSfYLYhZNZu6tsqKb
igMS2HkpWLVx+ErsboeB5rADgIHq2i/j/7TqF7InCYGulTsyiMErtosn7BElXYtUrt1mQ0PU/Bwt
l22YY06kZBeDzvfNpCUscrSaEOKea7vcashRhB5uM4VF7TOLnpM26vajlVMaaVqUT9bssLshiVls
LcqzXsTvyZMURboieawPDTD2i4FP/Bw2qf72sd28UHKYqLpVVByOuMVEwjDnZiKQvrlAerg8M438
GxNJffs+5YMJSGSWfcIH0r9MUTF3A/yw/p7yhDax9puryVlmWoPjPOTJcDZ5Q7MiN97sm4VMJNUn
hMKt55vFE+5b7C18Fo8szbPBw3rD4O0Vuig+/RA+qDlPSOnTxROG2JJYCECpW+vBHezXUfj3t7sl
NhbCWHybLLNpZ2K0hRCJg+V2x4RIPl1AhBLRNmyo6tOYApl17F+h8GkjJ9h7WxCMDiu92yXidsJQ
/AF9hOwVHACSorer3O1hjnW5HnpuGyIl0AKRXO7mhfE42eUTCMLhI/bqp3hCibNnesYTl2Rcl+Nl
hgh3+/lzCKbCcWlytNox30VuTb/LsibTLSI4PmS940X847ZMNUysVVaReYdeuerH6Ce7NGdYuGj7
tsoehBdzHyc7A0KQypS0+P6VQXyOe7vXv7+vZZYHGJL5NYQrbshUj3X7nqR25kawbQJZvNfp8Djr
fvxg27x13H56vbmKSD4G9IQxRftQKa6CIEc04h0Z9IFLWXgYW0FvTh19WXHR/fB8g4VKydDZU3QF
VAO7gCCk3jEbaefBn4KHE9YJbaxtqbnkDPpoOWyOpwaCX+qMu46N88YKjhUD63Pf0XkXFerZsC3s
atrk5UoHrr0d7Um7caZxlN4mI9n6naOOhgX5H7QGvmpVcAH2RoxOMZWsy+GVTliJMj88WAt6uU9o
mALmU++iHEdMEwOSjB0PF6UX0BpHw+WqLqN5GzSmuWvJDnZN/ec2TupHwHse0L8prdlbQb/iBkIC
dh8Muf+sHFoIDdU8g07934SdR3PcyJpFfxEiYBIJYFvesorebBCkJMLbhP/1c1DsRXfPzHubCpGt
lsQqIJH53XvPhQ1BN3Y/+63orv1MImmdLKN7JEGPRqx39X0yhlTBC63e0Lj8VjUgPHJm1yhTbxnc
bbZWTbLL5y+h8TyOTF/Ot39DIuVbMsrkmLvy/SZ0C8Mtz1Y3oq8X0WchxEhYJB/gDvqfN6VOskdf
daXLKYI50rWviWJ6kiFDVDnVXe76NWQBC70hMOy7DqsBYqfLzBxsN04Iu7D/8tAZCJGMssydlo1f
nMQtPGgtnUpWzzpZD2e3mzpchLpHfaokKTi0X1ILpp1mM++qqznyZAErowyTJcqHeE/7BluCyE2H
jSBXuGzoBMAYUsKS9O5+FssQi2+fPjGRmFHQ7FILCJOo96xvbp+Fm77sijv/i3+1cRhV2F1ujsc4
FricUHq2MROrsxdnGPUE3AfNCYOLLMQvg8nHKzMTsa97qjRC1zu0mrT2kam/9MJ9MKY2/q1lwXPp
y/Qlgw62cdwZ/mA4JK9Nb6fHefnXLkiYTX3Vx1e/j6M3fPxs/xBjgf2RbB/NvQNHigFYLzY32ZvV
xFs59C+u+97QMFOkdzfh7/ZCx81w5o8/1H7kr8BZX2XTRgfR+Kz50fgcTtn0qeO9WbQaHI0Rk8OG
4WP+INv+SU16+W6U6Z2K2di7PdN4Y9aASUChmSc2gI4oeoRXiX4ZNgHUnmg6xi6ljjACy2vdv9+O
Gpif2yu8Wv1K+ySZTbwpp8SojFOmweS+GaW9DIz1GNBFhlfsbDamc64cNpKyNWkSoeTtMDgtIcbh
ktechS1/jlhUjA7bbPZFBnG3UK5x8UG4OKP/HQQWrgbNNa8tzVy9Du6tLhqUEaw3vk7sMHTCF3CA
5o7jNTNhr723ZrnKQaNXtUZTYNr9QWbX9Cq/6wIiGZ0PAV2r9lbgpFc7eJCGx2AWbcd3+6sBZ+5x
SDe2puGShjheEOu4qJSlFRMNOCeAyJkqmGUwfomjQm3VCGkFeM6SKAuHbNRyrJ5ptEplFa163/vE
GQ2ywZPHLEvdnUQS1cozWWKP89d+9HqTeVZyziOaneTwxv5D3ySud+ZKs7aB0xAJwyK8wF/HaiiL
nciZv1AcloIXXA4uBi7OqJ8NTRGrUJh/VFt/06vmbfWYNrqBuiycdsvQx1eEcvAlJ23bdY6zi1XH
jDZ031u2r/shSo6mBUIYvygB9KTc5VYHDNphItmUwbIpW1jNEp8Hwtkq8qPHKg0P7J6JzZqHDi+i
PkUDA71PlUEqxDq9NVJXbaFTYUhm8gw4KDulbM0w//0RfuXikJ8kXCoY8hX82/iPa8BXDQzj2ngj
zEbO/rbQum0fedES8lUtqrN6FKY57Pms3ivb8Beiq+O9W/b7tiP+XmrB7M9+zexYO9klwZq8CS5Y
n7W5jRBNZ+/47Wc2MGrvSCWx06RTp8Ztz6jbnZdppiDl9CdI63Gpk9IFwRvv0F7qVV0xuyZDuhkT
3dinTgXrzXocaRxgQkWHub/XLAWTOA52cQ0HxY+ZPwCouyt6QB3WrOmTqOx7Wohwe7IrIKawGRxN
rPERpRus1tzXkjQmd8HY0+7Q6fZWYDCBYaEfu3b4nOYWGSiG83yA4kCu7oXujse6NsQ6dvmA45Kx
H+so00ZszTHvOxGktl37VjnDb1M+GsIQ+nzRTrxFIfAfM65OY+g9ylxUYE20NaciPEvh9NFI8kg9
CBlwhI+mJrcWG9/Bqa6jvmWONdIeVTYIjUE616ejYtxx5gh3WQaqJBDPPeGHZab4uwpa7QiTICm4
jTzTWMkFFCftB6YVf6kIJSy82l7plJPtcyoRCLu7lb+zywgFTWT3HNPXIjexCyY5UXCPkXSfbpI+
wTUD6BFjof0SjUR4/NmtgMzaKPU7DSjW7jsf53nCqLqp+gN4qqvXeOsB7E3C2A02XPeNI/q+yREO
A8pGFwi3Vx7xrD15/FXZ1dtx6uQ7QHBy6dHcnxt7azOPxmOr7gVALCXHXVnnm5hA5thJXMRQ6uAS
PXczmVzHimFMrHfQ6icmlt4IFQsEJzsmAjEpACQ72PaOWS37rH1tbPHcxhV32fzYSDKstqSrd7hM
CWVydqMRZ1lZLQV7k4Xt2ZafbgyVKfNQW4x+QTgbpgvdOduu+OzriXwuk123oqMpSVIBMmIkJTol
tIyPKz7/stNXTIIZYpBQ3QaBBk/C2DZ1rR3Gwv4zTdPGLNCVWXQmEJNrMRF09WwKS4ofVGn65DEb
XIsyeWm5kNagrI+OTQqOK/pFlCxPFHA5aOk694NwthjH7sieV2vN9oeNE2Kkr3VQifNX2LEvVYXC
bhYKnxSdPJWgNd6x2x1bjX0+qk9dR+vLQSMhWJJrAYpqPU2K0BwCVg4Jlck0sUBqX2H9yP0ghbeh
HSz56oPm7GNiOBqyOXt9/VB0en5ghwsnDxn7kZg6e6oqPLGdqRcArb50moJiw6MNuge5h60B7GfD
cLJ2xcnKOUHD8xrWvTRfqJVYQaTo8aG5aAM0lwbhRVPJB9I0F3vWV6taG+ivSD8wvrJ0qhBix9g+
RhN1Q4npXUVt/AHGlWw8LwJRk0OdKIu3MMTth1XrAPo+bnNOd+89lIUqyr65dkbaAJgzxqRn7LYF
Up2nB+7Xa2FkcjNVlyJV3TriQLZAFZ1QmZqjViYQazQkKKQsvkknQT2SbfYNuXchkYgoxrDA8Wbp
0tuwiJjljYUPcd3M3vmx5qJUlJzCyx/BuxWY4Oyl6kGTZLE5LBjea0eZv2DRdNZVxm1pxsFG0kgF
yLFxKM85dvw5qsXAqSVrq0sehjKiitlkkKPMfFOSnV5g+SHT4KNuNXcx7tmFxBgLYwVAeGURv86A
6nFSlBDLfLWoQjrFJTvJ+UZ6xokQsxUKHlKeSzwjIZcWLBESbmRRgVCroIjRDCCuzoBBwmNchwms
XdLpU+ZKW2UeBj6ETPCQ6efQ6Z9WXxuUm5/sKtBWOpbjveNph0ZfF7bXrDUX1mBFizPjHeyuUVWQ
RM+aCCU5whk3UvIA9gZT4FZ1PIWpqC+HqjvWbo9K+t3YaKGDgfQfdzTN0d9Kf2Zy4JBJJWY0/Xao
xrioouZRSgzUGKMKtn9Egs6/K8zgCQpvgqDu3unmrtHtb9WH/XoU/dorANBMmvmoOuc0G9rATlHq
QtUPQp9Lc+sNZIJ93KpROtyC846VDEsH1tOxhH6liesEQ3jdANZHxQm5XhoiDb6mLdirWlwm7ezL
EixklkF5RMuUxriC/myI+eibHPBSTi/LXvXdLxH42VaINTyIDZ3lfxLXjAhWYa1m7b9zeItyFxjs
4AEP1DDY5lHeLwEz7DkGaGyezGLVPIyhQai+f20y0oE6d/AKJAgz857fISbGFvFTTiv1PgN7k7Tm
I3qPsVJqJqFqxUL2gBJM2EHamL0Rhvud1bCdHcxh1FqEYAHxD2IHhFnqx3guXlOj4IQ8e70yC03H
cNwtDdeHpkycjRYBj0TBM2q6Zbrs0ODLaEAjrlA1uRk9hj1BPUUr0zQ+Czt7qXM86xSrgk/3tq49
OPusxYzsNZSUFjTyYKJW1rjH2xxuxuosB3vH54yBpPRPeIUn9rDGdVJQocuoW/Uqn377hLRwgD4D
4WORVqcitikyKmY6Hc6ihazAZGuzvzt/UT5+szh5DWpxcf3MXjFF38FYftZGxk2k4j46uMCKPhLD
paaCxp9ladOV0oarLk1BYhoRVfU+/wzXIfboahEIbUx2U4Blm+1TGOufLOzUQvbPZMoJBwxgTYBj
Ygbih5MJgcAe6ZHalsx6QEZJRu3eGHzkZP/eccBFd2DIgGmtLSNF8RmelVTB1ZXWpVW7ZrDDF2I1
S0jW7lKPXHw9qP6bESRarIrfrXnqY3gWFDMBm62giuQdbCAxaWfCcC4rkk2l4BAd9WA6KaAfma7T
JBYPnw5EgtpxJf+Xhs2sSC7e+J564pKaNJr2pk4bDLbArRNVH6x2qKJanx7qRP9AuWhXlEjOFDam
IWM0bQr4FCqvnjOCsK7dNae0ZUVjsktfF+cl3k2GMm4m79POOw1o1KYu3i29dLfBNKFfwSKzsdyz
KIXNuvaUpHRKrstCnX0Xf4bU+k8zC4+MpA3anV13NoKuLfIsewKNF+BH4yEZu/teR13FX81WlPHG
AvgY5wShVesKFV6vrmUKW5TKaZDYUYd0EUxLY6jMM4R0OkQMKOOFJu7KPOtPNYovD6UpjJPV4BS/
NZfPG5qk2iQBQ+dEyUPWtVAiRDKsDOUUAEaKT0GRDG8bSmJQWg+DHv7yfWqi9aSZdpEmKAov9qXA
UjfZEZ8pcdtFr1GHV3TFh2dULRGVhLZX+pxZssjcClKGIqMDygzqRQTbaytmX/Sk3eUcaXYj/DfN
fB3KgUu77xdCeRFHMmtcQeYz5955dFNvF/rdKZqqVz+hZsHpnE0bCPbU84wH5e5qje5RGKDLIs26
AKQBRQdJaRk534PXVbiHWK2mXkZLaoKoNAyNTTdhd871ir2WB6/OtON+592rqsTsyP9ZUFdGO8mi
TQcaQCxcTYCtC+inSAMht7/gwOZBK4AAyEvPPgmUHEmwffQ7mhrkSmOoV0qXR+wiYkNPDWt2hs0e
2wx2wBgaL86FZZj5uIpAuE2IGgTEhlXDyle1JB8Fhg/wszyhUzYi7SplPIdpaM95LVpoSMaqFTl1
OYded+u9Z7YsiTwdMhacMO9/GV48LzqHuIFtnE0o5Qya6dfgTMRZoDMcqN7GkK4sR4M6LwJyjd73
MHjrfuBOdamFkp71rFsUf41N9GSPxZOvBOQguUsVGcqcPWQe7CtaXgZ6QDGrTP1GQ/23cEJEvX8J
ZLYY6uBj4sTcltm5CvkNUTEHXSqcS/4bD4JkmZaw20KtPBgFnYvS765jU7ITHhTGHh6BXM9bRlfp
qjBduatfWs44bk7zXkylDTjxGWiNLXmd+warEXNOZN9WEhLpv6j9Zfc/jZTQlvDcZgO9n1vgiLVH
xyBHPA7hDKG5apwxZ/SwfpANO+tGgfUzbS52abCfdT4NjmcLQuny2LYHF845LSbyrfYMRo8V0Wxc
CqgzC2v0ys1oEYXn5BCs45yVkJrTfSYDSn7c5iNvmmcnc+b5HlUindW9+WUDC0rSfu1Cq7I6WsG1
z86ULc4wBDNnCWsX2MtosoJ3pL5LZpObvGsxhFDUuqEN1dWB4WGc/DbZOFDKIbLjvBYfhyxki1k+
hvPhvCGIXlGofIUam4I11Xbm2OrHFhPrz0s5mEcMR9gqMtOENPzpU8rC9k8cc9nbC/Bw/roLcxfE
hryS9fgKYJJAQKOkoQ8pBNdTCc6Ly78etl3N3M5wHzwxnRm30mPVBAlwcUFC1x0TsHDZeGZPs86X
XchTsusSbzXGbGKKHLQgzUSbIqLpTwsZMKbw2NZV7bJFUHi6agWhu1C/vASvQMV4b6HMbofK86ub
99K1Vr75XqkdI6cgqOoxXRKttTRtCnvKNFh1FTNP9M6loRR5cuqc1w1lwEw6p3PnIuVanErtQr1E
/hQAKX2MR3Gv4vzZgWa4yCAlOIkJbXccnruY4GfX6PTl2ZmCdz73BciW9EX4x4J5tmYk1lOhRn30
SPGVXXjMSR3rjPAyMgiY+Cvy9kkBGE+DXF1yb/hKutTZugVMs6LqfqGLDq6bb+CV6mth2MwQjAKH
T5TtAxJL8Mmmah9Gvw0NCTeM9G2WFc5a5jtYb/m6UPhqLC1JoHeuopHRxuil91GHAUwXFU73+kk1
lXvxrIGnECcar+7WJDsfDAR0TAWbDEEXnBUzQu4zRgKYxhsTFKUfcG1yVxD7j3AaRFgeDcF5uXxK
hhq9NZUtH5X44zlglnw5BJcUFyVbuJoQbpL+ac1JbYs4nvad3W1kI05eGT3W5RCtqtJ4CptN3gDc
je8Qy6GQadWDl6TPsbpC2MyuZctnylWy1ow8ebM1RkvCYXedkcTwAJbBUqSJOUqBXtFPPz+6DdTz
YliIsX+lYX3a2FnKZ0DsCYWHdsUot9Y0aNCtPcpvO3xsojMlrH8EEDdMqVSDhK7NXK9+noJUn+9S
HsGxTMEdlxt2283eV+4bkWyeKFhDwY9vWqOvD7G+bWJNkQQ1WpxG+ac1UflhjF57LqFCKsw+lA4B
wvCn9p5zSlTRV6Aq/pjcYPvn2/n3lJLgjiN6cLviDfQFBtRAwyXIb54Yhnqt2HlNQWquD4yXkoPr
xh/tadmIYl9n/odGG8EyTZhd5szO/ceuz81DbyF9W8vKHscdFZFyKSvWS6998H1/2tZ2nq8NCok2
PBFIJ/2J5HqqDYLYlFsugHqY61Zg9+rI2vfhAK18nx7GUl6jMn1xLLvaJV7+kbbhtNAs8p5JELVr
pw1YsLqj3nJ6YDz/FYXtDjd8viomZFcfKW7MKpKurHfrIgkFlpHk91TTbpD3JHep4qV40hvqB3Kg
kNKieDfRNvKcFQP5O334hrxpnKl17jYahHJkGsrCp5Aj3BD3MD4TqHeAIT8HtDm2JkxUdT9ZALcj
6mvW+iU9UBPm3HcDiIMUF1DcMoFshz9aaRzCHkykrql2FTjv0dD+UtYHXZsAKfvVkDHm5yG67Uvv
vfGAT4fPveGOVPORO8+8y8CDcREpgXHhJW6piGmM3YD4ZvD8cqbxjoa0zxSKSTNV6VIhcrmWtYVV
Rixv8K7gac5IoQuJ5Ze2Xo7KE9OBMcOVCFSxZiCEGfJryB8NZfpXvIfzwBerR5lbtDLrNt1O1h4R
O7yUpnv0bfHN9Vg9hUXTbG2Ls1dsTWdk1QIOWejYn7WdvAA7r/tpWFu5le76OF3TKMyZeGzzXdk3
DgYhyGWqYnao15wpeWtfOLwZRK3rRVXhAxYKY1wi2LugLl8bk6wQxdcHmefTvoWpLm3ifm4JqKHj
D3K2Vas/TUP6wBpckdSR4cazAuonuvF7wDBqOtgFYC7yQbHWhhOzul5pch1bEafnGb8t8AJn/vxA
n6jtwI0PMXNttEXJXL3BOxeEB9FpJw6/W1OaCwOb9Y4GNHoBoqCnqNpptuHIj8Omdt8I9jCpB8cQ
8CtNnM4zWQAfE+Uq9Elat/wHn7t2NoPemaTnNsE11Dxvb5bS2oBPjTdVPe3jQbnkWBaMmr6U4hTs
omfRUgEvsip4tmQOF0VnbipB3K9Wi9Ye3aWyiULYqaIAOojHnSNHBTueFoCx4OPUKvpaam/L8UWj
dwhfq/DmVl6tL5CSwpXuMQj0aJzVNWaM2ljeR7kHgo69RJs+69D9jW56rOJuK6aNRoxuaWXDsznC
3SeQTpQfNEofMlHoJFci5l0COe0rLv7ZuVx9REgfZD8dsbdl9VhpT7AZ3jThv4CGIAkCorEokse0
qgyW1ICZiUdYmJQjPIBJApau7oWvfeaWpiDKuHemlRnYOigkyKuEaj57DrNXLs/9ytqqMvrseK80
R+GCTq9hDi62Cu/chp45258+nH3Zu5cypeQ+TLmZqbBnqCXFtrdStdTgbIICpY2NjdTSabrPNgCv
bhf9zMsvCjpqwucgGT96TMZco3yn4SimNPe7+VNnnO0Hy3tDB30nJZ1Z7P3zSX7gEV67HiMI+qJ+
7/LkTgt4VzDnATqtfksP6otdlE+EaV9QgxhdMLLlohyWHGa2vhoF5zaXT67ELnGLh4LVhxLsif0t
McpjSGMa1g6QtGPnRTEqYAzox8kupM3YaBx1DGpYvD9IIo1ncFaEgA9JC5PMGFHgbi81aoRHrG3H
I4HTeT/KYwWd+YXx+ZlVPr7HFsfJAMc4XhKduHCEYXymLFihZx9Gcggap8ZH2455XAzJHQhKm4dG
T8um9C0uNOanRc/2IghFsm+6yqXDFOPF7UuBIMRcJNEAU9sLmP9EJpSWnY1CH46UESYbxzYD1mwu
pRq/N22VEbcernKKscVHQe3JKjKN7owGHGxp1Dp6k6kepoa1XOYlIyQXMppNIpzJi4Pf0hfxLDJt
8rod7wcVfWGri64trWFLL8+c0+DDGLbdpUa7xcEF6XD5kY5FGd/57KGOkcVjJZ56yojM5k5Z+Sah
Lu2Bhsl8O69bYKARqxubvzEpI7w89UiycZafg6h7AcuEzXsKL1ZITIX1qFyzlsGDCSjeze2NwsdX
pd34UQi6vq0I7jUQY5AfU8aXVvLNbC97uu1Ni1KZQKxCl6OE3e30MY9XMpsEhkDGRjL7ZfrIAXqA
zOfl56p17f38JnF11/sbICmE0kypzjjHy3O/WvH8I20//0orppMzKIa9WfROYrU/IDlhGE6mi+/6
44ePwWsl+29bZvYJQni+D9sh21dD4JwdR5B0VEyqzApP6+TGrEmFodr9D3SF/ay+khZikBF60aWa
A1hdzMl20vziYaSGHJe1O32mOvtBEbvjdQoO3ay0Myy3u7g9G66GyjfbTdu5T9MpMb/+/Nkap0lm
iafIMD/abpRXT+/kwQ8bg8kuP8DfoG9/sdX+3lBn/pNV+ENSs4Vt21LQU+fIf7EKq0LAoLC8P4ZH
mT2HxUMRGsi2uX3sYyH33ZS+x8C6AK9aTzGWnbWNnQq4SMC25Md1c3MbZWThiR4Op9hFPnOUFe/B
4If33Ok0dAssWf49eYd+7cocJHZrZ/v/8oMAnvsXEk66kH8lRbxSd25IyL9DF13Z8XAuJrxyFVxB
iOFbM6sewkZblyDr1oywqv1s19eL4Mmt2mDGgH3Dl44IzgB9YUPIIRPDQ26zPfY7NvkQCnisSfOi
RdpxCIO/Ch9/gHv/x3vvwK/85z9ZOsKydVf3BF4DR/8Xxa4nzhyEFQBfO52ttyIT2TapsnyrUub5
CRGg97ox9+6oWSTKk2CfT0ZyLnrqtNAtTTK2jGu2hSwHLJOpfwgc5h25bTwqJz5ksyUGyx9uSNc8
erP7+vZSliFd2fRqZK7vH3j0dXekBpiKgttcJA4zAdgSNZ1Lk1y5TvIY6nB8PSGBwM5OFBGjvege
qKFG6Cc1v9x+JRvrwwJyAXtHMHQCHXZmFN0uqUcYtqMP3Cpn4zwxn76iqJKKcB2xDewJ/4Jw3Le8
7fmVFl4qR6tf5zUoVGXx2Cjt6KcRfk0ZEyrSafSbCILfJWE/7AbKxhdliR8MQw13ovnCVFs7YtiJ
HzppNteCbVBiWfV/uWe8/3XPuI5rcbEJ+iWxEop/3TPsGEOmXhpMER7xUVHt6RUJHsdG1ueoHC8E
LRZmqMlsa2pltLRqjjiljsh2A8iBibAfA9dnni3gXEdTue1nalNj08aNXXbY375sJSjboZxhDnrz
ULVpstdCjWAM89CHKqKrInZMdyvcmkeDMPp1B/yUlYh4XTWEj6qeHuXoJOc6snG2TpxfZ4tmNhBW
tjxEvMjL7RO9soh3mINuy/XoDIA4JyM9ChA4METb6GgLEaxptmHi66rsiCljl6S68+LCg9vVbspl
m3XkgsJUY6qbwkCCcdKFP1/blXWKqxZFgNjbYy2jajd17uuQefc3H+rtBXvxPfg1XDvCpwAoY6vp
j2H7TJcDoUGpD89NbVz9Coy1HDJcG8JkJkP3GwHpHLEjIU1xCmIa6sLcpnUXHaXMPfuXO7v0OnpP
lrIjhtZJjUcCyXRCE6l3nqL8iy11svvre0Ugz/95QZL/a0HyZhKm7dFog+oNt4K7/2/Nn1ooORBR
dITxz/E2Co81REapNprNlLcTob5rJkw7gaMzZuiVd6YOuH20RhajkSsMmrHhgmjsStK3LoY/JzJW
hmY9d23U3LfaGF4m+80hGvlQxQzlAj9i91Vz7ImNe101GeAcLf0u+/TbK6czzkztaLccZYcaRaSc
em1fxpZalyEe6xuMZVI4OXvD2sZRl677IB0vLlGiqHbp3ZlfirYFGYL76cks2bOMw+DiItXtJT0M
ODjntWCwanxTU5zte9v4E6WReteKEId20bwGAP5gMGTUzcV6+gIWclxC8hTb//zGC9pb/7ms0rNq
eLpteR6PNN77f77xljW2Nskq2j5cj7SJLEvaN7Ii21GYoWf9R6wnEyw9kPpxXsiTX/ogNHL1WYuk
vqt1HF0xBjsMXAWyDV4LZpxOcKY/+hrQavwQxxQ0ioxzragJe87UQBZX5+D4w/vNfH17oUSDMYIR
fLmjSWpIdp75DAlogwCvL3XVDksfOiSDjIzK8dls1ot+OsHXxXTlMI8Ji7vAoonsP783hv7vNwdM
qY2+4Nq4joT03PmZ9LerUkGmK/0qgZHhhOFWGwN9B4iG7XZY7m7EKZe8oOTIzajPWdq5bj3z2aqE
Z87P/qQ0aIRh9v6YWVGPRcGuj1M7+CfL6V9tGSCugIAyjjdCYNvIPxygDKil6mBmhnrWcr05DISU
IJ0F+1j549pICguYRE8ZD1ZGpsfRG8mnENITnWqMGLOz2bvMz0WRnaPWZ845MQ/3Ri/cqzAPGIK7
2Vpjf/LCuQPi8eivBj3pz11qNZyJPXmP7oibhneUVdQ8uRW9qPj/2dd1tFjb+EdXN0JZakOnJCqA
bTsHS5SUBpPPztCX8ybBAt91iSaC3ZSa9Rtj/vL2PRfdZ6fRMOnMsYugimHB2hLSeeMtsMKKL/i6
a06rRbAYDHuN8hTgWBiM8VhJOjxyN+wPY8yx0G6keKqt+i4qFRTN1vnAi/Kd+3F5r2ucaooEK/AN
UqoRgEfNZgwupytJyuShnHNQeB9/A2eMjrevgpIqkP9y9Vjzk+3v3F0uGhYym22WaevC1PV/Xj2w
QKfUC6tkQYJRbG9402pOhOHZpEikVC6KktMf6SBF1hAFtb1JJ35Rsv3R2XZ9j9zjQ2JoIJxlk7ey
GrySPDiGbV3r7XFoOucwAd+kXJHAgdGI+14Cny/qKjhRypShwMxu6tYtUNXeb99xWOWPdgaN6vbl
GMX1RSt8/ctL2lWfxOVGibI/RYNhHFyuxK012mreu6DDGISqXSk9EA3Nnvb0/Jfq5YMonTue2BN8
alykne7wXIs9KIxVP1Ha0oHu1SAxUi6CV6I9IEKVX5Fg0BUyRXshCV0sIn26kLPwT4Kiyp8cjIZn
8eei6w0sdB5QAiB8eTKuekbcBz2v8kddGl9h64RfE9SeaBy2CIbjG1IN1TDKkDs0Pvo+HJTXUO/N
dcp/WIZtQ/GAPgJYHFQM3qUisJpCNUMW1Ny7nyd0VODmrByjung4RedYXo8jbDlW4FZuV/5t+e9V
q44cmGZsy3BFp1A0MrRic/uym7HDGDXuLTc73Zy+1mz31VcFjMCzlZce76AgphZ5zQU067gi0lq8
eLaBkgepkyQx53qptPXt2KkquRxTbQR7la66eOAdNTV8BzzmX2OG2it8if4WWiZLZxvraov+Ns3V
gdN7mtIlbfXiG+bW0uAZ98Pk/3935YaYL+J/XuTC4dksKBNnryrtf23vpmAwMqcyOAXESQJrsEpX
MbfUywDIk/KMMfgNtIaAc0s3gwMqEi1dkdU2q3tTGpfBNOLndrw0QPwupR7v8ikEQoJIy+g5kNY2
KfBpNLAXgEEDIUHQxRxpQ2dFsZjCtZPq5rGJ42U16cQDHaeDIhNF7DQRK2JT2dfOdtrnklI3NRP5
UsOzz03PZWfhDorzpxJp9sEZjJ87oqHI+PpzWqg9bRlEPYlp3RKHtrLCR2lg/Rzy+mD0TdcsZBRn
p/zdacLwfHu5cTjthl0St5TO1Iwsg+4twrwtX0dm6pvM4RoSTlC+Jo18kh5xsFDA6+swZiy0iEas
rkdwvoWE+HeVK8phiJ/MTvnbSx/YtCs4ifXzvcAYEqzyWO9s+HUHVJt0pVeWd1ZYVnHpUE/DFIL+
yjlM4KUKZ1XdweGx0VxnDLDTkDMf886506IRvQh8GHrs/c94goaYc6Z9DsIed7aeuDj6Tf9SZ9JZ
pm4VQsDAD1EYRrp1QVTCOYhn4CmmUyd/jNpeB79kFdue3TZ7WQQNNUveLMj1gc26eABSQr9OYz6b
lhPc1ZR2eEn9k/zEOvfmDkN69H3YaPqov0eg5O662e8ZjQbU07z32p2bJZzNJE8s/NRoe3ZF7bA5
GVuT4X2Hwx2P3R2GcG33n9d1EzL73654x9SliSYpxby06wJgzT+X9bA3xlEkPs4iEiCpae9oObt2
xfQQ8swpQbXuSmbDTDeJyA7u3hBFvGuCq2WhfvrhS4hzOoanNhr50elb68lP8zsvcNc/j0oDv5Wh
oDMMREzBFIDHK9lztsxw97LJN//5h/H+yYbnh+GulTbPJ8uTNm/W/MP+bYczoaoyRlLxwos0LKN4
T15FiTB2i4GYJctlMMPAIquaIFW0W9FXBFrmQ5NeVpgaVX8wkHxJGHDCDqj8WjW34Bo53Wg/AbfF
Yji+dg7shJTa0cKSv0kroD7H1cfP75RdoyHwaSUgxXaTGn4NgaQyIRt20/qWNhgH7pyWR8mtjDOK
jJNVpVjCbrFGStXVsbaNra178UlFEHhLHxeXGcGQDFA7n5ioOOtmSMTJHR5T6va0OOfK0Rr7kThL
fzZuUO0q/Sa1SZ6rz2h2HCoSGNzqbB3G6YCLprjT+m0XUiTVF7ArjGClTC85jwpvAOdNmoZ621yH
grF44/8OEx9huOy7nebZ+wn093KIS+vVA0W3xM2dH/osX972J/FzYPv9bnBRVm+Q9CrVf4Fd846E
hyIop8n1FpSrTSbmcR3Yu9uXJfy0/3Jhu/88qTtkpCyLog8DgdjCB2XNu+G/XQt2KGHjy+Z3MbMx
x2lOwJu396a0ZtI0y8ui1P+HtfNaclhJ0vOrKPaeEr2JkPaiCh4gQBiSIG4YZNN7755eX7Jnd885
MzGzilD7JoFCmTR/ZmVlLku9jWSHGrer3RbHrJM6YcZ686AcxzeLdumNF1eyrh1aL8LAqefLwdDS
WHPqc9ulSGNLP+83+4w/0NocgBIcUhjr3ebyICa+/qaG6PXRe98lSJVdqQrgygXukV5nfK95xy0x
hV+SIHjsv47hXQ6UNH+8ObdQbddPIwnUo5q5qj7LTxMG+3jVDhVCSelJ1EyLhK7lVpNACSqryyGk
gGDqA6Y+NTtPr6u9e+2v8eZDMuXt50ye4++B6eYparK1TP7SM0mh15QWBqFcqSIQU8tTH8e1svr6
aojVfwfr6j57cvrFKz2O7HnKX8tns2407/dj8mmjcg5BtXltk95pSeaX5ce/jT+6vSbXx66yWFFs
Hli3wRlPlFdnPFnvLtk/5/kaBSn+JMBY53YZUNoisXKl0W7/BZeSaq21o5L67FUdPGutx68lg/F9
MtCpD2e9W12i/QfD4r5dDVrVlUPKx3dReZBX4bbp/ZLEc83Zks3tAXZ845aqUyLt+KidR+cxboL9
7sIZmXfrNCI0ktzy8WXf2k2Iv/n5NNvbtLR7bL3Tq1EzyZFB+fJqebpcPl96W8MywrKjjN/BKH1q
y+73R1sULEnH//ksYID93TS0SY1fqRFYXCFnXkvY4Q/kjstvjWmM//J52RM1VwE5bh7Vz6SxIxv7
eFkcDuWPtd/shu8La8NhsLrVqnICljzRJ4doySO5C4Au5RpRYWv2wifng00qvm6tfb2MGiu0025X
Jynp6pSfVijk93797n1/tIkE9eqrD4m5xnllf+RQIH+Ur+DvW3OZyz+f/3gVtHflyPTwebhsiash
zRWnJ8/6C0jWgk+a9VLG5twxJFXJnh26D0Fb+AspPrm04ag2W3jkQT4QTkm0D8m0Vps7EYtkFT5O
3nsCTDgDeelSRFDVZRvn9ljn91djy8GP08/zfLhHrVopYbN+Gxxe4/zxoSzIjvXt1telu727odk5
NHpVX+/Uet85+tdtbVajqjWntDm4TTQlvvjN0eH4bX14HtfIlNfkxNLlciHL/fje6D9WdRL/bciK
zglTp9oc4nCYXeQQ6ql2O6FDDpysXl/IqUR0ofeocTgEJu+c9NdP9rjV6vaX7evvW9XZicuOjf/f
ixqcB/eWdzkUtjn0bu+/pUemvASBS+TtdCovgkdez/H8dds71x0nUi8X0m1wKvrq1+QH1vnV5wRO
40mxc1yvVefXQqmOjy17f2i+++vm3hhvHtbvedvlZftMvmc6P69G1HnVwvF6e+g+Lstxlyoi+CF3
bFL/trF9taLyfnMhJ/7wRKz7kHiZLuGCJYsA05NJFo3VlIwXp84VJ/P7TETU8gAAu2dV/LX9/WrF
0fp72znVOatM3bpH73Rsvknitqt7p2bz7lbrT/ZZsF+O5c/OPtxXVEe9tLLD8X2Ma7WdVD4m4mR/
rKb797EUN24tgo3Ot67sUZH9d9vxSrUyOzev2i08tghJ/FCp3SQVad1ovMnPSpafnXG73FvEfq+P
HoVlAITN1pIcmxzgLTVK5e7pcC4PSE/xdBqP1u6neSCE/LszNqbAKsk1yZG4vTn788ep1hrv7vjz
HofLJ/k/641lzT5c6x+vXi6pz/Jx/LkhtjiY8B7UwcfhldxmDuEu9mH55vDRuVMb7shlbp6vZ/Y1
m2TMeGNVUK3y/R5fyLAI/qg9ShtSEuKBOtcui0OV6SgdSA6yrNXJ53i0iC+dLj+bkDS4t+DaKN/s
LWd2rfF9+XSujc3NebzLxP2cr+6yuX11n2ty09wqu6RGhj/Sc7WSS731NL4JWzeN/dv7zXZcb5cR
DO1n9zAuU0d63flbtuMqtQM5TnrMjmPyTW6fO3P57HwGVzz7uKPJa1jBYOJEy3j3ImcYCQjT8qN+
i79C8H/9yX67fqsH/RxP78uaQ5t/+fffs+Oer/8t9/znNX++49+765/L8Xpc3P4/XGXPj+FkP7/+
tak/PZ8+/m0MxuQ2+dM/5recU3yfX94Jpxh3t/+ojSRX/nff/B/z/05RqEYFzfhPikJN1ofb/1CT
y20138337z+WX/ve+lsfqtSs/k98pwRi4w6qdZCi+L6f8+vt//ybvNWpNhv4u+vUq/mtsnY40uD/
+bdK6392WnWM1ibZWb812P6zABtvtVuAlA6V21qor2r1/6VAVKUuBssfTPhGu9lod9iybMDOKMIv
XviDInzWluinG7vm+VFF3aLIskT1Ajtyk4ws5grhbuDdUO5SRUc1Tdwi+qjko7pr5ZojO8siKhLa
dtBLepSlVFnyUknP9vi1VvLvnPdGc4okmITzeE9rE75MwjPtpyJFoU3KInsdrUyip5TDSVnVMGap
N4iDYeClg4GTpnu1V7Ez2Og4vSsjRxirQl6b7dWA+Ee16M6cNHacdODH/wISVzp/xkqNv87N1/3x
h7mp7W8HLORVzfAJb1J+Tv11TSARn9SNU2Uvz/1ZN58ZebeI/KKqr8rtJUUeWUs1tZKdCkLthaOb
Ij8d1//M3ZvRTXqJu1ZR3o1jI3ftl4qSbN47qFF4UMOWTtzsrDJl/5xVkft7NVVJWeeDmvIxaMx5
r6ma6mY+lN3rtY2b6vV688SdRonNvqy2g35ZeXyksXTRj82mGp6Nn6VeLHw/X5xUOGqrSUUTUKj7
nr9SaTrbKn/A1MazMFwpkqaruG2yNaYGS0s58YVFmfmx/wde6f2S1x/30iutvzjXf6e2Wm2z5dOG
kMt/wV/1T/lFaGananSPqqOKopgZ9CJO9WLmb/Rgr7p8+ywrRebJZGHnxYD4K90tPgYbQSrJjTyn
OrwiobDZUAuhD2exh0K2irFDHUW3w5o1lGN0FCQrC4BLSg/ixU773ehAM9lSKaxsBRGXVDZfWSXd
Uz03S5LEnkPBHW0TRKmSZK1Dr6mSn5fqNQ3SE7l146UPiqggtdYvfTWW2cMkraR1Mfdu2dglL5NQ
WHVR/b4Xx4ul4cxYTP+pWOMg4OWxmvwrYiUO4R9xcpWttLJUZqx/Of0P1NoqfarL75RWbQ4Kq6W1
VwxVKFUcXthHusNfOefDFIfGjZYaRK7L3j0k/TEeRjHN7F5kcUAApmfOfL/YqpwYX4XaVlFd26Qw
lrU6K3erk2kUZXsPWZAQweEwlUVDIUK6SIm4/1RpHEcQMu2s1bSjX/FSQdis3sAP+/qtZkcWvapz
3ygKBE+Cy1IHLm3NE/h74MNC3ZrKC2ojWz/k+jNeiJOPOuuIYFlzGnFsXAazNggjYpXZKDKnS2Vy
hEX3OO2n2yoMEFMk4vkONpmzUPxXhYYOsOGN+xp6RmJ1VbFIw8nvF4TysdgdNq4mG6Zcmqy9KTUX
VE68uiL0XL3VSW8Ui4lDkcayM21+e/wyBic9iwvkYz7ISe1l5bIExdMkLEj5BuGimuBNc0ECKiYx
ogqKJu6Ip8xgr9FFpYt4QKI0uI80Fspvm0QG6priQf5bxXfFVK3VjAg4Pbh6wtuD/mxplfVskFd1
VMxi76Lyqn0z2KQ2KOgG/66Nt/NUV1q6GR2jTxkcdTZvVtkrmCgyzUH2JXXVpFtgYaMaZEIVTqNt
ynP3dMK6GWxM6B0z35uTWNjZelFZlxjwCJQCyUR7hkJyc+sTPIKPUTbXYSvCWzNZ9Th5TqBbCO9k
eHu4aKXnnLKym5pwXhYTi91pu29N/kjaaxvjoOzW6flKZrslA0bgancqK1G2ZzHHXNXcnQIGEYLk
rGOVK3piZ9OzXH43S9yblcy2Mbx0T3q4sbKdkdkHv9x79k5q1DQ6Oripn7U2VxZ7xlbZeuhhM7qp
IaKE9Zjb7ISpYSKcgGigI8bWpt6gWVfzks5kQod09OH8dPRRW9MksNew/9jozclvppK6CvbaFc1o
39Tb8EIy+cJxspbQuZUEAcK5pCcXNfF+9npiUgAu3hlzsvA7Y+Phb+2frZ4TLM/lkdBUPtZjc+HH
0BJnijU1Ao0e2aFd6X7/oGdjfXfG2kOzcOvP3eIMDMNqsZLD+VJmSSV4te14A8+/zQ+D4wypZU+f
ejBrwYbqpYhaU2duY2Z7ZDBQd/524tSkwLzqUeyY1jiobtgrIzky6JdygxG1g2j6qJOeyIUoa6pR
FJ2Rkr2Ec+qMuKStCKl68R+KQzaqlnCsUNlU2FMZ2cUtji9peWXLLXubWhB6uKflvWrrethGkN8h
+ydi62KVEF+Qfx7ZSa/3U3Qz0g6bTSN4qCGnYDSj5PS13kO2N+Op7yLoUBpJcrXmSCfixJV9NjLk
ElOR2HYv9EIvCM0R4ZYG6/HQ6+BtkZoMSbEKb+bb8sbhU01ICWH8XK190OpSPC5qGuQeZ8CIty4i
yc4g+psx7dWNm9lWOxX2SVQUPXSDaTMpRqlkOBEnwZlgoQxKufJ5UFGRfMJWt66W7mTF+KTPfnzS
ekg9F20TRcp9ybRowxpj52SOuGqMGjZb6JgltFt1r9aarj/gFrvXVojQFeoyJaW93qLGvZE9/NjD
pvoJOD6mRuSEVg8dLLZqli5mdyb2rmYnTYCm0bFrALGxGn50OPRw86n+SbnsmH5VVnhSgSiveRuM
sNS9lRHs3Qu6LKWVjUZencj/MMH/gzBMQ5648ic7k0hCfVeDWYrsjzdKYMZCL+BVmYmHmg/tVNYV
HWiw0cGkPw3OsKixuumtcSC5x+AuEotLyMmpBny9lY+6eGvOxkEYG0SfgBMi4ozZW3czBKoNB2xZ
juJk5FcT6Sgk8NRn586UbFyhjJNLtQj3FqDKnvRwqQMMfOj6Y24UhQ6hH3ScP0D21hAjTyXTKXpG
1hxdM1sacKLI27y703AOCgNANKiiMytW5A8oHW7Mnkh2woE8kY5bB1H9NvO7+bAexss4uDv3FDy9
Vvr08IMg2alniFJz4pVyWipnEUF5O51PE5DQYBDTIp9vHuCnwBqA312lOCSNdHEzfLJTqW6+tFh3
5lmmasPczQamGXowzlP5jKdk+aec8zE6WGtCO8wg9JYGGj5Oh30Pn77hQzgxHVjZbc1xJZ4n+BZm
k/mVeULCQGC6jygemYE383eaRTrYnj1cKX+2NvZR3W/6+t67u2zA9t5G2YLqONqsKkhmMD6JOZCw
ykQi9UJOJaqJ4CHwnTcaBUgD4BKcyOujhzmq6QWjiUENXtkSMSb4lPOLXyIvq4vmZi/dqMneSFcq
TBcHe2k9VVn1TfQ6XDjZKN8fOFAdem5x0gTuq1Hws8OSgXBjHhuOlcl2r/oR8UZvaCbo2WHIEXVd
tTh/wBPvBj0Zq/AZwBnEkKqrS8NQtgms3plpvx9S0koIGJODOSS2XEnPv7wV6zVTtNMdN/Zz3+vP
FihpHaaQTXzQowmzDlHDhG24pn/SCw4adjsphAv02tmOs9Gggwlg8a7/7b8M038ItmUf5+9sPNz7
nWanjM+3IvFXf0CGh+Ox8vzgEzZyP+/moLTCTaKCP32gfRzPfGc2gPpyXipaqovYBeZ9kRxvGwMQ
3xSp7s6TxEXuJpmLiRcM1UQEq53ME5i8p+wA8RokX/Qsr2P4idHoYlJa2VxE8DAMgsQeBmI10gw3
aJYTUkzTRRnwA4RPF4gyEWz8cLyJmHYLsNEijsc6dsDSvz6QP7lA/miI1KWU+T+dm7/se2xXpV2N
DJRVY5AX3Zi5ybr0Ix74ebFWVp7GM/oXYz3leRHxAwUNysXyExLwUdbuNJOp6spMxn7qc6mfx17Y
x3ihySJjFtyC+wsIoLtH3PiozmgR+10mVqYrYTIKDL8oK3hALivRLXJWoeB2gcewIWgcLJwlPdSL
z4r5NIb5i8VOj+URrI2d5HmUZRkak5VhJX5NGVce8VL2F13bgZ3YmTyxl2RTl2VBGfb4DuY8l6/I
tYM5LfBGGIbmMIuKLJoWXX9WFNK4PCtLMD+j+Yi2GP+3/zyPe7D8gwAioNnAHIXmxAxDr087ui/s
Da+kMQYeg4zTvmeGk1CHo9Djr74HKcQsMSIs9gf+CGoK07iPVkwC4f6Ul5ljh3sgpR5kFHDNiLvT
NPcX8YTHbNQCoZmmqbNRPNTrL1i7xQBtgnRgwsR2Rz4ORtItLggD2x6ZJqQKPSMwwlFgcvOgiL3U
Bzz/Cz5sdP6h1SuBzHh8aphpf2HE47PTvFAZpmr4Yg9iqBYsJM6FbsRSQ12MXwgFmpkBxeJ4IPTw
uyxdaIEh+Ky3EIaQEAvCr2LKbz/H+sgiyMtPU+aNNvMY4oH0MpoWqvtqVZqTtzCXtBCWGIS8WWDh
0B9sZzrlx4N4Bv1DrFzJL7mHdmXi8Ckwmby05Qe/BlD8gBtlYgsuLwpYp4hiT+OC8IsOIgXkxvwm
SVGweLG0FdHzo5o5k5QVdmC0SG6NuJprIWI+XOhtICKpQHzkC2aFsXCrPyjAm2qawSzSO8iIt4Qn
4VXegg/hW2Fk35ALuUY4t2CSInlugiHLiHO4lEmOsCWLLld1uaiLPgQi9jXTTsvcQneheIvn0l3r
qBCEMHRWYMfKJDIKWqQnTBTtdzO4N+7Cw5i5WcT1X0nL4HnOmd5lU9iH8bPysoQx3FvAWNKBKJJF
xlamdZqlM9ww7U6xIKMpj6FJxj8toi4tJd+BcR+3CJXg7fEcfnopZG2K5+dLEsKstMXjaJtW3Sm+
Kukxb8DuWUHrMK3N45gSuiWevCzyjVjm3eWf6PstJMIwf78gJ5Yc6SSUhyzgIjwIkYiTeWCPVGAP
4aUIQ2iKhwuiYXVRM0uF3EciiKGZMxgXqSECBsL4SVzpE7Iv6s6TfhK+lRN4CKUekvErsrhsCJ8H
pgkyDXiKyVNMfgbJ8GcYtJWJ2kcUmMPRJMBxGIxCHpNksmqI5zmsPQINcDf9E6ES2NOpyEaYI5ry
zfAZMGKGFoH4CbqJXH2KMYmWQuDJhI28Pj0Os2+3k15oR4i7IRKQJmnUM4fIxCDcKvDNqBcEasiV
IyHvMIAj0Yty4SicmIisQEhNfgDUvRStORQZytzt8OshkxhlTyZnaKNSD8ouXJsBIugQhJ64RhHM
NOB5MlQojB/0NGGoc8aQMETEOTdjBYiUEzlHH+U6+DFKmLwhz/ub442p4Gaeho6WPnnmZJS40Az9
CFEFvWBkxjPUsDcBG4XYB3QbiyUJ6BrL4rEsobzEHI1shP5JQYWLsGfSYdoT/e550lEeg7dEJchs
0QbxwglHQzpl4/kM5LZgjoKj38ji0YgHD1lq5ozZ4Bl4L2VqRmEfBUN2K4X8D1MP13PAOpgTFgHW
gKVZNZkRrlykdIjlgHpkkZD5aSzMm+LpnHijCS/3YXnPm0z63gK1DwGFo4kXO7hTcD7HDtM+DPos
IA/vL5AOWPATUVUYPLDcApgSTi7gTdypNIoWQyL28bMGIVPAR99MgsydM5VMBMhv4aB4Ahu6iqBv
BI4X9HmJGeN56YBppyFHUBHXo4uACcLbHmsG+TkgJHmCfCxQVchPGRRrk9IUQjeNDT93cmALXG+J
rIPhGPDCyAd+kXomgjROQw8pKco2DUc0Bw5ETnKzIwrJQ4P4CGuEuAjXgferkVE/Im3pjvQszqM4
5UkIX1GtvIjnlhezLo8boNXA3GEo1/8rHfo9MvJ3YJbY7DJh640qkPbPYJas9Z3ntVpBh+KcBEah
GAQMiXZn9r5yNMcpJHImqn69hF8MhS5Cs6Fhv5Kb+fsCLdECwuGicpGFjAbxB4/Id5EJuLIKv4gC
U7To7+u/wEwENmJThLA88/vkQh7L99+ELrK+rOUVtOvvpYLkEIdAbPG/5W9dfFWBqOcu/xmihtFy
OTrYWbDSLFnhd2OHzjLDLLv3VqkDNpH14SpeBi9IV/N4IcsFxlzo1ONeX3QpEhrxXrCedBBVlbN8
MdIWUJqxfinr91UjYvuBL+QHK7fgZgt9KpMi16J54KsILfydLJGXdFf6OcCSRCXzN1BFYIOzgLJk
tLQFIfAb6gCsQmrwC1rKWaCcZdYYJJPNps1X9YK3ZoIsaNMXQmJaaFrwAh3+qjiQ/5cdUFRFJAKL
bZYvdkYziVpzuwZkKdhPFGIfUkQDsyqQvwBiMC+d2TN7yB1HIMEXjfAejchXdxA7KH35l/F9if2r
uxh4lkRT3nLl9Yi9m4x9LXxBwBT7B1MWDc00Ad+wnsQCANoxZYydB34nNrNHAoDQJFmGdGLN2Iyh
z8iobCDNi/AN5oLFAc0CnhHkNhK2Z7tDE0Alc2D2pAn0g4wlCAHoYFgTK+xv6B2vD4outEdDBCkq
Ey8tk+0gwBB7nom4EWUN/JFeSOchB/Q7Wo9pS2Wbrhd4IWahLE7RHQBkkp5cKfyBXBVuct2hl/0O
3fMwN3iI6K2vqsT1OUIaQySp/EakoR9GOjClt2irVOh5kfY1XecebEiAlOtykyjC1BnZboSPzmGo
MRoF44EJi3i+jWyEcBCugiHoTzdnuhGeqGJWBAgDmPiuxlx0/hdd8T6voGtslGM48uIQnYJopxth
OLIRxV9ihdLRoiPBNnP0hKgQxx56iPsUTYeYw73gZoCN7wj66ABQgBgJoofsjzNH+WHhjOaAIaww
ARAjFMKiH7Ja4AheEYSLnmP9hugwE0OH22UTCIEvwEy+cJdh4YiykHdNN3N7KJZgngyHApuxgBjM
kJuAOrLgC3+GX9ePUV10idsEHUkLbxVCDqagHRZdZs3DWkInTTw2nkY93HCurOh0+kVGsrZgVTHu
V1omDGyJIY+rEpwrmF5eYxjTo2aCZbHJRfL9RJ9h9aPrPdZIgASjYBUENYGKJiaLw/4wWKQ3ZF+4
Z5s3UdcyPeYincU4SofQm/q6f5gPaNXsQ39QbtpHOaGKESgefiTUP6sgXwyC2QAp0IaJk2c0En5K
xIEEaQAaGfIIDmF8GOQRPCpEAf4ZpQhNyA8im4QTz+mPmKoJ0GASpqlgtAWG0cyhyS+imqDeaYlO
28AGGmX9cGpClSmusJSNq9gv43miOQgF8NAXE7TPaiJ7eIgsaF7DXh8BT0Z64m3EX79YpAecWTOI
QyTUAn/GDGZY4HfJ/4WG5FzfP/JoEPnPAd9yp4KO/LOCZMf1WT6VKSTMNieCbOqCI0PxucHFqEp8
BMg5kQOskqgQhJfYBXABr4owFECI7gAiZ4hgZDE6AOmEfSPuDRkg4pCppkEcSOhRYgEgFBCk8AVS
ycbxgPoUaS72JDIRVME/eW59n4BRh/xD74osCwQaEm4Asse5L23ASMA66TX+H1RDHCJnuDSxTYEr
6AWkCi/wzmwArLWRdPJ4qNcNQFjgRfwKLCi8ifdSmCpEpgiM4iETE/4EkNsiIEFnsI1IAWlaLHKM
L7QpoBBSjIUUAWbyTOyemNGCdUShDdAlBUhKyx2+TwyC58W+M3D+xWr+HqH4e7jzX6v5l7ORK853
3a9XVjPHpmGmmNJ0ILqa/XxMMTQYvMlsAFbEjBJUgJsMeADgk8WGjUWFs+ZTFHUUzQE7cg+kIeIV
jx5TLbz5tU/wiSZfn5IocO41GCpN5j6YBQ3AHBQI7r8pL+7OvioF8oEWIIg5PkJxM+11MkccZPQl
Bz5lLiqzyHFAwzYgfy/EzV0AWQA1+Bq+H9186qKiMreYWmfZlHdF0jM2TOIv/vhKI9nBwSll8y4G
KMP+BQMMQVSYKYsOkmDJwOUsvwhu4i3sHhSduYHJL9xTmDdC5V+KEkr/inMsC0QnDSFiAdtIVP4U
AsVJjM4S1SNfiLMe/rIvuX69SIhkNByoI0iRy3iFBbbgF/bYCPHxXaII6RpKygz1YgTzg5jwY81A
coL+WUP23ERyYdjCCUze76f46HDjYcAiVIEwXEpL8AlgAqVEaEmY2iGgSsf+gi6L/kgXiH1DCzLv
DgD0C4RXnvc9eoJlITTDFg3QDeeKwB+AFR4DbCIHX7gCuXXvYiCiEYCBM4iaeYQ1QjYi+ZCeQwKF
lS/CtEN8BqbM9wPDUDiDbxAg0Tp4J2UOuFwsgigyBBTQk6/p8i/CHmr/IOqhWSZovdLiHCvRTRJf
9Uff9ntDes46IVQSo4OvRpjVh1egbjcDG0Oq6NAkA80iegpmEKbJcTNBClXdBYPmeGV4HY6AsHkH
esUJBcZIsDfDxIaBQBXioaOJKBEfNxIyCORffDvCBDavJ8mQ+IV5T5zjPECIC/Vn0wcECuyJixFK
wXMqfoIgRkjBdUz9woMgQ7AbCgcrGDMPyuvh3YB2eZZQoRi9UP3IFGiCPAQRYRgyUqgNUC3+ql++
9z15CLAAYYT6B+rKwqFLxaAMQj9FDvqxnn1Rtb9gnoTHQa15HGJnpN53vWKmQeS27zv+gsiCABZl
FDk2JgpPKHjxz4261l8PSxINxCJy/rvWaTQrsk/x50VsPC6n9vhO1nsROagUrEh4XmA0P0rAbvxk
2BW/n+BynIMi5hBN4k8WFhLDSKwcvn7NiIEIQtkRw3JYfM3orwxHIIlLjb9nqRAnrTB87uM7B092
I3Z4BznGA6YaUo9rDLHwGL/IU1GGvsgtz/n6R8WJ2n0TUCRXiLj18fwDu0LHh0W+ijWjrbwLFGc/
lDHkuTj+ugV9EiHNCMRjiafhd9EWg5jQJt7Hnfg1OaciWkUzCwUL7ZiQj+AgIaCvxSprw4qhiLrs
Sbr2POtmU7lJlCRqHFnK7YhtYcsv+oAhZ4wEtS1qP5oy13IF4s0EoIO1Qu7joZAeTiiRb0ixKdQv
thdmBHaDtC8Ws7hyf01ETMYvugRY0CaeToaJ54O7YRcwbYIHVLokL3x1NeriK8yFyJF9EPn3g/bF
0KJ1nDaiq5gIsfhEwoPTQWzMb2ACnhgNkCDBe9JbsliCKOQygMNXfov2twmw4164k2cCuuVWedhI
8B3Q4OsXwn2EE0k2QcDS9A+2w5Vnis+HKydff96PwsuEV1z8H8hrcIWgQ6QuQxhit4gvDlX1dUyO
WH8TFxekANbgIjjHHOKxg4Nn9ECg6gYlyEzj7OEnVziCRwEd4o6il2wewbKIeA9d/s+5jcQKfx8p
BruRkAN0yCGHVusvMvNDwdftYQe7EThlkw2N3W42k1Vc1X7HbahSWsqTS9RyVtbG2Ieyk17JqB8w
egy34SO9du8mBRA0aQPK5plQhiW79KjulX3IPwana1ETBPWovUfGTFUOS/h/SdBuve2NdgrLWneL
Ri/ujO7Oy2pj0ZrJvd/UFcKvtop6qfzmDA9b51d769QsKoiqvTmnVIV5MTiDrjaej1un26RNCtZl
7/Cw11eiqYhoG1asTVDJrt2j9zYpcH3Q1MQzyz55Iekz6aYlmJUd84u7Nqvm0rzbG2vtc1rCoJAI
MUvjvUmehipF1p/DXVUdF5XovNKf0Zssysah/yASmMACXemFD82hL3OcNIzn8Oi/jKct4QujKvvn
Z6es6t2qR/kFwtHq1p4wh4+5jQ5Eua5sLAe+m2yTp2ef8gvs6DsEkiSvYk8kRHq0OFakSNFGOMud
CAWiH+dHZxc0qUHhnbzmdKdPdmfE8QODaAyTsno0GtKTm7r0OTzYNpdJWb14MDE0ZBdyiWjDB3Ug
imLMSpWZxZf/Was1AUgev/cOCUKcFot+cw9WSfkHXSwdksFM60QKHKMOwoocGGUd77y1xe6Zcy1u
zjlsMGs1Y+9tdUSI0nPwUc3Bu/sKtubSeYcv90RrxzWhFJQ0iI5v8/LzXFI4Ve3iu0MOJ+MIeRhl
dTLSpUvwgMMJULetFyRRHZaJOiuOztPrOBtv0yVwo7snvyaN750OuVaoMjag4GO5W3NuA0oemGPj
mbwHhJd1xy+jPOD09Gtlkvy+1wi2RGpUJ9be3ANAa3ZC/vuAutxUGzsRjEym6otq3OzWjoQN5qYT
Xchif6I8LeUlSLintsw2E2qd/V3xJNDMIvV1VMpKpJNjSmOKu3/mNf32qYJmry1mCTZazckPZNed
pd5NiGCIq2VF/RmLeC3iDTvs7XMOwAd0nj/EOBGJyMyvbPJQJyzGefEy6h4H306qNDu8iDuo+2e3
SRDWhYWl1sDo1F+zB3Ds1fNXSFLGhjpHFL1PS8bN3qcNfbHHYb2ARIxd/9FfWndKq8W3u1Fyy/4y
rZIq1+W4ECRLSZVhOSgHB73ndLbqkgHUIxkD2bnNqtdkfTrOSdjsFNR13bvkFasNBcEoCPmLRU6J
J4TUZFdqTUxOXIvIFWWSsPBmleDJu7oY93BsFG2Y+kacnP8wajButDXzpUEg4zdQCpYlkLnmC92R
n003jIjiPrRerM26t/ejprv1zjBBQ1VS6hFUrPviPGh61EkgBtMmSZh/1vLclQGvK0qpEFs2hsXJ
tqlKJknYzUd2Mz4uGI4CvdneJIOw2hHq+XL3ug7v/1A+LnZ2iJUn0Wt7u+xRb1oTZ0bYZoNYtmnN
r1lt5r9j27ANMTk8SJOUVn+spmasLuIue+mIU3Puwdi4b9OfnfU2WJqXtKF2yICIYEPkF36ItY7u
PHNsV7JzcbLO4Wa0NHmJEoL6EpDQY0jc4b4/JbaJTE0g9paxI4yXUsXBnbI2BLFe7Q+Caml29NiT
MMCHtyNpJKHR6+LqIX2tqGXcGN6Wrl6NvXlV2BiV0T05udQ+N/ceqZWG+3736vu76OIfmNm9fg8q
P4S/DmukbqTke5XCPqoVLaklk22o80TKPLN+7K3e1jhG3H/ummSQJyJZP+6NEotn47w3m8Ub7UBo
GW9WvfeexET20axJUMzDdqAYB0nF8q3Nq0OELYFGW2JtCUh8KFKntI0VUrxqlIjeMl7R5+c8KXdf
BqSyHTQyqv2tVefTq5Ss1tI4Ga0DGQ+9GmR1s0lW1coaHMSuG4e6qpN096khx/VW7wldM1bmYWtT
8KMxeKKLqlaZROAI1nGK1FHpzXqrqnEZbOQUAXHZFZJME1FnbgdeW6UPY3BwOcnNHRAzVhF4K33q
k4tof8LkFSMHXI+nC+KGhwPRK3fz1ato5LB+G2vrbdLYxd1bZT+XSFmES39DvCD1ShDTVbu2Mik+
Tg0Mu5nXut09IoMo6Z1KOLJK0F+deh0WVBCINgSDkiZ3SdgsnlYrW8IAh+AdHkOOAdq1ISmrCFQj
861TJrKybkhnkJMlaDRq6ajOwUqvpA7GdWe+XDi2PS/3b72P8zE2HLrXr6DKkZ2KmpetpMTIZpve
2il3n/i384O7dipO2+jejOqk3P85IwLK5i06alJmEyJW04eoZVFtVZ3tkjpFewJ782JjlQe7h27G
xO/VrJ1udiuoqrKO1vbdqtnjmKLxG7227g4K0k5IekmdExXnTU9QwljnWcNytmrqFztjOyghaTbE
pJe9WzDuHq3q0H/zaJ8ksluzYjyJD4YOjeSlrUP29pbONvkQlv4yUUh6H17hL2q6eZ9sYzX8DmHI
Y7tN/HSJUK2z61XMk+2XEUdtr64pNKDe3aqeLXzWiwDhK2qa2HBi+sylsTegI8TX2B5MkYRqpSss
EZvj/M442qs2GXlN9TEcgEEIzN4ZY4+wuLZzUBkVWS0yOVgkbreoo2NXCJQjKFf9LLsc4UyKdTi2
j16LmNkb8YlGleDapZNt4fer/rgIj2TX23tnu2xZq16JUyhVzp6we32wetRm/r/Mnddy5GiSpZ8I
bdDiFjo0I6h5A2MymdBax9PvB1bbTnfN2vTu3VpaRSWTIohfuB9X59BSjcU/QoEW0uP7CQkMKAcR
Tv5vHd9q5xfW7DjjEFv7DxvIaaEh22PoPDhAYoXff2s4Px/GZffdhN3xljsfzFzuf5GGCCR3myJA
/3vXO9Lb5X5MPWW/k+mju3BiLf9mfiVufUYs92FHS+3srv4FZQ75RXHl3dYOiVbGfrCf8jP0gGCy
652T/XAGBIXfAp3FRlA9jC+idwMOOFK4vrCRtUMboa86c0XXsBWzUk8B09E2fLTr6SF9Li6Sk+9g
vXHpv4+P7/OxFu3P9MFyjKsFtc5DIHnyAfYAHIVqfw5BBuEMFhqtkGB6seDT/0SK6qnfQQfMQS5R
MPCzTx0FxsYpU7v4M35Bw02PbPNSctXPtIG/wlzifAk0La+gwsq2HjJv+CzsvTV7YAcf2YJHPWVX
4VT05gMj5/AUwvpo9+8rNPyRg/oHiCH1+/yrq2iNt2jovEUv2UN04iAdo0AhGdGeBJt+0U3YbK/S
2Gr+MYP6VobJe/euv8gvTC88p+GECWxs4zW/MiYtYdhxxKYHJ/413VuDfYCvFgNQM40h2N/ZBdP0
Hb1XL5D44BHyk/w79uLvxREvMU5TZsYfljO6klOZjtxhn53VS3UTUXujlRFjepFD6J8P6UW9ZRyW
AkOKYMVRle3ySQz5os/sJX+oAuh0XsDEzvQiYUaroHzyhj8CYglO7JUf/Mofs6tKEO0E47JX9P0C
9T7wiSbLLoASO7tw/kPDr8Y9zK8QGss4m53Y+FgsUQlAb5DDdS4CrY09h5+Rt1zql+ijfoWl/yhh
J/P9etJ+9S18pm70BHmL4tRHg5sduerlE17mt+hXdc4Zke78yDppH8p5Oayo9h40DxqfLzihnewG
S2Auu9EXBF6HW8Q2Ly/aS/9U4giYcvfPeWAFUJo/4dluFuGF1z6V7vBpolmI0MZL9zodZjq73+WH
8q3NbFRDBMhp1qBI7Pq01o7xS/+GxYs4BhqvHVpoqqd80TnM1IPBNV6wZPJ3hMAFkgQOXiDV/IEv
PqJGhKy7m94sHFdX28JXee4w9G8jPfSwwIg02j+BlC/C2WLOjh77x9TLg8RnrgxpiUPqWeeEIQK6
oAVv8J6PAHzx1N80tDIfPiKH9d2CIF21WcHxJHrdUfayza2FhxK3K145S6ArrCgKXI/yg3C97xVH
DJFcp+WXpUIE+fj4KQI8Ep9m2rB+qB8hgftSPi3Ow1kG4jMTAbv7uxIYWFczsePMNV0JX5K4iJN4
Bv6x9u8zwpK26RefAqfyd3aWOlt41o/J9sa4kGPrXCCLA0PqRxh6H+sj7t4ZCTMfDAziY35YX1hE
DwUYph64CV77He0A9AF99kHMJT5Xv1CCgJ6oBoI8lrfpcXxJnPmk4bUrNz+XXkY5bEJXzZ52Em+L
vBDOtOVaAX0oUt4dY/+KloICnNTfegLbws8euIy4i+bW2NqRSRgbz/7OpMu74f8qd/I2snd4SsPl
CRU059u0FcdOsffMHjNPlp0LOZi87pNR+gDyDOcsHxn2uMiEBLuMW8dQQ+J+dWcj2IYW1q/mBdXY
QNwhFfxnDlf3G4JNWpg6rzjX7sOtPWq6j9IJGhpMPkMYFM3+XNmm6Bov4246Dc5wmyO7RsyM6JbJ
my/hufvszuVOAvgtLvQqxj45q6NTKVeUMvX7eXkR/hQ3o9xzG3QPviHzC95a4apeEMCBpD3v4JQM
YD3QEg5uqNGJ/yZ8xoEI17I3oY3b20P22GAEf0VwmCHHO++Qx2zCLMMpyoHhmqvde8WuO7Zer9vR
ad6POAg0veziYjlP+ZWz7iSYJE6M6R7xWUD2NriNR4VJnbvNhPbLgvKOd0NynRxCGdxqPMCw2t8g
kw4F0Ksp2Z9b9eF1IyNGNBs+Tnzc6PYPsnv/gzotx3b11d/1SQoZizrqdgX8Qdm1OUdAF9EXXZNe
N6p4YjhrHr5APwjX5g8CtArIAiBiQ+bopkH1YtEbNTjvrB2+x7Q1/BpqB1+Nbnc3AzYcRulyR0Tf
J95bv613lWGNU3fTmYtqHVVxDEKxbrdKriLtGZaPXRFFvIeZZvfKLk+5l4fDFm8U9nDhV322HHu3
zWR9fe57936b/SQU6e6nnlq0LFfxRx296tBgBeAoarwSuLwEKDyIWWDieZZAq0IbSuoS3wvFbu/M
HPdN1MmxemdckPX2+o8Y8n440jHPBEcuEqi74uFtABMKbx32C0zUOJAWAwUn97AysjGeqt/TEdpM
Br3G4GZxe3LvhtLMY+s8vBGv3JguujCliZuWXlE0Lex2j3wPNmm7Ta0jpCDC/kzUbfPpbYiWy85W
93wWyEoIxCQJZgUiAta4ZAApxfINnsbgGTzh7Oxg7yNQEWfdV5n+Et8gLeaHQGuMJtW5+rNcM8aU
5jD9MED2jF78MlR4rZ3lVVN3HHbyDrm7PmuiLbcglyzy51MDO2143+mogNvA0PSTu/tu7WIfS+UT
yTvXU+G+kajAKN6JLcqzSkgHLIy99JaG4Pid4XdP+Ykxpm0SiwnEg3YiDUeWjVsMnwFRKraI7i1Q
IcbOq/e4Drv+WOi13LDl5tpvcAB/GT4DStaJWStWlvkg0lp9QFrkQMF9+5aL/Bvlve3CsFT0njAD
6ufunwgUGtcU64lAnPfC/qwBXd6eszPuLKdm1bkaidsScxwzsEF0yXlUhCO+dQbRYCd3poOP09lJ
9hdbR1zyC9rWMkyvW9gCOvS3yUBEEYKZcQHQJE7lQzuUGEwZtAQcc29PK0A0f64dotbc2yHLwl3f
/tvcYbwn9L0AD/0eUJ6DIPm+X6rzx/n96yXZFwEU4w5SowDEnD/jbVsVKQRYd7uWWSzGfADv7lMc
ks8SmaFptoXqA8FbnevbwgBZzLBOFkAqbIP7uFLboTJ3sReFGc93RY/XIQS30Q8GazKU5aV7rw54
KCB5Qr6iD5PrGrylXhpIh+6Xct4DqD0kM52P5LIqtkaY3gVm2GMTauerPMUB4W/S2o9gyokItGL4
BVsf70b3Mz3GDylb0HOOqUZXmB0tIDLQrvzrERpee58GhGfMLSlB4eytLeSibovktNs43zM7lWzj
5ltUHR9X9wsmWoaRSYOcYmfZD4dlf3egc7RD9ZRYjvadHJgdZdxPDrNQcE1fe5H+9L4VlLv7VeIt
B4wOolLX+YHhuJcCgsTLekHlvLZXAtGvSHTHEYHTY6J+SEwP3ZiSZmkqFq4m16Lv8SpuTo065Hhf
OIY3I4yv8cr+JBeJCc4joIcthBvWk16BSMrrYUuQ7dYMqKJz3RfsJjIFz6vbOfrX/ltiMavz4Nxf
NCd+n+EPsN5LsmIJfZq6LexROSILtA3pNntc1614aQCniKAEXwXD8l+xi0WFwQqlFW1bNp6NNQOY
bFuBCppvOdat5xS8+R8Mzm3GZks+gSs/trhkC/RImNo36stf9TdDs2Dpwn6adsnljR7j04VNGA4E
K1vklZmMzRqeQJTEkGKINzmYu3bPPb6O53HrqiFotYmkSG09laeT+v7GHbCf9AfyHb8eqKjnnrhN
oZE1/LiHq1dcRmc4jFzo5ldFBLfTSXSxSP7EKDdNkIsNsOPxAxJXd7dl8cmjeeV1JjXFO+HkOMp4
h/3rfc9EGkn90b9sOC3QfAGLcUxckWHhxnkXvI/M5ZsyDEPmn0BUm41gK/Rj40euUtrK9RkM9oVG
sn1zHo9fsTc5aGkyGitjDhLwIJ9Ivcb/epJZRZ1jjkkhz1R/FkeR77cvBNK5DemLcxD8C0E+5rT0
LG7cZgIVn3vAcicekQxj+3zvQv6AgJUSg3eQb/dtjqoPuDtvJuPnlv20TYYvTIfyk8j+eR81wVob
MLlsK8zt1kEaqBhRRJ4O6b6iVMEEMYtAWsA54WecCykXmu3YRVJ6HE6ZxOQlco/Z9YxAEG9wI4Rv
dqiHnSpHIJuXM0WtO8LzRb1iu21xR8DBL0o6hIUGtzsNKWkiy4PONHbCJPiZ5J2THnr83I2usZEr
nZPfnzDXbxhvXODFdHsXHR3ai4On6IkNDJQziJU6g4lHOHfB6wQUue/zQH6SgpFGmcnbBnYnpyUh
LD8tmECTdO5RdWnFXje4iNXa9e8jKZXK/rPa78rHsoeVg6dTeWqACAv0SIQ0kL12B6dx2idOCiOm
9e4ZISPoJcZjf3y87+MHsjgkHDkvwEP+wjSohzxF0Mv2H9kej3zSSa7cxisQ7VgFyXd1zLk0PF5E
AmamoMSB5L4dCGyhXyBEsj8NMsEy/fIJiReVkkwgPJB6u7Yea3qxjhUJuZNB+iXs3DPil/jwKynk
e0h6O9lnQc7DK/YesgXQHhSd+/KVGsZ7ddpWkcFyd8YFEpB/9zukbjmJAbkbcjWEyox1n0FUpNQl
xv1liHYOuU+Cbh875ePyff/O39ejsDijFeaKm5FeSdH+9DveTH+DFg+9LJmxevYKyelTc7jT0Dfy
8yCgJ0+YuAiTgDK4WO7to9vcckC0072eYeb1JUD/ugFXx3JeoROgQsMOl873/ohNZ4mOS9hzFt9R
yWCQnMDF+Xo8mkRIsYuv4Q8ObmVWmQHLq+7J9ARSTfJBO46x4hbSnXZT2cPIt9zP4uRJH6u7mzbH
tuvxFRlH+IZLDxZHcBc2EVJNoqmVKXEyHxz+FOkbTOTzu8U1gaic27iNh/L9PpOQDD2TRKb3rQRZ
R7BssLbYTzusvcVvdodHeOhF8p/WE1K09n6A34WJTG7J1QoLEvSFc1rJvfElOxS6dhGokXqTyUwy
v41L7VG9FbhHSgZk7sbtffdfohOHj8WOMVfnz+cjxTNf4T5QlREDyd+hBPlluS1jxYNTgNbwBCQy
/OqckD1Ldo/NmTSjwmgmITujvQzqhZL/Qmoy5yKv5P8tjGlbu8RN1TMRNEnUYFvf2G+OlktlYFNU
DWu/uk4Ur7zFWz65KCEn9UtiSpWqDylEzTmIzgH4566B5qJAyJ2KnXqX2T23AO0GN3qt7O6c7M2w
oHixOEjoOfBeeh1TzbLNNTOpmqQuS7xndJWlnc5CAF6wj4XzvOVAq0DgwJMo+SM51HqoJeWP0qVw
zlpgPLx9PmaBtctOcgA0fNjqTPvSFTIbA/VOBGg9Sj4qxK/poxD24eSbwfJeBatzuFeOznUBV/yh
Svj0x8TgA4uSdb+mvk42cfc9gCuA6RLJoPOCCwGefJBj4MktLvB6GMBJH1fklE6pT9BiRx9bJMAu
OBHRwMGS8CWUvdwinKA3s38LlPvQfQpbb18+Uttzcr8g8k+dlitPPsmj4nggm+w8d6fkmVsejGHi
rYx0AyQolgTJlelt+Lx439m7VuzZNYSxdBuf6u1rFWQnREyfseU0KeEr8RmXkX34TYRpR4fJ+zSx
H/q52oEMQ8VbuZonyqhjmGI3SRG+cTVt/Txh07oTRoiiKebTuS6+GP4WIRqArwjM0e/U1zXogjfG
f9mR6Rt+Z35ZkiJ2y8wv9CGnekfJ4pkndF/W8I36gnOAyZzsIT2hovMokIdevfl696/GMQbMUKPj
F47D6EE6WNjMS7JTAbevIn1nMI8e5j1CwNTRItDBDN40sZ5b3hAwdxIo1hmQohSwtxxgQl0ZGBed
cCtzLD6/4kqpHpUqnkYCKz309kt7yOAD2ZgTNtYl7b2c/JqHVjnFMXecY7NSG+snUmnULOZHWaSx
JuIYFKThJ85E/URDK2nK1D2Qstpl4cO5CqjgHXJXP69YY6iFzjBv2kZjn4AodShT6uRUllx6xszD
xXnc2IWyYKZ2Q49B+th60flueKph56ZdnZ7XwV4gI9J26KUWe3PxVcGZB0++kKSFouXQusi7hFt4
pNrvnmQdKba620NlXt0FA9e+++CSuhMbVZx0JGkdbjavXGsqvGHxvIrkWWUQCpmCb0Ly6uXpqCxX
LCVGCILkjkrFWtsNgVf7kvlye5JuXUEUVr+QQjIuqnw4Dvop/xxrUovoe1GGeUmphxbQYfMeAO/M
HTbLqhM+516m33RwpZcTbEnYadVByoSUP/DJSavbppFud2yW4M9vyY28CSXenQj/g7CnvMQvQyr1
3J2l7/GRIbQ1HHK3gKnkJ6RIL9kenRQ9UF87cMh+fC283DV/7El3Ha7l5TclPp/tSPbVnv4fg3J8
jpHjYDwPAV1kIlF7xAkWudzM8NN6QOUIzTS79F9h8SNjua+fBgdSKNqtUjhjohMcBGB3iGgSDzKv
ELNw3PevyT4U4n16KQL1kPqxI/46g1ZOLy93P2NzsGukcKBUBcoh8nak1rkzqFIWOzg9fi00SrQQ
58D05FW7zudkhyy4rV/jF51mAahRGq899Ju8sm3e0JhOsNDKZ6QQKyye9XDHjbU7qk0e/QUiTjV+
m5kIpjjYX+LK7n8J7rME58dMWbzzU5LQAYbsWfLGS3kxZtSl7PEA72Ltk6EpYuf+XUJIQ6XbzQJ6
Li7zgddH81ZiWRAKtbPn4XkDMjggBn6OsY9Ne1ZPYohKJ/Qf+wS2AtQIsXrPCJxhD0kVeg2F6BmS
JuFYPI+iXe2RIDwUV+lKWgnrLnJLK+ryyZHrbkt/7h050pHi10DsmYGHitNWHcN5dC9oJIYkmQPz
Nf2tHstLu1F/3D27CDejo/ibZd6IKnIuXfogeRKtqdrF3I83a+tkIHsHdF48/lXErOiB9t59J+zX
N3IdlB+BZO+Q+n9MVHKRYaRu2h7vLzU+u7taD4TLbg/RxObyhAesBPXL4BnjebyW7m+6G0Cq1UHA
++sHg0zQyhmonrcenDtOSeTrdxHVQtRPyTw5zY0yquxWZ+gyhN9CiBTvF3hAAPFsUYi9R7v+kGze
n94CHVDwm7LufnAfIwfZ8Ct6ry5F+fH7MB6eMegAfByuR1F9JNgQLjWOuiAbA5pzW/E/zHeb/326
e2urgpQPDVOZZtS/qanEUt+tajpAJSAxGv02+aS88B5IDwSNS0cLm0HgGCiHioxkcQBUEZ+0WAEL
N0WDS2idVWheRjLVDanh1NFuJPA3HFH6BE2pT2nagDEPIEx1leuGGd16Fi3OZeG8FjacEpZL/Aib
2u+QNjmw9v/cOybp/3244N+f8W+dmisUvqpa8Iy0VhCloNBBi5gjnKVf0UNn4oK3JiPRo3D5Op6Q
nyu2xA5xWXtTn7f5EIThCbckKJYw36TuKeHxrzkFrK0KQsot2EBsQLcsHXoBfbh0uMN6NJDFM1iz
b1ImjPSa9sOK4P1x9O+OEAh7Uu3mA+LBWKAh6B9LFzjPNm8Gs6QTgOvqV6c5jM4RHv34SrMXUGWm
MQESNAz2n8QbQUbyLTlBKSOwnBZNbc/wxfDN3J5dCSBRfdlXfdGmzknCWccarKRusK9bn1bpas4z
ztklxQPTbD0QxJS/zNvP8v+T7fKfVB5/o+j824f/l3Sc/2dez/8PaTbljQPhf6DZnL9/f1f/Sq75
8w1/kWvK6j84oJa49X9bum5YkDz/xa0pSf8QTQO9ChExXJg3N9aPf1Jr6tY/4Lnkavb1uFFtato/
FHR+uLf8GIP/af8vfJrK3yj14dDU4ORUJShrVWlTq/v3TuYlljMjt5TO7Ux6Cn9kggZ5nXaDnsA9
t+mk6FZRh+2PbGSi0sZnkL7Wk7T3zC5yB2rZ/dwoz6NlqNwEo6MzKpvVSw6zaDCXMm0rqFoZCDZF
pLd/2PYTC8TQGcWhWe7TizYWQEhRnQNR/T2rk3QS+3IM72uh7u7lsJzMdBH+E522tF37/5pSYekM
RbUMWVHN7Y/0syz/wjBj3fM2X2VDcDRk1ferQO/S2kfnSSyGm5gkkPRX8W9dsurgvqyCbwrt/WRk
0t2fEpnKhZh1oSXOhg2HtHGxmkJyqzktn4sVZTJ1jrpPM0dDVn36Yb7+eVG0hKeWdWGXdVn6uAp5
D+xd3//rK8Q6IsUtdfF+bqxAr+TpmKMtdTQMc3X6SG0+UP+MbV1ubuuSSWdLjbx7mdOwWt1pxSju
2qHRvn+0BaNcVsMuau7elK3tu2SUL520RtdRUaqL3Fvk4LZ/NyOjclED1Pat0O+VTNJc+VamRXGu
UrE9K43om6hZ+Lq4yOcCYTzbiAzK+fJ0KLaXXF2EUDFGP82H6aDoiHFpaBTVU/Wk5q3pz4tMa1ie
FhdFVy2n7cv40xImry5b4be53H/PXIJnzWoaX9aQpINruzpLg0nbR5Kr77kc7xRZj36X8/iqLcn8
Eqet4uV3Yw6HpfCjQpMfGqN6G8dV2qtWl55jMfYSa2nPo0kXSEobmRrX34uhfIyozAzIZoWpMRgn
RVCMU2K2D2M8oiXXg3vWVS+/NesJSU1QcS/eQ8MAFStJTOKypqa5iaChzjAfxOV10g+DOJWfkT5F
nhnH/c7SN02hpOEhovJzNKPUUcfHKi2Lw5SI8HEn1j9ffv5NtxI8hH5Pz02l3LI+np4mpcueBkPi
nYu7J+tF+lLCJe7Fqp6eJisqD4YgrH6cKuvjlJDl1lAB/r0o6AuCe9H7+j0vy6dhaebLuIi6iwBr
cY6snhg9zaSgQ6/vepfrzrlb6BzIVYLseSq7E0qkFJCXed9ad+11MWhPVqL1V26hW9MUY3kV1LgP
zbuph5aU1oe0Xg75KAjoaRYa0t/i9HSXjZcs18HCxoTGrFDSTpW24n4ZBZpNK45C31gAdz3lOOea
dEwjZUbNfDjn96HaLTX05toypefViCSv7nXtptRofOn3WvUsvYUvsYg1BIuMhDxDMT5CTyw7JWZL
G5bpImuNHDb996xmyaGCivzQbC+CXpCe+flYVBX++vP5XJaSA0KJ/2EoRP+7SRE1w9TEn0b1zcTr
f0NT3FdrWYaWPvBKArrXtYBmkoUOxhyP61lNTOHlvq52uRQqB1GuAgnp6Ftj9K0vrKjYdeiCZj0L
h2Czs0ytFsTIqiNCTZYjbu7LBzLEYA9G67xEMmXEpUvc/wyoVI2SmqNKCJndI2TQo1K0h7Vaj6ox
8Py9pBwVbVCe0U/554dQftN5YryKo35QB9k4ydtLLomtl4x540gSiq92ntW32mrbJ03U5MNSUwiO
Bvn+1LURgl+GTBc3H0XTJD4JpeHJedFerSgVn6a+RjwScceDsX2YrJFC2+TSO9ZSJWhVyMrrLHdw
Tt6V++nnw/61gCn9Pwxbyf9tS3RMvKnAPQ1rtcjMzr87t6wRDdRAeshTlzl3M61QjoZSjP5qZqSk
sqjdzTEtyslqfvTGsssn03xuYXIIrTy9FXNO7fUuD8cqGeBYn7Lh2KWdPNg/H/+8pKKehnOlm6+t
JX1XySrd0hTdY0FtG09uyvw/4Nm/wVkDd22ooAdVRvQEYZ+/+62qQ2tI1VQMZFpgeQfrvA6pvMvq
xghWRVbcaEzIYVQFPVxquYZs2mWaiH3uanT4r5dmMj+yRhAOrVmrQaO2NNfS0Wr2qUhvUKIdpGxN
TsnSTzezTV15juOH7i4hxWpNwMdeXU/1kN5PGia3M+4dBmu8qcl6DwpUug9CVFUBOkpvOTfhVBkq
ArXV/i/vXw+zcm6a1W71zPywDCFyzXTQQmT09sqK8kCp5RMagBIZL6GrX/rCsquhmtwRBYDTmmrp
0ZxHiFaXVnhtUvl0F5T+t2Itr1K0/McD9O+M2tt6I1YrQjPOuJ4F2vobPBKapTCqRCrdVhhXmomN
0hOXeWic+zTTcZmaxORVvdzSxTy0myxCwb3ftaWcU3JUrKdRlQpvqAvanuShONY/Ci3LghRsXI6v
iC2LR0mNaZK3enU33NF6SzeNLTRYn1Rtfm7M3DhgNOliXzrtEUktT+1ilD8s5cGwEmKCTp9DKc1j
wdaSdJ9L/UA7brOG8gbdrFyu3KSROlqMTVokNn1aKcnmXS8udMSS/K5kWQ9as8ucJU9ouwLAXeti
8fRMt3apVhDxWn0aliuucs5GRwcgHXIU8B6ruV+8vv6d3ft8F1uqvDeFTNktWvE1rcV9V6hWfJKQ
4HZMhWyRklHDkWrr8vMy3e9ML7hi1/irWo0ftRTRSDFakjPN8S9BK63HdrboGBYp4Jp5A74Rjc6e
RMGk+lCob0qPbGSaoWAZ1TKBNYBJEFvmfFL97g/3qQ0GyaAsua1CqchtEFsSdbBBImFlqa2jNEv3
R+j7x6ScRYppqN6/p1qUBFmnPY+ZMexma1HPRWb+7odE2KlCV56tFt0fPXmLmh4yxCyeHSGp1r0y
lPyIpiqmU1pO3bGJEB8sH38k3GTVqs9yXJKURvH7guQlbSsI+bznkVk7zQI+zmqtoX1hJtBW6RGP
h0Z/wLYSuHLxfhSNRsvq0SW8Xws0Mu0a+XF3Ta3uhjz0W72Y5Ud2byo3biYkQPJNabKZD+3275Vu
0A2qr7OP9HlEf1KH6l0KOEY6deuJUubmBRVg7LqodWTu4kiyZ3NZ33RwgN7MjtrrYygobX/LE9lV
5tX+EdssW91CAMtkW2ppJO5v+kPURuLHPTUgoFaU+NaRuhhQ7u3QZ3/VkuQqIazo/KUlsjSUDqqG
RG02K/IeN6MypJFPDzLSk8/3ic6jLiqzpzTpSa5apKxypdmllhmfW4tGVRkNqk8mxWxLzKjwZKgs
FmYxBfccRWN50xv5+VC+P0RxjmfcDkH1v79grJTxoonr090wBC/uiyH4ETQZK3nXAbxQiKs+VI3+
2Pxe0r01qUwKFF2SH/IqKfZDZj5mXc6ci6xM+HARJd18Ps84YepDcVq8FWpBaj1VsstA/2idz5FX
pxFmC+lev6dRZVUNZNeN1bDnWqHyNOdq8KO6IYHsurG500dVVf3eWuXyIRVk0e0nleaiRcy+an34
p9IQVUxjNySGEf5ctcWKSc2Irez/WJAlaZwfeUYzMe1WtczLuN25uzR3TofF9Ouyo3S6CTgi0yPD
bZqP3bewjhEZ+L5wsXTRmfArOv/8bUzN2tW3XJHcSbt/iZD/mST4V05LTdL+PUtDOKabiqZYMtO0
KNVr6t8c9RgNoyEksuQYP6ud5LpylOfOCsQWw9Bm9+mpuOvtybCFdXq+d+36AEt/Be0qRixatKjj
br+J9LACtvI/lsKY0Np68n2aTve8qh6aonmM06XOfXEeFBcN8+iwrG0EireUQwaPdqqpKAvm6lnS
ook7rLk/6ivSLJYnpVH3KxFtWKspGbBBINJSq+du6AeyxTIVYq0bLvf59a9fJW9j9nlkpmExjcei
bagCTDnjTpKFiteC/Y00FG3katLfELz15rs8/UrS6aG1ht9VNKjHVcubmzwIH2bD3TWy/CxlM0FV
RPthnI/5cQIMC/chdmUrVpAlrBW3leRzryuqF3fziiwTdLCRpQeTVbJO0VAQofL1ujImj2V2Py5L
3PqZZQ27WqyK8C87OGSiybET6t2Qqol9X++MzAgWBbRNm7xsS90njMhctaDUkJbpLUcDeZea5eiJ
xXjR04lmgW29I9Ggd5Lkaz/1xe8VX3X6y0wizeM0ZcrsxSbVrE0l6eWuSbx7U5Os6pCHrMcpucYT
bbWl1OhOX0+LXWvxcEEgzCBIzV7keCkvphB9ocbYvNZjJYRLZV6btTHVnWnW1x9dnR93nJXVa77W
pTs37GGG4XYnZIDPnaLqYaUzQKdTh84sMQ1bWc0eV3P5SnRNeUB89rfSSuauHHtG9bAepNYFS3H/
OkVSrLz93LOp6BtkwLXzpCSPa7TMzs+xGTblnkFWIvuvx65yzKQozyvji2L+mshDG5YbLop7yaLr
uhYl967nxNWb21xmo8cam5YnDRNv3HXrBypl6q5CcIxPoK6NRpdFgKtZl0xvpkMlSefqR55dL+6k
D3PS9oWSfNZagbCdmpHqXNM5DXN++IYCuntMZrObiOjbRj1r20vXSo23/NixtWlT1CIBFNtF+XnR
iRf8vz5bt1O9qzJd5gzIqZ+tfe9FcsaYSDomYSxO9EiZjAMiEvxWlRmp30k0nWzq2rC9Y7GBmQDC
chADOV8v0moqXiwPybuudH6yaX2WIMBuNo8/6Zi/XmTkwsa68Ud0orFLCl1DzUKjtqySvm3ohVVr
9U+sKecBhe+XO8lyxejy2dbrwDDGs6HP5uHnEC9A3uOwE7Q6hQdoJIeqycZzniA/TGrOTYZk2Ino
fz70wwJRnvotSmgdt+3v/m7op0YyJj8efhWaSYdpkiZ+VA6Fh2IkKo1YrN42BJn2C33qfykJfQKz
mobpWpZebkTK2apXkENcc/znmKYhYlGfwMgm3lZPDft6NqOCivLQc1CWFHZnvSRNY3Wb9f/ZmZlU
g6xx37pyXcK8v9NoVkv/i6ovW45Uh7b8IkUgQCBec549u+x6IWpwSSBAIAESfH0v0ufe7n7JIF3n
VDkTIe29pj3tUOm9Z6UbD2xqX6smggk1TfSWRAPGxh9U1qKwz6iBgIHxaEPqotj4rk8P3QLemal4
w6C4v2NdAASMcwxwbqsSpPEyIrWWPTwERQOJoIeGkfjoGWWZ306WIWKbZ/rAuhAMYaW6z2pMn+a0
eR5qCC9TDW07BnONrCh+EzL8wXGGXnZQW5lw95uMI+Y0pva3CbDLtM1PDDMMj6rL6lUgC/PQMEaO
dd8vsm7K8QXEloS4du30pKkZt1PbP93Hq30/Yqy00yNbqpymqn41nQLRZWFrwNkx2zQ7GAtz2fdR
4vC1l6kQICq44GsXDC/3fbRW6DPqNJI7l6NYWbZKOr5j9Is/+jLnT7ZA36idjG7dgBXolU1ODk/5
FsN9vzfQIUjFhegQxHEicJNIvA580X1OTF5JS4KXOYuKQ9nGrxhCSTFYPI3fRd6gUk/3VYsd/D50
fhhfMffsVxzW6d/Jw55NY2hUp2w+W5GDYseSebBR554jzh7TWGcfme7ZTqIp3Hd5wj8mEV4TB9Kq
TkAFaF4cI99BncTS7mHUEX4LnBq5YMF5kukispztQ6GbGuVvXL76NJjxLFchpu8O5J0EwQFThcwe
QCEmBRgogufEYFqidjuVTclO5Rh3GofZvkDcCaozQA11N2b7aQa8ZAx7xtc6XPrwa7DoI6c42ie5
/6N64bakj6MfWgLEqLBdrGWLkZvJ0CTP31+nSxUkKz50z3XfPtB4fkXR9WJ90/4AftqsVYZ2JJUz
uQ50QGXV16Tb8xlFqK4jfWwtw8h7bAA8/8MrC8N6HUZY0NV8aEixFRynpYlH8jPQl4SL8Ak1O4qv
tEzec4x2fswmA2hUFK+Z5auex8lqFFMbrZUp4GqOAWgUEcGol6hozplJ6veIKAwxZ8Gnn3W4Krox
yc81FY/3ViUSMB7r4YMB9ZQbTHy1W4CAfFWGzj7EWZ4dRNl/GZP+tLTD7ARfFo9ixnP3f69cwxLg
YekXSn9/DWNBd4ZW41nK4p/rZPNKMADvWTC6CuKSvIZ9NFypJNjll0US8r7YqGhMTiEt6Id6S4Vl
L9qqR4zfbreC2fzUVEV+YxM0BOkouzMbevS+d/CflB1czSSJH2SklzLZgqonrIQQYqqb7SzqPzj5
+ZmKGlbGAO1NMwzoPJcaUv9vIUnrsltbOcjd92ko3jWGTHjUwppL9eN+hdF9O280O/CxRe1SzBNk
E0qclce/832iLZtm104KEu5l9KrrKJxbc9xku6m0YKornmy5kuaNM/kX8CJEJMsgxjZPn/q+bOXG
5D7fto5gPhKzWwy+HcWqjSF/66xaKz7Gt3LGw1vWHRwJuYNDo3iPAB2/BnrWe9ln2WFaOsQgJ188
JuD7CL/EPJo+4gRG4S75oUMRY4RyUp2CYjoPMyProaCbuuH8LPPhFIh+vvWS2ZcADyqZzaYN2AWD
HqNu5UpOz/cXXTwZNrKzEpJeWCqj7fduZ5vGbWWXwfWRzuqiphamDu+fuap3SYoPU6ekwTYV6BsQ
veRU5+S5FiO5qghoBuY0Dr+0WIQlKn+uJwqJcseL1RgW5J2XTblJ8jF+TEqq9kah2KujEuLOTrmN
x+S+U9wZ80yT/DEDQTwF1RsgW3nLgeDFCrkQPePiKLuofu1JLw7tWP/OA67WHfDZk5u79EN10CSW
9DLN+HFvYnNOAm7XFUua99Y+3LshRRT62ITtvGb101xB4nIvGscwAFEaAOTo4/GTF6q89gDzYBlO
0cpVaFRwUqSHlpl6ZeqYnDAZ8cGitLwC4PbH0SEBYRD6en9p+S0a4ZXoYYQTY53g4UHUAUWDZBjr
DvcaL83D/pbE5IxvGZYTjAnGndBwOeumPRoMPd58T0+cmADR2k7TrWTJb+MdfsOIw/sMwP02BxYo
BACzq9bNvKlyDJQcB0yAD6bpz+xic8EgXb2tSrTF31VfnSr0XK6D+M655YVBdLz0sl2bXwx1VxS9
b0mOOrBrNXvvoN3CMn7jTVs9D5jkPMAGb4wSt/tQ7NzBRTOLS0dw1HQLmoRGW5yHEcY1okkMSF12
1+9HvVV0eM6rpHk1AwZ6D/Q1til9dUX7GPTkxLUhj4Vq9Q6FSniOSRKstJCojbmBzCsIioumBEpe
w9KHIsj6DSordFcVF2vbSSBOPE1gNMr6+DqZeHU/83jC3no1w5G4lM6xzxDOIfSpaNsBiCufgr0x
ncQKCIprm9CPOyAmWvzibPlU2ks4RNNkFTkEo3yDTzorIBzBX/INSGXde5xW5YuyS2+RJfbZukSu
elsl60R2ZHdfXdIeBt5ephB0YBDJ+aUVaOwbP7sjyfr5xfUVyuIZHiqZ422FgcqrYe4hlQUWAK16
VR8EuSTJp2gtVFGSyHOJyg7kw3JZ3S99Ao2Ik7U+DIk/kmUeaCGr5igJBGS+Q0rEcptj1Fb7rDLw
3ofJguCAQGwriTgPgmGue9DLci1ZOcr1pGBryNr0V5+m9TGXcHXpKYOIUvF4eRhQNpmBwe1fluIU
JoKh4LToBBbUa7Txe8L6Ea6Gnv3ANNjgnDnETrgIUrlep+ugQ4ei9OwvlHT2YEto15XHPZR59sw1
h8qOKH3LKTyntQcTIU01PctZITwBK/QQj8w/B6kXT6qAbAfdC9S4bT2sY4mhpZ3sbtqWMP9lzfDW
pxEMiS4q/g7SrBvr4CaUzXDpurh+7LrxJ8dk63NfQLnkMKEeESHp2joN2cP9e2gr/N1VT49Ng3Io
QTf/Q/v8LbAOQ21c9hKQqIV2CFPHCsuuFTbOvU8VhG7LyPSeqa8YdOnjdxEQdbF/VHV2zWzyyy4z
pUMNCpEiynlN41htonbgL1mA/BXX0M8+r7PtoEJ/wBGpVlVdR1cuEIRhGBasVh36K0l+i0w+WEEQ
A0Sb+pwL/zAlAIW3VT1AhUoT3MysQHsHOPoFhWa7KVRavyYj4PMuC1DROiN2nCvMjs1Y+RzrEP8C
7zr8Kd52WbqhyWzWPQlQA7CCp9j4G9hFK0ACqcfWaOZII0ina9Y2zNUmFmO4ZSBZdz1KmjRy8b8J
rBT+xuBBlVG6LmWN2ioHHCPiedv6HBkBc+5uEeCVtIsH+Ahx2myGycdo2fS2vjeh9/9keauqPgbV
WED/vTAQCa/yc4QK9SgFwmQsgacgzcXOGaJ/IRxk5P38i0z1axaEvwQQPt5WOfRwuEKR3rynqlHH
esLHn1OLJIeBRdfQl/F1MGN0LZqU7mnT/uqoY2eWM0h2lqthyjCwdg66desmaMCWL7ivCCTiY48h
Xo7Cy9dkweX+olN+yItuPmWdPFEHBnGdOO3RCe6bRDbAv/BoGk7qwxS3mInXBJBIhFT/11A0sdeb
PoVJXU0Yrp30mOmXklUURcV2tCGwmgmLbF1Zjx2jfwxATz363HoMjM4AM5eg3dp88LesmOGlt/bN
p135eS9epjn1H50tNgWL5LsCynupLVzaNgvIB3qwbZJAkR+m+Uo13ByapkJZnTfFZQ67+uoxkXjH
GyOv6TKi/P6iKDvnlRYPhRp/kpLlXzhyV9bm8+M3M5B7AYW9Q8zHKII/vqoaCDki8w5iCIoRtjxk
GUSvtZgRmqMYltD9MnT9sz+U0URhNM3L32naHwYUm6Av/bjpM6U2c5BXZ29LGBznqT+0c4J7ckeU
hRCY8OefNJ9aoF2wPIaAnFDSPZVOy1PAsmiNe5NhFBQQvHO2vEzfZaDCfL+0ga5vFtVjGJbV2TLj
tn05wHqDGwdmWpWn3DIERizbB4PMVim1dehzEHaxaALEe/Mjn5l/HGaybbmdr5Kp6TFw8u93SyJo
9J7dVwuvUZGFAzyzDvh8PwGCGx06lBAHhKb0PW0cjHfLzpGGvzItyEei5uZw/7HKTbKa8tHBqDux
7BwBbS18OXzFtD5LmrrPymFWt0m0P8aVT9cdYesAJ90tiof4bCd0+hxg5LEWlO6VK7rnyuD0Y0En
/lLyXHC+o4Ps/h8Ax0sOTXVH1Vq6NL0W84DVAiXL5v6WTvpSDg08noyg5h4rCX89mewGbDnSAipz
dgwLa0GndJu8fKOKbgY6DVduddAdW8ulj5mwYLxbJkiHOd/UIze7FEDt1dBVuhSq4EjLjaoN5tkt
xSsXKbJ46Az1P4EjZUEZQflU13LoX5jDsGmaSg1CB9D1nTiqR4wl/2bRIikxtb3qyLVWLEbmEPAH
ywEHGTS7zj4Jg9gszsT4fdUrztYRqLtLrQ6o++O3uqqjZ17Ifegb/96bJrj1ORS5OUBgYID0cCcu
7y/JnDHQVwwuhSLDrO8QXsA7PBB1zQhynX5k4USexbYKTH0dQzSXE7QgP9q6eyuX21rifhQu6Q/3
M7ftKcjz5dScukvbG/WSjPwTFRRKVG+GZ9lBK9yG9FXH+v+78h6SxcCoTW6D6EqDRoClryMBiYne
3X9GslPhl6ayGdxj5EsAnMY8YF529RDCpGH4ABEQGY7fMCab0vPc4/Arwmilp7KDjSlv4GufoPKa
o7w9pGKuV/fmA+O66aUhwZ80g5QZCGP92jUDLEvGhWcZlOkuTgeyxZzX/mgEOC3TxOapDhJE4Q0V
aijuyI5NdbyOUKwdOxFbFM8NeXIihtBUJnAjzC5/ArFeXr/RmTZUl2Jp+ihK643tjH24vwTplB+g
tULlahZsL2se6UL7xLW7JZLmD7Wb7VtZhE+K58HDHdtZ3k2DwuzPOyDO4xeMnT+rUgJrkO3B4afb
+2YOEQfUkUnxdP9RivTPE1MKyukF186q+DmfTHVK+2tZsxoqZ5802NlLt/JTXhxrRs4Bi/a9l/Lx
DrWqLEcMVqyyncgz9pJNICdML89FnCMUyeT/w6Tda4/JSAM8wdBLaJFYEw19sBMRGkplT6h4k69Y
vXorsZPiTjzwKmLbcaZAmxbmwoYJEhA9FPr1UH5RIsZbkjhybLyA8XYU9FO3+rPlTXQG4vJhRZNf
mmxI1o5m5lcf08uoGv8mqqg7VqCTd9qla5nU+7kw7bGrMvUDRd8mDJFL0tVlcEjrtgr2eeZ3JjSH
O1AbKKmvcw5NDvrJ7eig7uHJzLZ5VNoLq22y+/7+C2umzcyBHa/4nCGR4g7Hfe+ITUam/VTl6mKi
APFkPYcDqcM+fb8FqYwR6TJRu+lmTCRfxeTyfViViCepwAFwLEn+UCfEvnAHfBTPPKzcOUCFic+Q
8ysmL7pA2EueOvbOkkQe2EDlNqwjmJRmDhypyG7VgvDzgpzrwffPOhhRTkNrZLaRZha1kc6f2oU9
S7z4VfSIYWQLXAiYWj4A0FklMORFU4M0E2AuIyNAX0uU4VMY+4ecIMnlzl1YDuVbreeXWTBQi3eW
7/ubCPnUHO4LF5U7wiBcf2riulwHKLOf6qmKdmwRphUyOIL/nD4CYaHR4s20lR4nK0lbpI8NtjgC
e4OIKMv8I4HWe9foobqi3wv2pEzYZYZTQLEOrqdFqcFyOh7TYprXFVcJPkOPEptMfh+2JeqYqf8i
rEn+Ep9tq9i/Wgn0LQGn76DWAx9a61sdS2zFSnf7oSb+sXPlVyDa9GgGg+hDI7Ojg2BnPQIbvrDA
t5s2wyGJLecTLGq6VkmPkIpFJnBXCNQemYMtzy6QHP7KXYg9rMGSNLSDBZLw/Akqol081xfSxOJr
ufC2pz+E0C+5rfT1/pK2439X/pPC1lyWxcloa58mrp5lYhu1AzOLdaHz8JgM47E2CRTUdDzcV1/d
lV8uNfPu/i5r4d67w2Gg//0uJBFFcX+6L32Za/jJiKNHoGlsx+zQbFJn8nM+tn9i3XwwSPSirHcv
OYQcIK81WL+GbCEJuPy3/KUMv4UTeWSrNRFJu4MiB/Z/4tNd3eXd9n6fhrEYdgAj8o1qaH6NXQOD
6f9exaUFRKkiCPra93v3fn8paiiZQLg/1DROtorLdittCfNGlFQvkcOT2efjG9MzLHadQX7S3P9r
UAq+1gzZGqDbt6wP/PeelvX7KcsqKBwLcuoWOLZy3RVgEvImSXwVvUzWsaczggsJ/8FaUC4JD8SR
OPzom3IIONKhalvsRUIhRDfBu24kAmMW+ctUheWDK+JDAxQWOGKJucN3kcU81tgBabDTXTj9xGaW
mkR+irCF2ZHF/8qQDzj0avDINTcvA1ywOp/FdQT3vA4pKzaJJicHDeSpjOou2tBprPcCchEAu17f
zMwihGY4shngjdgEHZjIVkKcUFS9vaaTTVE5DPVJxlFyHgqBoMsBQ6yX6uS+XqWauk3fQXiSQfiG
kNYiuLbZU6KhC+sCl6y1TV8aToYDXxYlWdYor+Z4H1NHdz6k1SlRULhal4uXduze2PIEAt/uHrSn
JxdgovA8ITd0EQbU1DaPYd7C3ZWH+WFiRu89NrxV3NT+2hJqth23DMfujMAOrwArdpn9yhq6kKpI
JjX16J8bK8NdDhnLuSgF+sE7WKBd/6WLEJYPX7TH+9VMu+WqRyaQjD7iWsK8PhapXU/wUesK/uIh
p0fhArMpsxDxd8ZdRA1dSK/Hrt4NkJVBZvapp/irH/FshMlfqDNBqRJ+GsMIR/yd6fyGxSz8bk1e
+8vcGSRZll30VIUobrOufUDsXZOC0xzbSZ7zego2KhDpAQ1oAxCdwwbEO/ghfAbomZbmCpFov3cD
+2rn3lxtpy2Q41miUVwA4SqPkZm2KLAa3sLP75pofydwgTN5AMLY4J1cZEmLMDyeW5hy3ISwhYF9
3CHPocKxFiferpaK4Y5FByqcrqQMQLK67JawGVVqm1RgghdEoU9qWHnQ9K9ZYxHXmYPTzkreHSfq
qxtJhVvJSk0fo59gIwVFthIDP5sgLm6xAli4bP9UsvwkQKKu7jyOdn8dH+pXupA6eJONRf0aLiwM
3sQg5w+uR5N2RwE9tomdnqENwRI4NQ4sxf2QcdHsz/e3bQMweBhnt7p3ugofG7E7onHsL+/zCyTf
+sJ4rc+dQLaN6+e3eYbAtPBzta6mSHwi2x7CoWiGQZgX0c5IH55TS5pdMaMa7au42Rg5imvQAYj8
fqy70fJTHBQtMn/DEElLo94Wd4EQqBV7+haF3OujyswfZf6vXdCOZK7Us5ljf+wbiUyZoWXoVHpE
heUtufb1mK2lqHexyNQbc1hSaRwjy0vC3hiMgh16Cmbfp1H0GBdl/Bgb1zyI3opL2IYVGmSLRNTl
Klhevq8yA3teJcedssKDyEHkaFwGv4YhmDd56tOtZQIeQmVg3gaYvB6BDNUpFad8aRYhf9426dSd
vvvHaQ4uKZRKuIu+/XQJsjbDPI5WMS/FtjdAte7SGz22V9chG6Ak4p9UaNK1f6rN5CG96/yKzBN9
gYzD75SHSiWC4fC+RiD2gER4Nls5peXDHS0N2bSmeoHfutSfJAQBKxFH08/G+kOeSPgvkzlej2N+
kIWaTrTLYLR3CEBRJaYwyyh80cODmFh5uS8NFjT//qvTRy6fAIb/RuPcoo0HPbiKAvPUZnW0x/+3
VfVcP9lmjl8sfuX7Qh1L1AG6BqWsovcpr6DijwJ41FuPGeZFV1/aCWrIKSblsx9Q+1Eoe7b3ty1P
qhV8NuaKznzYTE0+HOPY+72i7QB+KJUrEN3wp5EZkQnLU56d781m0ncoKaumeWatrKA+bpITChF/
bQgatkFNQDxJ0m7IkD13rES4iyL9YwFuFeLXxu7C0k/r77dArSEuLt8GVoDI6M1bFRK43pcyyxcT
2dNlRbllbckCsVh5i5zZqQfalBYZ1F0sYi9eInY6nOAbrNW1r0IcRykCEp3GsnEp/2hHFESm8dNj
UQwEewYcJUk1NY9NYcWewHPyPzA37vT9hEODUq8D9FqI+iqQ+zEFxbbPzXzGNApkD+ErW9WkBb8J
g8uKVr3GpoPthMse0Um842sddAhZlGP3UzgHQ/E0td9X9599/6lDnanb2G7KIcyfhh70gVCUHnlR
kCfLuvwp4Xzjy20Trjqvhx+ODeB5dalvzTAB6ps7+gCSTiA8kdIHqLPTTZKS9vObwQ1bTEhfzuK6
bQya0dRviBjIkw+RirC4JArQYa9kri5T/l9RUIV/B5ZVm+h+griyNCuIU5IbY/2LDCbEhECbtKqg
eOxXc1rTjYYZ5aDit7v67RvtNW2OZ07DlICbWR0SQ+czTcp/yhePhR+yB4gTmpMd0ZOJOpN0lRS8
vQr1cq8bEhsiH1WvuGfFvmKgo5sYOkVSJYeCVsgrhvpnq6HCeY2LMdoLUmbbBkKv53aAcnQiYwrd
NkCQzv2mUeI3xYC0xkBHxxYfdNWFY7+jSfajd1O4tgmSvIoQNzSGqjTAwsFGjYBAizy3HkoQ0Mke
/Aq0LUHbrqukfWpBXW1In0CcrQ9TWUOBksfgs2v9Es8Z8PCi6YApdy/ZTJEclFmxTppGrCKKpMPI
InW6pvMKSvffEvkivUOSV9pjJDwkvVcGFguQPnysRXmwGSwleUefic3CEz6PbJDApg1aCRz+cicM
7jUVlgBoltNGZjVf+wKR4m3XgA5uAfH45MCjblwjGbS1GQh+q5GdRtmfsKo5zFds0/Y8X4etKTdZ
YGaIpmbA6whgWITpQmTI4zHdiO//GpUDPpsd/tGKIW5wocg4u8tvEDdD0H1Wy0ryE4BYgc6lH5Gr
FqXFmiYp3eZDcWEktmcKkdYOVD1A4Hl8SIbiE2fmxrSNO0cSxuUQ2pmtK9gvPre/YgkgSqRIilXV
33ycbzN8VFsP0SQ2rjM8gSsVlGIfM3wjJoC7OCI5LPY9IizFl2V6J0ePLpXAyC+aH+hx611aa7cd
OmjghhiG5hp6aFtAMw+FOZx3YbSPs9bv6hhqwzgKvqLZvI8I168mjtBSFn6BZaofgf6zzf2F9KCP
Ik+qQzhnx9lH8uID9RD5ALn0Yv4NvrC48Yk9mGlnRzRucz3OmzRE8mAzjBeA0sg5jAmKR+HsLo4Q
Xl+YX7T3t06jxmCT/RpzYD991P9zTYoMNj66tY+B5AU089tRuWc/x1s1ZeiYXViu+xKV2sywHxQj
++k1hgAohSEIJegkYn94IaAf0+GvyOBQEUF2gKgR2ehWw8ZNfgyeImHWFlsZt2gFafAo+2A6BBHS
yPA3vE4JZJeBhgg+5zt4hejZq2A96aIGVODGWys/XQNxms9p9ax9tYErIgUjN6KYCfi76RxZd/0A
y3M9x2iI+V9Rz+nN0y30JHbvrIjPO9WSVwlznKlEtqHB+Cdzu3yqIT9Pm32WAi3LK0q3k1OvGRQN
+2MKSP1oevsCAUP6VKITc8i4aptw5xk0mtiv2vXUgvkbyoKtdY9YDKeCHYAyhEkQ1K9GPfb9/I4V
Mh0KiJvWYQQRdyN4/jBkBP/lgJggmJXmvRppf8w1ibY40YZtF6QvAo0/euQCwXueIIVgScjzpd8G
zWw3prYOJK1FiEbP2b5NJTQR5QS6Mgz10SXYdxzSe0ZEYdZT6vZNlKDfDXezHMJNqVK9HXO1n+rg
F4DAPy7We2CMFXBD8yoCkLi+i34GVD0532MeRi4RzN8FCGmbu2xvG/k8NQGSSZSJNi2BzZx19qiF
/xmmLd91pvpXOwLPtvOnsUYGhqudxlmT9ms8D/9oIXDgpcPeZyGSFnp8Jtqi3gARUW+bVoFanCKE
igJ9xiNf/OUD1kLFUrqpKLSwgtcIvaQp0i1GpHxKlG7Eh1srOvikghiDB7ptREZkr+QyPBSiUqdM
ptcqx0nnYrCKDE/PxgS430Udtdd0/AMHV3gGNY6PyijCjztADGFzgdryBPQjv4Up0ne4UTfR5ftq
hFaRJ/zU1M2JGCiNywq9WmQQXpyE801LcBlDNgzrEcKeuzB2K117tbGF/CwD+WGSPNpTqAYoZIMH
q4Mb9IGIwoE1Emq2EPh3ouHyKfELE1FDiReeSRQlj+mKV4sTLHzFWZBv4KYatzRX0botEOwGrgqn
54GOKYRDef6T9gM9oFQNd2MI2YWLh6+JIFAvlQL28hDbQDn9qEoEqbZFCSHPgMSUotlxhLc62jXn
3H1qkOuAXvxmkLSD6e9S1L+D3JJjNNh6MyZW7YopRMLaLB7BFCEPTY/hyujw4vGb4h/Rf5Smj9xC
gNF3cC/xISsOreqRCUo6vxty355ycRjK/HkIR76BIRspUPJDD8bfbFzu55Tqx6ptfpCqXDdxK9/6
MvrSXf5XoJ3ZeM5vvMuyE56kjW5N/aBlgGiJKUN0J/GfAUPobIJ6YNX3p0zLZguBWn+sHaI0Ytj0
bDuxQ2CRLRHOwx7+RAVbdAXBlJ2OrBQFzMR4iQv7NgfFz55N42cFKHQIxN4wGzyroLpAJ1Yfh6rK
ztqAw2W2RGoAlMir0EbJ86KniZbOhFmFxr8IP2QqfnFZ1FccTkjkaPoflcr4tUAhvYGvNc3bY9Iu
kUk0cE/dW9vPSFrvkJWh7Z/G5E9hgWYaVqw1tgy4FmtoCsTM2dYD9SldB5GMNRRuztQhQia7VnQw
Z00dvixbY2JFKR8F5PoHOod4jtCUjJLnjzbs4aHm4JuVacijAeS0jVATr3JIhLir8oNKZ7LrYZUT
tp9uaY9vCUBhuxeqgbYkx9E9CLYRVeb2omPzZSYO3zqUjCeuxpsHU3xTqmObNEmQBxZloLbAwsMk
VJ8rXyHmJd7r2Abr0aLIt5XT635Sv5ukQQRzk17n/hF+oWjvQ/Q+AXbUTW+6N80U9K4SxWzYNNfC
FhClphI21jrX1+BYDVV3Mj1cK2NAdlk+AApzmHoT8e4wpsjEHQZ0Iqjw1iotsGziFFsRqJ/lRLgR
15xQO8OKUEDMmQh+jKYBerOKIWcRuMPOtCEOK9ipUd558zjGKt7C6BGuWaLZjZeo1CnlcjumFMFB
U1lsSGCRpjRhJ59JAR9pDylVPsMTHYSPiBtAMcTRxPcI8KBNhRDLDpkPNQ4vqDkdAtFSNR3AlL+Z
KgoQ+JIhD86NcFVX5pIU83gYovw8VwLjc8h+LIIUOVhQnwnmp33jomvk23klfZpsHHJVMeETeHUJ
i1Q/i92MXw+KzoCsozkcAI9ytlFigOsnek5d3+00cP7VEKGoZaH6k8UECRmTilegFhBqAXMdoLnu
NxqOowgH9iY1T9ce0qy9q5+10RBRO+hIZrh3oCtniArzWBgUyVNgmUHchMFtZAESjc3/oey8euRm
1u38Vwzfc4M5GMfnonOePCPNDTEjjRiLLJLF+Ov9kPps7QBv+wAC0c0O6ukmWVXvu9azDG1j911+
LiIsyrR1uq1wlX9m2rLOrMI+Ffi21i0TsE1L8Wad+gFfFDNMVG1vFj2WDQb4BoNZ/ctjqRc26cpN
t3lvOK8Ce0eB8KmzBbYwgbo21U9S+smGxRIV3MbfB7qAO502u6HFUy4wpx09k66oZZXnWD5prGZP
tZce5Yhs3B8PZeQBZ3KyM0V385KbdEgyNwaTVMEKWcziVfazj4cYaVVoPPqzOhtN0mYyrYiq5sQV
yBw/vC4AcUTRLO5dENDdm1818qJnhbNJvCJZ16wTNpKSwjbPOnvjJHcM4NkhqtRXH4Kxzmt7XVpM
WOOp3IZO/12ZLtT+EMkMve1o7Siz3jcUvFYsX6OzZvdibYqWGKualbJ0B7VttRkqYNYU8ILhVKca
syUjP1R68cDqHQB1lPsn+lkHt8mzazBw5ekqlkxDY+/DIvP5LeO7SY1y5znkCIQuwpfCPcvYxDOt
a9YK/4TY0dp+jwf12c7jW+FJfT9qX3163yQVXv88hUzRZ+oShR4LXcQNXDP6YnyVeZGu0TMWe2Qw
nOFTy8RNFhQXkWOt68aFAKMLFseYb7Z1HR89Ds9V0pn5IeIn38rMdze0uMeNl+PJM0zF2k5hEQ2c
i2gzkp/SDs9kkpkoFsr0ajvOiyqFuqOa35agYStPPzbxMKwbBj4kILU8LRvDUrtpktUxywXNQ4Vq
KWxZqnkGshtbsyC+hUO5E1375GQRZ7Xo3mj25OvQZPz0HV+eEk1yTi03rVyXp3S+ZP25u9wSKOwI
E5mf/nf3y2UvK2+59cP+6/ddyhtwjRNff6bIrj1nCD+rjEEjnu+JqvjGuZjelsfSnOWNppf2ya9k
9JK1FAvcJgr2y6OSQ402cDdsc2vsHvOwQk5ltju3obUmKzjIgwo5BX1Ce6Jy16oOAJ8f3wykLldl
VPvSyqajX2bqNGFXTBz/VljPGAT0tyGGIyfK0n5tXeaVUfPs4oe8lQbC5S4WkJYT9WBj4r12qYfy
G4dDnMxwCkHDRO9ALZR+6ZyEYHEsgX76dXL0qbCTEDQR9UIX9RRQXP1Wu2fU6mJnFUO/d3zlcpYa
OYMH+WNjZ9ynuR4djDh+l636UefN1fFSBBGJbGeRxmvFdOFS+Xr7CLNh46CcaKq2ulh+cZu0MH5Y
Nu2og40Lv5DojFsalVTuHJHsO71I0Y0Y/OWWMSQnyhC3qu26Wy+BfSe5A+nOTgL8/4H2ZmruZxDe
R3ZkvtA3M54pq2hu+dpGIyvOVO+eikmy2G+hDMu43LME1h/CeMxO+AbiVaEPUDEonB6nQiL87Wkb
2YNID4VJ+XpCocxpKW5vSpr9SQrtFlNj2fcysq9Gmwe7xibhaNDE7FgqwAuW43WkCnE0rMkhtSnw
jevyQBO2+tnq4YPMT/uz8ZLBvC5P0wb6XagvQVzP+/48Zbm17As7vFb52BrbP48uD+ijZgOhQfSh
qHOe/ukNlrtGbXC9to3977ebP9jfvVQJ29oOOaryP6/98+GXfYVm4eExpnq3vANTp+FgjtVDG+kS
kKYfgZiWCTcjW7qn5T5sAGVzAeah0GKnHbcUM8IRIfa8b3ni8sCgJ4DxVZCu6V2XsU35lq4AtRwv
RPKuY9qgOeH/MrJenBepJR4IEvba6VwM+BSDQDypMar5fOB9Pd2/6OZcg5VOV11/3xS2bSLVzLyt
G6gq36fauO2c/j1kWkcL9X9vOtkXV9EH4cGxm6vfTvamD7xibcRyRBRQRfV2UI6NHrCcQC87jn8s
Q+wFdWvcTHWSBcJ6FGTV5ygBh3dIGBg+4hfNab+kb5AEkdY/citxNmFSpg/1GJjIPprqrjdda6cP
nQH2svD3dVukF6fLsmNVevqp912k9GYLq18lwTlC4HawsbFeU8MCUtqnEAspHRzVXJmUikvggPQz
mIuVbmFYuOfatUlF4TTW2i8l/O6unjdT1+HqKlmWL/vcmTKScCjf0eCGU5qVb1zZQQQjCeCUYhOy
2rwtd+NBe3T9AWQYJfiVicLhNthFc7P/z60+/tGrvjjaFH67vIpvSd7kVHMaPb65dfstz5kBxBY2
dbRx8FP6co/fO3yeS2CpST1noJukycjbxT3SCnAI3j2n7S2fJMIeaWDtGrAhNX74lGTliTVBQJGX
jROw6B5No9/92dc09q8+7sxTaqoAhUz67tuiOFfBneZkwWPm9MGjFssj+JNwm2Czw3eRjEjO2Uya
R9MCxc3eLWtmfoKsLDEY5d2yAX4i75zWpryrnhJM899tE+mjE6Hv0lRFIE8Snpb9aJunHbW/cS/8
XH23J2Iw9Sx8yRM4O5gNATeO2GTHMviheeAiHMrkXUoIXap27Qh3iTN4H3lI56qxqfcCZ0rso9hL
goYYkTEIXzIzp2pH9WxliApLXOiJnRZmtFLls/TK6NJ7tlw71PAMK0iffHT0U6zLg5UyWcz7LtjG
oQcF3x7TYpe7psIzrNmQKbXke45pZTeGmjovG62ggcvK+AUsFMS7dCofRGypg9u31qEIlHuvJ1O1
TmZbe8XyfyyiH8qKAVCW5be2Hom1RLpzasPcf0hqF/PpYEY/PJTIA03dVzQ/4JBdLT7GIDOeENfF
v9/DF9OLnib5y0C1n15Inx2qzjOflSe/Lf+JFfg/dbvyz2msI3HpveksG19jgjrfzCwz3olAHHM5
tOvGE9baSBJjZ+dd8dBoOXlNjRIrvy7vAOrBQnSd5rGK2+bRCEkawQt5t+yiVCjPetv/XO5pbTPR
N+l0FvXAbzQ62yeXmuJzhvVza6RejqF46hi/c8VEBHglo1nJ4sdz3qUJ5LVOUC4V0B9L/TGMI+Mp
rIePSaNjX2SRc+8GlnbpopKlW2KXH6Jtb9HAYr6GbLPBOozi1CzIXLSN7CPoxcqtcvFd4uifu/7T
XjOD4FtigPlr0u908jrIATXiUDNIHs3GrQ4Zi+RDoqnyUBvEI0lYFqswdJIfZaOfk9H72Y6ZdqEx
Cm9CA+4dG84hcYDfO177xLIeMz1Lvl3V+Y+UZKqnRC/bU+kP7Wq5KyuzegrdfAekjfl+bt1ElodP
dhiSk2Eh8qF2HzyFoc5KeGCq5hrGpz05JNshhTqk/vhB69S6aY71U+E72WhSBwHDV3ur5UR7TWHw
sILgZf6VrdZeqcyrvrVD9zNPIqqSUfeCJYY2snD6Y463aCxr3AWIGO9hgqxziuobfp2nvprK+2pe
n8AdI2Nwvrvs88qStEW3fKk4A0+oRcr7ZZcrvOjAz84wPz/jzwsGIDruIMLz8vJlP1p8DuiI0a1V
dMdWyyORjHdeTYtleT1NUvIVyi7bdqrXT8tGF45OeiObP3eXWxJRJHP5/9vDgQwxF5owvea3AvPG
k5e3WV6x7Fw2tvA+pk4VZ1hlVz1P4ksCTiXkJxjSTZeGzlarG+N+2QRj3hwbZukr1820ZusSldWp
/H4yaNtSn7JPkT6MJ9tj4C2QqT14nGK9OVh3kJzo1GSh8b2uXW/t6JrJ6RkVaztL/d0IxG4daW77
YgUVk7RB5evKqTwWuQKNWWTq2YkG/9xwzq/LZoiMv24td41m6M5wcyiGN8kZ3fxfm7rjZ1kt94fc
jc+eNKojeIR3VabFSh9E+SwsbOI0jJc7Xjiyx8aN0SZOe+m/VcM0HKamtB7xYVl3oVcjVvDNx2Xj
tzVfALPj7eQGeG49e9xZKddeFfaopf2mvvesMb/mIw7nsZTqY5I5xrSofWkrrToOysMeOO83Ts7U
FB/ZVBa7Gqn2Metb+8UrnTNKouA1tYuDGwiaM3Wm34VRGaLLtBAq1Yb5FjXjhUKI+yPI+K99YWlg
dSxvrwMUPGDUCB4DG8H68pT5jdqkD77VPh3zmos0zU8qwWPW1VcNCM/sm2i+jXlxYzYSfXnReKfV
ffIt8hALxY6VXhMXnJKn28a2s8Aa1r71tjy15q1VH0TvAY3nDbqg4dZ6DLcMH+Ou0hmW2lQBFMe+
eSsUwOqIk3UrfMw9aeJluLu96t5FXnU/+GZ8LqmbjAFlO2y9PCBMyhEKCcTyjOW5UdsfwE95zCHf
qyy2Lrjv3SuC3BrH2nwTvI3cjgMtIGoHZ10F4C4KC/R4hDS7BLRG/OW8My7djviO+Sbfv7p0++W2
g1dqU/iZtqYQunFZH23SsatvTZD/rFlkfsa0UljMmz8dIY8+NBQ8PDj0ZZzYOPiKbVbp1NeL/qON
mwncbod7uHPz106JM7VG7VJ6xV+bab677GPZtu8NSjpRmgbkPrTe3z/v98tM5yXCiXXoR9Gxzvcp
w2VdhDRHIcpdNpGbRBcu39FlGi2iTiyH7gKtvjKbvkVTku4HZSUXTady+bA80Pe+sbFFR9bo/LzC
kS8FV/o9fh2KWbWb7dAoeuOtwHU/Rn7JxT+U4HO3pdlZd6730nMtv88aQ7uXSaXdi2rYp442XP/s
F+XMwOBL0sdJ7esxPeHGaAhijsWD/4RGZdrZjk7LzKyt61Shf7S80vhEV8OCpFbvnuPSX/d754Tw
qnrwe9Wh1uMZXi45zxL/RYy9vU/j4b4YbYImcNa+dC68175Rn2mnobLoy/4+iksChF2O9eWBcYcW
Ingz8xKRaYn9vDP8vW61wbqokvpg+GjueqSar4xQdIyEMZuhqnYT4Cp/sGtss5Xm7gKZGM+4JcQu
rGJ9W85ewsGWZLzyy2JZ41ErwTVqNu+s7Z8KJctvRTcSJ5QjOESvU3zDvYbbKw7am3Jr886QLZmW
1ZA8xKxjdpT06B5IvYeNweHG8ps5dZPVO0VrcM/SJKbDaLSbAe3pU4vGZx2nQ/0qXGyWGBAdFp1q
vIjRuVlmof3yFYkEXlr9jGIhV3qlmktW+4joyyTbJm3a33tMUnascVAIa0KjICzUNRlshjuNhhUd
amJiHcZOjrxT5mPTaPjdblNSwgyWvnrWBpIZBGCij3gayaO2AvJ1AlISo4TsUCQCvUwmdGkNyRUe
pZJYrwkp7EH3pFI8a0mZn8Ow7Wfpov5uZsa1aTrj2egTl++Uttmyv02HM8ZH+Pmh3l8REez9xrXu
IWKoZ+SBJAtUeXHS3V49e5OSO7wdamuzcqBI2A0bBqpgqzFR3redPb35VOxWiUy6m2OGOdC1tRbk
+pvZSOdaRl2DgiGc9phK2n0ROPvQjLx3rMYT1VS9uQ9MOo15BUTAsDLt2gjqKSh61oWelp+6Js+i
D6fXrFP2flKKmast2lfmD5flCUOKwqZF2Hzn5E1ypbEV8/H04jOjsYVGTlwodPYMnF69M6ZcHfMk
LQ/oDpj9mO33sKRYbURZefb4E6xoelDCGB+y1HNvlR5s/uzC/cNx4JZ3yxOW/Wnk9CdENKwLec2y
8ZrBWPkoZtZqoF8T87Mis9Ky7IKk764f8/ihnTewN5y7wnj/syct3eih0MONh9Tmtux3vSQ+N6ZI
N3litbtokt2bgaJ1NXpud0GA3r3VzVwdUvYzjWjvPm84RebdChf20fJruVlelAYCmDQFhuPyIpqm
r6Kdmvu+duWL1YDmdkt/gwaHfCpELqQlzKsVQDH4Qq3QXkepxAoxr2qQK345HpPRGiPrjmF1eB/b
+2pwnQ9k9xzCGeVajDPjo3CiX8v+PiZIwJ/0+CHJRHKpkDltmvkFVa2tUUNb37B+JfswNeqDFnTV
KwfRyfFr50PzXHx1jWWdsphJDUtB5wVEEqFLWhJdVRzYL10A8cjsyurqAEl+obLwy6iF8ftB2dXr
biy39Ygxzmttc0fTPdmr+S46rmfXSJor0zpSCBwHQFoQQ9tv1CEqoZ+4eot/fDyAVA0wYtfvvQft
SxoKYWsZs3A38h+kEfKHzAAmsR2g7MQi/RS99R6XLS0uRcnYxEI6X3Y3yhg/7VCRG2RNOiy2dJs6
uoUOmJQuERdnKr4Ri7NzG7Hwx05CTa9GrJXF3rq11XVslHkw6Yet7dCeNjou4pBj9DB5TnfsOqr7
dhVgotLOgzPFp+VeZ1UEcFhpvwnRr98ig43OQLC2gjHdzgS1UzcV/uOM4TEz5hRmQq6JbWjkWBrg
ZUTxnZGW9TSacjixz7KIA07NtLz4YvgmRpCLEoW+Cm06StnwFCm19drxk6mwY450mMzwhu0T3muY
mpvc6reBY0HG0cTOKat3303BJVPsWSead6m5RL4ZWfQQxVq6i0eq5DPb4t1xO8wjmMYMPyxORSZO
nRu5G89MtRfIFeekz80Ps8Wx6fa2dXTC6Ar2NqcZJB69BF1iY8d7K0+Kfd6Yz14xPEJsXNsqfnHT
4Wpr4ozs4JKMzbMWk3CWh5+Tq//C1YmPX5/O4aR/Ysy4ek0mrwHyr9zlq/eNjDAbutkOQp5zbeqw
WZLyqOmwaMbQPvStRJrXIdAQOj+5KpFr+WlKO7unMsGfC35DHKqSNmef0lrSHemtGt8ig2kgiwLx
KXbSMF+XGgrKUrsBEQm2I+4OGn8EZnoi2ihWCHWbIQtpsH2bwQg1AxvtWkC49Z2QGCWNUgzoSX/j
a0G8toaM2jczQdhDRH/WeE2QhEwM1hHZIUilTqXrEKYSu7RfZb1qBex3o0zWTavStQ9mYJON/Vcd
9OOVxfIPEcIZUk637+HoSIY/suptgmKd/jmFNviSTelz8RjSBziFGkOGpwNfGFRZoEfxuz3lvTe6
eOY18igapPwxsAiBbA8MFLVJtTPfjBHGGy+1QKJl1nOJ5nGVckKuw3gijcbXafNZU3qsQHCsYvJK
XFJbRiY9pg4i2Kl+9EVL/JmV9OtyJNnYES8q9EmUcTkroNluaxt7nVtINJREfFtdf2HR5K/1MiZ4
yhqOQQ6MgvopUIbHuLAQUUVOSoOWtbnRT+XJ7NNHizxRSw/H41BEaiMj+khguTaMNW0X00/Q9Yse
990FxSuMDMR/qGFOQ6CefZMMZSc2pz0F8KcMWNc+slpGrKwjHiRwfzHZIjfR7b7E/CejVN9YMaG0
zBzigVahGwffmir9ZTsa0ajpK67TjPkmnTaZaDu6nS6yu8rf5vmTZ4S00fTi2der+BBX2M5MO99K
T6K3kGLnV+mbVWWf1HWQGncp5bFtlkQgvtesVn9EkmgSZGCFkZlbWx8IzJn6S0f41Qhs1AJ3izum
wGgJsiAJxCtjHZl5nku2nNYfdRkedUasGC6zUsmXPvUoRrr+Re8nbUWVcdyCZiWfxTPrUxcOZ8Hq
fz1l3pqeMwERsiHuLVM3OjebQYufAiPCfFpZ10CL6DIr/TsDO1cw834cex/KF3IM6aIUFJJWY9pG
K5DHN5uyud2ti9I8oV/A5xDqOPv0jUrsT8VSZZ0L9ZIkxG8M2YDyII/XDUU2LvTnqZXk0UXQpM0x
+qFl8mH+I8c8+XDDK7BLVkHjypj6msm2WRzKdnw3THvc40O8yDaVXLTTDONggUHQBJxqO4kJA+yS
NgK1W72aepcyf4LyrykIj2lztQ41lwM8DcNV3HK1Oul+/1b308+wnZjTShD7WPLcPvjlG3oIYBNq
RmSGhELZnKQeR3c2GR9cWFECmnZ81KKBoPjKOJt5Xm9yBXMgweB/9exb7whCNK2SzzHGwbMq+4uL
IRztYfGkbrkNSLCky276ObGUHAuVRTEoc6HCdVyDWfTN04UjIKiDhdoWg9Q2h7kVNeLD9xATD8qG
N1Xk2EZi8SERUD0nlro5vvkWluND48nrlLf0gCotXg2Fx1eMthRFPyeVnR2kUdL+7+JXu+fKQm0/
XWmJ9+jq1c9BCy59TFRKnr+5gXnoVEMuCfkbBlrqOMSbIIsM4IsWYgYOV9L6bgEVBDgIPEyMDTII
G6GL5RIrU7lf2lTFhPPSPsIpvM768FypfNhgOPuuIZIwVXaMsxHkFtGA2KCHjreSvb/BuHKkaHjJ
J3E30S5W9Hdt1d6PVAXXoFzWVFc2iUsal4w0TGwwQWOM23l0GbzyGmfDg2ur7pFzDjx/oB/LWPyE
dJnuOYAi1CVrkYxPKUINxLUk0WkdHHbmCtHGdq2TN01ct+G9Vlo47KYCzptM8l1TAWE1gBI0QYhl
sdFRsNU/UWFQDw3QXY6N3Cd9e+uF8+q1rLNRBHOS9ojgZtmDCj+Ybp99d48Ykh/mEYLWOq7HU2hO
pNEiWp6GDsoyes82GXJKcmTbF+lz29rIjUrWKrZWffZmg+/UjZ/jujuHKfSXIDsOOsstYDtRdl/N
bSHZf3lCu9Za9WFMj1Fl3zkYIZykP4jE3GtOdF/XH5PZXEGOfTlS3Old/JGj4s27gNjaDOhx9IUI
PsCtUXF+2+GrRokMMfORj9Yj7a0h65bn2uDaCxwi2iPNT8qNTpytoVnIkZuRtTa/AxqRDqPLqMUe
0DuUHEGE0NkKc7GaLPTreV8nu0mEfH0kblD+QYLkDAVGcSodiT6QnNy026nOGG9a3Vw1jIKrGtuW
rhNznU1fYCtAs7j6uMqD1AZVAFBXq793GVP7QJO/pJ1vvG4a1rqv1+tA35cVGX4z3HkrBRUQampH
8KwbyZzs0Hh0k3Ku8ravfTZTh5otKC4ZyTWA5MhaTrtNQS34DPGNiXwnyHuHtHTn6kW9CYo2eAtt
8Ro3dfMr6ysyAsr2/bextPXGe1o1MZ5iIieHOlzzEx74LrQdn40sXR+xjSagmlmzg8wWQm5cLL44
XllmdtCMIt+nfzS7VYqeRXlio0jTbN97ieZbhanpp8XLIjTrPTHMveva1q+pUAcTAdQHc6xV3JQ0
G/UQfe2onbV0cL/3JnohKrAjv2b+Zc6+JavCylkIjj2t9z+LxCJqHpGf69OOcLT+OkpTPzYN3Aoz
K+6XTR91a9N4/AshIZ32TrnheJLjROzT4DUHA8XKa+QDbIKf/FF2HUTKl6CJ8k08Ot7n8CuNUvEj
1ALayGD53qUdfhsNn0BNy8VKNtO0ukg8/jZ/mgkJayKDK52JruSvgpe2uAl+24dhNxSXQCte06kf
31PHuf4G+NbdWF8co+j29kCx2Han4Qpestw1delz2GjiXgMVfBUz61PowxaFy/jN5xq9ynEkgCHt
02BTgPjbu7UHtrqhemwYrftT2izygu7VrzwmMyCh/mzq7mGyQMe4uVeeCxduXDd+j+k2zb19jHRy
0Pkpx6ynrzVikfCRcmpacW41k97hQoOQCqzPSMlakaWetM34vWDy6efG9BEp4K0dncmNbKfoQdHG
xkTTaldAbx/BvJgdUmm9YXti8ABQhi00uROyzi4spMxdI4Mfi7HWFj8HvItaw3oP8Oh4oSXsPg/t
5HIJh8hf9o3zjCCp2XlF5zAqIqxPvcTm43r1g2OivHJ0sRn9IoGKxDT33nJA0gAXb3bM6+DqNKV3
rdXwTFCDeKmd6VsfFeP9UE24RJr2mFhj84oTAkqmT2G2T6aTHtbybDm9Riy9caciF6jlDEHI9eDq
FNQGlA9+VeV0PlClHdu0eMz4Yy7Lk2r0pCt8UZtyZs7YwjdPUu92uidv9cIESdC3Drbb7McxRYLK
cVo5nnffxKn+0NpAqtedhexwiUcYKnREnR3QjQA0MKGM2Q3QHw56nY24RfAMWmXN0K0j2ANk/94U
GHt/2+ZAD638Lp7jAfkcXTKQwJnEUPX6ur+CLX5t9FI/FU5DpIOP8XrhzIa9+Y7Ftr03AllDhwU7
4V5BceoX8Jt0n9KW/9ZhlZmM9iOcZgcDQ03KY6jiz6kx9h6NTSd8XLhiTZxYxJ0pJvOc+BSW6ARQ
j7PMZhOlXYLjl0/IYqbgohLPh96vcqK+U/OR7VKbfkb645jar0Wr+k/a+a9aZ3/Dm1c/gltw11AL
5tRHGz5okckB0pGvH1Ql+weT8lXadO02KwVSq+UYyCIbeaWG5KbIB3UX0vxfzGhB+FVYMn/+7afs
vqhfoANg7V7NoLS24uoWFfExVy4R5e6sThStD7mVpAzdTx+XDW3g+Nga3lcOE17vtf5pbFwTsLJU
lMWS8lYimWN2ok7d6MnvUxy4aC3zCiOqBnR1Md6KLNCuduR8IJYLCeam+OyqX2Y5+kgoHImIQs+2
ba9dvMpzLq0XEggdCaJI+0NPTMDz7y8i6gVJ0F7hPImc2QQ9z2SviWk9KnyjCx8dJf53L1fDvW1T
kP8Nz6qRV8MrFDRHRg/gYtrznWJDjU4SnhGNjfFpMmiOWqyOz6kP38PrrDdyC8RBTcFW74cRoA7k
i7Ci9WG6H0La9OHmkJOqnii3lRME0Q6WWpjKh1H1Mb96+61w3eEROUS8YuoyvlrETjVyhnO6xbjD
UCCegQRZJ6x7N+hT/vMgkx4Cr58dXVRQ2zCJAgqrOryjmYqxkG+7EktM28JyVQmmntbttEM8lsbl
9+gwYkgMy8JeNZmltpUa4G03VDdXnlnYF325ObjkKrKArjbLyQrBkirXu1Fp3d4MvHURDdGhiNr0
rGkHAC/BvSQGY43XRuyK/AfpUj6LzNQd9lHLMTAByYQT7X7Ipg3XgVObt8ZHr9ND3NxWfe++aq3z
2JWwWmOOsFYl6tHnsolb9hZ0wWyuQwewfJWQ81q89wzBupHkNInL+qmfpW0+OnMttklJLBvjMDIr
XbeYzG9VFb79RgdHQmSPeGxTFKkwLMc8szf84URAzkkyakrcg2kUkLb6SQJR7SEl6aXaCeug40Qq
150/ZtsSpu5v064PD8waqvhBa0YXTIRPyb31MJgKyBE6REfKYfTS4JqZuu19mwyUe0382VOPXPt+
h8UqH4801aPXTh+QfBOMPYXaG8g1GzcqJmuqSlBjobA8S4PJYCw6FNZxxqDP8BJReIEFbFNfX05+
l97Xfvbv31BXIPH/hpPiJfWNvQ8f8+QMLoHP9DUOgAzp4I9t+wx30dhqaSpJVJrB8GkIXjpKECDV
RslxkScEoNtWuW2jAX+335Cqo4XOa2cymEB/wA6wDLJ+ZD9bR5/j6LAQvf9swNk4ez11P+IUZXth
WfGaZUuyAx8ArZP4NPH/SHS0/zHR0UO36jq2jzTc8efYm2AOxPm7WDNjqErbpU24VSinLwuCIxjy
9kIC0xW9exvHxQ8hHXONnVLd2GMECWnHlRU/RXlUPE7kZs5OCbrS5n7iUnrx0zpcjQZ/MgWr5q5r
xvCokYZVzFyFuHGmHZV+qqmRZhwixU9Hn4Bsy7LoN8j3cbJZR9Pr5N52mYaPDF5pqkhHipCoWCM9
f34O+VoSBZSlEPcj4RziuOqe/n3CgP0vQUAO0UwgKnTbRTriWfP39nffSzykKJ1zp9249c6U08/O
NDgrOhetEISZnShT7c1RNM5EgFg+rt30rU2PmlnFrzkSNWMcz7ZFpYSliBzPzVzEYZ6qNuFl8R+0
bWX+diJ0sx3BKhWDeVTMikbNxy3boCFCWkrDPgyvsVTqLZpuhubJ10x3zbvQwhM1mu5rFGOKjKyr
Pll3o1XGT62Zf4+H5nMSfJnS9YZVQBX2JfOc6NpW+3//LS3fwt+H4umui7nRQphj6IHn6v+UYNU0
Gb0pQ2s2VHQQciY6ybdGAZi0aayrqgMuhrAXdlasgbhLY+8IoYuQy9R3XiNPVjQMEUIlri/uJz8M
We7mTAZZwUUHR3qYNBK6+cp8Mes6f4gy7Rgi1qKArwAOmyjHACk1TzjGip2RkVBXYOM4MTxpp7Zu
pk0nhuB3mtJ/KZ7yuRT8+49/SJr8z//4MfyPHyXCb5hW6j/3X+XtQ3w1//ZJ1+QH0Jjyl/rnZ/3D
OxOO+den23yoj3+4sy24qo8P7Vc9Pn411IGWTxF9lfMz/38f/G9fy7s8j/Lrf/73HyQfqPndItDd
/xhJSQrkv8uwTNT0VcNI//kvr/odZGnof7MDKDEBrB4TR818vv0OsnT+Fjie7QSB6XL8mOb8yF9B
lrb3Nx/yFSozgxeZtslJ2JRLpqXt/M03HZfYS8d0LJK6zP9KpqVpG/+aJ2K5OiRAPprh837/lCdC
iSmqjMRE1tphvAJfhxsQ5rYzcStHIzZpn0rhq8NLbJAd01krdJ2sNP4Xc2eyHDnSZtdXkWnd+A2O
yYGFtIhAzJxncgMjkyTmGe4Ynl4H9Xe3qtvUMi21SbPKLCaTEQgf7nfvuRF9PNq8SZ0nGELLDXE9
FN+KSSOdCdYm8MZraT1w4qc9rILi5Qq5a1dDaG763342vSwSMchJH2fA38ep/pNQRLCrNPhpe7De
er3Up65RhzGr0bom0Ck95sNDYWIvN4ux2igf84XVecFhXeXxKqqj66jlWsX4I10/D93CkQcKbQ70
EQHFqmeXsi/D3WGLXmlEVsudfmSXWe0GkXtcBAqp387Hlu6WS9+WB1Wk+KdFvtdGboTkodW2bsn/
jwy9NoKbUaV7fW77jEJzapyYQRPDJX4cJkncbS6WlVNTng0U2cbll+UFt2Mcccrxpiok1/swRdZP
Q2cLNXLKBdfwpLzSAt6N7ach2GlN3sBFNPvRjqblAahV6rwb+ZXwBjCDvTQ31gAPxvPSx5Fj8a7R
I3e4eNnKAYUrsUoOo0b+pdpGELcZ3/BBNocOfd6PyYAHfcf0FqTkQthk63bFvlX9C/iY9yS2543H
i963nGeJgoTziNg2NOnZTKjeqBllTXnW7eghrbZ6WE4TxDXi2BtMSRLa82eKn+MC0P4xbq0onPLg
2pRsAFAPzK3XZ+EoimrvGSRekq6B0e6Pz6rz6YBsInaNNbS64BH3xhy/pONtLZdzVu0ut7lFvMqr
LxzOZvQ+z9/NyZfTlfMuFw4UigL/VAJEPrP2QWnvUjhBpcC+yW5t75PGLjaEsJ8jgPHHohx5w1Oa
wofhqetTi+5gZ4/ddt7Fb63rusSs+hNwGH/vd7TvtVX96PfTh1+yvAaJhihgYcxgNLaJZzNmKsH0
3kDe4IZ7MS3cDYgT7kFPznRoZYwOVgaXZiIJVkTzjW0mx9aJVuWU/oR8sjKS/z6zubFy4MC9NkoK
7n8uZxNsn5xXVw5Kbz0Ku4FT3hBVTby9yBx3B9uefwFHO3zW3FOLnFsEhMsQf0ZEBli/prNdbFMZ
cABz4pvefZPO9Lg4rg1sKHjOy2K6d2P5p2QCMaiE47JjbRMb8EM7WCjvdtXBigf7hSNyYTBr35tG
8tEa9xa5hB1K84uly+gqNcdH2oaQKMj6J8swIrR6a2xoOLqDxgnbwzrx3syi6rd6DDA0SIq5KEyY
t74e/ON4mpYx5U4gLivnaktYNOGIXFfXlnSOoqRanZLaHQW/ZKuSmLRTM9+XFTkD3KqbyLXgJ3QP
Bk8Og12k6wkMkedSGm+23qYykHBrjCIRA2BgIO27Xgjw5r0+OkNzL7P+ZyqHahe3k33V4GsGNpsz
F3MSn1IK3spuBufsVHc8aQM/c3zBZ1dfF/7GzqkeoW4yVICit5WLn9QDchWJg2379JBXgRMK+7uB
zcjbmdSXvveQJAxGHG3BGjLEOBMnbsVQIzvsNSOVCD76yiSjL0hjYaDhQwbr4Zz5HLTEGQ7PcuNG
GSdMhg144BmtE/CHz8dRfGrN6bMBK2n5bbyVFl1aVHzw9gGiQuve4K4jmEXs118vqUtqN0AA1GuZ
NV8JX3JKoh7n1m2CYZiPPcwBz0XLNzn0JmL4qGMPwvogcCGCW0sCzQLr0/xEV08ydw9ujzBWEYNu
06lCns+OprJe2vxMhyfYFh+TLjMPOsznqd970+xvFH3yk5e5O1HOcBbWtWHkbRODlR2lsr8lXJiV
WRqW/rKT0ZicecKYuFU74NIuxWAF8fSpfnVUxAlJEmJCgxDtdE7LeE+DDD9wEHSH1BdAYcpqz3Bq
3ICYRfllaAonFk0dGmQS/DRgFQ6TYBhmyeUzMKXeFWQMgRvqnQGNctPp6bWC9MMkPgQoT3wtJXku
ZXqrPeNOctjZwhZjYjioszemKS9+mu5lkUc7R3AbMwZ9cNkeo6K5uPxGwMOwm3uHiVwHgEJ63A75
7dpd5XOjxR+QBizjWXQujMuAjnGYiU9hNs7w1pnagp9E/UKC85mTX4ELWQ5h4BVb2+26HZ4ruTXK
jutUjw5ZSrVL4oaGNomLLGu94N1r/8zGfJ5jfV0CFX2IqvGjM6S7bWzF4LKzh8e8XrGZgX/lLsEm
4M9wPvRnZ4mqQzQffEsyu48Y804NhYlZP7z57nRiWeQ8DBoDkq/xoMX4vX7eLTYXhlJ6G9l0BnKy
DY2UauZJOE+l3xd7KLjXEpZy6MyBA2aaiVRMqRYGSHAvvZCbqLZfavKNmP5IiMZizCC7QYvsbZ8y
zxCY8LUu1xq2Fm+oYkaMyWAWhB35NNezubVyP7QyvBV0A+s3mzyQ7HA7ylerW5AVM1wsXdNt2872
b2ZB1GZaf7DeDLbOrKqTsZA1Lir3c+nGfeVUyyEZzR/ChoxlPRwf/giDoQC/I2Am+L51MNM4JFCs
N6k1vpDBtc6zNeUb3+p+8COjPuFhjFL3N+uGe1fOx796vRoMr+sf1O6whMJBIBkmuyTIBpc6YJPC
66oaDvbZV5ZRV10vxhGvHFqLH19M2qs2YnW4MN68nyC5hWQCAqoR6HgwKvU0O6C1zcVo93LGNSN5
XtV0HpoyurY4kfmCMG4+xt5BBSXevJHQIThj7NuwHWtkHATexzme3jUvF50fO3t2cEV49RXfGT73
aPHmRQiF0wiVyko4E+UD/HX5ObL2hDanA3RhWRjn0h+73eKbz72WajuMKXFWS6Es1AX7nmdvvWxM
DmUh7hZkUoNyLuG0NOsIvfUb69ovfXpmEhcq1sXufR+mSADER9YRSxTJM8TCo1oSBNh1gyyHYJey
MmUl1RhB+imMBbxukiU4Zo5uaX4VfjSRDmAfLrqaE4L8dCtkx7HJy3X/BzJtTmfgoleeNU1HENvY
C+b2ZI8ln+Z0q6W9t6wG7s0IiLaMJ7FdSmObVdN07Rn1VWscF03dQ9R4oG+Xib9Zs95Lh53eL7lA
04oOtDtuGE5c8Z3v+CyyxDYMIjlaOSR5p0NfDjCHehAnBK82Bf5XFH9JEduQPnSF+aS18aUiZ6QP
FQ/hXNJl61aM1Bzd35FqCFjwPF789jdT0n+QDcoTgWcrrDByORRj33PGY8aNng98jo9SQq44v8Jp
n5zSuuYobo/fSbrcFVLQTAfaZ578V+I21cGswGo24yNWOtwvNbV5cfHqNEv1mhr60akOdgJfnk8p
LQxnU8/0GHk0X4nhj3ApbJPlGTDde+vDaNCZHVI8egPAhSSrb7CBe7be5ZW9ieEs0drS4sG28cZY
zO08tKeD9M41sB9QpuDqqjocPb6KGTZUg8o+NkXKgJat0ok+PAcciYAQHHL12c0m6L18At3VJlYG
6UnZ25EM1VZDNMi9Ob/4WCo5t7knM46Z7jW8o2j3DU3nBw6j5aGuUGDiyP/sa2ojhTCpMxIE6mvh
OPvGDWpcJ3Fy5aQUIMTl6B29hcm6JPfsBnAIFlbWh7ZxH3rqwuHl8gp5Gtg42nl8bY/LhYGjf2/Q
sFCempZQuzOvRa81oBZ3vE8ESe5CysvUDGyypQkreJmPtA/8ASrNE1m9+Z7xE2AfgrfcsBTVn0K3
8Bf66rY3C6SZaL6i/OhLtmijmRncdVgUjsvUfvpov3vhuFiT1PyEDTynZRb++WLuECuXc5saR+yw
56WkmKptYehzKrkXAU2mOWwPJAL2pbFlJ8xuAK49apo9HZm4RGcEN6/Rnc8LR3AcdP0pQGPcNCqO
j+xoqXS+1+uioge1dUJgvuO9I0uTS5LiRiMibD0CTGSDfUzZ9ndbGcWNJ1aVDWLDsMhLVqQyHFPM
lOlIrD6xwNGsuX546ObO1/RkMVLa0M3BKqz4YalwNBp5FZt9KGMgADOwML4euC3e240a87uuZowW
UFGXwBPZRmJi4Fwszx2PUaxNPB+m+YJ3vwgj4F/pyOakuDSj99NssWDeCKQ+A8naAjmlyK+IPjqE
bGYvsDpd/YWY4u0NnGXeWGmuf/DjiZRxIij4e3TEY0+WhVEVgBq9JCFNxi7O5S1pzt9k4JtkF1vT
aynbmnOMP2wGXWlsYC58LGBOScy1LpUQ6+e5pwlmPCtOcuf5jaEt3pIUgbaQ06syR4wT91bBstc5
oTkFAcgAo+HeHKYilhu7Fms3JwlFJtunyB4urjT5V/Cqu0pFe2Wl1BlUXncFNhEiLV82AkTS7DPb
Zp2nZy7PhbVE760DtndQHoIBC4VqO4V8wCpOTxk0reQ0MSqlV+PBN5PXlAw04Eu5bzpQUvU04PkB
qctlksAYCfJpdSZmZ88f5UYb/p/JgJcxjMWyWSqehKb4huWt8ZW38LK64TR3POhd4VMBIC7s3M8x
EZuNZkfVHVrj1JOFHkes7zkvDhwKBHdsUUS5iOnUNMPgKQEcz/DwT98lGTHK0+zCC4eBbA239Cfk
RrVBCpkO7oq4tA0D71m8kDcosovqnNu6hXPmp+ZbV6qnLiXYKxLJmUp5v4bPUhJgwtuRK3pDL8d+
V5t7z53OYxHf0f6pJjIoXhUk6M6MgzVWVHzMQTFnx2Y0bR7pS2EX/SWo5UdePvTBD2a3pOvHk9cr
VryUmwbsGgCD9fKdgdA9FfS44ZwbIDM5LpgopU/KfA60/Y3n8pcZ2MGCKIPrKf918tk+ZDbbc4KF
t+doxGowbZtuvPIbc8WeLPuAobVpTCC8vICRd/DEy73gj8IwJvy2D7UkYmWl066OMrCqkw3Ubslu
fTkh9cYPIwmPwB2uLWJflTa+Z0e824b/pNwF504n1ioTRqEI6Wf0R6YSw5/ZLD8DC6ciH6VsEHyy
mw94xne1yNKDH4eta93VjRE2ibG3+u4yK2pCPANCbRr8cpNOoRDF3raKUjp3YF05qnnkc/lL+inZ
mKnWoeGD/gY0jvBOI3eUInea3h+wTEye89ei4x3Ws32D83RfxVa7N7r1bMpmbSPZwmzEdh3Nf/oy
+2jBf/m198TEOOIGSmOjl5w4JzZ7PXYzvnFOS4YNzYcy6d1y0zf8rDnw5x04mdtkLo5FyhLMPGsF
HyaEkMYEqOxWFxjr8aY9B35KyQhS8sYuyQQlQbKbRv3txQveJDhynIM+7N7Gn2i1ODph/M2xu+96
hZ9CmMYuM65a5XlX6GE1kiN/Kp610X50jn8XDxXGwqzZZjZhTmuQIMuAvvTVKtDjL9/nzp8CEDAz
L3XlmN6drs36eq5YE+JgRY1vcl04t631DWf+aTKsfA/ufucNMyPEBp593SO0MJCk02dTlYKaskQ9
9TuzXM5dwa3Ijo0dFDdG/ugvDh0b27jLTiOVVVvLxyzot09LUfYQ1HW1h4BzV3jyg233B6AKoAZI
X9vRjW+bwYKrSE0IwTcV0TZXbMpTghN2ovWS3I1xxbELlhOIERXbxV7q/jTFkNLMreFFgu7d4kU5
a9RTLZ+UaW90aYsr9KiDgUfHbmRwqF0yakWgyT9EzTl3DRylcXaRbjuch9Ex8NqVxHmGD/DYM46C
BQOazfsvbbiEk4XNOonu1HxwlkY9dozucCg7JXpCDbwpByeWUxMOEYeTUiTGLcXhG8Nyaq4E8e/E
9p+WdCzk6UPSK5g+uFsKn+uB0y2nhD0/TPLV+gEAieFi99BO0V0kVLST5K43rVv/MswXh+yrLazl
jOxX0/ls5gpeupirjdXWwVXMMlUZwW256KugUO9ydoCOGZI1lxYhqs+ydqAEiMVeQoDKs4s3kH9I
8mgNm9hvVFt1mxGewZbNVG7ncfwdDPkBUvYhMbEhW+qxQm8N0XVEuryWtBjlDUQYBxg2HpCCf5L/
EETtwbGD8W7VhjbdZIPK8aeDoE/+GphrEY5mL0MMD5iC6cOaLQrXZz5ujetjJS5mvEBTu2Oh6zZN
YEBALeKnwiA5hAQfQ3c2HxPfR7XkhB75afQXWYHLJlXvRmaJ40ASNR1fE7uhcbYp9kjgevvOrR/O
GOyDv54r0eeEG3J4gKbtbeOCjIScobHQLcRUkV4mkPLsLorGTZuOAKZcF0XO4jbOuWw7g+MS3QJ8
US5mTdy7arjTSVqTIsbOhTQw4FmKfKRpWTu9CoSWM+66MU734DGKjWp2fRMV+8Z0o30w0Y5WA+h0
o/5haRJ41+nFaocKjYamRkGvGPTGNIQbdids3bNw0oAaZBCKxpyjTty8+FH7p0y81wUCwjSP7qZP
uKPPFOQySriWpCU3VurwYdfONXyXtPPfkH8YGbQPKqo2ooK02FI7ifZHWzGCGtGU5SEVHTfH9bDj
33JWSTnQOftkFB8YFDgUVBYh09W5u2AAjMFp4vG0KUC854Z7XS12/kTGAzGY486obbZL+TtNQQO/
xn+jeQsXibRX9lS6WUzaZ+FYdh2+QWxboaF8TpzmfqF/qBJ0STNMxMl3RcCFd0+X8aWkmTpCFG0G
UR+HTP7mAM6g/KLCE1rnTma8LnG/j1x6f7mmAhjt3srF/3BI3TazJpzZwsE39Hurgr0VlPD8IG5s
oPYN3A7leaq8H4yIatN0uLI0Zvh9mj7LZuF8psBk0qweUdqE4kmczR0Bgy0r93Hpz4to+93Cfrxx
3ASWjomyPY4N3M16RLFl5SFwSC19ReedU4GfDqytUZAsneg7jcnT57XswlFxVPkrS6km/m0O2RsC
xY8ihj/bJG9ikFcrdn0T1GcbqEWteWBH/2LM9vxmegPOtey7BYP1aEpDbVQ1YuxEPcrjwAt5b5G/
Mka9WIe/ENAUtnrJnhEVWXulHUJCEZjG0K6y/CBH+ZJCJcCHyt7ns6RVywdJQ4JP83gbt421zYV6
8XCAstNOKRsHH3k7xltI5LrfmoYC5J8yEWAe3hbNeBit5KWnv5y7RJ8/gHl67qsOn6KZSAhxRXw0
0+eGpvurSnY8GwKSz1z69X5mQRQr17kLqINxmVizeQ2XQKnXjnTr2eAyuLOWbF96o/E6pxOU/wGr
PxCFfWUkREkwml83+DGIx+oQ7Fd5lBOcEabe6C8GEroTKwJCrseoK/2sqV8fneJn6WGO8nRgEoiM
EAf6R1mLEOkLlHcv9inE0IYw1qEV0XBd3Ahun2He9vo+AuK5K+LIuC7iAZMxL0mWR/42t0eYqshY
uGIWuHqF/dLpcT+77XW/RKekrH9ybFJczHiu4NJQN9UJk5tLb+8ILacnmd1EEgaL0Y7eueoGlB5S
nEXSgrhUhXPCkU9A5lOak3PbjCkS0OdUR+Men+mXm9ksXdqAa4invG+x4+VtLrZdN2E89PqjB/82
54bloNY0Yp0hifkX7cbYjG59Ju1KoiBDFzZN+hxlgcacCuXtPcs4Ip6010oPjyAXrrXk4GATbNmi
l784dfcnbyonVHVtk9pHYGl9SKBtzjkln5obGmxxinr5S1TMjzZkDHCSSIzeyBpEgE4ytblvHH0r
G8o7+ThugqjmillXzdm+q9Nbx8RW1ViCIxij+Lw4dlpH4VwuYus2kreLPbhKbDzSTfSuDZR4Q0fV
ttZlS8ph69Bvx3XrOUhFTxOV8417b97YGckpZRNv97MlVJSMsbifEhWVhzazn6xyphF4Wl5tXALb
9je3G1rX25uqLGuWRjfeilx+jc13tgp/wIWxDMI6M6sHqT30/uqGhtypta4sjCd4pH+01++roWb+
o6J3UTsAVyWjT7LOOOlH8sx286SCYiQIoYYtU2wIHagnQaxfes/dYU+/9t65gFjmsYv8HyVQFbgo
z9WDbt0/rVdzWI/2ZkBIyJtP0oMdlUSgGzrnj13CmCS/MexsrM5kMsrPVDlvPNJ0JvPCAr633ZvB
FGqX6voz8mk/7Wr/RjQ7JzBCPu83ali+SDKFjZnd1JVQmAnH32LBijt7d9NS3fUe5QkNKLGNTd2h
b8TiZpRcl5nOYD1J9oVu0mPudsZdtP6Qg68ONggQaFKBy2rULC8yOk+6WWE32kXCZuo9NeZ8jvPh
XTdtuGQ6Ow/wo2akymvFP/RgltmJAeJpLmVy7fj9O0TC4pxwxejHOdgbBJLCgdkQN/u03gMMotKK
UIxTx/1Rw4Sy8OcijfAqmehll67zK3wysYPkH2ESXxFXNr68UPY98HRD9mcvgyLmuE5HsVdroH49
JnH96dMBuG/t9imTyQ6AsUMZtQlp2knXuHvD0djK+8Pq8yELqMAhONccVz1sRbZxWHZByoEocSm7
j30wZjP9moV9T7UEEQHO4qc2UHejp98XCEGDlxHR6kE9rDFH8ljzvnePmoIVymQEVypCbzRgEcHx
qfu03JFBfXzjTAuYFGPZJbZg0ufa5BdNrp4dDPEKl+RVnbUxCqhUZ5o0wQ/1nLbQD45NbXpbM2Gb
772HWpBfGcQgdnHM0DvIhnNmD89mEp05TMHTMWjx6iffoEQXX5mWBjYGUO/dlORYZtQF48PMYsTn
aWZruHAYrDcTEMywMO1tNvKE5w3zT8IyciMz61lR29HUgBs5wMZhYHGBbCdI875FwZYFqGXIJ76W
oWtLp8e29vNdyb2aW0xtMr/GqQVlJ74JFKv+ZBl7el8fU5PcEMxhhiydiHfC8yNcwebX5Fb1zq6Y
kTK2l0ceiqNdGGx5RnQdGVZ8NlhIOGUfnbkUsHFIDy4wsIkDRZtetS+0zz0m6fC0gJcCRpx8pa9t
id1P275GrJ0wDpvcuYv8y8FLtJMNNukgsd7xMJ8W1qnIxISx2kipwqNnRhi/eW0S5+nSmQ/5t+UG
r8wLQN0by4fq/XgnbU9t5oZoBCkC8od7kpHEg7R770zDwVaENq0hM3gapl2axu2Hl3EcVHR1M84c
v+fyt27zH6+YngWb+uJoOgyiz4bzxZIzavRaMmBaZXuOmx2Y5/4BpDGPgciyEzMgYATNp7uU5dnu
yx/P0+daAcizlAUj37ABs5v8NCDNnyNLI19nqLBp+4oswy3Xjl9Ic73krnyi2JklJBfeJpqmk+yw
G1pxRmUyytMGq0p8MjODDb3zwwGY621lDbxnbF+RsL+UL89w138CZ6WzD05oJL1/BB2L9IP5EeZ7
6Kxy/8zrVk3Fjkirs+HWEga5m3ERcszj4poMWxeclLXB1RKxE5cuEqW2eAQX78nNic/ai8x2Amfx
DIF89a/vnGRiLtJSqFwZWMez7FDPjMsxw9NkBKUaCAO20zo6cWz2j7zoH9rmI2pkgulswFjUYQg/
UuDVrlEM2/oeGemfM/ANwzT/GkH7VaPYbroV7QvgUFyPI4GTVP2UtfXRRpwtq1VzDRzymChjNrxa
9JcvVUX3CEXXUMLKAylmtDoG/02EqGbB/ljUNhNFepRmzIAuiLAk5z20I/7nyMu+YVFMYSnTP7Gk
IW8SVYyynG0Ssyqu/vqFc1dx1esOJt4K96ijEmkXo9slG5IfK2F+s3RNxkXJAQCXqg/LjU/Cyija
CagTSMVPQEB9b0bASl3F/+joNbgOIQXmDVNZc0RHZ0427EbyznQXWqfoI+WwfNWWFSPz6JPTzGb2
dXSJa/fTVPZGttFjQuEk29zEySS+aWgnAG0Rjm7+klESSSOLem89uV80+pKeX5Qs1bbwx8fKcrJ7
/LEht587cBvLw9jQCF1C/XYKirUL239wdM2eY4HiBPtDRl3GX77nkqem0Rj9tU1C2CY5FRiLDol9
mCjD8sbVOqaOmi/KkQDq3EvvrBh1Wq8py8Cpl13qY3no2vxiGfkrrqLsPLWEtWCfMpyXXMaCJc83
mSPRibqAZH1npyH37qN2i3uauxA7Pft7VB6KaRmr/TBmOIHPCOzTNYHADbN9FroWGmyKcbgredW0
4jrkzaTZsUBEC/ZGumuBXEz7VigW5cB9xbbOZuKYjwCVmcBzxjq1UNTJU+8zt6J6gnnStrS8ckNN
l4V8Eh8/YdHS01O+GtN9jV6sI6q0knL+jkx0JNgXm1pwdlFt+SebjRs4Sddml6idFkkBHn2501VK
V6gkZbowc1Uz8o5QtLICZuNDXnx0ObBcv472dDbetzZVr41t7sqODuZao8XwjPKJNkfc1yr+zFLo
DY710JY2xVuAyhGmId4uxKJoM+iOpDT1q7uO8nO4eIEZC07BU36Z22YXz+0d19NfQKfpIaDncoPO
jURVUhZbL8mr3w/WfqyWSzkpHzcZ7BELs5aEUF2xpvH+vegWFrnCZEeWZ/oqbS6Noyw+8MDZx2ip
nyEuwuTo7vNWpQflmABP/eqTtCIJNDF/Lv5QXGXRDMGeiF5KzWBrqHNqZT1DcATjrbFe64HpHqUe
Pxip5Hs1UHtbBQtNT+3WtKZlIxtGpkmkkk00lMesgS+RDuaLmv2fqRucM6RAazeG8LL52WAGhSXx
3q1TOie3y5Lrvl7eHTLhGwW+9axHoznWVWqEWj9RQw/7vbqiWhGXRTevyXlWkLytGJW2gNBrFrqO
aVmEzCDRp1cGvEjSDy5pCLzuB/D4CGeGBxV13gCRws+TZLd9wN1z0O6va4lrg+bto+iKK4Ig3NFc
86KpEMtoloBu5IdBW4StGO77QPP+FvNRRQPerXWM/i+1W5KKChgvDS22HMMJvmHysA+Oj4x38Tl5
r0nu0yajUe9GoyYiv2+l/ZSRU1ziBfVc87BP6wA1796NFrvFvyhAiNnioQfFHi6OCd6l5j7LYw7e
heNfNqKlG2b8rpBw3JGhkmekX72ZPYKEvLN8ihICn/eSSNRZFjTVwUDYKqbqpGQkt56EtixrgppU
DOe8ejdzwqt/mWD/1Y97908jNAbdv3t//9N//s//B7fwf2kE/vvf+196iv9/dAs74v/mFn7Ou8+0
+vkPTuH1K/7pFHbMf5Du8CzEQVy/vrDwlP/TKWxZ/0Dq40zo+w5tRbbj/LtT2LX+gZfDXuMMrmc7
0sNE/G9OYecfNiZhS/I3EnAQfKd/80n/h3cQ3/S//vd/q1TJxbYa+v/x3/9zLMDlb3HMAMgjkCrb
FvI/xgJaTfsuFeqgYaL6wMn0T1t3d5k97zrb+vO3F+X/8K348Nu8Cs3f/PUEEH3Qm64rRIDR3jT5
if+eQnCEaIvCTXXoUeF1zx6wswbLv5cJaFY/4SJVcQ/Y+Oaaj+uLRR5IX74EDD0uxCfVfsJW+M9S
5c7+douR/V4G1dFP+gT8K78UNo40z1ansYk0Hj76Djl331rpaN5WjU80qdHWUVWifDEJ9+gh25tj
gIxdW8wv/v2XgOmrxbJzJFZlvcDtRc8yM/hacgkzcARnWhdrKo6IovZu9MnB+L1LvOxOdMOvpI5v
Cy0hPzAvi48YMcTWZkDJ7Ls+jhytt0KZzTVOJSibbp6AJc+AeHnFxW3BWCWd7V0iSlbx343LsZX4
ELUhhuM0u/gZIBk+UHRlPsAa0cSnsf8x2fir7y4vClgjNfUQzGw2XZ6NuFHr/N50nDuRp9Zl4u0J
+1jSBLOMFndsWioC+mBCCxHpvPjFfBbrL1QwEewM88Jo7m0KSdbUC6JJcbJGL0BQWJHfeLjPnJ7W
hmK5mOzflvFIUYQDREMFx86tnicqWk9EWspt4dQ0ys7FQYzWU0X70GPZoXwZoC4s47mvO/GoOBAP
9UWUz/TictieRkAEEa7mzO3lcQYIMc70JuNBB9iN9kAn93AwTPNJdFF7Mndos/GVmKR5BQ7A3uKw
T/BxUZdnlelR18lyhy6BicaxKCmYRP8E4mdoPP1oRNGlUeCbsrFrN15rqpe+r96zwNaXXPnqwkAN
vE/gHUc9jg/o6M3DmGnvaDiYnJCUVBsRP5cmzhJpvtWc8K/61KwOM/xTTL3uuTWX5jhPHu3iK+a1
aQnmCic/WNVlhPR0CxZe3g7ZLG+btWPbY968HzEBXWLPNhkB45PIO5S6wmFIsv6i+vas0mq++t+/
RaWaCF1NoG/MC4AHVjU/A6MwNi43wze+A9AMuz5GRf5nqtMrGwrFjR93R3+gsMXNBd3zq7Es8fH9
1H9o2eRSA75t91cPsYtb+QiVgI9eng0hXg15o1xXEZn3P1xJA1rTzG9Ra/xkbVocM6gpEL4K2CJt
Wa992gD3gi7ddrXjXmkqDuCVBEe8w95lUE8x98OrcWUOOopNFLToM+jBR6OIx5eUCG/koLM7szkw
9iZOQ4/YbO/5fNC/ULviNFqCG48fzPdpP2MeThZGcuhf7TRY110btn/RTQnOEvBd6alGjMid+Jr2
JB3dwfyZzoxcFwid3d5ncIBwlp3cqXis1qG4W3jv88psjJhYAvVger1wck9cYzsBxjyaTv7bDero
FDBhGcQOd3GAjJaU5kPZt0CwCA1MgBb6AbM7uUKR1sO2h3sSlsq6dEn/1RolvXj5+GgKfBSBFVMv
gvxT5/Nz7aXTOxxkPvWaM/dE88ud3fZPpQQYZFm2u/rScH23xpFZcvaGH5JJGrozvKNzKuz+b7/8
9XtZhwOCuE98yA3HPFXmMO9Ms6wfpmC6N2wADnmqKKqSUXZVq/SHn/e+0GZ+0Vw2wqxFFm4ZI7U5
LEQdUJHSrHlqdPhLV9npacrFY4Z6/jQkiJ5O3R+wCHKTkbZ91zn/i6jzWHIbaZfoEyECKJgCtiRB
b5rt1RtES6OG964KT38P9S/uhiNpZqQZkijzZeZJ8yy8atc3TAcSFkdINfVwlrnVn2cRUSC71PJE
aUU/89eqNLz/vSCoUYLQg1GNqiwUkyfeShY9NTof05RkexW4n3GNcybnXwnNyZfflQ8wHG9OR1MQ
wrtBqe2hmdtn31HZFfgiFcRDFG+TrtDPLjCtVdNi1okmyOlybl8sh1PkGKUEZGQcFh2oV43mlfXq
2wESvKsmrjx1G5ihbCHe6NnpzrB13kcf4xoABRi1tPed4Pi6G26KREV6t1olGZz3ehoOdtIHv/K4
YeNbnC34i3pf99WH71ojEoJdHinV6M5RM60BAc7nelLLxTDze2QhegZDtVzi1H3VyYj7GkrdUyBd
ruMwRHb1Y01PPH6N8R1INtvdQhnBt+P+KUx3endH4rYTLP21JZf5vRxUvRcaF11RIOAHeWEdEtP4
LoQoXtO4g0jJQ7OzY3N8E279SmA//QNgmw6pGeh27dLEtVQBkO5InVuBKTNysvK10z6gktRx/qiB
wibGMD/MIx8z8FWWm+pPN4PTmxf3taC2cAdF29pjEkhfqEhH2UObCoB+v/uZE69ruoRftF5yNO3A
uGYLhEldSefYMEA9Vb2JVawEkC1Trr21ooWRZ+46obh9tAoLlbt0DOvd8RT5CX7foci2AzPCb9wb
+VhaX9NAU6wVtedE8Ldqtx7fSlUZsMDTNvz3U7P2MKNmeHUz7YejUeT3fy8zOJBwNqW3lj6gqlw0
apWTgLyARG0vKHrLmhl8twGhaO0gR9y1uAhXrUVjxxfldPUGVnxz8VjeuDDl4JQeNJsM/4pn6T/S
zSSUxz2EOedCeYF7+fejdFJ08KYHkwUmt5laiEdlUms3XDFq0VBMxzAZ54R1LFu+e0vgjVxveuMp
cNE7H1F4u8TvoywiNI+G8WUerUuWMWuvafPDSfvsFWZ+cIPuQ9Jt/R+G+GNk5d57icqX98bnjNsj
/NcnTyRxAM2bm3vasUFpcYXVbm8flDMUYZRP6bZQlbv1gXsdG9kLUp96laqSsV79SGxbdrGTbgOq
SfXNjbsWzBSbqqMeoJDm3caXi68f25+RcyMr+wOzjhaYWNYfGCQme0clC8YbzGHG1Fsv2FD7LQKb
ebK7djiLmY7jzli6HZgrsWkN5sK6z92/9cEGwmt2DP5GxvpkgXmRWf4+2YLn1MJ7aC5xcJlG4V8G
1fWXXJ0oqLI2ndV0R8aS7UdRckV2SvsXSsEX7MBPjKk530M33/KFrE9GlGZPweMlHWlvdQhTsWXl
3nbMRmpeZFvc7QEAeuJ5f/79rHTy+5IpYrQLMx6m5/ILYxUMjGSNY9J9H/GUbGpdttcsyIOj2zKX
nfruCJl8fHFG5aycqRK/C7Oio6WxfkZnPkfcrnfJMLpQdtDKSvgIr8ZjAFcHSXVL/DzYtb6kysVH
Oh4HL93Uc4xpWDA24y2yf/fNfM2yzOfY1qbrxXC86xJXFFACjDenaaaVrnYoxjDti6Szj+mxdWVC
ToEDyaf3IUj1kZR2RcQmn5+tf6ACEx6xK+2bY1cGJ7eS7prcM8+2iV5rgD24ekn5OfbeRXOifa5I
xj3TFlGFNZ6HTdcwnOE7+ur1tjwuDV7KzEvql777nVZxcStaQQFcwbcMYEFxe7yxN9UCvvPtJudw
OKozYADK1Dv9xVPc0H3n1wcG8CBGaXxMiWGE82OfmjMTapj2od0l6vLvRduPmS/tXGHS5vuSwJ6R
BPPNMrzl3sV5OGhsx5Td5u+O5ks6lfMxrq1xGyyewePNbDTQbndp2K/CqKqmixkkySkoBG4QGT/m
OXRXJl12o8Ht6gelRr4PIEXZ1FpUIx1+jkwPmJdxwnGg9zsv1LHdHRxr+D35tr6pGP4PkfUXMTxX
FcfyricgqbocAn+jf/hHtkHSpb8tEl34hYR8LqbEJNiX6lPikvtMrJJ8h1d1PB4EH9E1YWHRB0vF
W6DDMoZf3rsolEnRlh8NzXvbuIy6LXTU9GInww/+xerGhYghOtuTn8fVDXW3ulWPl9JVN6F8ffz/
X0pg2LDmYrnFoHrEseccl64rDxXVzzbJT46nvDTCjEPDRkdPO2c+Qfcb1jVgsc/Ko8kOz0KMfRGM
vfWUV0b6Sd7WXQ8Jn85IM3Qi7EuXxYorGnWUQ43hFQ/KFl8EUhfeg3DoEve5xOqnIS5tKsexXpqW
WWej2/nvJ3AI4CtDcYczlBxLO2s3fp52n01dN0zjlvhc4jHaeQ3kKUac/JqJPyHmI9tCRYLeFxEb
dZjCvnfYcsbaLn7Vmjp5RQR2X8HpeDSHELlVN/YacP9lkO3nGlQlqBEowo8HgMj79Nw1rxxo/ZXR
BSyIZEOv+dgwa3LwRox9Qy2WePXShzvMnL1LMyfM6cwOmFretqRpptHm/MtRwFT5q/YxwvaaRvZU
NNahcgC/TDoivpiPvyepX2kP8jYRCxlhu6NnCfNvWeD1d4r5N+RxEzNNs4Q53w5Qsgktl9FgwFkq
LAaLYrnPhdvQgOzQjp5HKCGjb6bbKRJUYghU6lpPC9DgatkTYxmvmcZsg9EMp1NPWKuIVMix7c4z
5dwgEaycDB+3HWXL3k6dz2ZGQ0k1T7I7Wempzx708QAELM7p0yisE/jxl6KfobMveB28ubGPkvpT
NzOdJ3SR+pmxgLNj4IkS5DtrscTJDiLevJKTDot+qK7pOOb3unPZIiTz/7R05ROc/+M44B7LPKjz
jRn9crOo/F68csPi9h+bFb+nPx6XGPg8Hq6toDeTc1VFFKFOkdL8BKHIau3QjNODldocdZqU2g3V
Fdcuxt4jY699c3xvz+02u8/jo/K1KXQ4Jpoo75DoN/QAd02ulsooWRahM6Tg1px23tdUKnvL9+x1
+DdM972XzkvVeWrDHd1YgR04ZYv14MZ1/jqqa4yllH5hhTQ+JxdCdAE0T2pfcPFDIxvAO6zqH2V3
1ON5EYhObpI1fo+MNk7uWfF/xjjeucI4GDRYDOjQcs9l3/tH5zLk0E3TPqnXVCGRxy4x2c1za4B3
HLe0EFC+iYAG7MsKG+F8kEQ42oyAKNTjYtN5YtxIVmqyDji0IiVPmEuFZ+LtLd7FQ542IJ+s2whz
ZcwPvEG+eegMq6rpu505WHeCWrBHI8ivpF5X9NnsasDuEWsVasHrYnksGzPEsQDYTYZxPU/0r/Fq
R/Nr3RaXUrphCcIqyPVfAVx2C4WeShuKEmNz8A8aVvGma0nedc536uh83ZpOslaDg9xemEd4JlFI
2chVeQ1A3oe4rNHtNKGWpjTJthfoYXiPkw4truSjymYV04qEmZp5Pht9vrFTY9nr7nfvAo8KFgwd
zOQ32iszLjHmZ7MUL+lCgLyPk3VrY/L3ZSM2fX8dHrWoKKQ3T9UKP9l4tmPyDvSGEpcVhL2dClZh
MSPTFpzuAEfyATbMPLAn8FkQmmh6CqOHXOBANeDbHv+9OEHaHGuAVozwQ7m4uD9zwshGA1+sl81Z
9cGbNguW4IkgWIO7PxC/DHjE6wZfRukE53yJGdeb3bFsyF0DXKI+XhAoDg5WbuSHkmxEHpnjMeJ+
i0jdTtuGCFta+fVGNw+JGZfZ8F83pN+mRiOGuPSWpfPNV/KVFnlS8a65coL2hYgAw/cN155vz9VM
FDFGcr5nwV/cg1IGyXP6r9dlax+y2Mz29kAKcFZ7/bA3dC7zeZn7n5JxCuLMz9D6FWdrlwnEC1UT
W0Zkh0bNz3Pbfi2pf0Oauie6eQk43J3RPs5znLE8GKd8AEHuD2dgYfm6iYwXd5x2qid+0cz/iUW8
P9ofpi75q4YYxBZrEAz9q0C6WdPRjOgQhzMXFHwUJSqdTcorQtmQFiI0PKpXD+sFVU5uvhaRmZ3M
uldbs7HfkslbjsFMnMEy+QC9gqS9cEjxGeTAimIE3a+yU2xTodfgLCY/RNCyQ20rkRBoDJvw9dcv
uf4tKwsLQzHSspSy1U86aXEb89aW9vIyu3PoZU0EtRkLVNRTBkr4s8LD+zvzzWjdd/KnNpILWspR
+sErMwq8Esb40HlBq88Nfmj2ImezVNyh7O/AKkpsC8mfRY/TEafgz6xwBlTlAyeP4JvhzMALQ2Fz
zoSmK34V1L2t2dg+fLMg0z1Zq9EEPhapwYJmfscc/51Hwbjte9KfNkW3Wuc/5pJj3VuaDDuh/7ks
3suSjheYLRkJOedrHnFcYN8ZGyz2eWZ9NxVsMkL6r+CtsVgpKdYF+TmjldgPehciGyZOUogkbGwP
k5XTPeWM7vlqpnZINe2LFBFNp+mSY54FScyMpUcEHdJQFM6vyRGfNA5UeI5wIXky3UJ0iVatZzxi
H/2+aMR4YUWoFypOKWoj0ztRmDuCM6gQzEazX+NkYELfjc+R1V/airTDBIFo7Xpv7rx0K7jWf3GU
/e3sJ/qOzznm2b0dn1wt/mukLBklGP5KUsc86vJslwMm47Ed7wSJicVq8nOOJBdqYcjPFQHObFqI
OIGJo/1qXBsQpEymgauqMIZdaffz1lDyUJVmy4JQ6r1XxvdC0TNVJGO1yQqKkP2ivrVYYbQCgiPM
VpzKCa+roE56DVgBYvH0Cj5aHBfkiVVNIdAuz3acdLkB0QsTTJe6l8tLWo0IcDOYXaNtvvBlbPAT
u5gkxoQtnTdKmnjwajKUTHZn/0DazE4onIcY4BCQwXqMSYpBguq+RvvCRIpLnGvzTrf4kCJnIK/Z
Cvwr+CxIxyabmUEb2SSC+2VEIzvmHq5NwyPykCwrpUW6yct3uniDLQ6Su5HAk5hG7dD8jhOS/ktz
b7hwUeLpj1ks4gzfwX3q0g8bHefAQ7RPAxAevR0spyCFX9ETcFUuaW+QqNGxduZfkW1yRef/Glgf
ADdqUfz1wLXAHvG20e1JNZ85DRuEeyssmJjtjAAqSuxWYYHqDfIqv5ra3za+JAps1rep25ZZcUz7
mVPDtB0nbKKW3f0MgvqxwbjGkp2FU/7fpJj/+jnpKTYXb41m8TImRDk7YMWmJJMT9wwBOAxvrQIh
2HJnys94qjtV5ju4fRoT+zeZ9+jcznTzmH+DwfnxfOfe4D8RaQPnzsOZ09rDuaNo6QxSk3nRQmli
pvCR+aqj7EuLk4eFjAPZSNtaeoD8Ma7ofIiuJYOvtW8qqrdd51sVSbWVHFZnUaKxLo/oNgH3qmKg
rDzD2qL2FKTzcU53TbPrvczf2LDLVmY1i/XDy4Lb8cycnRoLhA9s87GExB9t8AjYKy+FPLNgZJly
jI4L0VTC5zRC1WTN8Q1UoZM53wB/cSbUyXfEeXgFJg2o2hgch6DEqctwOMlGTlWgr3ZDRvIgnub7
JIG+zZ0gMrm4e29glD1y3SOIkwtWc/Bc24oaMS5R8pWvomfx0ddxKTePgDf4GOA7VQdnMBrpF0/I
qEX5wEM91tmTPTdcQehu2/7vF+MyFldBCLl7xOcoMEtEVeA2ADfZL6UC+G33OwHn9dY6ZGSqPDlx
lUfPobYkjGV/HhQGKr8rjzh/EZZneg08MX+QfLSeWnv6Zfr5ziQA99GUcDu1YGwZW2P3YXCRuS0L
SAVyajz8M/Xby6AvgTYPaozrC2fY+CQSAo4ZoJrCJ/BViv43Sg31mdWwNV0PVEaU/AYJffdURgrc
TN+p7jvpeKa30ux+zaX9py5KeQgeHzrjrxWu62Bb5S8JGfKDxjHIxKhJ7l4Em9O03t2slWeHU1Ho
zj+W+QFVOewYzG48Apj+RP/spCA15nq3QPc8DAPoHprux033YKe04ooNZAEFPT2nbhNsFqsnRdS7
1NZOTDiZQpk78/Fn9ToIsIydczsajnU3DEe88r6bUsInTUZghYBVn7P5PmKXMaeWU9mVp6TFOxZR
xhjWo8B4hMuDe6tYjUJgnEzFzS6BzAmR/m1zQn+xfsBCihwaOeInNU7mqSDatO5sxP55mfvXfsZn
PVdPshzmS4pz++RWau9qZ94ZlVlQDWJFa2+Uc8iR+DJEtG+4MsG1kDFUMZyOI5mj3rOES1sRNfXJ
+VclafrTluMlQJISoWjOKaqg7WH1oCaSYlDIbEEbjvVjT7Sr0JNyyz83bkjFylvPlPvmlFwuc8VH
0nfRQVlvY7NMzMBn1tEIXtOU2Mg6liS0B5tYWoypMw30EjjEe0eTwDYqg28xOcZupptolQyttets
+Z/TE86b4IVizXbNmyXkTrhl/yID3b/YGqkQm5l1+PfTmkgQLtn5l+TUBCwFzCGV3fmg/Dt3OCAK
xneKmHnvTeczZxik4AgQfSouOHfyxhNX30MaemBgJvviF6N3tExY/4yRug3XPyy3+IuBamB4LexN
77OLGrgxDi5p/6YmCpiL6qUWerlg5KEa4PGJZd21jPDB1i3hzi6AV5HQdN3Xtjj/WRI5XttUYCJk
8mq6oDodCKvv1eTsxOQb5yItL/Ccy6PH57j618jrMqhNClLv6L+4rSAL3e3KW9seAk3dwSmfiJpw
6wNH4VR6B2UOo6mN+VfYVnb0HZPFj8a/GXOfzLlElBUlHWmKb8aZuF9PrcMCCCSbmat/MkHT8IY2
TOkQ13duMH9ijh2flw5ghPlwsMSU0RgUyJwakZLryOfm6nMKR9S7V01VnLKRRso0SI2db9YZyR8o
MyXg2BXbOS0OSiVPVtx/BlMtQ9HQkYIcFlq2mn7JRD+lXIxZhjt5tAyiMTwIBMueEsCL/L7vw9j4
a8MQN4J0X/9S1RTgYqhr4e6VJtCAme0jG66DgSBNpGTt/cnA4YQjIc7XBz18NUIUJy6YLbdZ5qjf
5ntfezaXySQGnDX1eOIZa6qjq2DnaBydc38L+OwvcsFZDk7X2JpddVrmNiBnSPLeTtismsZ9CeIE
c6TX4gqto72ZFwg1Pg7HjRFI6wgZlTWsxittMuuCrI/jzuqWbaqi19bRzWm0BGwIbbGqaoaxTiqO
RLBvXepOYWfhZ1BxTt/v0G8qqvS2Uf2W2x0yZIpWA9bLeqae/VC13SrxyvqSmg/8tap0qIbpFgej
CJPFhQDt5dm1j0hPOhXBsxZqSrDU1yXQ29ySv6fYsNHYQExrYwvoKdn68/gTtxWlbckU7WtYRxhQ
g/Jq+5rP1nZSKpuJiegOhbhgzjAvejjxbd0Q2EFc5Aa/VnXCmPYf2Krvv2rNzsbkTa5pytLXWncP
ElfoMrfEKdU4a+8hwaVZfm+NLr5O2cA8CPeV6++JxXCpJJQfyaOnpy8Dm2hJN9DVkUF9wy8X2p4G
Y4t9atDGvIX83K6GVRRU/q1pgJBIm+tymX8HDV9R8MdWOPbiWjEDIoXOZQjCyEJkVecb6vhOZUUK
1YpovOglltNkNSN3XuOuBhyA+ZiekcmmmaMgvSh9YjOp98HOl+EAY1PyyY9GipvhlBv/uRk5x3wK
3I2X5iepPbJkDeSXSdwqFnHPD+Jdop1h3Qq1b2d8CkCI1W16RA4HRt0oUTTrxtN2EEAaeocqwzr/
WIpbzeAbogbCQp4Zx96szE2ZBIeJ7eaHbO+2nNEWJwdTr6m3kwCopBz7yck0ScTQXPg96UgvsZLg
ljBLLrqUI3IOM7z13HLE6vBXY/Sb861VlXLFOZJEQR4/zSXfnUiBltaF1d/tBV1HRsxOkJLAVcF1
BullrrOmKzeJyRjZwCryX82gaSlYqjTC3RlTQ73xXe1fstEuzs0cleFUZVaYJcj5SyN2JePIA4vi
n6iJPxNhcmcghLrJ6WnfNJZ2UNwQ6bzW/bZ8PN+zcNZprjjGuroP8U49rIuSw9hUUXDf8qFzPwTC
/p8/Ozh3ouSAOeKNqdJyyJGMtSKa7kgyUI6oHvdTj+Te46UuBdmbik4IHL7GShcZrIlxElsUvotd
OdZWtslfj0eHwU9S7WUwhMosfU6i6lcx6pPwG00c7sHlDSz9lNXz1uU6EM1qvMwjkKyZTTgb+er5
/WNKli7tlhTIbznlAxEVhZWw7zyOnZiNqDOc1i3ps5Uys13aBMOd/CHRDg67+4EPMWDhXXnYq57o
8ftqY3s42g32B69Sx/5PooQ8xRzuwgRwC2URKSBX/I2Vjjp0QNp46Miw4HLxUsVRtcUs/NXKALmK
Cy6RxG48Zo+xA7MMUiccMRwajsHSlaEOBvnEFvLvuJsfUtLHBtcLEFjOiObTKdpHk8KYdygpBtWq
XLP9EZIVuiiWFew2I9kX1YAHsKsf4mOvNDW4n3C8SbR2d2+AzINd3mQmaLWhEsUYmhn2XMZV+ZmL
FWcwb4EOz3tg1/OElqJ+NUMT2j3kVdsYn2CaGfiEwM54JsjMhdnI3ENNifPy7EJS3v7Brhr/UE56
antHn2DSbUcGtq/BkLd8/k576vhWvlhfKcilfV2bb2Am9btdWTt2pflZLMOX2cniHLT0OY3S2+Y1
8aJsIYGf2HGxapfmizTqevE8+8l6vCDadGvXAtCmaVTnZAGTpNNQxfOeWVhZ1DtjJCtWLrSktCUD
afOrY4C0oUSC5EpWsMD+o2nkj5TMJNck0N9L5/EpGlNyTOrSvBOcGTY0BL7FfALU1XhAeuoOvI8k
GcABLF5nrWFtOCX45xotYV1bpFB6fyoxtlkv7oSMOvGkb2Yl5xPCqDr9+9GIfkqxtvHbkYSgxnGP
WZvka0SUw59YWKMCMEo/0PEyclLG7UpNjvHbtbutTobkMWWjg56ebO4+6buvoyacqIYGaBpDLaXY
7jkYSupBOlhy/vLXlh7eahnt8lLEZ7NFNXaM9G3sWip1M4soox/6HlPSSLj2H2DR6xFAu807jZGQ
2gieqV02fASKoqU001xRYu6TWPrH84h3gKtbhoEAiHUL6OlmsAGkJXb0wXyEhU9AfexP7aaHAkwS
jKEG2ouVeK8VEEqMPMHJ48oBYQL3Qibp86mU4WydrsJu0WVrOTF4Yw7Pwg8StJ62RC6G1ehih5gt
SlPqR2ipUN0ryFGQNm2wNyXfEnMACIAd6yzFqE6OWXN8yIhKw2AfVmjgqJbjthjpnTJ7o976Y33w
IIS5ZU0j8VgBIZ+SX7r2yn2XN+YliC0Y3265bWT2QscVHnD5+E7ilKI8rMyvjvgoLSFeumqVlxFc
mDT5ru2cH7Rlv1czDQBlY3NsA6kDmyqnInhf1fO79obiOKX80XNZt4euLOz1IPtDdivoCbm7E+0N
NCgyPUwrSpdorOzZx5wGWlwTlTSYcnQjhUAtllf/8fD48J3mLMab6W5ccwDQrmzzIMmuT38CLtaI
UUDLliq0GwYzg8//7qg1Da0MwrCIVeg2pDDIhgTNDh8uC0DWHD00PxcQ01QfKz/O94sXbRqC31wZ
PCxcRzcfFVV7q3xoqyuD2RXr4S1LR4rOGwgugnLsVFf3apyjtUnKKvSzBAJ8ohg12ICkxoz6U5ql
xmva5k+xpkxVQmzHZMhHJxoYTw0kQxlH1Gp2zRZt+pvt6lhWiOBJQFmPR435oqkxU2Xy4zbsTS4H
/qQ3u6vtyL9yXvKb+eaxzK90yyZbJYxPBvR1IlDYISkH1dkunlKbSz7TIuX183nxGXakaoDKuY/S
1D87XXupHHMl5/jo2zzI0MrivOtOEDg2asGf+K+ZmBWa2wj9Zb+AvJivvEW7amFJi5N4OU8E8Z0K
25dnld+1N/gnxt/gvQyaukzW6M6cY0S1+Uf10XQY0qW7Zgb2/qlTF5OeHAZvDkOBaCRa7HLCL9DV
QzIaORNI29gXZNFwvAVbAAjZVBThiGeaXAMBXBhFm+oBYLLi5LlZanfbLt5TNTjZuUX3EzULTmc5
lEDPE5+Kla8DC4xXS4E2C100bT10+2Ka7POYvI2IqRMdQbtMoc94iSqgRslnP6q59/nze9EzZ0Kc
6Z+b+pHWhdqy8gP/QgLjV7oQbRK+HzYaygy1Bv65H7OwBgRkig+6qf1DanSc+DHPlcH8TH8hDdG1
hF5lg8pSiYShmtskDegQoiWFOfTQ33yr7sJioiUbB+L0oSz1DdcNiCq+49DnA4IpuQCi4Q/EO9fR
xoS2pHZl6zCgJXGUKOIVcWY+RSS/j3ZGSZMDQgPgUv8yZhkZ/ZKnzYZv2UCzDOjRhRKDBjMF03sc
TZ8uB9kNl98HfDHH6JxThU3v0nbSVwsXKqdCyp2ov72h2zGikz/0LBMksmBAVB4Ilqj1yqs/ee91
ln8Y8yzvDxGtYXvYRE0QunQO4MrtV2W6+CfMXB+Z/Ra3cbDPcvrjQSjqTebtihL2bV7Kx0yOjo+4
DefGQRNzZ+6tTofDMcCfWBg2ALAxDefW6Q564HAdGxrik64RPmOgyEyxGKTis/r3woPqXuA7/rXV
UG4Ld+6OHZz3FdSh/DoQ3a1l5l45Eln4fJx32dOUUBXuVYw5pJO4vWEYs4+4SYYDZOOVifwPf2V4
IxMHQW3ojlTmXZsEchXIz9CrkkuRYYvhTthULota/yuovLDp22S3CHw+AXRaL2+GXZAF9ZozLCsH
mxDpL3Inx9Rwf9K29A+9rYKrqPv/Rr97clsxMVBDxY2znOXukTPuhUnsq4D55FSK2/nd1Uqvdatz
2IUcEYo2v6k+23oRGnNuAUoKyCytZ8EsOaHHVBCYvGTl9DFFyEgqTRimJekJfyEBJo4dfX33AuOQ
y65nYRJfS+BModTzpR0qrkNty1rip9OFNLFMR2s1LQGaaMuhzWBl2E5x/OLGY7vtsoXYVTnvOqXI
uExU5QJ7hTb+aRXCuVEh+lxnROtQjuNs/E/ZFjm5Act5QUtDV3OwMUHvPPorcKV+aTbZFUeGv27f
7Uns2jduG1snyMswCwgbcePYySp9Mu2eCGZRoT/Lhw0ko+gMg0mY6J7uI2BxXPH7vQQTbQ5GsKcl
EYmk4rsq2dPJw9MuZSXzyiqFfUpejF59qDSjEM8wNociKpM9T0MKo5xjR1b6+qnX8jj2MxRZSRkl
ihL9kjo1uOe2UA6GmqmzHGi2KusX5caCgwsye2PemQunu37wGvoJH36ZBT4mnZeVzfh/KVOKcJMe
ilguCGxyH0OJg5BlGMC2ZJFsJvohGdXTZSPd+EjkDT7nwLggZl3pgJKfQdlEFHf7VLRYM/022mOG
iZs6iIlUEMJ9TG7qIwrcM7jPuxgdNoVFIcUNCcs5hoJwLLBPMKd8w7NyczN8/qRTQFLY5S/BgXI9
WQ4IXzhTAkJCASYY1ubGLJlmuolH6sLQJVOC/pSbkxmygZxUHAcHkZkcCiLj2XnwO7ie9+HsApMZ
7fSWOAgzAOT6sEuiYicabDDmQ16M6+zDsiC7OxIxYHj81w3lwQ/4WwWVub4qI2pSbYoVjPg7WMBn
dZaJBhtNES6f+j/idVTOgh45SWiwZssFJM2NeR3R5n728XOtF2u0ePvBXc2gxNedDNwrpFpk/p51
28/grDJBqpR16wUyVuC1aK9EwxAHJ2tb1AQ2mLok0vjqMWahmw2so0nyKaP8CQTHy0Q2ciOiL5Nq
Sqajk7WZ28SmpnhZczKat8vjjl+mNOVhEfpDAM/aDTP6ryD5KOwzb13zlHIqx5+WWZc85f6M2wSq
Q3eMi9p+kUtl7m2+h6y042YBPoJdu2eArpdPz545LTGhynqWwYrzU8/cZY2ldcMRV27YpXfgvj9A
QlApWyx6vTRPQp0mDPPMKQcVZkL88gC5rBxQ/aFBbxZR9ppZ71x8Dx7oYLo0/hickuEmA+dMiW3n
QjxCce1a8jRtiLA8pQnetyDvP5XmkBMPcffmBbz1AxwA9hkLDz5x6kQ13PEscO6A5wx8h8NGtDm8
hkXGTzKFTmu55a7vndDi0V7TL9yEijGjsvxmHYnsnkZkH1VVfeWIebS0+Iy6aYbax6J66+RMhXWA
UECY4IhpHkPkcFiMJgqFmT17/u+mF9bGSVFECZlqjbEazP0eYYLdgsEBt3a2nUGqQzaDVDRJAoAE
inZti/dgxE61NwLQ2UFNxFWl4mcRdbyeIoYqgvPttm49i+pPbIhW3GxNTOBbeK2fFegBkRY7TwMu
ooEpzAqq1OQMRE/lV+7RT9Ya/tsLmQN7248JRKkW45bx6G3InM/FU3xEGMxXynlV1EStPe2eBSsJ
AQ0U/qU6iDbD4K2oCW9JdgAuoimT3SHdg6J7ygBYBKnJwafDrd5TCNFiFt+NU/kOZvKN42i8D3D5
AMt0fmIIPcxTQAiby2axdbzLFsCaZia+F4Rw8E0Lqk6T74DXXrSo3Iu9NO6W+FsFsqt7Y0JtrMaJ
ZKjyc3sv/exFEbvfpPR+bzkaJauaLvdrknQn27TvrgsYdTTmp2Wpv2rAvzD0GceUEBiHGFprUYM0
iiTeRwaou+Fk9e5LQnLpSNgH0HtNSAE3JpCIZHCZ7yPh1S4dtxa8Zarq4nNSwfrzCO8wJ6qPzP/u
FsdkC5j/5v84Ooslx7EoiH6RIgRPtLUtsIzFsFEUdImZ9fVzNMvBrrIF7+bNPNkMrMpzHui8o/Fy
rinuYc5eQYc4ecasdBy0AapAPEknYoHpXte1DnhiqAMzLo1Trk7vQkj6wdYzJ11XPdAr/Xvt4aiZ
pfWy4l15ri1eTtEacSYfToZt0q+xirdwpsZzFfp1NVfOmIp9G/R/5cDwQ4txApLvVJgLrMZRu238
ReMphdCKrtdOXtMqzwoyqrsl6KeSlafVag+zZM17PETV3k6kYj9pJRg/pXwQ/ayc6xJazjilh66l
fn4wkuqux24pmwj7sXYQ+Fv2dUqgQ6kCjn0ccCj3LDRhu8lA0WtY5Oq1pQHdVNGamlzXzs27rmAU
SHI4uMSvfqZMVl1jIHaNkzp2hSR9w/5dQcmgEWRquDq9URBuR/cg9g06r6aNVJ+wey2vijXxNEYi
AQPX+iTLhoea+BDjEDioKESWDnl5SKPO+xvwMJ/QWuxayzh3TPKkg3tibmXyrI0xXazAiJcWKkZj
Rb9Ff+zSH1VmA2Kl5VcJsWoZQJaqC6ceEVrvWax/KIpOVMqKafQdXmcpQ91bGFEyke9tO7Z2fVHZ
+9pkmzFVrCL6zutjbr8C28e5b8EkAPo/xA2Py6ExZ7zZbEaM+G6raB6xkn6rgn8xLEYOwbF0DYfp
e17mnLeL6ch99GMkOgUpGF6JR0P4qYDx79arOZsWSEPpUkScD/FZA+pEr7BDPcg3iwQlKTTw8n00
FeBu+85uadpxBqdTFERsuoCD0dsmyEu79y1T/bLT2TE10jucjSg7fZ6WidkEEYyQ+8pBaX7WZBDJ
RMptLm/rNIjyERfhG1FtoF+GrBBYnvvDFy2s6NWy/YzZH593S6UZE45z75t6PrHohWWIJUqqtcar
QN43zVlvitAZ4562zvY+svnczIB33JM3eSZtqA79H+Fqx+QqLirI0wUDCbaD6S8cX1VVleFBnKpm
+JSgYIFLTYJpJiekEzAF92f+KWnoj3X1BhrM1zeeLcx2DjepXIr9QiSFfbnxL6MhZFh5eSns5tMl
YOFVO+SNaFigmEOKWPOyRfTAAzocdKjJ3tywefZqLou7NSeUDTIeHy7uFg3+1EzmYcJr01V2EGmK
M69bB+tcOyvGBSdN+FQjfmdjOzaX3yQT7rWevhhp+9vFwIxmwJw99K4Zw2YdevSLeuzbVL8l6L8I
1gn1Q2aOvypAOqdgF6VGn1hjb81CpXXXgEEYi77BgYv9hoKB15ingGan7HOU7s0cUThyli4GDXw7
jA+sbYgpkrWBm6pC2Y2whHBjWZQBcRxx1tl80rsKfiKblwOc+d7beBYclAKp+O61tuduk76ZbhHK
qarZFbjhMR4gcm0blI1vY9qPGZvbQxf2d9OSnrZvZI0BQq/a+NT/DUXbuwzqyBcLnlyj3jNWq6c8
5fiod4niZfC1ZxZr8I44dFF6+yOF5YO5McLJhkR+trJ4C2c8/JnFfaA/spKcnQ9jHbG2N9Wpj2ib
rccfBHY0h0Wv/GLxorgNXTIH18mqVdaGySmE5NvrVMa3ZH94lRHqsMcRjy9gKGXJd9rK/MI26k8z
umM/rAkVBPUZQRsnisnqhN3hxV5LbnL9Mk7Ra7Vy4LcRMebprdBXy80j4Zgihk044mdQ2Bk0M9tw
TVwtNjmR3nt9Jx0htya+lsazA0luQzTHfwx+KCJ4aHaW1pvs29IvuSyehl4RL+xT6l14BJ2jP5Ob
vGdsJtzcblreNsk11vr6Y0lPcLgw6rUzDSwlAmfVJ+bNarCWxSyNNZ1CPNvWfzWz5WxGaxCGrknw
t6i1MzFzA2aHzlkqyVNVmTdS4DMvBK5RRszvWkORGmwJyrH6RGDULTb6x8CjWtSWoGNpJWyXCoUL
NV781sACrA1TehLVCNl8jC94AEsfEzPwvrk/JybBp+iJLj7LN1jMurFUo8xwAVNAdUBnAD4hj9W+
WOZfxr/Jt1M02KycjqvBkavRGDzg7/MM06ZXTVJh1LUKZVESt7zFHZlAj71VRfJRDhZAIjnOj1wn
CsMhFTpVUaHiFheNugiWWqAoI7lnrgOz0wjbusna/NTr/Li4bj/JwR7NigPAaA0OSzFKGmT4ZEnE
Y1gtEPtS2gzhvoQsJlD4dziHGoKdicf2lEaf8EPTJDvYSjvlAjNchGlC7Uy4x2oHhZvrrUFwJpQY
i4Opqa9dGCL7SwIfZzn8jbqRBG0PzWolquJzFrKSUyVLuteV029Cyxf2BfsYFz3mHrl3zExwqbbP
Cw/lUegDZmCc9VkGeUcvdM42pnVE7xV7zRZREC4PMyu5c5lEH9YK9Gqd6uROpJL5qjqmRHTuE9Bh
bDMQTWUjmpwscu0hs474MD8R4/Z2LlAfMu2k5aq8o4yCj0jCDdVE8pEYGb+3FPOCCpOnVuYNQPv3
Djf2IyIPzrasp4LRkF44h+7iGHFUmsFPqbL0Yeh4pC0rPKVzconDJoWfZzyrBi4GA4mWu6M7GXJE
OK/QNvvPfsV9csnX9VcrDrqpbMmj0rjkOaUi85cESO0zjiwT2cJkFVwqdNMOwD8kqEU7QoFEZ7vL
pCBrGSaENqb/LVfTuc1iulNGjjxEhXBadsZUQmcviyUNuGrMq82K7DrKUUCrk7hJtXiqqGCK7Z6S
+KloAnng0WtuOS0mIwKq84eVfzZ8Eu9NqDP8mC0JbvDegFnFi5zfssgA3Zoz9XO4TGDgQHekWSaB
IrQ359D2psKIt+KuZpf3Q7cn6J84pakc9b40D5rC6QXsvVfoyrlccThIG8GIdODkSHMjHawBqVAk
UeUlKYcqTkuBGvKNUbByhL3SP2JnILtjJVzNg+WkOiqDoQ+7pMeapFEl6o4oAg3ARkqyFj8amQkU
m4Ch2n1rtbjK2Yo+UDNxxGsb8ZqC6z0ZuZta6SsOju3D2xqoZDXyGqkP9xkI2zMu1MeCYNgJ+JIv
VjyaWmw/9FuUj8ONuWP2k4+FUL5FPVb/c1z38hYnFolyqVj5SZjNwbeDkqaqiqi+19eZfkky9Xka
EN+SbLp3hdJcAfnv18z0Es4aPyG7gl1rm7XDRwjgjDz2Tp0j3c9zzHlqHEG2aH55DRFHzU3WsnHS
AP7eHFo6xL6pwL5u1eWhLlkezGLxNYsPVCUe0dogBwlxm46p8PftUOKyxm0/5+t0avX3xTIQmjJu
+1C2UwgOquWFIXrdtk8jsPCmaMY/YRm0ZNNOFDekzOHPaE6HBxbFkqPGeo1qXWUeZrOjlp2vrMCU
64FygH5t/rSo/dTop0CvWb+owVy2Egh1b5tI6eoYfSCySIEhGdKhEnhWLZLtB2EhL7cWzy56Pa9h
i/6nV6Uz1Ka4DJ+U2nYBejMZ6KhuuChH0yNSFu87wTyctGF1nAlPOQYr8TIyGcL5DzwEjoecbnFH
n0VgVvabTfST4idslHFzAtUIrc+a2BQtN5vFCuq/lF3sPrJR0hiEC+tjTKzwLCyPvqXF3YScVtKY
TB9xiYWHiOXn5jqkJgzr4TUhBZFm/NEWVCKRZSQSiHsf6jT249xmlxoZtlvM5r6nr2kXNfIYzKZO
CteGYQnewIFKTndW2nV7LNCMTHrv0ExG7UxTXW2FQC0YDbxiOmQyijM4WXNNDAWHi1k6bVguyW5D
Onv06QA1i0AnRsx41srdOLH3kSND3Kl58cPmE7iPeDCl5THHAn3Agz6S2oEJrj/lYfwp94i+nVEf
RTRxQquVwJLFT6Osvzak0HW2rZ3+jTPAQkXUVs/qAfZimgTFtzwtwtqe78dlKdh+NNopL/CmzSho
UzpiDkcE8KmgIdNlD5qz6tQjzSiHJKEO6pyxb1vN+1A3Bnp1RZ1W/ve/81PManlBUf/lCjD3WpP3
/O9iMNItnkR7GL5MGgCp0UT3wL0My4nisFBUBOi46gQzLjF9puU0vECYp0wcnyLnjvkCa93D/voi
qt5wIJBhsJfnX8meWEFJSgKuW36ZW+6lka438GnpIYrYCmcBWtyMKxkGi1W3x0JdTcfIpXc6B0TA
SZcAdcObSNb0ZF+rE8VkaiORxJJ+Q6uUyPxQoMCkWu10e02wfdBNoWBkEpmC4GkA7UI0yUbgqvmI
WVMMv3BvDGdOzNcVi4s+xpQaStojxlw0VTZ2hxwncgNl5UVVdL+L6HOrWAo53Yhq3xL1P5BNmXdT
ztlexLhBEZsY/Z7J98k86VIDdqQ0vRlmfLP/t/7GrNN1Ri3CRqmrZdlrl6XPGPOw51QQrSz26fsi
JXIChyraU8IBviWyTmFl/XCaxlC71gx4RceN1JJWaK38nkpJerKSb0hYvIlwZR5o+FUvOPjZ0MJx
VJufFN/MDfFjQPBkaDexDAxKNu9MFTYoFzFnrWTAvzIivyVNS2kGrJACiKAkwvaN/itXTyZ9vyhK
iM8Ej5zagGTLRVe5MrYNEywb+z95v4qSOMoKXJgG2JBuFFxusyV/scUyD83mJyoGefHrSFzaioBH
3Tt1ju04tvLRMyFa9laRHY3yBf1BnKMakvgk5QCOi/pGFD12WZy+EFjXPENqIkdfm2ceL2I3MIAe
SvPDUlmpxgwLviJu+KXCK9aetQKZVqucuIDBOWK1yj0l9iA3uJRg/2/ElOQ49AedMxODH/ZcrcSc
3+bH2qpmJy+llQo4klSwR7xMxCHmHe2kECvcEWlq3KkSJ/iFDgvR0O8AhQyL7XDoy3fIqssBOw1m
bS18Ldki+/BP98mItTuRAfpjIYTvltU0HDAHEMRPiUF75N6RPdjUIyBBBchyihwkibBQyIHLJmq5
UcqjlsRBRF3GPKWEdBfbXwC3XVY9/4R8XHh2XE+BygJpkev5nCvhD3RfjI/3OlxMKkJNzJiq5Ysw
Mg+9TuQrWaU7yD4KRqv6g5XRgrz7N8e4kQs9xwJCbnxmOtmPHQ3tSdIe6aJboWic5OFBaQDgUBEq
YMEm7d4EQnqoYkLSydhhdMYxuGaFuxpowFWEst00xy5cEd2VhK41MMUOx3hqAsUMGmjQ0xNDApJ4
zYT+akwrPZXJtZDVGAGNtTY7JoBwJe7/JousoK208dZMqselPRwXie835yh0H9rpuISzflrAhQAs
fs0sxThxoDjEeWn4Rb+AYre6xUkGTJhpHM3nEjAKG7uKV/z4ADVCCspOkwK4NiyYq7A6UNmX4SFK
QU5TbLSDkLdX8e8e14rnhCrptjuPMHFiJNETSuh9IcXiz0sMbV9dO7+rLSSL2J79bkFB28YzMIlw
PSHrFtjy6CcNq+GPIzj1ny3LfFIm35mSZm67YiXa5YT49hZCFLTIFsKhUbPBhocNJ8/4NPraPGHs
/EnCRWcw0+kx61fL0wxo50yuJV4e4OpySsZQEaF+6xIz+CLMnh1HQtV9ztStKXXjjQo5Cxk12KmL
wcAjLOYbIUzys3EY/VCqx0aFfZuVP89FoT0movVTNYneFgpazllFZur/vwxbxfJsu67YOPBPdUZN
TlRZfqTdhJLSXKpoHB/1HYmV8QS6OohxxgVDbF0kKcbxUDEXFFUYBVWoHUZCxZe1lL6kWPuDf5G4
vX7UlHB167B6nzGOQe/svhJJ0LPwsvDyHY1luVGjc+0RUAK1ZWxR16F3QWo3fS+/mGw698WqBWHH
gxSjHLl+iNyiOuWR3oFAxpG1LMu4rzlAEXwD4J6bie0UAgMaqOkFB6FxGAG3PpQj4Xp5oJBoVqTT
3OTPWcUKpBckoAaTZ/U8MK5l0oWQF+xYquzHvH+1TJb5rNoMViDVhPGosMPi0tijuo1L/4My1aBj
xl5m8K8mCVar3vJmehld6RbBKPDZN213kyspxFlovGTNW2J9LHHkFhY10SCH0EbMkhNCRQCPQVEY
D1FbUGVlXbo28YWSuHX1MdMyIVP+EMnFifOIF2HJbaznKQT1mibk7exl35Ck6jgPmnybSQZO5s7m
zCvmaV8U0K0wR0zUwxKMeqkxAayzdTAggJZq0PPslRX7WWHF1w1QA+bmOFNNkGlEeeaW9Dc7gvlN
6Zbd0PV7y4peQ6qvRixTEWWQJk7tJFCA8vfTgQJXfJrEIgs2FnOvnbqRRAFWAQSoc0mGrVqjQ8Fv
pKbG3mrebBSwBgDH1tjSYOKe5wPqkpbid6qvU/Jt9cJpoN43lH+ErD8lkFbK8iFZyEwRVGZO37O+
EOer6ERgOpdXhML2I9a5Exew0BS4F4bKgpi9xMAIhXlOhqMywLso2+5c2/aJ0YNYxpfUGI989we9
N51RvMnzGgAPpstxID+13FnYA7HrXxQJ17OI+J1v0muUqk9D9KLrpQcXy4HIGkrfNdQ9n+hBmbyp
VIyB9zEjCjUaxgiJeaFh189MpdE/1LAmrGon7P8Kopq4nMEg7JeWQlxw2llW4w6uMGt+m9ZT3gBr
IJgTHsD+QhqVXkzap6LsAuggT4nip58Wuw2R0dfQ421YrT3jfYSnCu+x3Qw7qardFTkktxgvoJnO
DbDPmpF7PqVtewBJs2cD8QY4cDdi35bk1us1nATlnW0Oie0r9lo3IxvPCWiWP8i5bWWgsMBlxKun
WgFlVpwUpDT4EuyTkN6pQ2E7WhqT02hnQl9UWBGzBY1NeTHQ1oQaNVFcZijak4sLcS/pmNypjJT5
GFfa4Ir6mJp6MKOFmSFHZYKpCGAXDJbeCpBhxYK+gtZNu58QqcXmNTyWT7ng68EWSEXuToSembWf
ODgcUmVuPIcvtTp6IyivHgQ0tHlVGC7QslX5Eqyea/TQbP2XVMYJPPIu0i9s9CVK0gfWfupIuLSN
ue/5WZbpaWADZAGYFvUm2e0zi/qKUAVcHp5jWGipBvUDDTkz6ECMgzo5kTLzDY3z1/yO69yPOP0D
z+Csox0h9nqj8R01T5ny1eur1xePMiJvZj+r/b9OT341rtky/dEJMsl1AOxNZ0Qz+q9aPklTjp+o
9Qc+KuOJ4fcACmOfX2YcJRWAGYhdO4XgCBtGdgvHlgtODq9lAxbhnHAtZYbJ8j71JoJtUepIZExV
+2Hoho+8ZDJCJGCd7VMIeNSS1z7/wfG9I+ErsxBO6ptcXOp+5MlHIEJlq59cKUkCFMKNrn925XOB
Z0XSe0hdt7x9BR8GM3e8ynogY1ENy7tFdaWSL6xaLo0UcIPsM9o2EQpGdd4Xz6Jmt760zphUgIOV
fWccrZySOZ8miYOgQzYb3rc1eJSdJTaUuDdl/UK1GJtkLK9BNmeBiRO+sHnfdchg/GwxYemGiGUC
DT79woaaJP2FxkzGYndkpT1Cj1aoAetyryy7nTpgnkXra97UnKI9r8DmUJKrVPg+fAvbZ8pjUSJo
PKjE1js/bW2nWX62dWAP6bkfXnsSSPa0HBR0UXM4kHv0aXrfYd48EOh0WW4e+nj19fSNLHJDgZCG
Zj4PjTepozMPTFIlWI/2X8I2wkaUjezrQLGNVQEhhHkt6ycKEXY1TL0564mgXaaWqkIm546dBcoD
kjFhUMPJJ8KcGJ+zK/CSwBxubchNl8dUFx2l7NyTplWXG1wesgrDTuEEOaZOCw1Jb4M+R0yk4bXq
1X1lJ+5QsBGOGMc7dwCiSaqSB7zbjQLZAuxF5pT/OAHtDbYBcrzhlU1WPHzfnZvL5okzDuStzWED
dSuEKAFwBMtiM/WPZVw9JGD/eFPvpwQngYb9KrsNM0+SsAs45u5tEjGR1iJVMpSwWF3y+PgwL+kD
aWZPZrjBgoBRv4V4RtcZvi8LEjp+pchGqSMIHRofdKdSrcTZnm09pCTa0B6Klnl2pJ4am2mKNVvl
fEVggn1DD737nzI/b+iJFF82yzU2IG4JTI82vZ49FVfazJKpxlKaKz9yyJ9TvjVK6pZUdYmO1AhI
/LZhB0puPQ1nxokHoD47Q4NoynOrjB9gGDCUHNYodPMu3GMCOcjl5oFBv1jQ7KsdXJRdJxS4KRJY
rN8tm0Aw/FJp3ZHWRLfPlCNdjc6kvMmkZFb1NEZPEkV1Ev2I9FRcbOupSKAkc58/buFwY7m3wNBt
TXqBJMFWipeItcMSNvGqBY2uyUFcUKAp4ku7bbU2m9Uw+TNeHyx7E9C9rSeK06UPhGSHRO+1ALuy
TBTUPsC7HwJmZDohLwWxA0ZivuKbdteri7yt7lMwDS6bDEZw/WHkMT5zUy9dwNJ2KDoyUflBUitc
KiPnVgY0Fb9ZCve/id9k6R2zlkkUeii9ZjnmJfsxwLHs/1HAnqP+OjQ/YfejTW9Ji373Ys7yE2Y1
N47YvTC2U8dCQw5h+Hj5pmKbv/Zb+08fMZNzm1ZjS5Rqem6N70nG4lihfciPOb+j4E6NO/T0k7pW
T4p+L6dg6lCc9eLUaTc8cxuNyinCO/D9B6sEuh6eEitxIH4dyrg+Z6HpcbQPysSvdfk9MX4TQ+z7
fWg9WN3VwJBERxjutRnWJ71oahOkdI2FrFhoTeXH5bA/NL7WI1BnFBxBiKte1P6Eq9KPrBxTPZIZ
jE3rR5QXpRyOJvQVI89dZaAygwOQ3aQ7UAatoFiRCGqSQoTtnYjbjXb4u8rjPi7MK8Swj1iFzpHZ
xFe+hxwdeqOaLphuLgWCM1F0yYrdLFseOqEGEgKOPgftfAyLlMZ0vFXhtRMZRu0/aaXBWqeTs31X
u38CtE+EvjnGFJLo77laurM2PdwL8lRAYU01Qwjf8r4khKurnmIvJyS68BrvHqlpOSijedR0Gjcs
BBEsADzVLdqxF5Dgasb48960nJuwHyCw9bdOoGvMGObmN/rk3AE/2LadhB5yYdh06Adj4d4VTpMS
Rmzdqm8V3mPVsUqFw/X0Y7fgGCLtyPzjygt90eqpHKoHtUmYQWwaMactVGJzh4hTxs2ph3/0eCco
T02qBe36PhnPufidQkyKErAduHfg3ioYqpTMlqX1MNnljpIWh/KqXxE1p2Jltyq94FF/npBCWKz8
0tKxy3QqrgtMwBOCGuCEF4Ngo00cWLCNIILFnMM7crkUlN4jdFLnlCg0GksXiFC5NZ9iU3yuTGOc
mOAT8Vw35HNVqSQN6Xdi9yAnHPE5dxH6y+L2ZqUUwizZO24qTqcQOwVnfmE+i8cFy+KycN4B7Yd9
REpfuSvoHGzOFX4ozWgf1jhC/MyxdaMkhPSbmMzfTfdEzwGyUPUEChdbqIa7ALOeKu0l6jstQZOy
0XokMnX93OrxsZqXI7Gfnu4Aqm+4988MKt5SKb4EsZCagzh3c7+BrrrU+hmOqRMVHAhDK/pOUvlm
ohSwojoCH/Va8d7bVzvudpDMdibTfsURw64l3oGscEZLd/O+8gb+TT3zbfqSZ7vxexaUTWcfaJhn
O90BuJN+1s0olaIZDyzmTkodHmjg8/TFX/XOqVVU4e1gIXXs26tXw6r2aYUGpLghPgwuFq3w81GD
xPktkYKuhfqcl+UTqFNHZvgrINsXXO4yVCNjBF2mBrM4ypWN35OfJc2oCll8i+YRUxocG8SVZj6n
4/gcAgXa5k0Z+mu3r2QDuRzKicC0hpq8gUCHo1DjG0I+h8DpMJW3raRdF+uux1jd5+/p9qP2d3Bm
rJVj6H0NsDfa4PThRZOJV7QmU65xW4fHzRGijF+GqZ30bbcYfS4a0yeturX5oK9ktReyavic38si
5VlOvxEKXmJgAmFc6i41UdswNQIt4UC6Htf+moN5zOhJXSDVstq3pbcaVgbxGpfHz1qdbKnyaDZ9
61hEUWIT0jW9EjUo6+KI5E6zje6r0INTnsOLdFlpWZ/m8jHJQuYMUOgrBSLgcuOm8ytzcoeIzBQq
dkL3NDES6kd2qop73uS7Br7x20IBhpBzmMB6d00SzB3oqMlbk9ZViP9YyQfAynOEvtetx4F2OVPc
u+6xbR82/AuEYUncTe26MiDhWsihsNO6KMeGk86Q4yKSQCz6G1m6GRWMdcspQyZggEzZBmylel3F
hS2n66st8N8MWLJysMYyLl1ZVCCJMNClpuXzhHZmThMc40pO0nXY75eNFMcuL+F3U5VjsSi7mHug
5tmAGOSqanSY0tdK0b1Iw4wfv4Q6h3IFwsgDk/q+9VLjbVRovCwvZg+UldS+dc44qtj1AxHWafji
PZpu2QISj2Q7afGGqsyqbNj1uHWi4V9b6xyUUuxfBgHPX1miG6oAAcqsriBED7MTZW7Z/hT4nUcq
MZRs6+Z8wH57tLRth4qrbQKJQD0RGlFHrGz6ntKAidGxEWSH6pb0NbA2HPC0xs+0qNEmF7XtXZF9
1pVQ6QNiLaeGN1mXFC5HHKB0FBpq7xz48SsrGl4zF0Lp0QjPyZZ7lacrFgOgEVbAySvRQ+gURLLr
4tCJDwNxWJauCokFim85Etp3NrushJUKa9ZJk6jDMFUOeZxT18dICTSIUzKbnARhBZnQ7eM7izex
azunA2usxhJFH9xyNNY1Tem2oT9BA44AVy79I2OC2hiAvY6LauwSedm3dfasRncgEVnLtuVagYkI
jU+yG9gEIV3k9dsw4wB5HKroZLCBYtWzL5tTZxE9JFWfZ26TkIV4o6KcYd3cC71zi+0gIwD5Rm6L
/bXoiy8QsZ+zOBlMdHlJCxvJH7MR/hRB9kb6rCvza2XUG8vSt9nDmhUUMXSWKqhITtVoabB3euNu
Q1XjetvKlvORG2UpeXdfTfmvliJfKgCFHvHAlLR1dTbHJJ65lvEYdU9ZQRK7Rlw2XXaQKe1VEjCU
nyz+rOzj1FY3YCqHEMG/XRGoJlSe4TYqPPSd2vqKFPkIXGhXAPXMKTZWD1V0yKRhr7Tbus3aI06B
XDpm7bnvfTM5KxwnR7CCVTXjeAUGxz4Tykps+DFLAlZTrj62h7VTQMyPXjNYYFztrzxZnle1dwcy
d3UWDjTrjmchcQYz9PZcAfHcT2IEojTIT1r7q49j6kIGCEIVbpQ2bQW7sjK6Yw15w5707gpqgZ4c
yBvZJrPoQQJUgsIE+yXTxQB+lnUxND3EmTCLjno9+RSzZ/iLNcEgE4NV7MhLDFoqH+otkkXhXnaG
Z4W6fx3tDp9irGXeHImnrG6SY0MkOsGA4Szp1gWaWcLvYvVpbrvphu+SSh4Dw+SK4KilIuKJiocT
Iw/l8WRYykp2uqL4hasw8iynq7CpUIY0JBaNDVrK9jbErkA/aXq1tPQajbPwlGErdx0t9EgNj850
qGGA+gOG1ePKukkUmnWw7eUt5xe8INu9dvTC7ov2UGRSEmQsYljib7MgierGbn6GChtPQupaREt8
gYD1Wk6EF3urGU70EAe8AKajoNLRXBn7zDyxXlJUSm8QKSigqjsYBjOD3WsOsfLbnBizD06GzPo4
ln7ClaN3FPH09hv7hsdxK76WFfkFOf+VwgmsULRBQNYaKkyiffGsUIeF9wEV0yLMMON9K83+u24m
1DearsvKfGFKGBwg1W6NBErh26js6y6cqWm6xEIePZVCrtuWZqBJiRQGZHW4CMYjD/LHbKZKL6mA
Bw8yz8RiEn8KpvQr0HjNCGHj8+wPgUX05rpcWeQrKaXw5Nv/4f8eAvyLMW1k2uDNMwEthdbQByTu
7zBuH3rDrH9yEM4Qto76oBTHMedsM6Yx+yQ9dhbe4dVvBVDXn2wG22JJ7xYwr0nR1F0XfrQ6wCJv
afip2gmVu9rWNUZIeRXI+F13WJL4n2JKLKZW4rRqvNYORAp7kv4pIamHkt8UVC52ALUIbOTXCkKi
uKU61ORVKpleUwg+7UDf3KCWeyOJ0sNXrHF4megShjUK4JWGk9Wo7kWG53YFa/FTZZ3tK6P0D6s3
8ynbmp0Zhu/1lPJOgjsDcJ1uN33hBUmQi0fDg6FHPHS0BDkGM9mkytO+XtludFn3L47t7eAz8lqZ
F6eWVenAiof9z0L1oCXxHWojl5AESnJ9svCybddFM9rCXwWAukKxG482w5dJgsVF22JgxcYpiSRQ
1cgSip684gk3A0Gmd0hYLq9N8mOq78rMkX9f8hKS2ouyGLOnrTQ1LtioRvycYKmBYrbZUVRI0OF2
Ip4Bc2m68SzsqbguinnJ6y5Q7YynH3ncqlbQDaGQ78YEVw4oRIy6fTa4aa2s5PF5b86xoSA5ZOPO
KAn+4USY+vgLHDgPrHmqzmr/PkIQD7XpO9ca30p48zVqxJtdOuE93WkZRYmIinZnusOqXaSm8TRg
IpqeB8uw4hGGsEZ5sKXdtLhBNH0osu5A9C6okpc+tQJFHZwM02s05m5rUjhZf7eGBmlSwdREvx+2
LdgBpirxx/7TAc62ah1YJbFSRrf0WsKX2ccViEJe0D6xI4fzuisQfNPoCemGlDQltbzXmnzBf89r
u3ohOOJiIAeFS8EMa3GJelg9eawS+5v5uABTYsgVeazvmZLWLkBF/Sw39YILy06pU+u8DJ/2WhNf
+DKtm9JiXbUDGh5YShS7qBzejDjzIEmR66Gse3yL1sVXt3bQ8Ac17TkLK79JzFOrUBziLG2zJ0jk
Jl3IR8tmCyZolpG/MrRTEsue3WXuSEmAYd+NvvdU9aVZ/zL1a8bvOYGlqhkiQ/TjEMFaaSgIjsKr
8lHUnB6ukm05mvIqCM3M4N63j6lEZ6mt107mUDZcWk8nBKl58kCLH3Ir/hBVsG/NqGXIxj1skDt9
yaSNmSxADqatE/PwWwn/y9ofaAjs6LydZqxczBcJg1/S4jvOukARz1kMCAc71cTHTeyOhJ/9OCLb
ZBnbQUziQznvoG0GWrpTrU+z8Mr0SC0dDWRJ+B9H57HkOJIt0S+CGbTYEiQIapVMtYGlqITWCKiv
74NevHkzY9VTmSQQcYX78ZvWvI72kYRAES3Y7d/CnncVJDGybGhWkmPGtEqicYvzTUjVUEBvtOPx
minHWVxAsrhhVbjVQKapBqRe3FTduA7a03bIKX35f+pr+bAymMWwYm4oNhc9hS1M1wnuPT4VI9VQ
dCAmncZTms/rOAxcy3zY5VnNa0QR817voN6kxakAdz8p8F94okbtIfyCEWMa1cChEN5pCKcLdVcj
7qA1y4IBGxo7OF4DOTnRaNPyAIbnvWSIgoaMvKEoZshhuVUk7WYH9Q0yMF2zeNqRn0s7YB6XqZx9
7DFsnvJ1qtOaUOIT5ae/ES1CLwjmrIN/QpCzg0Riw8skDBJP088EnVKmveGW32q0GC0i5VUjyax+
NCjrQEaZL/bdtmR7MU/4Og3GrJQBOc2NchxFuaLI3oT6UUxMNGzlPqe25wziX0UTXyBmynAG7AXM
3p55EhROd2TXnCKQHA9t/gFjYR5QJNl7JBeY6haFHjJ4wgJRNBILXSKog/7pCIbfnp7h6Ky+gNUs
oyNxV8SlRO05dMBJiHcZUHgl1dpmcZdnJ1RPtoG/IOIdCdd66c/BNYpJe0h4kBtCR8mIhDJeM6tc
eFDn0r7FJhkRuLCIFFjxacXhlhraGk+KxNRlfpzZD9zL+s2q7ioySyCU5A5/NOC9Gg37EwIzO0BE
vZOS9gj4fgWSJGFTB6hqw6oaYvBvwgE6thCkY94oxK7yl0SFlwnC6IJPCb1Tl3FxIt8ce5z5LDMc
lOylcjaVrzr7zHlF5GCLzMhV1ZLoE8WtgXyQwCIN/OwnkX3UiuE51C9jCVKEoVCiouqqgc5kVFz2
jxzidWEmIafRhvXtiqBFaMS8TgZGGGgRTbKEWCiP1Jb5ckq6kOZQR+1lnnTaAefUJda5o1+a5fCo
5w+4fx73DHNnEEYxfrmKhE7l2av9r1LXV2DBUZvuY2t8abIleJWkYzJKmy5475PCNdLxbFbRb69G
b1aypM0w3+FDHBxKqkhDTzRZ4m8ERxznJBaBJQkO1giIN7AIQC41Yp5J6iU76BZgsJUJqCSXXRT6
J2TzW7dQManoorMV2p6lbFic322Bgy5w3KIlJBS/EEeryXy+r8fj5CTUOkPx/6qoJ5oSYDHVNMGO
Gj6CrHsKxI2AXt5ShDmK+tUr5XcPFznrMmLG6RC5U4n3XBjz7JfifaR9qsqbWYVX80vpbg3ms6D9
Jc4y0KJvvZX3rUqocGV/DNLoqfNyVKYfpLEfGj4ZDvCPVjBsoqa1eJoXmy/rkB6ofJA3iN/Sa4GL
m/0tQ/+GhqaPbGxC5T6M47UIEew4DNOryuERNneho28FsE9HrnZ1w0ZGXxYlH7KSoTCe3oYsfRFt
eZcGy5d56wrtq4VGYaiCjsU+zOOXIkD1aFCjymEXw90uwBOY9kzFspJX5e9wbE04vW62UXuCVnOE
tySDWja75Xg3R6Csq3uDPU9tUPCL6JI7Ef9Et6siUFH1QVq8c3hvCbN/QZO3dyrh1seXQad3pMmR
e+lqKjN+uSVrc8NHIFnEhl1yFobstDBcHMrKeAkmdkTTN4WhQn+87kAO2QzV4cuxAtdnSnM2rHZz
Jo2UqKSYgrVb8QzBnYsWMmOFcoj/0znPTfTwCre9jLsl1P+hIiiw0qPAU+ZL5LhasAnrk5bs5fYj
c+ybTALpdEcCTj0bK4e5Ib5aUvwEGH95jNASRByzc/lz5X3zpuhJ7tAaJfFBmNZWyv+6QvGXl6KP
36LqYeDYKYBahbnGcX9BqArfwpg2gI0MKIqnPL80tccCBBmbpfhkzuJwwTxu1nid4EQK7k6S9DoZ
q80aNi9WIouLRPM4GkGiss7CzUpugQaA5pa8cnjjWJeArGOFMZhdooDkFnMteUvlWqAWJqvgwWLY
PPIINOSMv6q/Tu0BN9gQBCELV6XOSx8OItBVfERwwkZa3SGHaP4STX1mqgFoi6G/CnfEwQhvgyUR
Cnvl6pqYBRmvyclqAOU1OUvK1rp1ue7+ZGwCI1veqQrfDKbbDb51ud7ZUeWSHrDLSsxUYmAIyl0v
sl2eIqeE9Goo4VphVOKw+OFGYVAwVD7xflkXr2P86D6fh3KiVUATOj5T1PNr1KRZ4wbBKr9qf8XX
hB7/QqZoA2BE2se7ade+jE8Mp3O6timFq3X9wVTAQc7cux/he/nC67Yojq/Orr6C3l1haZkwKd6R
E+PJ1rOXEN3CwE3O93jJ4Az0ORKifrqA+GB2gmeJbSK15MTibFS+46BkdG71f1K/1j4Hlrf1enad
PUIB8aIfFW4hAm4Vgs5c5x8NhwOhHYkpkw+WI0BIfvMrkjrMczR+hfQG+5zVrjJt9PpkPkqMMPaW
r61L92PFzbpqNhUWUZzlqAPm04gceALavir+pneoBOiU8V1Qhs7Y4YuNo33ki3PFZ+6Ldjhc4cYt
bBvxG88uRRA5yC7PPT9aPxPMww/Ij4LnXMxezYow25NR12X8TKgOMd55QbWWygeeGuQBeDiH8JjJ
G0fxaUk3Q7/Xw4NkH/KIWNpzNe0oisOOubEvVQdUQuhgBHyjfQmtji8QMjzX5nvpdSdMEioh79Yv
Jl/rH3lwKGZLKGODz+aEMQr7PUh49XxWWKeHp9r6bmwmp+PBFPCI1jU8nB1qV8U4T9qTrXKYvcjt
Q6s8o3423F00o+Gj+ix137CPwrik5S5ML23NjzCiWYeZIy5By+1xehKoPYg3OfFyw+9QBQDGoGoL
+EXNh+DfleqdDOgcWr2JDFj5CTJP+qs6T5WB8W3acBXdOYkQSDNmw8BHMRi7KNZRsbFtSX8UlIpA
gOzNE2VBqz9pBjom09aJwg/FSWtwYG0NqMpbtgd2ftLR4+NBhtY0u/hviErn/OZaDlICEelQvTTz
cG/X6tFgyxk/lWCTpD6aTr3b1pmntjuoNkP9wkHB4x1giOA5IymIxQUTs/AbTHYQoeDhsSdNxSu0
F1u4XbKzlO30GHJ3mg/Dm8pIPkKZcjakzaCT2NQjxF47nylnLV4DPGjaC49IUR34dtuOf/gU9Num
hGPJsouT1jer08zrEgYnAwX1Nm92PMSo0BiH37K3CHVCsmua5VfSSEB8m4m6s11jWxucqtGXIZ/M
8WCVh7b1ZWlvE4ma7TnVFdtN1tQ+06JtXOYSBWks04NfSI5o484zuVk5kH19W4c/s+UqpNTr1W22
1naFO2ttTphetirxQOmuKP8yba+pezA7ARTT+VJ3Gx1kyR8fBd8h92S9sZdc9rVmnuG28PV0u/GM
9rdCkRRtdYfKDBxstGWGWKiXQb2OZ1cGa9Csab9Y40rFVpk3VfPLJNuCINftmhAw5CYBhcEplLAK
2PQYvVHKnSg5WcgG2PoLV+P7YnPQvhH4kVCGgkBBrFeyjXSr/tFSzji/lIN6y9qNlfYaWK5Tr2Sq
oRRn1Kq+YDwMLxl87P6EfYuFN09A8NN/zuR/EA1tuiRmiWJVodJTIaWxuECgiyvOXRhHOixP5ir7
HqE6YWqKB+qtoR1CzGAURHhhw76kD3xVanvgnwsQW1LQrxqTecoa9Y35Jv3F3CjzDlQEBfym6wGy
bDNuxPLBW8OvTi5Nv2WuX8ANzfgGXyvNSz4XjN+7BknO2SPXk6lSOhe9Xc6/gX6ZrIiD5WsGPMin
S85NgxeWjRVKhZduMHcdIzwOO1K+jBp102Mc6Qtl2m6mQgD01dsiKOmlu0UgBPohfCywBbZW76vN
qUZ0hPlIRsH8LNQtK7dY7G3OYF6QDE4BsZskV64b5TQxSovlc8cho08PnWWmsRkZyeuYbvyk3DYt
x8ca8EF6HdYfGl3hKg0PIR/Wez56HMRqsMvJqEZiOF7BnLFNqWVwALeZrQxbq2bPPNGpXeYDxJc6
6tY04WtDOYh4u48EzfIeTshwx7U1b+ochxiDidVwXDxb80YBuEucUylDZ+XE9vDOZdEtooUAiIPE
Zq2imOq38cfouJNzGmIqPB8pZ0BKp75GqdLJrlbh/lyHlg+SpwI/QoBF6qliFb4wX6t/FKLrnrxj
FHB8siAUa5uTdK01Ry26tDw4DLbzu/NVTK6okMjglruQKZUu54FrNoz4SbfzUatJiR8hi3fOHchl
DIGVC1KsDr+IcjQJOlP3lezzq5XRJtU3JSwCdvn/BmXNz0eee8Sq5jNEJvmQmrN+NbCPgUNhUUnM
pMHdvm6+0pjVxI4WCjErLh79negZ6iXuTHBBnf5elD9yve6bO1EzPX+k2Qy/LZk31CcbXideC762
dsfDQxRJ9hWdZ+RnbCLI+muX0xauiTwcUr7q+QotYtIZQpFCuBJHKX2Y/JrCZbHCOq5sdmmwZ5Fh
0kPw6Af2RXf2QOWZ23ab3PI5qA2CC6Q3BvZjjvLWS9jgV6sOv+yKXd145jQYGboIbN134IIsQbF2
HVUkA93egCwlBW+T5SPE0yev1f7NpBXEWLov/R++POgBP2Wztrvt5HzZ1q4Fza5DeGj8tiYYaXho
xSHqjoyxEpnJJQglpGV+iqCgsR5M3rQnx8Vw4WbO8X3EfnnRXkvjJ7e+p8YfcAS3FSNu/kcF6C/k
H0BcIKLauxJFl4X23mtg4zS+Gexre9uz4KZWR6kxn7BjsvQcuBbyzNWRj2PfWKmMMza8Q1yx2Mta
aAzYmdCFzyt6gZJ3BQWMsVSJ6nzAj8WRhj61Br7CEYn1lfpYddN3Smpxqc7WbcFA7sx3bd8Rq5QM
bjYjjITRcJcsHvgNJDA6KOoSC4DXNbSpP9D/rTP5QoEqeuY/WMJXzIqL6h9FSWz9YK3g1uHNl/I1
WWeps0ury9yCvqVh8CyTzCmwKpuBHWLwhfXWFWRyXIi6YHvO9ZUyaCdj3OPepqJH3Ng5jzR5woCK
XPUdEpw5MBU8gPdouO+UE3aFkIFJv26ytVHsG8QLxXDUydJAyEGc2tCdquiijHcpQfdbca4TI4Jr
1KJGUo8JmpSXGRn8DLM3tDweM+qqkhYSCHM5HrD2EGPLe8Fxx0tXnXn8rIHO0gcdBqAGnRjcq23Y
nCKZjMqFJ8FDZz15svblWLAKgCa1lK88VlGxpaClAoivJtP/d91Z9fv0SHIkBwf/yriFUoaXXNVY
pT2HYU+WBguZnYlZEOe2tdGW9SHzZVfDwxNCYSJvl9PnCFMUqI+SbkoWAvGPI9bgBUhFCn/HM7dD
fZ3zxzTAnJWvUkVcArIaOLQ0t6yYZWkVk8nUBOMucuRdWMV7MQs/hE47VoQq05yiDURii26k3pis
Vc1Ovi9pHpPxj0t7SAakCoTCiHdSwqnKLOLCX2IbDdZwkQZkeNlOZ+zClERTfHeZaIPppJWMT9BW
FlAagy2JkSgZeIzDkBOO5O7yzJVyvZp1CVn1S1sRj2HgCHaKtWwR2i2h0aZDEP0Vxue6vk71ZRoF
fcapKL8JpOF4R2cX3RpO9rL41Jp5U0xfGfZttJ7FZ8vJO5E/lZDyICk26hcEMsqn0XbgrCvPLvmc
e2UjIy8YdgZDsQpUQioSvvqMOgP2Gvaj1OJY4WWpzzOnv96/d1YHmUjftcRHGTW7rEE5jdmEnQXh
hnELiQVMZiZNGq7HxrjaGdQgHgRrZOacWatBEGA4HzMmPqx4m55JtgQQPfSEjgJurdeXWLDL+uVD
7lLO8vkZqz9FQ+pESLh1/aVDcGmr1M37gdkXND7qOL67ltlneG3lN03FivX9LLKrbgArYMH40+on
JvZB/9lXxqpzGO1dR2BTWf0ua59kY6F3v8/RK6IPj0DEe4bqGOKk6Y/9W6bXjDtDAxjIEhOu0+5E
VKiiI3xsIkvBKGdjJ2oSpAybCAV9uAtlNLcs3BoFx4+tO9T7eOn7SHihTmOgJpzOil34ocPGRRrb
nN3XUJBvNlIH2pyJnUDKMuJml521lI4cM9j6EF2RVM+uZVPXbO4aBrTsHv/agt1Q16u+lXMqmTOY
K2oPVG6pxHYKzodWQwqoWVHWbqg0lHGBzVgM9TuB3LOUcF0FEs34xHKUAG03NbaRmaV7CSIqq//q
OJo8euExtsVrDNUldIwAFYhxCyb8CkbwIOEiRAgssZ034azVqLtNx0ZfpVpv7f8MnvuEJEn6F+ja
qTRTP7D5DkJ5wORICxG3byVSilLkrGRtBZaWctWLDqOhtglGxlud2W/yuHoanErEJ+Fj3olS/8D1
1tMN9Z6hObtsas6V0H8aKbyRBLtxzGCrdAwM4pnuZzFYzZMWbQChYPV4LTvc6EHZHWQ7fMmVNHH1
O4W2XkPBnSVyeFuLwdgkO1fh5H9ma333ZJomheb1U3bAjL1T6u5fFxiYyWkjKlZfRWG5wxRhT1Bp
NdV9myUflRxqrF6WUMHyGPQaKpvKJsh3PKoKJIHmd+TMNKpyRimUQp1Und86l76TisF9SYoX+g38
PU5XgusKUbvYJmF/ZbcPyK5lv7DEtN1HazoaOHbX2akY07scDAkL8OQAZgPPZ0vR0JEwoFYM/ECm
615vSZ6QgIcphm4yb2VgQxA02vilFho5nTNNNECk8IfX0aLx3jZpc0ghpxXUrnjtWUPi110jcZTR
n0/EmemkXPX9CCSIz1FRX2Q9umWl9ZaOUAQFPgKQDweR53dNFodFHUyRXNsKCepJiMW9OTgy64ha
8ccw+kWTDqscQCAjQghrDZE3OGuObADPZJNgtuZwAStKOrKt9btoOBkM2WpiqIyAT7+0TJ7+/CAV
5ll1xD+z4f23pPcxuNfTUud2VzUBKx4y6odzPhvJnpT6fWYj3R4Fv1+2MRiDFon5NzbGoYPzK1nD
rYXivLJHTpWiPygkbqTIiVO+PMHqtmC0O8+XiuVQomjbtrG+AQpiYSGwBlIXCqcyxU7DWD8Nsm9h
BW8pp+4qQsDFj+hBcX0BnH9SZon3xix2EAHYH5Z7rQ09Q4l3lUNKSwSSlsFgeDcEMlbxx8jzFOjj
SUz2Ax+p1nU3wOlkXUgg3gJ6S5Uen8fI32g0dJQevs12UwZ+qzFm1rI17cfsXKDZPmyF8XWjb5uO
K3aZjsXkG1TMGbu7qPZ1yVbTyk9NZGzT/tBMvZ/m7UXTcFIazjNWglOdvGsLCnJZ+2uojTF/5V3s
x9pLo2HD7phQ5LRrPYOy5Jgim7ShxU0UYyaB5EvIbYL+TJD4SFZUSTlz6/OcmWOGQuh9TL7T4XNO
enjjx0L7gbsJJ2petax8oTz5Q0dQ0sxciw0hPi0UqQXr9Hw0NhUFSNwiGqUS77FLqdVIOJGNvyRw
Ewxp9SJL4ErR668K7VjL56LE0roaIzxLbHcy1oyA0IjJRKeVMB+fW9MVcuIGUuHK014hzS3+tcKP
psX2RKfMYeZJSM2gDrKVaQGZIK9WSldwzIZpuRmH98b+1OxP0GdEjW/s6FGlH4QeMOoZ6LNQZPb5
sW1jhIb6uhXhsYk5YLpsl4HXDruLusRa6sCJgnab5IZXgCArBbNKmSSzxoQYCxmAZAeld1gFk9JG
cCuhaJ4KxVoH2sML0FVwUKYfmFwr49mK7lxqoRcbn0WBGrl1GP3+gcEkcyfawjXcEHWChlPbqEHF
q4aQHTTWCCConY7V+C7bzknJWC5nLs7hYzIH+1Sb9+rYE4siSHsr6OrYyal7fQi+FODSrCCOZTez
Oy2IC5vQbcgg5qSRPSUg8yggTlk5sk7ZJsTIhngJB8EifhgYI4E1FJrxrlOLYSQgkUUfm4fMCcxu
eD2EEw4KsAOFtaGJZNACAsUNndZVqXdL/IFukjFdNeR1zT9N5FeVT+c+0MHkWFeVRXvXYc0eGIMM
Lb2GQIYeiB2n5hURkh+m0bYqCjYSdLKgpq46w83Y5n+d2fJUjNe4PhsA5lZOLG9Dgf0jkM8NYdqc
0Vd1JofSkA416w8jt//VSIKk2b5TgAQY92XVAvIFdu2EI5qgvtJHcJxVwZ9kDm+EER2UWX2Y0bzH
gnq0UFoSdwLVnZQWCQC8pVwLGKRqCVnYHv1Q/m6jU1CH3hBI52Lr9NzCpQ+x9KaO+dnJtW06N5fZ
ZKTNzsZRnPsUN/BP4X335jHC7D+OQHogeT4LjCsh0pwYmbJG0g1gtZ0FTbug6R0dzP7lUZtT0C/F
WQwNGuSHM0OV6IZvrH5MMRQ+W6wNOArTLtppg81c+Vcw1TUHj/3wWY26nVToayMo/+QO2XAcvkxd
5lGVXujxOjqRTkKnz5zOtOSnZirgXXSfv5OBlPwnt/Z5iie3qzUgarJvACgxQK0lrfrWDNW7EO3Z
GOoDeZiEBL+PKRpmVT1CuyRQfeCKFC+mYRFnBTIrQlmN/KuZ+3cWRZTmW9O6t5Hmx6NE+kR6mtlA
Q/YBQ2c9cpaTdR/cG+ayRo5qycJ97FTvVf/R9dNpTutH0c/vshqfBGlM+O9hbaY/Yrx2JJyG46tE
G5fUTJHw8oNjzk/qzBOUPBI+3DGkSs/jtRVVd3hmrHHCnv1Re4R7BUSXPPku3WRAyFrlxvvqoYY6
CdwOGa+hEWk/9hgwcqzgxcTfcteu6rj1wjC+dapDLi1Jj4Y5XDLE66yRaYYGbG/kCT9VohhQCp5H
KXt0s/NayOHDYAyuMKiD9rPLFetPFnhIrZSqqgAizAgJOneFRVmGGOQ8cqG9qKCVYAlD0ejObcmi
PyELkb18mZlA8uNTj6w4D8SPRfyqAsd1zYrHop/gb12GQoAGjPE+LkLm+QFt+T401qvTxG+NXXtV
qP02LcqcpCzfIyQDhJN7Y9OcIFyST2w6Z8NprpOhujE7eLlCW2XNh3pZIljc4UHzgQhCli3fMJSP
qLMvNGGc6PaxKcujpS86iybEhNddbN3rsCTnmemsDIG/BjHJLmJ9QZhXirugK9tX6LKvXF7bDMOG
Pj5hQL1VxNKVIntKx3FoznadPttK8fNy4ClFTdYoP1XmRtHop6WOGKRrH1VwDwLxS4GEorHf6MvX
TYo65ukRbVv5QNn0PeknRInXoaz3hpK+q3xIYFoREm7rpWODTuUHc3BIJx62Sf4FH+tLYYy+/zyQ
OlIDdkp7dmhJfFCXlAgDpWzVK7QF0aPOlHMpFDcdxHZoxnPUdv8mUVz0TPIKs/5fSol0jPlo2DF7
zkaNNKW1GdD+N9YXBJertswWHMKojfFDsdpLoRQnfUK8CcdvmlCulx9EzV1UkA7enOKdsvMjdUWo
am/mXBF7ZTOzlPqtXS5VR3AoQ3GEjwQHInM750i6olcy2RwkDiCIDGGm+A3Kl4Z9ahWni42IN2+x
N6WfeQIXSP0rsftB4YGH9St6r5UOA1VEW72Bmwca+ZpmTGpwxYVIMVoEA7yySvZN+AJh3RAgth23
4MJazsGQ0wCuhqr1Guw1MuPUHBVDG7Ohsl9rJlMSdrpJ67HawDCBWWJm63DBt3RQGts/gmEpFb7s
kRksRdgU9ODBYB50KCEM0JYVBE3sjswlJCAu6TSSL4aMTI78AcRSRHjfiMEcb41fwYxUFfQIJRLd
tzhFssAPZ4cfUAXJl522eVKRZBT6ov+tmmk9MC2vAJF16LN6h9j5mm0g2ybNsd15yiDokwypX9NL
kFA1Ds0BrMduaEN6sgC2W43FhHWzVaBv0zcz4pgaBZ2C4MEiDy4trZ1U3gRWrLR/juVFgsrTJABt
pU+LqV6DPtZoDZRReEmXkJARy/bUbROulwnnb6cjBmetjMQs0MAQwxDANtmPMvJUQuGX3FIIV3aM
14wGUS5e9dZyJZZjtdqtyapgGzii5LQ3ZhhekqT3pZoR2tDtKXs3wVmg9Uw5VpY3IICF3MJJlTFS
co2sZzP/1cIncyqkeRuq83Fi/81cN6luVv+oqnFPPojXNT5nHH0VH0LPlHGRKBIs0GDxT8i1rVrG
w2q3MWtEZXAjYvYaFixP5d+EO3cm5IojUTduyCU0x2RfYmwrdjgYyBrKXP7fIF61eher5jHU+z26
bvUDZ5unl7/LXzMs41JsJQ0C/vwywgRSwSAGDHAJ4F5FzKEKZDnwDpsfrsTV0B7RN65ybM3N94Tg
SQ4ZHhs/oqDQ6zM2ILcg5wF5S50Hao25OoE+gPA47ha0q5rue/Onla6d2PInteQJ+d/p3/TCV/t/
2EVq5Rt/bBp/CGxwaXIhL1dtAX3dgTNxJnplRU4dN1zexifCyk4RpgrsnM3OCVlF1uKc2uMTgBMy
lurE8JjpYmgpB/KSUe0gUbjLUuuDNaeG/WrL3xZxUr63mIsZ4s0Wl9me/y+7s+yLd1wX+fuEhFbR
73XcA1x3kHxZuBI2lnDN+WLySjroPE3kB0wgKaYHBBRFPK1lJPvN9Nayf6JWYFn0LBead/YHOp2l
0LMCEoWwllRZZuP0qkiWIShAMqW4UZiFGrUPMIXxq4IoWzvDv0vhpKmLIko4a4GUDHcnokq/z1DK
Vq8OBrvYeJdQ7WN7Zv0OsYarpEGTlM7HCIfJjJNfQHBrsVy3kQIag4cGTwBcF/6osQ4j21sOFGJW
Nxo6j1oetjbiEuarAtKAJl+iwGE6ytaPAy1q8JQPlk8bThZRQz96DBAp9kOw70GzCybYJRa/GZqC
AO5joAiVoolyC6W5eqTz0WVz19YMEBh3t4Dw7HF0ZSZNAg3eXLL1CaFa1rivkHlOqp/BhDFR5+j8
fQUBWiX7jqFO9zYsNFsAvMAOGzIZBZXllhFmHEzJgfRaIwsdWVLfTJiv8UQDiYuW85ExGKC21Jtl
lqKIchUEFA53dcSYELktck4vioApxIwFMUUQ7VXCM5jAZPW4UswEXW4KWK5iPRA+9RT/bwAFvY2Z
tDl+3DI1SP22JTJqIOIkRkEwKB+TnZ24MTY0jdsCY0mgF556YIDGmoxmxKtYxszhvAb0ToxwBR9X
P0vk1sKs0PDdTBO0PkA1Q5TuslTbVvwKqcFuDPESl9aNFNATKV01W4gggk6WDetFUxpXyQFak2c4
y3+3EDzhaFXadsA25Qz6YXHskn697xTMiCFRFmVObsgABUUmOwt5LJJimJjE1LJrgyeJqWUzg5xW
/AKNq1D6NTnnax1tA/oIn/AUvNb1ij9kTPKmi2oYo9KadnILPvQOGcSLOvRF3PTREO9gZS+r3sR6
bcW/LGVn0N+sRQrMGaqbny0zZt78MntpsXQ1+YJ/dpn/Ieqf1nqO/z3+E2Ayh1p4kvyvTum+rJeJ
sRFgQK/4aWDk8JJ1pBkYxUdf30AZ/u88Qh1jArqUdfpwalFiyJHnY5OB74z/RSrYxb4nDOvQSXft
p0SPFc0voXSTZ8S+3MAIlg4ThqEwvRX2a9pdDek3DICYIoExLPLJXkXOnwM+IrEr79jtzbhN1Vve
vsbxbYje1eYfkeFZ82F175X2OjOw1Vi7NhJRSvEbKEhb/ijpyXs0VSMrlRz59yCuhjgp8XaknnLi
7wmNNvBG3cLDsZXHSxhcwY5jIF/F6KFN1IbqCtD78EBYpWVXWTxm9T1L/pk61PAcdh6M0pug8xtf
ooh0WY+k4kl5KoTJDrBJLKSnFeQHhY1tb/+jadNzP8xLrHCd6yQ8QQhj4/5fF+455XydRDzi2LiF
3xMl/zWo9nMcwB1LIxveh9W/xD0Uman2tElFAAAAL8u3AbkcE/uGCWFBPnPlYQ2LQMFYKeYRrTo5
15FcF0MC6ONAlOZRCksTEXFKCTa4TzloXCyEnuywsk3ZJDLpoJMWfA0OI0Y1venz96IQBhgOxoH3
SjVWTfzaT+99C9AOJktON2dh4Sx6Jt3ZS27TyF5mZmHKE8OcLR2c0jPrTT38xeYnA+W+ZVG71HcW
0xsbYS+iGZDZSDFRlyM6nEWF7lS4eUn10RtIX431YrZO0vMMumhQNwAi7dlLZebtFCc5IURcGQGR
qsMJqCY/zLEIX8bqmytXMt9IcONR/8xCIBB3Jf6dtYeMIl7v/xkaZHj9wdepzS95e+vLv2qCKH6x
7V1mr1vGL8Fz7EMvNTATc/W2Pr9INt1EcwyX+NTIATMDqJ9ZhfReskJr5Zckei03YfKwu68ccQyA
ogHzZjekIKGoLvaWpfNFnSrTr5RXg8V9V94KapKMEtQRbyX1QKS5pTShXfm2WWKbSLEJMFqZxo3X
cWivRH2iowCJkzxSYCSz/FqWlNoomHD/hANqbudaDp+Dwh47PzjNxShvM4o2O4T/wSy8zSk5Vba4
OBTAhoTlImXkLbmmJqvqGqGN+WEgDi+dnlxaZJLGN5H0LrCIjnc3y5hHRi92+8UPhDHcDN4Laevk
XzUqtEZ7G53fGBRFyUokin+YSK275Kp352bpHsujEFdh3UJ952jnKLnyr2nkheU+1S9o80cJAY4E
KBxZoU6XjuGahwdNvLXYovSKxR5VY4LUMxl3GIGY8c2bVp52uggutqAV7QY/QWtqDbgmS+m8mPzm
djda+XP5j5JID3NUs+NGPUknSq/uD1HDqTudgDAASSd7IroPFS/pjOUV0pKSTEc1tvdqgjZDN/dj
egxHYuemT1NVtjVICIKxPDHQaikaMaMKyYnKEcQz8D+ZcAIFDBiYFoDqhgJCMdW3diDYFNPtlDby
zOQKNf8MKPwnRAMaREy6re4ex8qNXc+XnjXbcbFk4YcVnelxw1aZ2MXMNmUGTrYA9uaUh/jcNjrk
pfhiDaRwRC2K0fFDbZQ7Un1cEOObHKpklkwe/F+/T5+xprKmhChUJgw4i602JHeiOvfTIO21JVw0
HA8pZVVh95t0AbQ35XHKlmaN42bJixntj5JLzYwx3YnpaImaXCXsGkPy3urhC+mmt5786gGbWWui
E1ODLRmffs74KlN/JIRsA2m8cBGW+ZoyG74VDLitzH0BMCtI8u2cGruAEseEOQkgAz26tQd8L0X2
Lmm6ncbU0lIjPwxIcQE7GFHyqUSNlAy1QeRoHQ5LSWf1NMx+YgcPw8SJp+VPVR2llWr0FtbnXdix
IC2G4TnXbCZDtv6kiN16jb9SLdSnufBgo4rBXcATgPCIfSc73EXMxeE4bgZ3GgRSkQaZLZFN1GXK
b0USp6EuPUr93v7H0XltNY5EUfSLtJZUClV6xdkYbMCAmxctonIuxa+frXnoCT09DW1bVTecs88A
JUs8lbbu75dc1zxgqpKF9YttOCev0zsrrtnCGZBR7Ee+yUOCUqZkZbjqTRjsc/ng5NVna/b7GWz6
4rjMl4XRwtcaXNrhyf/qIOpNREndhS1RxbZ3Sal1JRkPXALzubEpLAJ4jbTgQPXXINNP2BufBmuA
TfXXp/1jarNmHCPzr4dSR8lbgc00jfxjLviQOurToHQzfjxwHjP5UTWgj1GQRLxYiTA4DuOXqu/T
t1wZVxdxXoB6rWmqM16mzxzbSJmT3k3+FatA1gI4JdzW+h59SF1ezzddxywWmEUE42NjWY8O3ztc
n8dBDpfWMy8Re8I+gS5SvYhu/qq76ILh47O6yXiiFmXdXywqCZCeXqCvUPdPI+eYnUMXpbNm33Pv
qOm5hbIv3ddBxftA/6bQwiplvLemujh19uzSB6IU2Hhedu/6WCy9nTszpy/7p9mzz3AlT56dnCaW
fy0c2LYjK9Q81kz5i3g+Bc28K/v8GSqPRxhuTsC5aYQMa6zxJU6iW6BYm3YdJnvBzLgA157TyslC
bHCjbKqx2djEXvhyZ8OYzhDRZIl60Gh5YyPcjaTpEjkMZDwgegIi9VCyFsVlwMEOYuNiaqJAyaXv
uHjI1AIWru8q889Ktz7zTRzas/1dBICfCiZTHQuD0tL7JKQQltcO3EiTfsX9dJhR6SQOWM7Y29il
3i69YQT0Rc2vHlNWl20uX8idrJMZVRe7sN5VOq/m5NXrjWPCdl1BtppCxPj23To1n2z5mQAJAwNO
bkCMy4l9KJhOEBR7L/fPiJjkS+U7OJsZgBP4jfFo7cZQRRymCwCGvPxhsJd93F0H80G1fMCHj8Cb
jsB20UFam0h3+7lFRehYTA8/nfk8oh8llAh5dgTjtPWHJzeIn+CEPoJV2RNxaSJG6ucADSsCaB0T
Bxlhyci7rTIooygkxv6WZD7SEDL/kgwDDVBPm0orAc2O4LnIGTLBQ/EgLTZ7bm2xLyCDRjz0lRKX
hB+2510CV10yjXof9JZIDQTsLJBvngyfQkpc2JNHoHUfCTl3uooPORuGrnP2wqhOEzQBsaBfjeKQ
2bRncpoPQSxPZf2jkfK2lYtdIzu2vo8XASu56T2o0T65t+jihdWj4AdItifSEqC3208qwilRic8a
VXMJ7m/M3Ld5st5j0/gIx+wStvMGhJy8lVP66LbpLutQQJLK5XoM6DCW51Z4LNzmnUbSiWAWHWLk
XjT9PUQweRXlhm6In+UfAKkAKCNrBpcQgqXiMsvDrD4DDqQi3Dn6mQTgUjzgPfkqSRisT+2wt5pj
HANM4+N4cobrXHBo70GYxulSFQUcKaAJguewfk+S7wiQmssPnS/T+Bj5GAqX6RQdS1oE37mI/NAg
daV9zTdl+wwqaibWz/nusD9WV8v+m6r4Lm4uSfLZjC+MXsebVZzn/B8rkJHi3nnWcs/sjZ6v6m/S
3+XWobMOhjoa+lCC6qn9lQwezOljwL/JelUW/1rGDUq/2eK9a8AcUuDhE9HGD5gmjrMfDFfIXn9S
Ig+G5dudiNxxfrP6W1eIz/4JQE+l+FHOs8XHFgX6Yi3bIluvkWvkT3MCzOradP+osp34Slo37jKK
K9yF0vxFgsC6tG+zzbyMLFAOpngRh4yysnrjD9/HJ0h03GZoko6OcS+LZ0/iv3zQJOYVl7TGWovp
pqFbKv0Am9MfXonN3BxgyD8SKLeyoYSnLU8uP1BjU/ZCwdM3F1qkUZyFcYKx0c5fXXvf9P/kcAwp
/FqOCAZ/Bivs4T4LjuP0CDqjRsjFJjJ90Fhh8aSKv7HjpZpfRPYOanpGShifpH4o9aPlh1hj4ztb
/cZKHTPcTNS/AQiewHHZrC4s1xUZhqznSe9Bll7DRB2jZ0gvy9vLx7sUhyhETwo6MkWLVeXQ70/U
dybGVefbVey7363mwHc2+Pddc18BnpagSd7C4kerzxkycT+8m8zydEHk2M0xTk3HbuCCJDr5pbeA
panHBznsc39rkENPZnZ3iOznUD1S0GdYuF0J7OFblh8WbR84C6f9SiEMW5egfnTmDbbNKiLZhBP8
WlaMvPWvq/7s7lrlz2Q6ReUrA3sr+MnEi6aKZr3IM6CYvMrgOTNYKonP3H0IaZubAJzf9FU6D6M+
MxvOXJgtKxikjYsp85WHZk5wb1yt7qEVUO4x9S7su+dhQuJ+DOaPyD3l6h7hVaGZqpKbc/YY26p3
upfQ+kywNDc8cSMD9iJDoHP2QV8x52LMc3a6z4ndfD6mG4WpQIMkYm1yZ43pysl/l357OSf45oFs
MqSYLn75MHHWQ3WPe/D4X3n7FUOKWS63R4PjL3jzURGTHIRaJt70+UM2biPvZxzfffGbiD9PvnR8
vEZG7kKRX4M9uyJzM6ZF/uoHwF3V2msQeVXvIjgZ0Ga8dYwOG8e7sSiisTJGF+WAbtnr4NzrQ9c8
ZvO9bJ+09ai8R695zbOLbN8TBFm+a99JrCeWf23TC8B3wz0H6Y5/yDgYLZwZxV8Qgh1QNwV1JIY+
bDFKh+EE+Och8n7r7EhGu4mE1LykxmUSVyDPtAhsq0ecca+89SaGE/gHFm+JqN5qcXXChwabtZVt
MW1NLbqgB29AePQWhX++/cIAxcM42JFjVHwJpk0OhkqHmZvJjpKpEtzc37a9jCH2g/ItZ1DKJaD8
l8l/rJKPdn6w4dZY71n9sTxgeEzNxftmAU+1/pgoDhgsJu+aMuwOi7suewntoyMe6no7949s2kZM
5uIlxjSggme/PObpxZ8Q9qyb7p0oEPDgCOPuLRadjriXFO3WwQrOLD4C5rUdLoPxsV/ABZgodYf4
e5wrcCjQerKg9NapEXrEOLtvJNrfQoVKGSHDZZqx1U3BLaIhCEWM5pJooyV3mTaV0OlWPueG91oU
0ZeR1t9Tlm46ih1ran8lleba728p7r+7SjDDUCwXW3J/ZwLkWNKbl9GjPB679q3PB3T3oQlxJAQz
rqRaEyJCjnZO6JXvkaVdJXKTE9JZ6/zBEhUoKgtQuxUiggWozTtSGykLhCpZQ753UOsu6DVj+E3r
ChERvG5pR+6mdFoE6QE2CrYsf1A+2IZF2YI6IDceB5KHNn+095Zk5NM5JWNcBw9G4iS0colrrHn4
8p2nywOFfnCfMUFGr74zuvri2d06Gez1/wtP4jZQATY1q89oO+cIcKWOIiYcHh+0GT4eblbI4nO3
bXrzmBGjwmjXu5iqYh1VAZ2ZJ3qratxpV02PcFwdE2K/mzAw1hPq/MxAv452nBfDXQddJLZENK/H
MtZb3XEgipgGqpr939zSYptCNSsFS9zEOKjJisGxtOsuzqFAmB6WSSeaeIafx96+z82IgMasZV5t
GCeHIoplaU41SJdOXiYXA5sMSR9Gvlp9DiJ/pwpFTklLkqViqNvX9UL2Cf91WLz1NH2WBn6WZmHj
ukUxUm2U9ypFK1mGHCHL+w2l/6AI50a4xH0x1CSN+z+SYblZAJBzQcvVAHB53ePDkABdMlq+24H9
9UrSso0a8rIcJ+4H6BUkmhh3k4UJhq39fVw70143zl+jVEHk04+TZwulozJWXW9Gh5no8202VKi+
G0bsJLYBro0bsWXSWZhvjgW2c0aH0LniPrLK53poqmeLDzhrZXCxuLsGt/p2YdsQ5dPesyVpj33J
Fe/QdPZlCtvAAN2LknUVaVwRtZddC1RBbXObMQRFtmvtyEbk1LTsdYS+dDW1Zb0j1mgzFZJQryHZ
soxUCE6Wqd9yr5MRzRxeFua29ay/SjBh6GSNH5GxAF9ZtfiCJ4zKojdeXMM/g2EpMCySu1b4xaPK
65qEzH4XVO96RlQpFcjROHeKQ0ce19Qr4yGGKRCYYjgmMaVPhAMYsv+ptfGKZTJBSB5x1WbdvdVM
D+mifTD7AL1p1ewcgw7er0h5zxl5431hNwORniioOhKboE3g4YyYsseYJ9ZhulPWaCbsBsgdvzH1
QeSdplwl566b/6k2K7azinem4dhrDaAQX7ydHfzC93ZRRzBVrkLSXdBy3k0lv8RrR2qi2Qa1DAzO
majZRZ5f9jHRkZsqMPFFy/A25viggBlJVDWJ+dS3M1L6+XlkarfLKpbJbmf8c9LgTOEV3I/lAIRF
4x7JY4M1hraY8IE5G+R5kgAI5hK0lvClpK6SR0kmFjVIeIHDhjC/Le/5VJsrI06h86eLt9pznsiX
wRuQZg997rHLSLARRP2zVSTrzGHF5HqJ2MYNJvQUKblwMK1UgYNh1iTWpaR90sFdNQ56PVjwMNDj
rhufcdfgzN3KHj3ExqL8bOwhuytKQiUco8E9g8ofcn64IrEFsVFPFkfBKEwRkYvclAGvyc45z4x9
UtMmub0PxYWtUZqgqPe6BqxaHWwF4zqk0rwNTlawTmCj3FUeO7KoH1ctYRzEIMabpndxUfjnsUMi
36oJTD7SKkDa/aGfCnS0yXyLIzK6DDDpWyYrL0nuvfJJ21Gy/TF5Brg6O4xH++EN+L6NBaE8A7y6
uUnL+lh1VALWTwBhxi3xZZDBc0Bb9ZQGvMdJMrU8QNEhE8bAlCj8qwUGrnZiKzkiQQA91a0cOl+z
009ZjoU4yQfocf6Tn8N0MwIsWMwtONwRKGZkSm+6Wr4lOjoFtnHP3M2QnNJ+Wd36wbmCFHruMNG1
abAehCUA59fkivLieh34vNb0vzPYvjunS46lzeLLYDaBWig8tzm3iCUuseiPE6tPwBavCWf2ysME
FHr2ptRsBNQUnsQQMUya0LYQIs9L1mBvZJWW6fQKxZ80Em/+Vrb5SUrFZ259D4yRkskjuh6yAynD
zUY049/ynA79VPMvNRRm9dB6sX2IbYgCHSEuFVl0KyXdiwy51WXWEx6dwYf3gNs2kCBxfLCO4Di5
sx3EwW1im7tmLt4W6DyEZbTepjluUoNojrAXaz9e1lPozeaIybg7sylFovHiQpv2R5dy1xU/Mdxn
BD5Q0hd2XpI7t2xusotGijk6j8OcHf10+o7KThDXwnyvD5ZtauaTu5CH7hZqKkcvZqF0kiQRHane
qeT4KHJWBVzSrzZRZ5WzZFLxxG8bv8ZfR69Y1b95z5w2jCpvO7T3bHBRcbeKjTzSR68OniYh8z1C
dskNSbZlvplaqTkMWXv3WQ2/r7h4tckWkuRSP4YplXjtOUbVC5vrQTsu4HlTXwMNGymC9oXctjv5
rGC0jRVk4XCCfg4Gto/trcd6wqKdWecDAqazpuOScqbP5fmyuWQGykK/2Qc9nTtJdPa6yMGbzshd
p+SPhoy78z6Y2X4GNq+mIeyXWJrRyRo2Gl+7kLiSpCZTrHLwprGUhCTZ4perL87I6yi0tu/cMXgz
ZmvV2xymXUQQYOchsi5LPH/uxD014aGWPMeB7fxT5vxUGo6gN9anSZS3mvyPZOzRjES4cY0n5Xfh
Ftg8Lxlb3Yk9uOrkd2j52xL87KFKzAw96LUPsqOrsTINUa54eLgTUO3y7gQN3DD0LkbuUZZi3goT
/KkQb1j7K4wDRNOhn+LpKoyXvABe4LTNT90ukJ2+ueSTN6wtysbE8JAZQTUryfpKc3eXqWZgeAN9
dsSwn8lbLAWoI+wwyGWv/pzg1mXMEDBnXbd+co1zRc5WXN1adOPr9n+0SIOb2FqbZf49YeMKhwR0
esQWZlDWb2f4V9NPd6Kk5hSS4sDxdgnnLkCX6LPtkmfH5GPp++i7O3etRZdgnnoJjEGtavnqJ8BB
yXn5nWQdHiYNRo71+MJnDvBFpYxGXbYgvEhGcvZSf0nBAzQ/SsIB2IMkrosHo88IZvWFTw6LfSr6
9rPX3WOWvDLb/Y3Cfh8b/YH0t72LqkaZL1aNYWbUA8tjt8Z33P26yZ+f2gy+OlZKJR7tdJka+KSC
djK75Z73ioSCTwbvRWLjdMzKkkc1wS+eAp8VOflZPbCtHg8PWAbz2Bksa1PThu09bTElAGhmVdRH
0zGk/G07GvJa8G7YqnkYXdQqSahfXeLgiSBgdIOxbq8p8iDKDBa+E9YB7CAP/ZJCnEFTmSoohdKw
mSb733L534qBJmBOae0HZ11OnouLBkusQmG2zrP07AZMLpPctPmP2ljlrniYnR7NjknIn5OiMqq4
yJOEJp91L6k35Oo60y/YKSwSoR0TbkPHiYwkcOqGFJfQ2lHtg1eybZLnfXajNoStusXJYZKjKBws
9Wp6c5z6Oat2XPsbsxl+ZQZXO3zUMyCW3kOHqftuLwr33p1JCq9Tvf7/V5TLbzOXySVIpjc5lHRN
uubytvHO50gOxgDcPohxtjbmbZj9z1Bwz9ZMxe+Y085+wVVRY8ydhvaA/IUPrNs/ZICLLdJrVIXO
IQmwURuGeGkLbDT2VFB/XToD7V3Ydu3KMqvXqKK0iytBYmlWXesWTJCFO6fqCB/0jIR0HoEDykih
Z0hiP/McU1mpk6tH24oO5yufaLejP9+Vw7axAR5GdJMt2U6LAQtWTeEdPVmPUKIKtSUH/NAa3Xh0
qgjreo+qu/GYZfrIMOLhBKEbi0E1XM2Zj8KsPXCw84A03QFC4uHeK6ce6K45b2k+Z5qK4TtgPB9G
qJZqjoLIQO4Hc7jA+dWFz4HXKyaoybZVeYKWPWUzHfeIYAFqSO9Vp+abP+K4KchoamV+HpZgmyDr
3lvOKP7YaF46wRvpTO+Ipqlw2IsCALgMpvnthIuCvfVOqRm9JhGzwTGsEU6XmPkh/bDjHYytTfd5
N/WIcYLwxUmNdyPAIR6HDoI4iy1x7chvN6SaQoSBFEkD1hwD2CcMKVZtFiY7hQHT0O59CP2RAQTq
ykb5/t2ULo4cUezNdoadVl1JWV6Z9vxZtjSjZNYw0/GOquh2ahyAFqadte6gRKNQR2mqUN6gbywg
AaQGtjjo31erJIaTXYTmLrpZCyKNeDEEyoLkhEA+mUbCW5n62OPDaJtAAkbtJf1NX073VdsVx7yq
OYQ5K8b2BKISvoKI8WNPUX6PD4UA2Obg8CGeEiYQTQqelXSqDhOFG+37OfsZbSri0MN+MBXHOBt+
C2IrV34tSJNOz2mVvViisdep/YbW6p+Oq6t+zc9UJQutBvb+FCFrkiROMazcDhJpte0TIEiH94wY
6y8doxB/f/Oqawa3mbMWrQQ2naQLA5pbgJkyfLuvwi3uRCO3U+K+Vui35sT4kQ3yabcrd4VAaTGb
3PgVkQN5zAldDf+skmkr4e9gIxpj2LfaI6akQ5BlTlQWDsnryiDzIqea7uHTMuo2WK/Zfr0JxaNX
QIMdLOfktKNeHZMmutKugz8N4+g+tJ2trBIBNxgbQWizFYm3GAUhZpEexiSjrC+9Y+GkGVy1gb82
8fKQDmPnb37HtFxBljBqgiw7FSJ26dcQWG+mV3bbYAlKbHAYzhk1h929dnZ04pI3Q6QKvWTZ6DSO
RkgLmiibFqGay2imKxSxDnCFR7Pdxz0yNx9yfZMHYm9lERwrTeJTAGZ4EcfhJcXYow+th8DVgGKi
6VqGMsap4+rn2WjPFbI+wyb0gMqN4Vb+k6iemW996rvwd9DmV07WkqU9LAHwT5JsvlrKugKPpWUo
IixFFpovt3mse1BnXowxPsNR1Y6wBQ13JjpWzE9dRlVNRCnLqMjf23xOKJWNg0FQtjnCEk6p54o6
/urC6J1ujj9DrOkwuEe1WR5qB3WMYRGQHKXcfcNCcym3oUXKyRTytQYUbSwg+NAz8jPU+JLp+jEx
5ssixGvDke+BZiDp0ugQG+e6IjOvKNxjEnbXxud5r1WXn0jKXpXKZostJYKZcTTvigrZbZbGVBo+
kEi3QNRQWyN/TDKm6lTuuRnffbLutOE8zUu8qxLRCw5DrANc67XdeBwJBR42QSqCFLqlsufBoqwl
mSxD8PEi8ihG0x9d4kVrgNUonaxhJZev5ONtS3rS/AJlHH5JK4OJlOt+M/jPteaM0LVDiIP5LkOu
INf+JJUI13N974TJfT52XxwxONZSTBnMDva4IfcI6r6DoD+VoQxXsu0vvBdRZ7z7BIG7GIdZkkJi
xD4J6CZfBoeU8GEy0iWFGcqM9hxWYjstsRp59Tr1xZNuMZjEpo111boFkUnrpfhmdFpt63q8SsKM
mGtzukx8WKqy/cDwWa/JwPxGeXltNOzeqcDiEAuizWZBlZMoJtvZIDdGX4Vr/VuV5cU21MGVBuKd
ktgXaH1PCq3N4g5oV2bgoJ4jE2PIJN3m0Lw7sZiPWmATLgaQDGBdoUKYMWPo4UnLbO9WNcbCmoq8
yxdP7Iglm1AHF8X12rCDL99hQOSP4bNh76dYXFFS/BF8oTbTAK9etuQEOuiwI7JN7lwGJ0ZIixv4
I3Sm6rXDs3+dx2+pQnZ2JqPhdAkOGdnM9jq6JU6MsanKZwbMjLq1NZLfTJwY0JOUqUwfXrirwF7k
EjqHiXyrrsS0Kjr/XzRpKrEY5m1mqm24sUkKRjxIKVERo2JPwFAHUFhMhEndSKALOMl3b3vOndDW
19AnDXKyxSjI6L323DcrDJ+Yaj0QGnyfxw73NWcMQ+a1BqM02lxLblf/Nb1YMX3+aN2cgAhOeIuN
d9bA6lp6SNTaKD0+aUIYdjvHoSCsDwNOfOep/jBVyITalvWI5XEGU6EuM8QVgAdIkwrsZIDiZ2Ua
AeRBkqAIbsNbQDeTZck5Mpzh2GQL+6Zfze70ZSTFzWVOpBz3oBRywRnva48anaGp9Sbi7is15ZsX
Ryv4gSOaJx5AVQP1idFUk+/QLy+xAJwBP/rTJDYXb/F4Qm60Zqb6mSFzaBE8aSyOwkmJna19Smkq
l7kLi3WgOIbNynsZjPnsEiJAAw2S2lvuOntHIdfDNImdbYEmp3WJQ2iIHQCFfwx08iFo/JGyWgRM
DWynfE+ojSIsrM+RuOZBmpNyFv+OIn2VrfenAp5Buva2wNBflK9dp7CaU32LHvBMp+FC1JlPlsby
F9JM4FcUy04U7x/bfUijloeBwxU7q8ryjV/ZV/yweBLQhRUzzAO8W4kgyCke7GPCO70dPXCSERZF
lSysQpIVpxjzm3bhaS4aGdLc/sYZpxniB3+GzW4GyNoq3yy35Joug2clNsL8G/PuzQvy54JkedGL
J1DEyaM9EHtiSPiu5QQSNW3mZzsKmPeEy/Qd/mx0nCeuKMCy/rrOg3dnzN+DBCHpFDACXEB7eZhC
yYyaW02gUyaBf+B25vg1/BZfBRVmkiD5mMfkE+C7HXQf85w16PzZx5AMu1DIQNXYhD2fex5KMkbe
k+V981VApgtkRPuYt4V+tdnPuCVU8F6XiFgrkn9q5kgbp0mntV+xPykcap7KhenedGWzfINf0+S9
t4R64PoK2fzgtCDmutmlEqS2Pc9siNN/bs1QUCp56csKjYURinVk7fsOcmful+Fj3ar2jipc7Esb
vVaa4KYvkCWjn0R4TS5ZvO8JGOOt5PMZ2LV9aAtGlBMKa9ib7Ce9SQG6dLDQI3+Fg0Qi8USpahR3
ZgqjKhsnG2nrsUfwy9AS7XKCVZHBKS9ts+4VqPCyF/5dUOmGjVnKjR5v65Ltst/7EOwEO2E753+3
HSgVpJGMJkyPmohctPGmtcUgOUZZBz1q+qkQfBbl9CWWbK7BAO03ey88Kz/95JkoeTOxzliT5oQH
7pNqupYC92U3olDzM5hzhSOZgFRMIPe14ndwyiLaoBGam99BmUcX4KoVsjyxJFDvBGiNUajpKCEp
SZHqbZDrW+Dl2SZzWCAUBgHyMx/QJir/wSi4lWUPpqpjTsCrUhkRBWwXLl66iyKigAkb1qi8AeXS
CNzPM/uGVU6ob+iqvd/bACkVwMLOfbbbzNs6kuWoAfQ94w5dWRn+OvNxaGxrWykieDwqTK9p3hDx
E0Sjr0aKk6Ge94yQ/2XSAxeG30yOFTw4i5WoVfwEwXC03cKgqGQj3s/dY0uLMKS0jtoYyfWTIKAy
mCqQMjCDxGtC5upVYnQYKLVYNss9ydxPTue91yEzMMsAbBdMHhnAVn1s+vHQeaCA4bsW6/EvD2O5
QtQfUNBZmLZYMRqvRjXrh5ZMbKyi4661jT2DuYsx6XbVMEPEdk8+IJFlK8cA2m1jOudJtDZCDs/S
t6F0BeiB5WRt7XjWRztHOlmy2tqqRbRRdLhFZoe5hZs07PQUSeYghyXCrwWAaWctvCZMUG1P0mjj
l+RberXJhHs01g3r43tLM9opUSXU9bGdSMzMxn5pb3k6c3QfcTJQP7g5YdUDJAyfqKm8LplCQM2y
LZYoo3zMTBuTvEMGeBiZ17zgMa0oIjOpeiyy6VNTBs6Tp8c7NyR/1EtRSjMLJSxHovgluItEUroZ
9nsFvCRPepsqT4u13QTpZsjwLAyAXAxb9BcXx/kUX4bJFXtXkLLoMmRkluSZe4uYYmpdH9Wmdo2n
xKr2CgragFX9GE3Fm6Xz/pB55ckLAM/YhktSj2UTVTGaGwI0CBuZWGuFtfHJJO+vzaEWKq/6MiIf
jFQdvCqgM0wEeLHThixczUchHieYpUJCao9/Oge8S2R63700Cb9G11kNGGmQGEwyAFjfxdPGTeb9
QCNMWJMYVgUGhNg3UVDDG7UXo08G5hbRN5YPjuo1kmaDgLzMETc68o8qmUcwnejT55otTz4QLfvZ
jtwT4uYggiNuixkbDaIa51vqAq2L3M8xOY0T16QdDWc4vqwHwnPXOjBcfRMHWR8CturZa843d6ol
sVD1GwHM3gpV3nPpZE+DQZaMGVkfrVc9kVvFlIIXjCubeSw72oCJA+QhYMF+uiy5g+Xlmauv2J2e
oxbpunaK52l0Xtxp7hl/waIZPOu1c7MDBTx76x5HZY2ymC+bBA905hD20Y0QkIKra36qO/+l6d8N
Mi09bz6RTCLuGN3BtABw1immu1rO/T5n2Rq5RHg2HvaTCmKksKYjk6aQLT25wUwX6UbJ4uk8kkRC
pmKLoW4UQCjmEclwtetneHriTrNts4OeG5PIbbJyu3HalQDSEuTb5D7zhgCEaTBIZMOh5aGcQTJa
+b+I5VGQ/YZ+cyi65LHmKG7/Up/7W3bMOnp2U41xFH2nGbxlcKWacp2yLN9RtbWUSSg2SmNjpu5T
HOcfQR6+swWE+9Gz2/XROgXbkIa+VzP7MqZkyMNCvoT3EBChV/oX3xCcn1jqbLHx0Gk21KljcZrL
17HCC2nCnG7K13bwHFTKcFR9oklsoqMDRWwJa3Jtlx8Z3p2SGsjVA3rF8SGBuZ8jV7JQHoXMYVIA
rYXg7woccVLfuflnE1+yrmdAh5kVA0xHzU5O6zrG8kOmHnPbb0vbeyLrIx5wZEBzBxE6jqyVWA6m
WjG7RAHE7z+X05phy50Jin+ZBdqQz1uauoHWtKGzDmNnhYnV3sSMinPfBzXAQriK9wWxtjB5GZV7
HW0lYyt2UOy+YaKiJHQGSJHUhc4XCTGrnlWgSQON2Wldl9bKQeuSpyu3ZktUzdG3dhkDF/5unOfu
bsoY5ZHT0K+oaS5Dgu0rJbGcChDWZESILGKFzKhd8ptcAGTG4rnfNb7Ppe3ta+NWYZJte4nFI95W
hJJlgO3Sjga9Sh+XRHYfoexo0jyp7Njhk+NsO9GwaN7j8CFEftAXn6a8ukxHsyUzVeUEE8Xcc+ik
TRwj1m9YmPCOVf2udGdTvpT+1rNL7KLwPIPeor8OUMn4YbpZclWXcD8P168JuGUyEOnCA04YYAIN
yOnss37CNVOcmD3jrK5Pyv1AgJa7yiMVFm1kyNGWEERit/jh/ZRoaty8y5GNzwHoAzLJqb1Zlf4n
Ao7F1JVnoe1bmfhQ8y06I+AmlRDmKrIZrWZVzK7byF47x956RrHWhX7RJj2MPYEFdIJFOb9zBahJ
bIQ1+bj+ukpK91UQhiaaNvrnlJhEvQ4kAstc47nNke2MWT+fZhelcO95HaolRx9zMkTBvcDjIe2b
FtLnGu5t4zNMuv5q94Bm2oEeZ3znsjG76dWbk/Dp/7+gDJ/ueyq5QBqvWTZGj6YcsNEg7T+HCpxl
n48ntiT1/WxBY5JFUJzKgV3XpPr0wvbYv2tlaO6U0bjEDkDhmCXuZZW8OVUzPBta2evenuQh7HuS
PEf3MXYrhRqpqgh44F1gGJMdqwrtDw/KEffP9OFLoXhr7eEow658XX6esIrBRozrBYtfOEp/gmk2
T2z7+4Mk5tNOVHlz2ujZaG3nqdQ5Fjd+9f8/PaeeR9JJrTZx37H90lVN45lE+9xFUN4yPnhdUClt
kZMPaXfyGJo8IbY3pzfPKclbquWj0xjTln13+R7NxbNtSXVh21W/DvA8//9pJjbM+StcP0Ur65Ut
IvXv/7l+MgbFfigx6I6SAr0dEchjCvfhqy712FS4G/pqeFa9IbYV6qaXsoQv3tpS88nfRGPk/Iix
YlirtHqOfUQmxciETbdxeJYaoPrQ2c2d6Q/NSc/IfRrC4l7jIXVXCifGi9QoDrzW+hhaJ3lk3EZI
gTN5v4IZnb6Yvms+qbTxz0nbXFwBIo2v/N7EwK7NQOmTxq/VZAONWthMt7j6j7Iza25bybb0Xznh
50bdRGJK3LinHiTOFAdRgyW/IGxZxjzP+PX9gT5ddWx3uLorqhCkJKsoEkjk3nutb01vhRWUZ7p/
3aVMx5PLHdd0GE9P/rqGCwK5azTuJk3BGtPbS0L+1UJp1ktRIvhNM6xxU1HFa2Wg1zFQL1AIafUe
usxNCIJiMyIqf9DISnTgkQV6kW9r2QycO3CP8rgp1pHtP8wDjo1jBu5hDNpXx2jqfYm1FR7TsAPS
Flg+32mkdmxZyWOai4cxThriLYfdWCcSVVSIQyjVPiVTzzObewZsMNQzfnKqXPhyVUsUSws84RSn
gMpr9r8kKwD8vh5SB4nQFKdqTe17sAWnvPBkv7ejblr5kwKNzxl0Hkz55gNr+zwg+QMSaB6NiOBC
uqgM6RzPOIZ4rAauVvpRdbe0vSLhPJHmXV4UyEBssVKCoMKkKl8Hj8wAOUBFn2CAjtyrghwwbxUO
hAEICb+kn1aAMOAZ6/0XW1+bGbvDmyl0VhMj7qUw7Wbdd3ycg+OCT4vWwdhjhgqbz2bYcvmreNwH
Ngxk+CjR7QTVTdzYRVVvDThvzjxsD2hhTX5+dHV06my1geFoUAIqZuUr3ZwTuyVbVXpGm8INEAm1
XeigZEPn2gsdgcwkqyX78kvTZ/5hsMFiq4QtcFqNO+4a9s6JAbAFTjO+ovLDL1eEkL9r6YIYmz6L
RlaPWYEJqW4A/toqoeUo5G1Pr/puHLmP531T7g24kSr1JraFglJFagjEcrAV3M+25SApuEZ978BZ
wxt1cnncKYnAzo7hLZHc1OSO2gGRyD7SHGMXEDevLRh6BLr0o4F6alVwGVvYT3Xr5MuAuSUjYdHc
RkKHXI7MtxhS/UEaCAd9zoc3IbNTYkULbUQubVpaf4igrTCGRaxdj9pAO6tEREORs+LXRrvSXBmF
bd9R3mPC1aSzLPk4tokZbhvV1y/SgL0hMFlYrBAwhKzkoGZAjT1b22EXZA71tN817E+ssNzQVEFm
YohobY+R2pSDybS2E1VxHAPwSTqQM3AfFZPd6wE3BUSoKUN594l5DcJ+ZtMnLFDcUpMRwliTINma
D3XDRF2bUJajfFE7YwRoTYjfIU+QdIZtt2dmRh1ZRBXBjp04mCK8b4ve3EROGx9gfTY3QVnlq+tT
U4vjw81kQoQyuEhuJoCTs06ThkVDdzBzJLGFWv2IhbA8Kwvbn64S/GOcrWfH1M9EdeNfcppq38wH
USaQoITchGVq7ZTSvS0SlOgrpACsXFUyXiSag3VfG18bYb3FVVruXdduMJK4gpSdLGZPUm8DdrIL
YETNIyHv/VoWTcOQD0q3mdv+wUapcFPbmn5ypQFvKiEMpXWj8ZgOEsyFWtWDpd4zD9FoLEdtWblQ
UP3GI7lqMqaVfEbNFNIEf5OUkb1W23tbpvmxb6ln3cFgr93j4gK4Yd01sDHDimKn1dHJxUNGf8qt
CSG2xZPbz9JAG4p0TqG9q+ywXYZBjnlHQ46YaYgBNeB8beXuc8s3nwvynLqMMzDzRugwET6NyaO7
FUjgVW2PMzavkDX5tbhvvVkzQtit0Fa5ndJhsiIdbRzpUIEe7xucUPu4dFdt5vXzsnaTCcdmYm3G
e1/r4r3oEn5vStkjkfs8DxYxO1Oq5xtOpy8NLJjjIOmu2nUKYj/mxqfMnPB5t93GuWof3EIvzp6t
KAQD9vGxv6MICPZ2wqApX/tFLY4FZdlDWmT8U8KrUC2ON6p35L6R3rBXGklyDUSv64ERAqkqdGsV
7fg7n15sASRjB40TwDUpX/qLHBrvvmn1vWVG3cMMPWoDo0XhZXibJtq3LLKHgl4J88Eue1AlaSZZ
2J9ZcPcT5smDbpYStx2dHHK5Ete295OngZOaD/w96FSCbFwQL21wE4oo5Vhk5CI0GL7lpTDu0vnQ
hNHTiC9p3YrAa+FL87Xrd6M+BdgVefdUednscH2k4Qa0HxrA8Xq4fv36qJHTp7Fl9/3T169PDTGH
EMmWgG238hj8lmVE0iNb+zQe1bGGQIu7NdrkUl8OXd/BGmYFyDMKGpJ3JRYUiYLC4/JRqjhPto+l
f/KC45BpyNGnWE+WKpkTFGoRHHW4g8frI94Ad6/XNfgfFo+ILdi+MlyxYy5s0U8PUfVVzKNWnalB
sQu6oyZomVn1fPVc4U7zgbHytFI+Homwy9pDQj+29Nn2VG0FQTWL3NMUt+4ps1BMR67DGinLRxMX
28bvPla23u+0Ku539M0FyKfEeu2EYhfYuh5Mj8g5OIn3Yuu8z30hGnATwT2qMbbC8yd4fdTMT6+P
Kkkrh2kNqEL+zmK2Q+atvxWymEBVc0jiGN/whF8vRH/hW3HJ72nE6XoAGYrHtjb3oxBbw/eKDcZR
C8i/3+wgDRaJZdxV8yEqq2otJKMty8q+uZE5bGuriEDmyG9mVDT7fx8KXK4bFemkOFeqEzPjFKkd
9AGCT1jWKGMYI7e1++aKmhwLbijYRL8NoS+fHRpk3ATm+aJLWq2L2TUo8G8EtWqR5Lh4hPRSewon
bJdhAOg47auHWWHTUsgOmtfuu1FYh+uB8Uq4NKcSqsrkp1/gFduEJbRMsSWEw4wgXe5LC1QlI2ay
kW4HMol8sptvCTVXVWMIspWXrRxUEztUMOqO4e1OpdS/sspPRdUdI8wEXNOspvGA72nsR5o01gmV
MTw2DXWFmQTew4iK81Y2dAeMhP240KxkvnzUY+xmjIJIQYTc8bmkv3rxbVBEqVmDJGq5pQHb0HJC
QiZcrUf6JYR6CQviqWa8TN2o9lWSuCjgqdRwWII/82xS1xy/+BgJo+C6YZ9TQTBMkSCsGNvvGgXf
fsASrlFkLfQM2q8DwmtBRBCloqH0rTgKNyev14zFYx+j8OhoNHnjpxI1zC2+jvBog8jYh5W48A8/
Rp0at3KEpO8xyEGRskycFPJTTVuqgtS69GBmLrP6jtkood0BTY8CZmUa2oAUHYHjItAvdEoWeuF8
jdySmqZzjfMQk9vkxXVC6IZvEcZn0G0JDPc+yol6SIeKskoYB3qfZADNJwVkn4wJqI+JtOMj83T5
ZkY0lHpmuFE3eBtjKOUhS9RDFD6E795kaks3a4YVmKbwWfAyltkkSOcmL21ZNJHLymGhY/J2ufVV
uGpOzZtNb1nw6MfypbMyptuJfMwV9KmAaNTdMMcG2zLfNS3molSKkxNStZkZOSLs6oJ1FFMypBMG
3JGRmkTCsuzqEqCHIiMycs3qoFwE2XWoBOSslmI47R6FxEUvKvISAUhmWMBohwSmrR+9NJHHUiLK
mzxvFc1LkqRp56IIR9SKMQgPEewlmX1KAiPAKeaqRWe3wwEtSs6eFD3pFGxwB4hlH2jFdgABpIXG
HJjQjC+JJlaaVuoPvtfNdKicQgVH8hFh4T1IzHST6y1kmNYPH/vOQYlRhpveU7S7u6RZ9boTPhn6
q7A7+ZBVefQEBnhfQh2+KRpSrhF0jo/BaCJF9/tvkwG1H9Wa3DGJQ2Ljgu/nk2eX13rt2m2DcWEk
sM1cN6d3EQbG40Q1DbCJsVDRC/mYBqhEs5JWtZUzX9e+9cXBDGR9ahIN71wyLybsztZhKKKL6nMa
l4FIsIlAiUHhPuyCsB3WyLAiugGu/yw92A9Anv1V3TungfHGBdrFq6dr3ZsUc1FLvW7N7YLJkx/d
uqUdyj5w2WiJterQ4ICNJybVLbQc135Huks3vBMg2n2/t15voYWGna7v8d4mys5PdRbXJCR42vL6
NB2T4pR+1EECLn2i8dj56XQttTPZEhkoB8t/yUgbUpOHF7S117WZ1ttCYePGe0VAATsQCgwYhtJX
0VHMBzQh40qvKPWwMALdNaFzVEwfL1GqWZfcuVfI3Oh9DzgyzJJJiSzlxk1JKIQQiQgFNSSCsjq/
F9X0nPRa/8i69S4GMCCdFfibTBj+g6PdTIRNc+Wb2btbPDkGvq7ebIxdPGhs/OZN5zBzKN2bSYPf
BVFaO3u5j0pywD3pBPrHNPeY6GbN2SlhR+WZ0DZajjKlMgR64BQNp94U+rrzxvtobJ07pV4CH+my
HMn+ceqYjFN7IEKFgpi+IDk+xviljPrP6BCdh6lLVy6s15XumN4qqYP4I0v6nixD68tQESbiWIAp
RqYl6FhKhF9IAz/mtpPioiag2O+z8eJr9RbpeLYIKSHXFTmDj0GFksvv+3qFo5nVeaqxWvUD9Vl4
81kJ4I8mDOYjLV5mraFDCGcQ4kjSO7FpbAtjXUj0K1RQdAjY8xTkU63usReDbLh1WjG+gCkKR6O6
y6KgBjGH4LKMIjQsIUxboLgSgIl030TdmFtVDfXSSVS51HxwJDOw/uCm+H/S8BNZY2vXBIaADYga
HbZ4aEYHhLPkUg9yWFj5c45kD24IEQ5lXUMQUka/dLTO3fg2Vcc04tca7LjiOoe2ZPKAZpz58rXu
y/QNAWhBmyik1e/mZ8E5sHXVbCus7IsokCugz6w3gRbIw5BC3bf9wDyhGZELyzIRqjTRE6WvBizO
LA9aztUuK4vAozoP7no3estSBvpDAQ6Xzi8YoZqC1FHJA29wfnTMulx++OO//vk///U2/Lf/np8p
EnEh1P/8H56/8d5XoR80Pz3952Oe8t/rv/nXz/z4L/55CN+qvM6/Nb/9qfV7fvycvtc//9D8av71
m/l//+vVLT43n394ssxofoz37Xs1Xt7rNmmur4K/Y/7J/9dv/vF+/S2PY/H+54c3Egqa+bf5YZ59
+Otb269/fpCmvL5R39+n+ff/9c35D/jzw1MWNu9f/9jTffqap7/8w/fPdfPnB/0frNNw/l2J286W
jEo//NG/z9/R1D9sQ7Cf1m1HGrYhlf7hjywnG+XPD7b4hzKV4wjd1DmNLZsXUuft/C3T/Qc+Fsd2
aWWyB8Ku++H/vAM/fJL//mT/yNr0jBWwqXk5zoc/iu8f+PwXIk63pG06ltJ5bQpNkuD7b58v/E3z
T/8vAaTEJjiVyJk2/waot2Nq09ybRryUjJOsxrmT8GAh2V8PA12zTVFZ6TGTTU8eXtDTIM6tGR38
xfCmdv23N/Svl/v3lyct+5fXZytl8LY5ji4Nw+CN+Pvri2NaSpmH7i0oMDaj7chuU4NhPF1IbPHI
n7BqAA+Zn14PucTRUGbaS9mjkA/DSjtXOu2WsgCRWpRwVGWVGU/SRLLgNkVBtthULCIRT58Qjt6z
y1+nWkdOlCvSR4rBAmq8m22bueduDW9+X4ttjtJyF9mUCUFqMIBusL/RFsIvW1r9mq10+IWkbfoN
WZ1DQjS/UOSD7yWGoaP1KX3Wm1TCkmEuGWx9k6ZfzZ38Wbqkk86Lb4IPzF47I7CrobUHJopFPKLY
i/f51OM1jRnhWTTnT2UIOFkRmhJHdvglKtCaZKVj7Lk5FreujwrM9MOHVCULTTe7fWhnFMFwn59T
dwjJN+udRUEIw8ooEf1wS6X7NS/jTLct5GEG8Qzf/7aKibBj9S6OyKT9ZJTmcLbtFyjR/s5sq3Fd
tLPfq4PIO3Tuyi1D7cvsarHKqn1nj/ZNmE37pHSoSlPfbAPHYCCl9LPvoADyY5LfgtJIH1Phx4/j
0qVVfRuMqN8sQ+OmSrm6newq5a7jX/Iy6/kQ/EvgNuNGD+Aj2Y39mKiOOa2JJjkDinMn8yJb5X2m
SHHC3eX6wbqlcXRuUm2AvmUzaSnzU2rM0pQi1B8NrUp2TGA19io8jW0/PZFA4Z5kZ8snUI7eya60
789aoUHmEABBR38XjcVMu8vJ5fSHVluTPOXo7NhRTQf7WGYEmsYL9kDTU1RDZTbNrFzk/Z459XSM
J78+XQ/ZRFoMMOHDUPsMeLDLGbuiyYtN2jrDwW7JxRuTns3o1JDYUcRz4ZkgO9KdR3Po6/vcHEGb
RcwDLIai+TQoAhqT+jTW7DryULO2ml+8N7pi/N0kQPGcOMX7A+v8q16kWypghfcwJnXJSxb16Doo
wE3ynsz4VOyu99tRQPrm45l2Wm9sNPKA0pKIWx70mcMDtBNaB/G1Q2nPR0YHaU9+x2Or0BpUzg29
oL607zMzGt9GHmhRP71qMPzMjrshKgdqKJOlJDStDhAMCg8/HPKYPuR8o4tD576gDW/HJfPUxrm3
0yg5FFZ2QCjRnCXZCtCd80Bn6kb6qC8v1jDV++tnh7D/qx0+TSL17sT8YWZ8IXJj7shtfVRF4eyN
zD6wYRB37XxwM+hZRGGYC0NPSVgGMrUOMwiNOaJhMKdV8jnqCq7kqnwUQ7SPlA8CQhPiaWioSlGC
R59pAp/9JA2+/IfF8Ne10HHnW4ahW4bhMKv8cS30YoRWo4PNvdHR+I5Rn9/5AVoEjUR2NMqxw7zU
k9J68jtSYw3Qpqr4WITMpfR7eIfuqTRddQI/yow8JUEwiog5GrUpeRsdEg8axpsq8UpwkfHWo4xb
lnk/0IBJb/5//xAHyIiyDMk0DjCR+9OiLuuuMKQG42FMTJ31bjL9RU1cbT1ZUONzSTSrD2m/qzz2
2v1QXCIH6TuZ08QcZ/Uj9ZB2W2WqPzhuualTU9vGpusfImtvJh0I0AmznSEd8xL1MMmREDLs1XzH
PGc5+C40bMbmP/xF8yv+4Tbq6BiOTKEbriGw9//00QTV5HqhJLaS4unVHIKCfKJO7X0b8JewUuK4
Yh/wZrbuOnKlyhhtsO/S1tQKrOp005xtP+xlG1rP2A8qfI25c/IK0hBAJ1FF98md4bvZnh5ZtP/9
Swdp9vNrtxSOIZOtiGK7j6v2x9NqCm1UAYIIgKlyoTJjrR0MbdwYoQ5AF2LvuiRH6q6a+8wGA3g8
HyWhtABfD5Tu7tEPqPsCu4uefFpuNyaakmVQe+fYGP1DlRpEjTWNDhyWZOq+SaJt1LhqU3W5Yv4D
UbYPM0xn8yM9grFJCA6sBXdNaSufAvZHizT29ZUTjbfa3H/J8IRVUoQP5IehbiO4hMj7W6fSq/vr
QWi2u8eI4tIpS8MDhjQXAdH4lmJaeKEHcytE9JoFof6qF7VaGEWhkZNlRy9D+Jnmv4PqPupPHT1T
YCaZ+9zmrXaLCWe2gWSCsg5Dl6qm9rkvsMelYVreCQdMS6TSMwSBdFubmHlMHQuXpD9tWx+Tvp4W
Qo3qgMTKppCT3CbtHIufhTINdV/QN8hxcy8gj9BzNp2Ps+emUg2GES+gkWT2DepyprEH8nXBK3ib
Ce3PjEZMAXnG66qQ5lYLmbg1KalP7thCWDKgTNth5952TmoDumjHncXU5UY4RJFkWsJIMOgIXtuX
GK++ELbR3kaOhrkQh/AS76SxzNABnRE1G1RQPbfkwge9bXbTwlfK3+RRVJ9wBsYIXgcWFGZd56BN
nZ2TKWflV1lxFLXOo2wORgNCnbpETgmvpl1UcONLTkKLq2cYBNSZoXYxnCm67U2aZqjjTZxYhv5I
40rBZPFp/qpSfywS6NJSm3khtKo1jwtaWVi3EaY3iylSi99fGSb77x8vaottp4GI39RZb9XPF3Vb
2lph1APrbVGvAw9qLsNBdTdVXbVtQ2INp96s7swCkmoF6VIIqS2wR3SU35ADge3AiO9E/AKS4tW2
oAHCon21w9j8GDGHjVCyP8EuHE52bd7woSHelxAfreGTzBqCctw6o6pEttbFzMUK215pNdCU2G6/
tDpXjxqbdMs+8F5Kf7rzDZmBhbFfWTZOVqeCTUbEye73b4nxy1pBNWIg8pCWo1zFW/PjWjEIu6SB
6KMuThraquhgQFWvRtpPd6Q7GWvEUShmdII9QOsvkj4x9mJk9NKWk70aATLcCSSeK0OAw0RWAHtE
6WA4E2PLmMq91/oYcKLVZ9j8+3UZkNbHTqO8SxKBOoug7GFAUxjGGH4wcds0fsi1i2mJ3MmMPZPV
eHvfhVnl+HPmoB6TP1cgvUQQpe5+/05Qaf18dtjC0E1WTmmatq2rn96KrnOt3o6Qe7Fb0YwG6sTU
PZYpSz978G6Fh8A6Ig16VTGJmk1ac8Iro0WgNZ4HiAWoiKhDss5xN9enSpbjPjS0YeH6dIQUW/jt
VZoxVP5B+txahkbXEOGjhUJwlMPF4qlXFCtkt8/2aJl3jNTRsk2Fu/A8k0IO6z5dCrzXMA2qYFUm
t/+u5HwRfE5p5zvS8VZOabbQkVPz4scaagirMZ5MtuVpRYI47UFafuN7q9twgpjUl+vKAMU52eMt
RIqAMT8jKNF45lFp6+vGs6m0r0brjZvrikx2nb8aepfGXee9lwUGxaWOjGCr2aDWr4dMG6BAsjMn
3rlFKpD15CcHeU4gGUkDwUOa+uY3Gl9gnGoIpIXNCLRd0vlJXgdzKAH141+YgoHGHS2/bdsRGdt1
YQZ4h4F6ZrjpJUUiVSqsVRP6rrkBWiikkQ1d28VACXaJopaQUY2hi68H4b4rnTlUiwKkZvxFJI4P
ENOVzhz6FJjPycg+N3EGXA4JElQzJUyhmJjHhY5xjmq/exyduntsNTpvI6lkoms3fh0lm8QmpNFp
RLeuPAKYrwMyGQZi7YKH+j4v0yH+xoXQTyKHANqQn6UbfXnn2iCyHVIEh+ZbrkViie0OFWka6KxL
19fopBUfseqKc6766GZsLfE6BkG68Hv8EiLVgR7mMPvmvRK7Pu/u+3JrU7QA6LoeoqJ4g9DbooNz
0R4Pace8EBqTKFWz0zOPFCtuiueu9V4gRTwL5N7Pwg9OaRH5r1asHTuru9Oa4lSVTf4YWnwEBIeg
gK3rN82y+pfQL++Fn9gPbVZ/0gOHqKKAdO7menJdn3e1OrEWNzfy+vcpa9CAIHES6oV5SYtm1t7T
pnXGenGdQob/GkVyLyTjZ6r0m9rVHHKsaaW6MQHrY9svNbvOP1oDKlI0v+PB6mhrJwORvEUVSnAa
Smy0xC1eNbQXzewRRkBbfbT8jQHv9D2anJ0EZuGOhThpmoOHmmHsTUuq0XC9Z7Wcx1uw8hKJkYbP
cIBeCKPGPKLP6Zd2MlcVIKY4nXIyv4QPeMVsmhgeJMgVkRfb0pKnNDbjFbRjcf7+yZDqU90YJsPs
yMc9kRQIeHFHubeajn9Gk2VxDqQmNlMYPjORuGg55aOvRP+c1SWBpmym7J1O02BfeZlzH8ZcTtno
jYvrU7tUJNrFbQlMh7h6qSMIwzql7Zo41u9gkrhLO9MR8ocjy60VD8S0Y9mytSf91evgAZETO4dP
3v5+Zf31tmuzf9Yt9qL0twCh/LQf9UH38L+AZIhuTgxm9cSSoI6TK5xFxVYrsgyxtfXcPXkhiltJ
u2GpGzhXHQrJJRkYVJOlmV9Mr7oxZep8tdh23uhVesyHtDzU/GbHtuqLZ6ATHbyyeJ2b3WEt2nsA
Y5tr3RiWaAMbUmQgeNmfEisMtohe8ZI7SU8UMUrjZGfPe85oCOeUcCbs0COdQ+2OzmH0iJX5/Zti
/F/uNg73XPq/3HwlpdOPN15doCbDbZrfktMhvoyBJOWnhY5HhyC8JKKDQ+KzJ3VhvaQjtoMhbOka
9An57cTlucROYkRJ870xq9JCm1FQbxlqWzKur8qqPjGu+TaoyN4kXEDLPiLCixuMvzIzyNSJ1tpH
s2TP0Zqcgr5KA6KXb3ojrZ9QXhuYS9AspMESEj1Cu6DtHpJ4UCzLNP9FUd38/s0wfymEOUN0ChnK
R9txHNv88c2o47Lx5Pxm1FjDbvXGqffTfAgn19yN3nmcF/TBC7qt7ubIf2UW39ZuILe6bZEAWg+7
MmrMh4oYgzZJwnvT7ggoF8bT9fucUJuepHC2oGptxx3jFrYmjlWfMez4hzCFGEbQgGZ3a2KA8HDW
ToWicRE3zLprzwjOlRDeoZhyrOJI5CM/St9Czz5bkUifQX4FCM2NI4y5Ym8PerqXBVB/Btvx9vfv
k6S3/OMG1haOorEsTN4o2sU/vU9dZuHGdOhQWZ1trPJmIOy1GbmJJjp/EwfDtBZTS0hYp4qvQnm0
bQw17hPdde4rlVBKKygu6CYt5dtLF4bfDX5qY5Ha1mwthQfZF962t9P6rtNwTv7+9Zu/NKdtV9d5
DZZpKov/zOfB35rTDNeYyNaIJ/th+jyaDer5uC+XCCkayjwcNYK415CxfYwc/D7LqNmaoM82JqQ0
0OM1kXPCCTdxJ5rVTAo8jHX5SJPB2iM6sAhp7/Ep+pbYXR/JzBzXASFn3vba+xrGbkRFm1zAW4X3
RhU/a70DpLoO7I/KT9laVuegdovnEXDOX00GxE5imgd2HZrLTUhGr6yn9JQNLyNtdtxUst5fZbFi
fiSbuF/9/j0zfr024Nphc5WWLlm3fl49O7MP7VHCkWLj7Me7MPCmnWGKj2Ao642wI1z+gATur498
F5tdlEoPMue49JzeeiaUNT7iw6Q/2PXflN6/Ig7wZmouqo6ikTgVWXOTJrEe5tm4Wdf2o21UmMTH
rllp5FAjnyBDemojQEIW/EGDEEMZ2Cw4bluddTutDkWerXojaqFreEb8n3bmv571rq5clLPKka5t
6T+fNX7hAGfpYna96GVygAIRvouAJjOBrnmL4zAzQIi0lnGQQ0S8pesmaxc0HhFXkXs3hgD25xK1
CxyQwjlLZdDH7RofBBF3FZz+fx2QUEd7bfSef/8ZXht5P3aTHNdV17mHsKS4fsZ/O+8LjS68USAf
jDNSCItW5AhA10aZsZ2Ye+dtXSwLElFmfZScu39BOM5Ep/mCzeqm29Su9eo5tbH1sgB9i1v72VYQ
n8eun3RxQmx//4JZe39aaWzFKWdwc2KEZNqOmuvGv71iOiCkQIWkFwx5YUPwQbHpW1jRrQb2V9yl
XxBjwy2/tmy0Nlvi4tsR0Jmd80mo+UaBRr+SAfNlCzZt5Pg+eeN9R+xcJoif9UrjI6I4agRxIXiu
XWe6ci5YMOgHgqYtXUqEcggerDqDKJiY1dpFqft9hBEkZbiu8s4D7WV6+8m0+g3MQYzI5B62eu/d
VXohHt05KMscmRQPkgzXsu+5iK09aPPNSIPme4dxSF2qeFNvNkh80rMeAbU1Ilr3NwUcGolr55C2
ktUgictX/GMNTOcc22CXf2aPn7ER58dKg6AX+CtfkqEPj4zfKvjkkJfr9oTvt7/ETKSWrFuoaMp8
OhGthXQguVfa9JCaUbztyyB7zHnb1vhLAViTCjrUYfhgEQy3MODJbIiuenTasDwFLknZyFjTe89E
YoXIAy8sBs5y5Ycwpb3SiVdhYEUvxeRvo7xSnxNdyBW8HfJ7FoOee+9drhE5WWWf4JA+eebT9dJw
0ezqLRla3zdLrRNwmzfdWzR06S0kh+I1bctL5fJBq4RKdMQs8X0o/cNM+u+jQf3X0eW1eawzJeXk
sU3x092tagxNRDUEiLxzzCdX0lNluyfvr4+kTxHDGXlsykp8DL1e4EANcVHGRX2EyMC2J4rDfU2D
51jOh9Fo6Ms1jry9REjLnmlipBdmfJuxio9RSQtXV4qg7qocz6VIqBNkgR+FSOW5w5XplbVvGzF7
LeMMPW6ara5fmxodB7GhUJoAAr0JgwbMKqhBXgI6RRCe+DXnLTzY7HLovffGLo9BUShkKAKbyDBd
MHzsNDNoPo4uqt3cVdmuaLvu6IdJd2RPyM4kNUCb8+z69c4xAD+iZrstEs42ocdq5/YZZ0TXU8yU
lb4NO4saIA/Lj11V3faRWy/bokTQO3djCsssoX/nDA19C1pBgrmPuEFyZq99dJK+DarmG9/y0G/Q
D5sduv0d7pnTQLoaSFkcI/Z8CiSzZMpNozPbeOuhBpG5aIYsXI8E6b6i2Zob+LGmW8vOx6qEvys/
lg1vdr9TgiaHPrHNxPZAA/kqwvZTlxGPTaTvapS12IiOGOZo6sdPTpa8tELMXbiIAizF/QIUIutO
FhliMTX4RYR5cEmi8T+1w37uELLs6Qa3GGGarmNa7k+3moz+D0FoA8i2pD1pXV++UriQezOF3tGR
z4XuD7tKrx3WQFKCTd86y6IzVx4+Ujx10nlyfO95jGq1tSW0LWDw5lFU0t6b3q4369X18iKqIr7M
zxK4dEGXFa8Tat+rbSGO0cKZVkvKBhy7JTvh8D8UHrr16yZMuK4+d0GRHEjH+bnySKRJvTB33SuB
MX8gsvV6KPv6r0f//poFtuuW4Y5lYrmkw9xYA1Se1jpWmVnd17pvrqqOJSKNEKQFoH+W149WUoHs
sFqdh/lMMYyvtl1Wl+uTTpFabcL22lyf2qNd7aDpYNjtdaRdhj+fIwaxRGE1bLw60U8Ka8mikoUi
TdrW74pgODqq9u/IOCWnzvRwaFvqtVNTuLk2agCqeGtYAskiYN58GWLK4h2Bf9pN4bTPidaj0OEy
qgNuZ2TvPtVG7Ly0jj1hJQvHe0PD9dg3rlhCvglXaeHSEh6QKfrS2HWj/jJNmGFu1CA3nUasVjOc
yFYZ4dI0aq255udr98n3Mu0+3F4bU0YJvVA3NOJpelVfzD79QvbZuLcJBkurEKvIbAq6HlApF6Ak
5XBfDkLcpWyxVjk18rI22vRRl/6xH5iZyf9N2HnuRo5k3faJCJCMCJq/6a1SKS/9IcqJ3ns+/beY
atxGay66MQCRWaqZKWWSESfO2XvtkMjBNs4V300FDlfHakCzAzFx1IxwlLTEWjXWHPLdLL8mrw5Z
JSQhlSt90mN9mwa0XVDaMZNnBv2M1Djc+3rrLm8z1Y77fV8haIZoOs/LcU1t8REtzJqgK03q2jXn
blh6YVm/ldb4IZAa7Mw2mcWXVC6H1Iiq8+3S941HCjqZN3WZYysfAwu/u8cZzmhpj06J/CXyfkoJ
Z4m6ZRZZLUU8pCOgIHgZu8DiLkr3dP+GfapgKKykXQynFJ4AjXT9SO/VPofYgDCDgXNGAh3v3KSm
/rAFaloqjAUQgfoBrenaw3h2SXO8nP9eKwn1rVRSljWLdzjU2Dal+vdD2cRd2ZLnmC5vB5GiYLAp
AevcihiFl+FRuddqcNZSs/N4DVckO5pxydqITv4wDXV9uR0o5XykY2iOCAzmwaorMXIgZ8vu6Kwc
p9Z4xoHvPHSl9RLPwuqCggEKfZ2fEl3f4ulMHnIdAHETrr+GsIbsF4lhwEnOp/BosEP8x6DRnBeK
f1S1lmVzmpuXEKHAYH1bLJHtIr/vMxbL20ZSZwZj2a+i1f9z26EIKesv+dQe9ZzASMzFPAIe84HZ
3QnOLjv6U/7ROdFwX2a6+dD6CuM7vFo3NIvtrf8ShK59bi3z89+/NOt/5h62rot56MFCD/Xv+0k0
cuinp7JPluo2YK5C5w1YaXgdDPXOHvEhep0hlRAZ+Mwuf4gKghHzobmvuiiHYWBmixwc8k7IbG01
WXpyap0YJpt0CY9YqgdUJ9bKGgnV8VyEntjAQHXNcgQiOPHAGd5PzUmNU2sTHZbI8RgpN3ocSu+H
InVqMBigBoOoTzZ82doR6QoJJtJ106ofRld/qsF/WiHpuW5tv1uOrpZeW1cXuL0Im2TxMJjcEmEK
Xfbr26hptPmxrh4bkXlkOZYFoIB5hg5k89dNf3q72Al5hgMu3XVtmNrudjvf9vZwyN4goPZbaL/B
EYWZwaDfYUIUD/913DX+py/GF+MInaMeEzSd09I/Dx7hEMTIwAuqztSDvDQ58hmNPBko/a+uwg6B
+q56dgigt/vho9eDcJOEhr8q7E68esT3al6wygvlw6ulazVGpdgpm6XQRA777/eQ+l4sqFn1YBlM
klBxKPv7udSziJ/LmCsvjYBzcM9XfBsB+ZNRHG5vpePm254Chzzv0DhBofmtatls9K4YMW5xaZCw
k0JjPwvl0qctQrzfcQk3VbEsgG+a4ySJBM7rKrrvu9ChOU0ol51p50j69naa4s/bO0czXCxoY8MK
gj4c4L17BwfeuPa+sSctdj5ELTgs9hcV9fJi5XlLJwHMbNyTbF8NeF9io++W1fwxFjlzzyTJCEGf
3/aWfA6VpZ91IvL2AFH/o/A353XiH+uIrSs8dbqBXoH/fO9wZFoepMhsk+XX7t832rHKEvIxAgRy
iJk4NWOdX7J6EoI7Ed4714h8MMskvQZhAk8dShWauokgwEFX75g2EVbgI1R2G6y/Si6FRSd5/Oth
p3yR3vRaT/L9328JU85Dwn/+LoZBcSVMSbNG/Y+kB2FF79M9JHI9dVom9zI+3TqO1gval+QVvPux
Hcqd1qTBNh3cH1oSyjtySK1V79XgrDy3uvZ29Mh0Cv9V5FwTLUnumbaAXagVllE3tDYditqHIpMg
gxLFPpwZsGBBExGjKC3k11F9HW3cvrHIcFDuRJnCUwDJynnANVZd04V7uqD48OeiQrRNPzuoN3Mv
c6zTExR0Ehwn/WJWpXU2ETScB7Pz0cw3hNVEU3220WmPOeu0AgNz9IwQZWXbrTyGS5HwhxP4DfCv
EYmsfRYM56xMTz1YnLs0s+Jr63vYjTX11MyXmWBFph560+oniRT1tbaSER5okG+dnMZqGvEvu7V/
VSBrrOFmskrGkOa1HjyIqU+2YIpHgiCOMKq7x2G+qCTQEZXSTp56e9phumSLnS8ZNN5VMEisIh4M
wblNPqZC22SaR7CzCLoLErlt9bvzLe1k51m4RHzJmAXYGFGc8ZnOpbku+ix/SvvZ/NmiiwQIu456
0qumpjxpXofpm4Ha1wWmGyL/kZwSAhhW0B+r+6Lo660tQ+x5Hn73cRqLC/kEwMi9wt0H3bSTpUwu
YeS/NG7WnhhXqZ7SIoujtzHOsTISdwDrHNs0YIVV6QfZuz6MyY6Mcn+jOMe/l5V8CJ3pgow/XGnS
BS5bOX9uepZ8JHGj6hgxG1W5m9qROpZYWgvlBwki7uM0n+Qcz7Re2oSYXb0Y8cpubirLJhstzMc9
/+cojna3MUtQSrUjG+OaxG1wZJlZDV0Zrwu2wZ1hJepV65oXHb3jYijtcn3bAJmIjCvHi9l9XM1P
1jf7lC8jC+cVjFFX5HsjzA76vL+4sCmy0rq71XB/FXKLPuouve/IB05v3V1TSM6G4fCWRE1yamoi
NyLLeMoTh5iLyKkYb7blLhssqFgAST5wwXF7ORMH7DgkGbLym71Uzc+4q/NLngboK8sMOxLz+d3t
BmkzAoOTfAGfO9uEUg8eNYhHV6EQP7n9FeZsEa8bmf8cMo8qV4zRk9Zysugs7aMrRfDYirw8A7t5
UHwa67p2bJAzTpitlN5VjE798sCC+3l759gG40x9UEguEjyyDDGPk1vTtQ98eaB5qz3ONNbQdcc3
HGv/0Z5X35t+iMZoWFPD2sgfXCm/NWAy12SsZICgR9HcL1qNNNQODDcQEgAZQYhGKFYmEkVeYeoo
VlXZQrG3EBlpzeS+k/u8YXol7rUwqRYluG5cz1gwbqVgq/gocp1Dc9ju51nhicgG/9zRqkU3M3cK
KHXNkkx2w4QaLI3R5PgzFQuljQEYxiI6dKJ6F7ijVuZUcQxtXOtugu9BJozm76m5HzsgXW9BisZI
V/XexqPxArKyLcLxQ1ZGvFXW/dcWU+gEdv1tkr29Sma7rBb4//Ghmv9bJSCIVIrBBzubYX8f9CGw
oYurEzH+1f+4Tb51T1dHz57HfZb8Wdq6ewpmxXRWaa9Cjfau1ryRuL5qEAcFwQvR0THXLYfZ9iDO
skV3No5dfn+b62TlHJlR+Obl3zcz5/u+PPeALcRBbGj2/0dH6Oej0+Y2KpPeTZ5alb+Xnjfsa3Ko
LthpM2xdIqSl6W9cFDWf2TAcdJA4R7fE0mUShrvEplFf8s7PDkjgnA0mpvpJpT5hme5+MoziNa9c
a0mLyLhq89EyCRzrVLIWrDrb/mEN5L2ZBMNuoeEwg4uxPge1sp+8IFcAs0qctxx3drk00l1pVEdv
4Bj+JYYoegzLmUsCJ+052NpYmRhWPBpkcQ5Oq14Gg9WsMo3PpOQgnBAT8jLRCNmjBiQ0ZhbigBM+
TyaqPOIk+iNJy2QsVy7QpMSYfqT6zI7r4+dKhUgIHTJVONCO1R6IqTjTkrT3nNoK0o0c7xppsXdt
K3ojOqwBmDHQrDAYPOcRHVu3GsrzrcjmUh+Y93IxcqLr0q57SiItuB/uYW2pYzWHECUBcbrj/Dby
5Phf48XvBzq+cJZfnNkUYpb4n4LWrXrfV1KPARVWzbk0w3rr13q0jodGXtu2/t0QVbYWEE9u+zbY
d20vyNSB7Z3n3lbn0ITqsU33vuBfaMXmB67QeOvLqYJTk/0AdG7fswJh1fO87D+sJehzv5/ELUda
ch4VuYoRKWCyf54ddINlXmsloibX/yDBIl2WwRhd6/niSHfc9/pA3oiZRldBisW1GsOYaEjjcvsb
tz8quoGhODILQCTkxw8iypbZEAGDn4ss1mexd3v71+3daHinkSMRVk6voBYnErmUj+2095tR3Ivq
rZ+/fprm2nV0c+egLqq6FFNGk5Qx023q9G3+xCkmXFY0JzdSd6qnkPOwnRFzaWrbUAP3YbcjQ8s4
gLMb0oaO4mHaiQHkqdNo9gtqpt9Rb1efUCKa0NOI5nXbpT3YalMnsfUCy5hSk3kZf6femVYmtip3
rFXS3lc9w/QCCD5nCAHZ2hX3aV3SnqKrts9KgLJ615TcecwKb2WpjxxUmlH25Bqtt0DcPj/RE0E5
+EdWtI1LNoHOuUahWIWxzcrGfnjkhyi+PEgQfEvkbibhHt+MeI3j8ikzo8+wDe995tG/MpIMM3o5
X6dUfyS7kQShB6HnYgtGaa3hcNzc1D2eVS3tIGtJHoMi5vSQzsClQL9yLXcrVV2S+dGNP4uoBVdm
qTca4mqVdfqyBbj4ZFZEtUk2iHUaK7lH/hivmXvEK9hU4Cos910RSQUZsrloPVF0VVOd8LdSSTrb
lFsRAAG5idM4GY+Bbv/Ruzm5Si4xKIUPoLAI7HVBaA50b3YBUVj7plDxvtQU/ibCotw2xFdsTe5r
b8+dzI5SresUuqwmSi9RwBKrD/PQolacJ/KhOHSgJs8ESoNe1+z22SxqSKhEfywbK7jSaxn2fZ0C
i+cZfsbNTjZSCkCxnd86jCLMmZ5jGhGanwGAaWMBa7hdhN5CEIfboc8jvJr5Okc/8Ia3t+P8Z54Z
5QxcTDHnB65wS1QXRJJwt7tkWHkaYsWu6NnTw6sesq2RilLd+W5T3TljWH+9ynS34qgcd/jT+ak9
Xyow/kTxMecqdesce1K+RXk3rDpdxHf+KIyd5o7hsWtUvqn1VF5DzYIjaeJvrQDUEuNYqJfJcO8d
jcZJxuyVKKnWO8MqC/O4frGj9uSKtvhp2Z0PJxDydddG1okmAxQigLE/cYosDBu9vk+Uw8oFfnGk
u4p4kqriJStYvofqt6ena2J//CdfC+KHWrIv9X11TH2axmPhhnfYuB6YuGytKnE2nifchZHb0xqp
3KnpKvupKjE0WySyPBhANIk7yaPdUCHkuL31XMpDA6f8gplKuWtx0hf+9NA6sfF4u0RV8oKJqDjf
3rmYozaGZqlVWJaPrUcUlO6nwzLUjXINs6G/iwKNo9h8GUt6IlNhtmQxS3sXhPW05UxVPnVDeQhp
D2fFbPntRdGevl62JnWQTQVrM7ba56W2j4RzHFlvnvVK6fuyq0wehJ6KNR+wbhf6Uc51apNO+hH8
PumGUMi4epGLlney0cNP3iYvau0uoOOzycuUg1wcOufbBUPFEJXg7p3kh5saq7KNyk+0BPd6Vvrv
sMNQ6yMU9cJhpyHdXaVFb9xNiF3u2mmY7qxF2usRaQcAGLp5kCpLcKyVCW+OTpwNXx8VaFOMj3I2
AFo9Q8WilcUxJymL+C9q9ookNHqucLsoosZnkVU1C0xL35pm+vPUTmodSb3biML+LCf7hyxrbpQ5
1SxrKDOmgThQySNpBjyhsRY8jwwUhaHdG0SqGcxh0QxF78ReuRF2LBDil7a328MQO8mSvK51rk2k
TLr0dUyY6zLvKHAL8lqMHJaiXwLJ0AuMGzYFt2D4DyC2PMDDfqjiPceUF7Yze1W3gnAEq19ng7JZ
6apdl+iPRdj+0t1oFzVOvXMFYDyRF+Gmdsj3gnXQclz5MQFzLCsbZKO0FqZBnps77dMx+yGmsGds
6ONLI6IIUBjiYzgTYtrim/yhRsLcAs61e0x3GEsnT24J3xawMgGfk4/uJAAYtBKzy9DlfzidoSIo
4myJ8P/VjUzaO3VwITn0h54wHdBi/9hRLi6SnpoMaycvtIehSp6FbydbD/lSxv/WMRy1e3TA3P5l
/rsh8eGgM5VfZLGo15jm/U0jgIXL0sVKRjPTFUgF3LMAnbZyYhGu8dTFi1wj0gX+HwOfBzySbJG1
x/ib8cKawCljWeSiuEtY4xedC0HS0uWz7jK1dHU1bXqUbCuzXscGDiY/L1E4NwlTluE4yO5HWmIB
sWz1ao2liapTXqOg+cMz+FN1u1ZeeoFCk+B0NM4gV7GSLnStMha9Zy7ZLlDhM5EjizIh1VXG6yHG
JFNoWbMSjncImulEYGB0zjPMguNov8xZJiqjH1CxIa5qAoxaUNELZmokRhyjhMZwJ1SxabJ6bQTJ
sagYANUF4HMJcX8JIVLNnZPG8h7tcHL23cT+OP6x6uEYV+BRlBNum6D6NHzOwHSFTl4Mgxp6JRuI
dIiLRJ03uThhAxCCXSNe+iaFOC/bKx88W5tBKA9pCtgk+iPWzoVbknBrmEQowLazVzbf6KrEihEO
TbsEpoDaoecAFnfRR1P769LN8f+7XrHUAqShXnQcs+feBKMGVKo5tsqMlrmc+N0sAHVGNYME3XTp
e+6H23w6tgUQJNEfMici0iyyfjQtICJdBCYAzr2YD5ThzrJg1+DdCvF2OA0DAJH/AYlarMl8I38r
5HbAksDy4xBLn1UEdKE8ooLQtT9DVDzlfvYjG/RV0caflStAqXr3nC92PGHZLvGBpjBc3DNAexN+
J5eRZW4UhQHrBT7SHGVHYwkUxQ/RVLoLWbT89aYn9ahjPoBeYOJZhME7bpG4baM5w2tsKgLkmMhu
GgYXpBYgka9sjSlQLTqint8cZ0SXb7NiZmrsH2OQekHaajs4eSu+UmsFeC5DZ8lIPXU2omsunRd/
kkgNDaVqEEUM4d4asaTWlA5AGtDPj9gf88TcUQFxl7UjiQFmxj+uRE88irNjB8lK6tOBeFhMGjUQ
5UqIewddwtyIY79dW0OmrxsbogUCLfLQ7UOZ+heTgwE8yKLbwMDapnQUN6lFvvtUkxU+wlIfOEOB
h9EPsiw+JrJ/U8sECFGy3JuPsUvTpJXtLpmKt0KfKz3mJtS8+tFHf82iWXHYI0cuttxhDcnt2YQE
7LJVgQNjRJj0hxIi76ErGNSPDUEByD5aL90E2FWZeW2ZlUDrtamt2/zOp5uIC5tsAp9619Y/I23D
+JRAej7NfJLWTrTJahiY5ST5+OpE5JCVbr+ReeHvII5Uay9+qyWatHhivfbqo8yMfsZAq3Xck0cA
a87adQJJa1Xd1UUNKkNAHqKJVx370TwEOr0f6HuY+lAnDiBCUMJhZSr9slvJwIINW5Sfnl1CNeOI
tMxG5/dQ9t3ZKK19GQUEM83QmxTeocg+Yz86ZRzZQisiQLgCN184q5Z8JF86L30NSQbmZ7+Mg5Lo
wqlpoIYkjxDHrZWBt25NFsaPXAn0bGFfLiUM6/ngu0prpqAFuZisRXoJqI+izaxfQgOBpeq01dCP
xNOMsb9NBoiWUZBf25LWqelsfRCv1GHhnwkOxmKoyDaJUsDeAM8ublB8NnkEN7UmmKTFdhRBMHbN
l6yFRtN4JPBlOTUF/I1N3HusKakoN4MGD6sCJOj27oHabdhGuf8zHJMzzsFr4I33sSPvqSGe7Ga2
xPXqWbEGtg05bFbtk46CFLntfaZK7g9jSkhnE29kH68Nzd91jvda1PyOfWg/azlOUMHGg9PK5ZHs
poWhLBKPHQsQY/A7LJu1ImJtbyJbb8oaQo/rHTJLPQb+DNMbbHRrvskyyzIYpge+0gcrF48I+PVT
4EWnEPt3jPcwx81nVOQ3s6CNdXNlfLiN+s86LA6WbEfC2ZbqgdTtfJGSF96bONSsksTinCz7wQ5f
dVFuRz/CK11s0y4gyLSOzgBojz3GSaPZUqqZVjRbd9N+WSYjjvQAbUdqfASwDBbesA51goGbzie4
RJAqlPY1WG7SV5ZhiR9CD/9QX6o1EoqLSSFMHAYEQ/lJCgIfZVuX97T8zNWIKKkiu2HnkxRjzpDv
uB12lgzoaoFmYj3uxCbgKMiPxzLZ0IYZdyxY23IKXksmgkuttl3sY4rUzBjiDiK4Hc6uRZ2l9pbt
moqLncekFbkqVqVlvlR18m4PLik4EPSWkQ7jIarfU4eCQ7VNsYLazbcllr7o6R/3ZIjWkyBQJmCj
JnZDeGJXDC4g/2g054L/3Zbk6qBkWdvOSG8gNRjkGB5tY6xZRe0vPZqzRZt60HtqqHnkJi8IQf7s
mviB2NxxMqdlR59+zRot6PWiiCa7dtwMiXVHNSpOvvRPHD1XZYYyNAyJoXOItet7Dh4WS1qbKZz6
ZI1YgsyC0kDnMIQmByAEI7fPJWhZZ8XQ1UeEQJ9T7n/wyAbrWlWgcSqIaMAkFjKadSzC3qKvsDdy
54XALCuTFT/ORkKMQCiGf4Q61iGYZcupDm5Lyep7k9gieEJhxoyKPmBw6EX5ikoCrdzMuAsIe2N4
52JOG2mjOOw5ev4roGe7sDmGLezuMUTot0AmfjT17k/VteC/fOKaaL53XrT2S0suZaneXELWVrY+
vMJ4FAswreG+IHg2qVL9UeEV7hwD/yRxAUuNVOFQkGMZQA6jcu7EGhrDUsac0f2+AE9ma8bKjhAb
8F8RLorQdq33E1AyI6cD0FUbqEr2JsJs4NO12/Q24UmjVeyzek6p1vJfHv4xv+YeNYhFgL4L9M5K
DdjpyuJUS90DIumz1QzEcpO2hUxiLKTz1BSZf2EJJpLV+pjxDQIb8HrUmemUkJIfG73SsWV1FhmM
vM3ni1eyhGV7slmDa6os82mwGvwYvfUfDV77e2vacm3dNG3UW440cNt8E3BoFd13D2k4T/RsiesK
ZxkLk6oCdPDhNnRLuip+ILSEIXSwLuomOsVRBlDYMfnt0GtVoRUebs59zSa82TXuTJp0G9bA/DGp
GwxVGpAQb3DJFQlUfagEv7g5O0xub8ml+Usb3LsnL4mNY6gNT0WuuXfBhH0ud40QINlsi2tBs5Ng
ahs8GwtSiidgLuTTCMd/JKIXDoZexMD9mM/Qtb7mE2EvWqJHe61orPuYzcdp02IbYCRakFNVX+8g
kugA3sFwjJV8h0PNDYVbrthWbSD3QxOpGQNl7gqlvTP8Ge7atngPSqXoUPdvdtHlZ+Rpf13sbDyH
jbB2/96CN753NG2U2UwE8Cxbjgkg6FtHc/Sbim6ELhcF9ozCE/hcXPIv0LMu+kY5W6AZCDVEdacR
Z7TqkWjPEnhkRROs0anTEkowa8dA8j80+cZ3TT7yDCQJPK/ktuPj+C7TiJnHuBBIaUTFYbtrmbhn
dMpelV0xYdTH/OAPHoYyK20PEono1+A9qj2cK6C2Cba3iv8YtBjfu9f8kxysMZzCEGPBFvp2NyMp
t+wAwxcNXuZ1KL/lHbGg5D96GJftqX/S+/qXbtiHOKnuB2YfZ6GHYjklpJn9+9cmTf27vsiWCC+l
i5FYGpYtzW/6+c7zAn8cSjYRhJGxXg13Hd9D3+abpkEG1FZTd6h8/87v9PqIIlkefYOgIjcJ5NVJ
oL7oLGYEPJDMG+reOmzd+lxmDIbm6YuZWvXelMaHanomx6MdrFWu6svXaEbijUJEGWc+YcQhUkri
n8WzPVEr3d4mmvHi2H066/D8DasCxtRpdoZ5hbMhge71L3UaYzdl4RsRM3qm7EokhlnOVBRvzcIB
+QhtEderngTcmgYR17UNpGP+u5wjeooxMi/rvivWFfTctUzdpY+s/KfbdjBpcJptp8RNN7nSsnWk
2ll4lI7ropTBqiSiFU3yDGFCI+qAlIc3q8+XtI0Fqg98n6q8kh50NQmnD5aNx+f6NV7zTefRYtud
vdg4ViP6niTaFxBUb67O0IzrI6oe4zg6SbDT6/Bs9xN9XMytahIN+gYD6K/VPkgmhnfjmBtPlD5I
U8b0CK3CWeEPgresO/pGeYgFUg8Dgderca3p8OU9jgKcScH3TEaGsmGo1GOIeLZJKhKOyM9o/erZ
yHH4cphyT1EcGbtCr0gkEQ2CbqWdHWi8l4ou7uZrUZ4cERCVqNlw2N2VQyr9sQqk2HZUKZnd/Emq
SO4903DuwZWFB+Rh3HNstssYwmy3gOKuLaTo6/PkQ3tq/OxUO0V2EqTTf70KCB4ITpOAsbSYvJSx
PDPpk2cV03nIcdmEImRu0ao9jw8eTN/IHja3K5CX/MGNoRH1EUauJov6nR0M6bZwm48Rl+JFdqO2
agMlDzeGKPmxJaZbsZfQcq1pODMtV7uOjB1WNFdxqAtNQoaRTGteUW0cN3P2YnRwwNYy2WpjTyBs
qPx1ZDq4rXXHfK6ayadhX6ZbRGvx7NHoo/YBrsX0gNWC3JwSUkGI9OrroZtfaXK8jqWe725/ZGgN
s2u7fxnc6G0qCCcv3A5kUa7n56Yq87PbYDXEFMUQNmQeoko9Q0DnoW/XELkC6p3w4Y2quS/nS586
hy/Yl+eF9Oz7uD8PTtpck0S9hOWjikef0rOkL+oSG42fU4x302gPKytlKhYX7hGXsgEVi8uogc3O
rTKGnSF1fLNcWolmIe3H+9s7XVH9ebM6PgAmNTu6GAN5d7dX7BzWPvf0R6e20Ht57lPMvHE1EMSx
A2X5bt58o9XjSNz0sbNTe63rqXbS41Ic+4zkDGzP3lkTtVyadm78ROY7xqsODHCei/g+BdHxUAsS
0OQgp4tTt8TLJKiIvTPThvqIHdstFk3TQY9Kk4yPMA1JUIi35SzZNR0LAko60oLLOe+uZNkwQY0i
v9tMBnlA7qSGe2V2OiA19jsE1/7F6z5s0mEPoULaREOBiu/2HlFpvujH9vfNAEkoGZ4NEatzlRPl
nMhO3bG/giBIOAFaNonZtdTvUZePAHB9uh/apr7t/ar0bHgmSfMwKs55VXLNhHz++hlakQ//piBK
h2llVXCBE0ptelkhOaaERNz+e9Ug0+sw3iezH9/mlLkJLUVLc35L+khwRoOQrCryYteEXTTnhO6n
rG3jqatU8lhmf0aVsjDNY45m+F154UiwRF5v2rrWfnkZh+Cxcy8FSKQ79PPlxhsgWEXzdI14ivEk
CvnHcFpa3jzyxHRiU6Bv04/VNbehrmoOd+748PefagSpnAuW4vIn7QO5sDLABFFt7LOb5P3GKJZB
sS0QN+9EPrhLJGzvLt/8GzbDhY3U7oOZegBt6DFW5ObAEhwe9HEI16HREJWsk4NYEdzFZjZrHesm
X5sZGQKZ7JeQ/HEuTe3g4O/tem9jeW779dx5A6wPUQz0HucnMO/AOtBodRdfhpGGU8GB4QwodxvZ
SEmcRO/lGRUz9hPZE/OtHI1WeZYOZ6A1Q741FB/kMLYfGbLypZu5MxWMi/3/XrlSSFaZDtybn5nn
KHH9LaPWjPwHIdC6NRUqoyGMicAoHj3P9HeDFt2nPN8k83KJTRTMJqHLUUUkustO/lS4GpA5kFHw
+RjBwOywIuaKzAc+kfAvh85x7kfN+oSM3J08P+9PDITbNSYSklbnt7cf1F7z5KDGJaKLfvWiIxLg
5IAoIUtCO6O5qZZBSolDviRWGo6HwVZD0JWMSOWmImifa9DFy8IQ9eVr/8MRqxOc+fcvVcZkaHQZ
oEcLUcB5YNEZF7eXZvvCgWqdTJE46YnyX8Lc/e2QCL3/cvM1uEcXDvAAvy2Mn/MLPRYkJHsqX2UO
ekzfap+bqsXwpoptq420BXA29jQkCOOiC7rUeqIVk8yfgCOlSJr1Iv+JVh3di67Te4uiqrjkn5X8
HfQYcZqwM3ZRxcPTTS7ncSr8NayBc5e50xMRNZIeUlTEG1km0xkvubnWG9Nf122JhVyvaFvMhVfQ
RsNqIIEHaV+8C1sveZ3jpVbxqJxjKlsHE+L47JnlqtXK7GDxlCPS+fvl6NIRK3X77Qv05c/Mrz6V
6uCjaGClrut2p26rWa27Aa1Mx137mqq2I7KLxc1keFPi1ZoYL7L4UUap8cK8ZtqTrUIs57EGw3uv
DGAdUIKidaIk5xIjN3uWbl1Oq6zxF4gcmVsnd3Oj0Qo2taQ1b8z10Y0+EiP83nSo29aJNbaEC2Ne
I4MPoahWVMEjVnrihwPhnqxbKU4hbxxTTDRW4YLarkkrKPz+kMwUjqAfTNbEkmoSbf8XUeRvtkhj
v3vO69jFDk4oh36nzlJ+e0t8OZ2KWCLgnBJDI9+tTrYWuaubbA6RjBKVHXwj/nPzvPydi5Ob9nDU
w+Ql7kzjZNicPUmB39yKuXoU8YPFu9odLuMIrMy2Omwydevti5oR0u1tWNnD1TWmblcgljaSJH0r
Df0zHFDNft0e9K04nauEAJcqYUBqOHfAEx4Zk9jesZzjVCYKdSOs1KEqaIh1jnb2Qi3C1JaPH4C3
2XBdg/K2dzY3NEWe1LAF0yD+etvLvtqFpqRxMfnF45h3P92hcl4NCFIpddzhdonnV2PYvbZVIM4Q
oKJ71/P/lIEY33w2UO7i1tyqohjf7BBHjx6aCAr4WyBDfubmOYjy8Fwa8frLFdMhDyVsr6Td4rFx
cWyWexf390bH4/jsj81zMNE6RiaNhsDyy0tU9vschT0TpzR+QcizlKRVXBtoELuJ7OJtkQfhkwdw
isXAOlV4Je58ww0QMgbXMiGTqBqrNe5V41xYjUFKhNLPt7ckEySLPil/4C7OLlnYZlBNC6plQdv6
9vb2A62+ljdwENlmu7EnPF34Y/qLpPvaSM2f0zD8qfC23LhuGBtfHI5OEL2H8o4CTSwYkEbQJGdX
MVyxck2ukcAelle7giCxRTNaOrSpmoCHZpzWZdwLhA/gubS7PLOyDVUcc8lqBk/b5JJNuXngQf06
P1EV1MQ4jcbS0+L8DnWZ3Hq2SZVf593e73Oskr7fn/O2aLa5r/dn6qpmG2iDvYmN4dfEU3amLJ6W
cWNWP3I3uBg8Uc9dmBj/x9WZLbetZFn0ixCBeXjlPImiZskvCNvyBZBIzEMC+PpeAF19u+uhGCSl
8pUoIDPPOXuvzUTDpD0qqQxgZ77GpZZtMlC1iHxnQlPmZpsu13k5H86WrzptMx3cmqDUDvfsFntI
P5/sQWs6ofGuJe53zlD9aoS1+c6obGNn9fBSF0NHfDxNpZm5cfbnCgfNHXjPJj0tr5b3vSG1KnA0
fAscnf889dFvRJvlu1r9Z+SSH+KOrb9BXDmuAiKdz8uDNz8rBJLu9fI00Z3//veXf6MKmj+aUsC/
ZoHnIvUsUy3cDIWdswvi7qrI8AAK/NfOPdLebFzffcy81L8ZkKaWwX07MRXQ2mjrJ179FM4PTjbk
a0qvVZYV1bOIBU34Jv4VFg6w+M7ajrjIdvqMEYmy8u/D8pKjo1q3BVxwEuita23KJ4pN7Wi7Wr0W
bamdwWVEW8eo+j27s/WG7jqigi0AhgfZA8eygmwYV60FHCrSFYhzj0XnbOl8kVVrW+OPlIge7p3x
zcnKA14GEtXYhGn3ZyXa7dD99luEO17bfjiwbghJrg6D7etryl3nxdGzt1SvgjO97ScGi/FlMVty
F+yZ0nHtG8Z4rUU0XYFPj1c7a5laVMFt/l8u3ZubWsOpiELtvTOadxKAtEcfD+FDHWU/Q8RTjLfd
b9sW/9RpGr+lqAZ2beUaJ6vfBZ43vHn9zbaT8iMHunaN++SVj3arYy3/UzaUC7NtcvLNR9chNDIs
kd56TtWtcRU2MN9U8Op0Um0zmaKYmJWClhHIAym4OqTCgTY6FXFclRRMET3XtMygL86DTWWWn+D5
xb6dTQmyIT3aS2N/u4iHJ4x351Ex1GAgh2UhG8DS5yMUsozxfTI42e9WUUCAYnlrNed3GdcfsUwp
inBgUEiqiA5UVr1EIP2e2RAw2FeKIEXfT37AvlwMdcvbCMMx08HY10KnfyMO6VMNSnuktWy/3Y2U
Bn2mI+Mt++gXyXMOH+gx0PYLhwGz8saQYXPz0Iad6DlC24wwIdEjDZ/dOCje4QP07LU2NVWSx1/c
FuFKm7yC9bwNVm7BVKNWQ4qlj3xiDVXQT9LjDr6q9He9pVVgcvxYR2X5T+Ro+iOQNGbB8zMob9Fu
wlDwSLHNe6VOFZ4CFwRcxMoKN+RnowUgb6X3zWAGzVtQmfSo0/YgCu3BsIr40RID+hivpxAYm3Uf
dBwwkdOf0o5/zM8ijTlzFR0cZ05Xa4F+kav+LCMr3tsm9s/OMcQ+JbZl5SwJFcam621xaaWUe7so
CRqvQdwacU+rQe7E0J5mp9d7mhHm0Q5Tf2Z5jt9Nj053YkH3W75atvovVTj5JWKe48/HdYZx+iUa
jJK5ALO9NKA+CuKh3af803QVEmO76A01ooLDMXkZUYhvhFtkR1AUs28yx36/j62y3/uKNCvEFeF2
LEexH32nO+QYJt8GunUGJd8vYI+Y7vMxe9T18WFAjrlD6zcdi0K5p6jk0EZKyi4nWYUEAbt8KL3B
3hK3pb+EQeyv6Bx/ipQoH3++HuR8PWjz9YCjHKcKwbYDttTAt6kEZwqymXrarcU9MyYtyYBaM0De
5v/jBtnh39PdcsTLzfLcL2jmJkXgV4kBEoGKknxtdmmC9d4U56Tv7Wcz1FBUF+mr5xsYb5Og3gPy
ptaWeWFiAHeKQzW0P+smqF+DoJMHmzVtT5V/iJmOPXZBxnnIyMs/MX8yAcNfS/uVmRFWbpdNvhsK
QoFdTcjvzNn4GdraxM5+NuiuNkEQZJcJ9/Q1hWC3doI0+/i7Yev+A9JH7dEdc4r7ao6jSFL3JZ+s
8CUKjNeM7fqhi7T+oShsUhP8C6if4UPL6+ziutC+qrDW3zFIbFqje19I2qTyENdL0tdoZcbLGLfP
XeP4r57oL0nmSeKnDVaAxniOq+7JmfEiMhtaEm7HbYWZ6rX3urUf9MW5p75FPVujki1aLSQrwJTn
yEatrDmC1FU3btdJqmO/mlM2dS04FLXaK2Y6Fa0i+lxgTVuHVO5c5OVueWktgNNe2ZtfhVsOD4GZ
RtD5LRe1ZEGwNqhRrtUp2MIAqh6Gqu02rK34wWfQBn8TtdfqDjZpTifMgUO/WywEfZr+9kCROgKI
oxgt7kyIoSugMFh6mAUv3MZMWt+Z3/c0z4hwLY22P05J/Tp0V1Gis4P5QGga63Y06NWJF/HyLmn2
UVq6bzQEBFAkkqqjwI4fIGSX78SevmqSdcMtu2Sbkku0ssbG+TACEDw2ER+byB9QjYvpgi1B33Rm
amyknRJpjurBYXrYg6yfTOsDqwB+t9zTdsKtGY33/LaGQi4rzOQb+RPiRhIC0a4+Lw/cBTpuJrvY
hd3YPwdX9GvhzRDudtkSerfMn5paB3Nva5vEZicfB2z1eP7511XV/K5HfP3kb7UH0/AGHAD9sQEa
8FNPsK/0FvZdToZM2TgrLQ/MEEmHGTt3u7zE5XYaGoz8naXwmy1ms8GMbqQV7TqMhi+G85eU0hD9
RclAG7PQRX1lxCBzSz1MNWpLsoODzWKKS9zMObULwt1RffqAGbxaaZzQj1XgiGcSWeTp/mOhX7G5
xQsM8X6drONZTU8aH4q2uoSpvcCFqdhSWpvznZ2NWXppQArrCnXWhHmUo6lizDYnQi5PlyBIaYCq
ChXLbUXy0CFKMvMO8GGp7TblWPr28cmgr0d2+VTTTzFrbdvO9kS8Nd0DxKVjN9P3l4dAGNrW4Ydf
//teCzHgQZaE8ei0UGmuMwTooUpunGSOXM7Geuewr25Y0FsONqI6Z4NZb+iU/ypJTL8sUQe93ZQn
pg4kP8yjvdzoFAa+uNoXPtKbuVqyBOlfOAirjWXF+YW4bEqCudIfrBpYhB3/wxwk5FQRgmmejPDV
bjSzW6cjmRALsGgySXfC91OQq4fQuTWm9AD0P1y5cVjvrI7YmNLrCBGoy/qEUoR1fezzp1IJIrSE
OYKqjvpfVNXbKTXdT2hGza6dx2B57LAZzqGvigvx/zw0Zn/LSDq7TI3+W7Z2+EcXv1UyPDfsUKeu
Tjcli/I5MTjBwIhcTZBK2MlhFe0ISmN/HorkgHU6fmqS7o7u8pGvv7QNSCYC0Sfcnch6Uk1H3OGi
36GZujwAXX3Sm9m7Lse3tOFHvrc33dRObsshs3M+HenJW+vU7aNiFMzuF539+azvkVcL/Wt+/fdp
CSY2BVRLjmfx0Ewj6V6kZ61SohVPCdGKqwSADgSpCA4lPhy6iyDLHvOq2RtF7Z6ahqpvKXGrUUfn
pbT0wrDrJa7HgBv7gtOrecQZzBho6u1/GD+gjMu7+DJ0VXJJ6/CXn9dUpF0zbmvPsFfpgfQD808V
+C+epk9vrV3uC737s/z5Go5Hzz5aSXfuuM7X9VNQssrGG2sg/GxVau7ZC5r2lwGmedVEQn5AEjS5
ULz0pEiF2AiP0cs8dUiJNbgBJjr3jUlxgA5ujccADJnf9mgKfVxvGXVV4xfnpfdLEgODGI3fVqK7
vzQ5E3cnjeKvCZrTOqss+xyCUX1pA+pLN2qe9DKML1kffRj8Hu8c1xnqAoxaXunTehiK7F2Gegck
BfqhL3/HfiC+Qwk1eUy1j8QS09ZGNIDS1amuNZByt0leF56xquxfiTeMAL3ROaU45c9TBa3QN9rw
mod+v7VHp3/OZUmodTj170Kno0m2GdMMacktKr3q7Hl4q+dz4LKf1c5b1RrqzdD131oWzKeGhGK2
fwB6RFLH+M0sfWBpr4hMqyI68ZXKCfbK9zVpdBdbtszBvGCOskD6te4nhVJ4fnP5cmQ4/qWg9bGy
pxZS2v8m1yzPChQ6nt/BkqkcTX4j6cy0Ujspkw2bimJ+xARGz2V+11Wxv5ua7j01w+oht3WMVwOb
iluTvrq8XL4w6mY1kDlbVQ9N5QSnwpfb5av/fgvZZ+6hHrQ3BcjmNoKdPGo5ItEcFdRtec+3SLnm
z7jH0U8IjI4FVuhRuffKqbuoWWy/PMvaL6Y/LaETAYOCwve7SyPhdWkjue42IhGkW2gyI4bxbxLY
9rGJacOXg/bNfAX1XlJ6+EVTIh8dNz5rgZld/n2ASlYjafe+l4ZjlOkzMxeId6XOY2GZZ+W51toZ
3S79MGOre1QcGzaE8Ia7ZTVxiia9AOb9p9KH7tg3SbOWERdJHIvvxTCXN8I6Jinka4gw0Eudrt4v
+1DXOelFSROdbfeANUpuXauLX+iRHXN44JeFTxqP7YBjzFQIIlkVAkRCzUcbD/6hN0+tTQ6ew6L+
NWj2rRjyiV/igzXlFHmo/0fqlZckYKFWI731gZjBqHDaQ1qE5tHr+qNyTG9dUzmcmhTsThwwotDH
Vq6tpq2//EjiTNbdzeTOMA5tKp/8DgP+7B4A4YavSgF29gbxoIyg/on2hXuhMqIHwd57czQ+c6ms
8GgRB7RdxC8T1c/Kcplg/O39UsNvO4s5H9otj87RMKGGqpqzCLABdqECa94AEi0t9WiMSOcDD7jS
sncuDXBT+bhtrOK31mvBuXT9cycYsNFBdc5Ml3/JhjzJ5VVJIBBmEbt6NJKfYVIPtzENgjWuvZM+
z8DrkeBXTF6MDTuGAgZQlV9awa9YqeIP3e1/OvzRb6yNYlc5GB1p/3cPmr2tojkmHjX6Paxgcmny
ogbg9DPvo2MbMw+Of5fjI4F0R2/BjTd6AX0T/owl1VXNnYyFKqkQZHUWoJLIybtNj/vjUmsUH8Zo
D2unSN6GQXX7+7C7k31yLqxTl9XuezviFEbIE5DwZJ4xHTtHFKXMwOmOnVnZ6K5n8I8bE3T6/F8L
CzboMaOBnc40y+U94fxmnxzwA2fxtUGXslZjD/KJCDYyOqptzT+7i4TjvM7d5iPSH9zh88tkDNMH
R3Dms5rd2CJ6wAVbIryddYt0PO1nZcILmL/qezI6Ww1nFGbvxkuB+T1og+QzwEB3FAPqNkYQ5inB
PLtxwMukrpeSKK2yvV1l5ZHhpPtEks9EWDTwMDeyDySpGGvZK39LILWWbi2/f1S95mxVZ31oM/Qw
mB+WZ71vCUTPZnphiPeOdGN6ajw3vVWOFcEpDKMvLY/zbS6dS0jj6CE3QqC2UGS/AhCCa6VrJDn3
QfKmEz6ALdM4LTKHOwRR98zxwLZmcXQT462PtRvTHu3drMevIUvDtzoUjCOibmW6uOwCl5tHlvnf
Qi8JcDP+e6Beeo5angx7/DBvjT8ysgIEoY65OzyBdPBrPVkx7lWgPCMOFPPwb3nWu9WPzmdwtbTr
Js+Irq5+HlyN2Gdgz0xWVmKKpxXHAudSpsMRb0e96ebYrhhEX+wZ+VNr6MaxnWfP9IchOk/5W+fi
ekEm8ENVxGHVoTHtFwCn8FqgUsaE6z7PQbYNOs5HWwwGWIqkmNNLbp1RT9wErJeRVhWIKKOpuiS5
fvarEE2lA6TqUIuAdbms0wvRdeeibM2D22fhqaEQr3A0YbfiaxmSpUtZNdcyrK2OeiicWBF0FFKI
Wk5+A/e+9Tti3zWUjGycr+SsQ31fWFiJb01r7z4r84AdFl4WbTW//xSxwYro/9JG+YzXCLi25RyJ
iMJJ2kD7zwhXtQCM7pBHDCunHMerXrXIEURaClS+kX20KiLBRkR+vZbFpyBPTwb5B+Oq1gzzmOrx
3+rU8ye1v18qd2I9sP+E3gLlziiHZmdNVrRpRemtbWZDjElN7tCOwTl+ld0iA4ywrz7PrywQ/rf7
79XRv3hyI/2pGYDmOzHYuaVOogk/7Je6VrkR4VamHm8WuIdFX+8SWrW3sUFhrMOQ8wmD/OSC6RtK
zDw3CctXrRjzjzRoGkQOScb2UFoE3EbaMezEq1Rc1k6jdlFrWOdlqO5HtGEiGJPHskxfc1n/GMFO
PBpS0AIp9eKmMS6kdGyaA8aE7OyWLqL22nrScjP+JLSe0p5qYZIMFWcfwSLDCusgWZdti+klrn6V
Ju1Tm0qQqNf0hSzs4hhwptpbWYgqiubofsGz6ZI4OjFTSdtDOQ/0ywk8Cz/HBudd96kS9Xz/8gTj
RWo+NrDS01bW5DVHgC33qL/W096R64f7GMGzDT/WbUz3G4MVSp1jFIRyXxkzG2O2CQIhr0jGaaat
5rXBuxoIwiBUy29NBPNGcyv0iz0LeKw5yxJov7a9Q/GQJQT3etxVTryv+CQ2E07bDUns0cHI03cZ
J9qVdo9DTPwUbjUbPbLqGTMpMc8PkPL3JjIsH7HTlT7Guy6b7Fb62s3P1XiiqYNYRJXVlwm9fLU8
xEXnbe9xAxgxR9pid9EDmixSWDj7rOJZHzpWjnFcMPEqYEIUMpskUCWkf1H7hfFga3t2gOLauObR
oQF4XGAlzH5rJyr2pG/bOM300zJ9cGZwB+PVNIIHsIw1+qwfsD774z5FmLFN2qra1JhBsH+gCLKS
eKuikHQTBur3VkyFhOgY1961RfzzGXqj3JZxv7nfRLB2hLBj/Iel9REXdGRLzSc/wzHHF7Dxe7ue
iEAh+xxGM6MIHUNBUkRAMhTNSy1zPpSWie9YokTpiYPzSuaEC+k8RG66a7nmUX23zRnXdnNunNLZ
RBWnCKdx28vyEOv6D5ORCEdyTPwsrml7TCykd0mIlLtQDx6wDBbAjDC+RT6pC3dEPVuz9BkUKFUH
4NgZyx3TN8ndltlkHOtwimv3abm1wsZmZ8zVYxNuPAeSj9eFc2U2X5B//E6o7ygH9u0YmoK+40/Y
KICM3K+xSNfEKrOwCLB7WutubklEZiYPjUTxXbFcr1qEyOfJKq1DUoNCVcOEqpea7AjErnnSYtQr
y0ujxEC3pM3EpHVfkhasLszlVVMr9x1twJFmPF3gatwshIaGOmSrMR58on9l4rnmsylrfqc06/Z8
NE0dPHpGxhB9USVKt3/uqiD4Py/5A2h3XKrKCkmTiLOukuRoFb0rzlNd/bNcoQXSK6YaitZYLohN
qCNF+IUPWaJ4qmqfmb6y2vAoRn0rZ63OAlig59UdsuSZDYB8PNZhJtYWjT4fB6pvEi8RDHFwA7/+
m6bMXkXoWrwg9s6i7H6Zbgh9Yz41qYj9S0qw6KTlFRfRy+iZ4epOq6zv1sHDImzrP8K1NLUvXcJA
M69NRs0SGBQ/NTjRpLLwUokEeoadZWQM1oZY9b18LXMasqQwOcfBzftdFhrdRz9kW0aO6Wvc5PIF
sAK4L9QPMW2+u3RKkMZ9vt8Z2az77hTcBcsniSWed+q/B9SCfkMlNetoKTI0jRmwWBvgfKJyEPTq
5YsK2/iXFs36796aTUt+f0osB2P0ZL57NYezPAhIk/SsAeoax91/HxY5w/IyV/abNqeqGVGF73lm
LpPcFL12EOX3SdWz49udu4tNtllPgCBYeAqTWayahnCvBayABS3Y1j4rBulAZHrJ3LyONaZqooA/
WzoMB9EVya43AezNS1IQZ846T0S8jUmAwgdRlxAywTqg+yyrDZlgE6XBPFRmrTiXaVjsG8hTX2n1
WodFsSuKQTJsSV4Mr9D+WCAOGirtlZHbCCsQWtHLn5tUWmgJjQmkQERg47TQ+sjHhmpx18wyhBik
pV8abBsl/vwIwNyBhNp8b0pbe+v74Em0toF2Ii8o8OMAH0wTAbPzcntPGfFIgg+y794G1EZ6y7R1
4r7YB25sv1bhV9n0+h+YW98Df/SrhnSYk2tTrXNwzW/LM+Joa7oZCK6PjklgdzSPUDqXNai2xyeZ
uf2L17JEODK9calqCCJZGaPB/azLwDwsLOLYzJ4QOYzHu46sQmXBHR+dAXeQx12Z448pRWKqD1qA
Y6Pzrp2bO3QB1ybMJvaDWD9C2NA2aSG+YlLoynXoV5++V/sXD5NT7Y74c90SHBjnkd3SdLK9yTso
HU69G3FD2vDSdgjYyxuxHuitqRs83PTruDQkdGlUWhHROlEv2u2i2dKgQO2WZ5HlyZ1ieLqOqulH
73YDcdoy2YdxClNBxIxE+/olLNGbjQ0Mcboh3olAInM/Sgvefc6gAsiZ8VRkwnhKTSAiLHZW2Jr7
BpPrumG3OCYBAbXLApQM3s+udqFnMd9/zgL7wZuK3zo5bo+ClBoEvym3S47oO7W98NB29ks7Ce0s
4z7D4c0/qMug+MQ/8buwGXeDxl3HqRc/J9ik9gzozyaqwgOBLhUVXnIzpdMTByu/FxpY79o/AYE7
h4EyFhEgEXga52KYJmn2O+39A76b9DMkvX2HA7I4lcT+rhrHiZj+0Bhonelnp4cJmjtQ+ekwAGas
YntlEm5+X8hHnwyZXNQ3+EcPvd2bb1JLxaaxNO/I8DyDS5vZ6wHQBJGGXckoHAHIZrIC5+B29fhC
B3qXpqiqTLA3F+XI9paQ3r3WSe3Yokyx3rSE7OAs/sTsQ5qsKq9Lbc8CTxGlXrT8j5rVRJkx/2he
Rp+282gpW9oelNVLJJv0VUqdG3O20NyXPrcz35aWeCUFATohioqlJU5i7hrX/t7Qq+7YJa3/7qbj
FoX4+IMYcovADKkdtc76reFwYwKs2zc38uuNSdTdmUNU/GrzQZA1eNMjM/3IZPJeZmL4mtpaQGkQ
04vty2bbkxIf9t3J6x0b9qj1w0GZQhO6ja+smPG1C42WAtYt9rlewM3DzIeKO+tf4xSBA1ibz6FD
9KWz2W30YLqyTzxXQ0UrAS/zUxb5qIM9r993lpO8SMgBVA4PJjzm9RhA9o1y7WuR1d/7BGNZ6lgO
e6TBXZbt/HG40lDMdijAya7tfOwEooFSPQ3Vegha7+YS4bmWI/SaKsNkmaH+f7C02n6S9fS9/C2K
/31fMarDEpcwAYgIYF7gvOgRz4lQ1UdvqIvlhj/tluwGGfrWVTfxFelGU1GVIWLM3Z4OH1fHhlMn
ulaAwz3tXfQqECctZoUJGt1PQdTyWmS4pEi9CLcDWMetHZsfWmwwwklqN75A1PCH8dMhXarvC3Xo
21bsS9MkuwPd2bWjEyTK7FoNSbtVNuzIcd4srIxWKbpsENaJaR6H3vwZSwiiZsXtiTIw/4QAOUGT
/TCc1gZySK6mctr8PQomDLy0r3Du5MWzgXx5lUpzOPUF2QEWAfcXEWZPImzq29hU1cXrsmajIcTd
aJX0t2kwOCeLwns9JCGppzTP97Vne9syaNA3uO6HUfn1hWZJcxnMUu6YzpNbHPxZnCvWbF/JSD1Y
cfmEZ4yrISa/PaFycls41nirhPWOBrZ80iURWqYZ/HYskvbCCN3h0gf5ty3Sm9qu1LXL5JT0Jwdr
L43KoB9Jw0jrgchjV57nGBKluheVHwEuRkGjq9F9642qFba7b1OtwetZZ0U2HZaWfCQQ3QpSBCLK
gWQ+Lcqito9jOKi1X7jDrph6ltEKpKQZu93a9AtcO4m8abEXfwEkslUK6Vtr/j5J861upNG70Nru
McYFiCewo/pD9EaQ8sqggfQkxvYr8Of2VoBkMwqFf7mfylG7zuk4XrFKKtsCGOWoncsYYzfEhXxp
OKUGVnQt5xx3EMjlpZ4mTqrzS4PIoMPEdHvjHcEcVTmEvDkaZQhNBJGECHd7oL71K3N8hp+ZXfyx
tOeRzX599+Pc1yI7YZ0TVqhfepllmxL05qsVFq9eyqgBackPz4851KV0aaoK0USfli/LR4MEbosg
78ja2Tz19OQuli3fmd5Zb5M1W7X7jgtOS2YdTdvtWazQPBMI9Nrw19l6muvvYBHj74Voe0kIYLeD
OL8tlglKkvCQTtiBUytBWyzyHsFR7rxorXOUTT88ErHnvIC09pg/64ikG6AqLeaFW5HbaGzoDuvM
849jlow3jvXepu2dAKtSC3OG/W7veT6Tfhc/f6268ek+Ogvx5W6ioh4eWknzC9VDvefs4e44d4/b
xWQBLubvy66durfptmSKGRLlnJiYP8Qz4lpEeTo7y/EKZegg8LCp5pG8+Yvv2hnpAdiqojKijuQL
62zR9SJtqtZ+knAYnTu9iK2sVYLR7iwsDPGkSd/Bng3twKta3E+6qfi9Q6IjQ9NDjSMZgDWRB2DX
Fj8sP35w+tH6ZtN9IHAJ1HphXRavZFgRf1lP/tWq8Rzm+Qg0Aebe6DG8J7nVf9Z0yrfSYXXsomN2
r6ojlEe+5Tr8B4uTrWLxpOO/QWCv99s8sxE+MXx6vz8TyJeW5d0w63RVRgXiSVm7zykH/jsnc/k5
JDTjDT2uqU/421WGcs7M1upjG1WvRaFvFVpVmP7utGG1S77LqcdlXPXq5BGtTdMzYMHoi0+TzI1t
1jLYXbrUnCA398+n822Y+fPOY4gI2RC7yWkwwl1tVM37hBD06NdDwzHcMdeJAoomzGrrOlH4p67M
51L3XqNyrF7tQH5D1U9/Yon6VkMFlMBQX5qbndjd7A8xEpjKqJGZ/BCLdeyJDeQF+dRbMU3sMcCk
0w76Pi9cB/oT2XAzlDVMB/nYowbEbQufwmDP2oEQ/0fNAbxBXNuHoAlg94jsZg4TQn4q7HvXTI/y
jos9saFWhP1HRDWOPPL5bnj1u1tp+XIVu5N8p5zmk8vz+rEDp3gwxcxYAeemcfB+qYKwPkWEi6+q
WcK3vBf1f7wCpHvjeO96Je0dk773CMsZjrzK+ghMEuR1UxMXY8kGqNIMGWgCuyRBtrdx5qEQSTDj
4b62kKQsHha0sU/9vce9f44Kf1jNm/Vvpb7CLuJgN07Eba+pUCbQByXal8zs6dQaqfkyeHTvU6k8
kttowicAwiDi4jHQZ7AwlQ3CxfmzBDX26KNVOfdlE2/1Qpk/euGtuk4We6phlPYztdhz4ccModUf
rGWbwE5mFZH1PGaFvrbCPj1G9Qs+eustjOAVpcyoN1iQvH0dCar6ZEwvts/vauRe92TXihmSXT5M
Mtc2YalwLxm+HE/3pyHD4i3tOuKFgBfWSf2NGg18UZXvW9KP8Jwzq53XTN0cO2wjV68r9WvFKH+v
4HRf7h+g8hD1ewLhZYFO+O4McqrmUruWvS3nhwWBq+DX6NYhoBNz/C8Bfmrq+fauc5zi8ZppKbL5
AL7yv7OklokHWQhMcmarVNYN7fPAIRWxP4O7rnnOLEHlVPrdShLBdb7/ZGQxrcJZgrT4bpp4IuQk
1vuNvzSvpQ65h7iSg4qlt4pAnF5sW0aHlFnm/dlSCOF2aTgRl81T7MfG2eRwCXGVcJZlbQtyJFpx
PM5ty/K0wKBDHTxVFEHREkaG2qLqaeW60LqmOIyIEJqyFRWT8ytEyBewm771pfoEpwfTNo+87dLm
W9adPjSbTTV4vyYHq0jvdM6zVUi59tOCvc62ronQ9bXuMkEqLEwLBjKhBhcGmUtT+WxlFmA8Y0ZT
hKMWrfPA+tZhi52yKG03ImuSvbTqhv5h2lwkubTU2cBQE9MI1/zj2rXBGszZmiqf5sJZK9zsz/wk
hwf+Z0zbM3tSvrzz/7+kQahbvmf5ZtpfjH2J2i4Mlw9kyt1bFEs6mkzFt8g4G5YHLO9WoQ0XvC1I
s2hCfXFJYfsFwvYY+MJ7pCdWMtPwtC/CQDiM/WuAX555syleeFu/ePQ1giwEbcZHZ44OQqnfXCxi
rN5QA8aENPbxA16p8NzmxY+Qevm8PIjEJKsPPRCJm/axj0vMW1VoH3HC0ItsObnXSBbeUg+EVOuy
1mtxIB+WlyCPPsMBnua2djm+keuaf9kiRJ+FfHLUtfAoZ9kIDs1uNQrAbrZS1qU0EXuI2lZ72YHC
CWbFf5P177LLgudaJfUm0xv/4PXdh5jK4ZQavqBdouvPkPqI16Bpbg7bJTiUDqw8cUGmMNtqKNEO
+gsatduuhW29dJM9T4CdwDPO9QgUkSwjixg+iwu4XJO2xzDe7O2MfnT4Y7R6AkPQLFvriubGvq/L
fwIccj9GTWHZJgz3bjPtXCNi2EtDDbWatwHeVH2hu/onlPwsSqpnvSYULVaYPLBhkqyFfaxKsrdh
fqH1vL18Q6QccX/277fqZTc8Wk0+bLBbVR+YiTdiBu8HreluZT1ImEGypn2nNpFBHxengILAQiwQ
fGl64C7cjywnw4Xom/963dnl9qXJTPOtSx+1Lug2ntVat9obYRbE0+9i1FkvSk2/eWnRnDSITDvg
ThD9GAwfBl3JFXkXCQtwRxKFQVu6Kx+kHk9zhGu0LToOucBIxYdeedXKbPrxIaky8REnxPVajIJ8
s63QxhanKojSj5KsHoBnAGSW7wqr/FcX+vm+VJCa7IAEJGPeQJaHNoxeS66cc5T2f98qrfa5jRnp
y2Ciyozt6AknRnpZvj/1cD3cvWFtzOVI/En3QvwsEJoW5rs5Ie5P1dV1nR6hDilgmc9UknNPurHn
9zgQ/lC1BGVSDwAHsfYyH6dtl9L0YcSJ7lBVtVr3Lq4jSEj9S9Gg4TGdhltlqHeL9GN5aIWf3XwL
x6DI0nGXdz/vE0cV9/FqLFv/GxKVTSf5TyXQefFRqdcKDe5K6WZy0Ab0JcH8oCmLiFEnoh2DcyrN
OTKUo/GYZJZ3NOlJkr+JlkN1vfcjnQhIAY3yXpvDQEO3N7YZbuyTXpHWhnRt1sh5wkP357pnsozp
GrUqWC8vse6BPc9GE4xSUO8KIafzIGkKoj4uGGK4zZdWdhN/BrHhDPxU+ELdApEz5U7oxICgIrya
lag2c0yZBGksx8vGNuOtiIkosFtTXZZn8fLS/R/2zmy5dSTLsr9SFs+NKIzugFllPoDzJFGi5heY
RszzjK/vBd7Iyowsq+6s9zILY5CSyEuCDof7OXuvzaVB79I7qufWvQa73fSTTePc16VqsInhpjOK
6SDKvU2zZ1EaOXsbYw6rwjF9F+N33VSB3yP9yrXXsTvrk7DfImui8yLuGoBGJ0l3HwMNxh+3r+Jg
ff2hElTBZlQQ9cZFSfA2ovOyiiZXdZJsrRvJ4PZNne9Tc8SSnDjs9s1TWHTaEv0+XR3TmMFCs1Os
H2gV1a6OCOw1Vmy5zYlZX4SFiMmIaM1p1WHlL02mzCZNxX1OfvU6qEpjX3veeBJ6hVswMqYn6GLv
uqko37XJdyQp/BJl+KlTBR3zDGsxjvtnJwc40afO7dCKAe/m3Mz2Hdgfg9w12HVdbU6NGqQ27ooZ
hRA1Ft1WOiljVbBbps1/o5DOQI2XVDVdEjNl9FG9HyWQTUpF40J0TbIPa0nUYZ+sYgoVF8Oss41f
gAtnt/ahhTF+hJYCW5OOxn4qzPr8qzJU6MLtpglUBCQd7G9krzTzQ5JnnaVMcmPT+ASC63pXHjwz
4OiBlt1iISWxryb/tM41cuBDatWeMLMzKNYQ7g00JzPuqvcws3ZWj9+vpYO1ybMi24y9P+zQZomz
OtbhotNE+RWBZawylGVO4hxhP8E1HMJ8h3fP3qjZaB205n42yL9Xo+otJzQDh0FFTDXq066WSLPU
mPYckS9hW2C2kENz0X3/1siM4ZWr1FjZ6JrnTTPCwmqPlxAvve07t6Wh88Hne400P9OOPMlJHGcj
4BNBkYegDew7QA/WIyUqP8exhJOsoibn6YuETLO7rO2yta+J8BRr+rjT4XLAIx3HjdZ2uXttRaOP
Mo49QppfSZEEdaz7wc9vBzISwuD+mn1Gn4zVt9ctFSssMR10/sP1RkUwi/Pycn0gccLh4dHMtV/O
3cUUfpzMO23tx/romldDM6VvWgqoSFf/6LbV2a+1bKoJfDReRRUaz1Wh5VuFvjZXYh4aFOEXseWo
h6j0joRvSpS1SGe5NsIGKne+MlKWMT+uF2X4v+qxVMfMHZWx/SUwbLvZUohd2RWzJ/ZqhR3H0jtk
TAHqHNgI1vUpLh3zduimctvJhnB4X3qLa/deiaV1kBGKlOsh0wW5lGYdLB1zIOx08meXenmsxttr
Ohz+HeOUD+Xh+oiNEYDWK47p17pWGpVJCg7PGokBx9AX5+urcV10iHLJ5nlNFf3t2pUMZu1oomC+
gNqKUbIwzE2btVRj56tygq1QJOmlglxWT2rxGoJhXnupc9OOpnMcuyjajrZd7zJNKZel3tGqpopU
loX/3AmCG0ITTCHRQ/Y9iWOrq+MpNPx12zXFqU7CszINchspKqgqr26W5hXbFGiCi4DIf349hPEy
N9zJaM1y5wbQI/LW1kCWGbTW5teSJte6y7XQDSfRXhBl2f0qdJOzxgeZQqrsVHV6g/h3OkEboOZ3
BT4Z9sV8SMqEZDhnxwiF11GBCkb9dr5rU/89evMNnXV7YyT1U+d4dC5khHPYMX0oa0iJaq1n35nF
t41es9dIKv9AmQ0/ljEpS+gMi8Q2ld0wbzPShGCanPgYqknUtG1oy7eVFZXbsVHaTS1zSLhxdg4b
M3MLOZpbjEOPwp4b00oTkGEAW1dDiFxhRstC2rNjmxSmazQQJVAHzB3qdvKWkIyKiq5XWtvPv8Rg
Yxgkq6AchOv3/u7aA9AaVIU4txAQaVOurTIlQU7Ym6d5C6DkavEZ2sq9LxrvXfOe2MickPVEX5be
vOMPjh4TGfobGkvh8tclzZmAiHc1y6yajeonJ9U5wKX5xOvum6nPF10pq8dk7OE0qJX4NnFMSvx0
E/3NZca1EA9XM1aH600Hbf7XPenpF0qM0yZnn2CdbGDURye3KJw74Zx1OTtAir57ahkg2+t214oL
cx0H4F05LD94DrSzmbcR3i9bHkZhPEe6bx1NHeSAOekleqP+D+A+wQkkY7EE/XVYUDlQztdy5/Z6
g9DH22AW7N108P742fUXo0wwzSLMWLRB/8bMg35dltkhzgb/5rrZzSUKVs3CZNuHy2vvaNBj6y5M
MBzP4vAy6Z/qQDPRUTuUFR1hHK731NZ6GOGwVCvSK+xDnIdyga9We9aT4LsBIfnN7nWBo2SZWdOA
exFrUmShaES53wN0na3OXmjFi+u/abQgI+sEDBD/+qrtaJ9kWSjRFkAt/lXaaUdCNYMkfctnVyx7
Aew1Wa0fynSAbRGkgEam9IC/iEzv611mMjpf6h6erXHqYMVQi6mPV3lYaWcj+yJzWBHKBghTxgKE
YjDOzFyJuaseVgNbGRMmXA/Veb6p9eBQ4+U/0GAMCMVtmmyNDYj6YGsofFMJUelYHsdUrnugkjcy
aJs9HGrq6mV3M84/CmaAuc+suWwmg5irCpCIUh3LsBuP9XzTtcl8Y9VuSTrKarDGiqsdDYbMtN5N
TcndXOVq64fwG1Xyqw95PXHRUTiprhGEoYrgl23dWU/N7kALjl7vXNAJ49ZbqBXarJhyxgVmjhvO
swiGMP+ITOLdJ6hkfX30958r2kDmgSZdJDq44Qp73m6NBiDdIrbR+9J0UKibfw6kHcZFJT877gQR
P8FRbnEpSyEdnhs9Te8V6d9dhUGV19WkBbKSQZuQEl9SvahIjygbfw6AShY2VfIbNZuA2nC2G52Z
6y4Sv2I1OD4ynPlba6LRcYkgIUgqT61bKNM0TeeWqI5KclF3RHteqXlKFFs00RbgfYmWynp2lCXp
RYE0RhQb2nOORsgtRIHJF/8XnPESALSGvMBv2XCIiWpMSb/u0DtsAx0tWw6pkZ+ugaeRRmOT8b+j
bDsDpzXa/3PqaO4w13lhgcqsZcKD+KLcZLI70Ubwngb2vkSSeQOS/XB91YjbY3XvJxRZrgJD0We7
DGx84QwvMBi9JWTaL99Wyn08A3eArlPSGzPgVTZZUI6mpCehKMeCBsWllMF7qWn2r0eaiiDDxppO
kYxfxkE4nJB2PV0fXW86JHLWRHDe9ZFMNYDBGRBsK4SrlSTDXTGUPxql6ygi4IIyCNnOFBpVcPZZ
J51ToCAIK1nxv7EeXhRzPESq9NwQK4McQdHc0kOLvugDpV3qGXVLM/Zo/BKQYWoTUX3Satc6tDN9
2rAqSxjXlnko5WtvYIZZRjM3v7F6QV1y5q9F9B+YsOjspRmKLtW6myZb3Zmm84y1NMEeRwoAS8/+
1NjpC7p1e4//Kl3P+bfuMHT+RhB1huY9rc5TM1TntlP/f+lC8r+gDU1bJ4fYlKapkjn1zwnz4aDp
FDIYLHo5EhsfFLsaTtmpQrd5TuRjOPdUJroAB71LFlEWv4Rwxw/2aItTlnqGm2rOtp8DVq6TfgHu
e4tZzyAWjZ+1SgKmvrrJva7BIk3F9HovNwf6K+hgfzmyBqK5fjm0EBFNoPqQ97aDTDFRYVA0eyXa
6EqHJQx5NmSNflmYpouqu/jo8pTO9DjQ783ylho+QqRovhn1SJ6kHcs9gKx/0BN7giqOFdV0Ky3O
HGlHEddu5E8tzAfKtQUrxNmX1vi0sai6Gee0AVxVS3T9kXmG2R2v2EiYv/BF8eAJF158tirQgNXQ
I151URawh73xAXXEsulTY1UHhbppIMVc6Yb//qek9vqv/8Hjz7wYK7qZzT89/OtDnvLff8zP+c+/
+fMz/noKP6u8zn+a/+dfbb7zm/f0u/7nP/rTK/Ov//Hulu/N+58erBBPN+MdzuPx/rtuk+b6Lvzv
fP7Lf/WX//Z9fZWHsfj+y2+feQsVklfDfZv99sevdl9/+U23gGD++z++/h+/nD/AX357em/Cz/fs
3xa8n//ytO/3uvnLb5r+u2kRNITY0TZNqQsQlf33335jWlJ3dMsSUuhkdmOIb4K//GZqvzuqNG3Q
C0JomjGTJOsctdEfv1J1RrZua9IAfvnb394dPPbRz7NfXxtH44/H/5a16TlHl1Xz7D9HV0pdswij
kZZtaMKQQpX/xM+Ee6H7lBE0bAzE+LZ3oXnnNe+eV7rIqeuMIupGDheV6qWzvSUX+94Jb3XDX3mB
Ti+H3nZarA3ilRWHBJDqISufjOLJGh+D/lGdboLy3KKjjzZUQGh8UQtfjPadyD9tiU4L+NW9pV3+
d6D+SwNV8tX+9wOVfIjmO/v2q/xPw3R+0q9hqqu/G7aGDo1OAF7yOUD+j1FqM351YamqJKxVNTkf
/jZKjd8tUxXScRg93NGZ7f8+StFLEMcl2a0bJqP4fzJKQd7+GT3LOLUNw3Q0dmW8E06iOUH48/2e
XHBGtfZ/vKbrifxNYiKcoosCJKgY4oOadctCpRpNDosUJ02RWwrQT7Q+tnZQ3DkJgvOUngoOWazi
p9IIa1fo6m3BSYEZSmW7ZtI8VLNHcJIbSxiZi+Rj69sB9Kr20QZzuQpJtHfZXz/bQbdqTaVxfQCj
TcsyuG+CAiN8djMpQJjKyby0WpdR7dOQgjgQCVEyH/K0YHtg7GbUfR5InWAGBJ8p1GWur8veis8i
G+66Ov12HIQPPcE++HOcYzxhMUlDdCcif0/8hMA6ioi2ne7pg8AEcAi0D+38NatfYdTdUyqNKHoj
dIV1sbf9tIctbb+il3s3q/pAHetFdNmlTrZRmL5i0HzIdadZYHwrKXVg0LbTqHtluVwhmsfhUnbh
EYJGjMQuCQ5JmD77TebR8PWw3mH4uNWCYd6zNvWp8WSx9YrsQqnCo272EITxm1Jlj6WDKjuuXn2H
9lur4DA3ew6mQHY/0TAfQ6p5tGoBPyKhrZEomqP+OA6F5g4NfiU8FtFt4vdIxwzsGkwwOLnRw6ZD
61oKZuc2R/Srd/br2DjFunW8e62YQFcYT4b4kALmmzQTY1mSwjNgxeGLgZI7BTP2HsU0f6VRtoQj
A2wxzlntTyrdHSPH8JKsQdAqKMaYoAj/CRvayVZ9CuwhcH0zXmew/F0wGcM6tLIlxHOxbDwcudOz
IOUPueY5xMextHuiLJp4+DJoFNAhZ6mYWJtazOu6kN58V2sO/eXbqBIqvITvSdFS8ra856FuTrSj
1xBhqbkh3jWN6cUR8NNMFCtj8oxYz+VF813ux/4uMH8sLXb2tCYzSF5iETTQE2nVwo9y3olEOdGj
RoTBArtGOqqK5osq263T1OSZqgOCGu+rE2mFN3Em8sXNYzlAXgrZo3RJ4VMgyF6mGhpWMDzkcbyQ
AsDHUD5XXCBsOJHBOJ2cwXs3EoPsKSoe9LyhA5R7IyJejBylbUTrss0UIMWjDvTOOBQm+IeJ8ib5
rIDztc9uyucMdBQTdG8SHLMrOi5rv/ZPVWMdijJ5seFuuoiz3k1xKh3Whymx2ku/lnOeDpkivJku
mS5FEEGfth36G1AOqeQgkhNvaqCfq5ijGZo4BJrC/ugZ/6um1Z8JSuLJeDEcAmviNTDJr0FziH3F
1RSHgI+yfPi2ieCWweNU2kevRNo7i+gxoaAGX2ALQ2Icrh3OnSHVn424wQ/vvVa68uPPLxICOxmC
ZENx5TGSiF+p/5LI3RCSV7JXEOKsiRxThc7ARsf1FY+fCBtL1hz1RUk70tS6S8wWgkrxu9ZxqMbh
ghQR7zC7ZzNh0R4+c/CaVFs0JTSMPOl2Go1rhxTHJCOBMRPTWqn09zrwk6VDJ2HRV9VC7+VDAb1B
6xnVscMYD1KN5NGcT8d+YpDPIqfwmZ9S4tS0coGoY2+pWLk7H9ZBtpeWt5KspTGJbQdU77bj35gx
fMJyg8V1mySzoRSS10QulAS1w6pBQY5gEXXF1+cqyCxruvENXaXYWfqYDvvirItxWUf+I8UxRLXd
sUb3YmKM0JVh13nZrpNs158821unQ3PktN5CQtsPk7WcnwlKZGVTsUOwurQqYsBB/PRTeBDaHc3v
hYk1sVFuNXLyjFfTHLdxVm0kcbb8+yZp3FHxMqhA8AP1XIYgS62N3uaVa/UhDDNzGWSQGEPM4R5+
ZfZGarcz7WHrRSO5IUQvdQI/RLY1C+Y3qqxNHKzmY9IWLdJ1ilJkNRRDc9P2NR5p6M9aRRHQ2UvH
WPltRpkXlsxkIBiMzFtanYdWsY7JNIKNQxCXpien+yEOqRTR0o/Psy7MHP17TvNlZIFi0vPdmOeI
AOUuAeeZM5nJbg9nmTFAsl/Ur6qYC0gBM4ronvloefawS8mdn//fKcF7m/c3ir9q6pcOn4M/0JHy
fQCfJqJqbOQQ3QdCowaym/xWbOzouc+IBij79XxcIxQNA7mr83EeESWh/F2iEVqynVk4sK7VoEIZ
d5tTLvY6uS3y4lY0kIBoOhxKFajoWHwiZCSBLs7PMINugkw7mHCJqqhEI/c1DcjwvFNpIeoalQQm
4YtKdTuoqlPJTKRzgbStAtp53j7mRvJi9P0j9aa3+TH6gRewmGeK7rceBUSyBi58KwurMpZVk56a
IT2bQ3zGr3bfYD2rkvLg1CSq0cixxY3fBg8TzbDaybZqMT5Sib8pdGOP3pJJJjlXnbpP0Q0FyBLZ
SD+OeENiJtHEGJZ5A+cEt4OOKhT8+6MidSLigqMPJ78WOYDuiFkGIB5U/SrUnlXNg/vwUQmGWAOs
LKzfsFN9OF6zHGDX+Zp/N+ASiV4yAkYxoiCfvkcPcFCAVo3GcG/wGhiAL0ZJfnis3Fif4Yh2rgW/
MYy0tNV9VNfLgoKhQbmyNe9otJJ0l1FYJH4jHkmJUbfl1LOohxWaYOlM9ybyB71u7zsjLBdoYdeV
sVLNBJIagrUCyWrhoL3p7icfxZHjPzl+thINujQ/WnuauqJ7cUirnqgPWmUB1pQC9nz2rb7aRXyP
sP0GcclOlOO7afb3SXMTFs07eafPuileqzou3D5Uz6n6EhTLBuULBsOTRGZDTmpOPsIIf0m5T+Xw
PNoRNQDrKLR6KXLz22PYpX5+CFSNbL4BCex0iBfo2C8NPNVaaCdb6h9JOQDnbZce9KKimHAFBRhG
E9qv7VtiahjYXMdX4DdkJ9IlKX5bxsq7FrGprTK4g37cyHqkJgUusCRUsKtvokl9yftD6LzrzaaZ
TmRXujFGNYF3MMXfXvbgKfNDM6KzLcZTRY4W0rRNMjtBLIXImTSn0JOdWsmwpk4PyLd9kpD7MIgP
P3HivZXJhw27r9IWgBwHJHAqdsrRbC8AXu58dXopJm/X65FKO0ruFJmgs9piqli0lfFhDv4mjvSH
JlD4TJxz8JlYGUfQ9Lg4TmZ7H5KXFpU2MhUfpqWP3tisWA1Ac2hcRcYfZfE4NyC1HFqu6G+Zxick
6LrFskPqq5DYKz9wtn5dICGiJlHUwInuoYTBpCfPWW8ftSq8D9sYjsYcl5QyQXL0Amen1vRKYuMQ
O8RbgGkdp/jc52KnNBcuY6BihsegtCmS8HUrLkqnCxfAx6RWHnPRPZoDJ0WGXzb/qQPl0mvacgTe
WgXy6ETykQnkAhH8rpMDjiZ/IXTvEk32JXDGZ92Ozq1ODS6YIOuzZENUOfTMHZRfALjfJD0hNBny
4VVRfLJZUXdhqb+D9rNdqymQl5UJS454o9UPuicxK8JLc/NZQO4Hx2Q2LcX2HapTEsdaeURbfKrb
u77dxnnwFRDYucpHsmboYtpIUM01MQ3aAhTJuhl0l+rxeABmtIPjfaKpzpGadlYiTp5abTPfulM9
/irPBZEF3rSe7OJ+sCqqeoFOIqemDm6AZAbjgMuamxTcipq3E05AKkud8ADWOspAqLesGKQSxwRk
RxlINE11Gy4VaASu05DZopTHoUsQTIlKoeBdyTWgCbezSsJR4v4I5gOxTgErHROmtlQZSshcFh3B
A/Chjxod4GXeE4g3WbeFX762ln9Pa9CgDt54rl49DiPhrmxBkeSQzSWxJy+Q3m1Nq3+sRXZCFmxv
qMBCwEQwGaG1WFtBtM2pvgKUXFGXGpdIvirCV9llGeHNAIlubZtJujYJCs80mS3YeK06yQWZ5gsZ
eQQLsKno3j1RrkODNTrB7ehRKHprDkDZwG4XBcL6XCfGO6s/sRttjM5E7xFlN03MyYol7LWa0NZN
0Jyxtk24CtC22vBj3Ekt350+YVmBXG1obRsoM+RuGJcDF/WEYIStKvP1IDt7EbYlia2cbcmHboT6
Cq6Stu7agpNx0enlU+QZP1oXfJMhTyNMKC5x3i0TX892yJLnScbEfiigT68kmHhOfIgqovBAijTo
/qZpSZLwTMP+CUFlQxIvp9veAa3JJ0Fu0kltUxQYnKT0c77ffmXKvsatK0AaDFnssikJt7QFvbWu
IQPATMrlFlXTIkVesq6tdmFQlF5WQ6HfmmOyLSorXUkvZT0jexoF5JqQceqs4AmGSGj0h6QT8cLg
sy6rvFyp6LWPoXYvijJ+zOuI9bMYui02GHMFYBNoWDrG61ExEI1hHHBHr4Wuno3qglm7WaTOh1Iw
FA1DfHt1e0DNWYNRECnlKcNmqEcFu07GopL1YmWxHHATWvUL9N4zJh8ZGxmrLqqPYan2Te/28Y4v
wVvP9KlVyGmjyTg5FqHXr4w8/vLBgy9x9SFAnppdPNqk98b2rtRjmv/anZOqMD9sEt99x2G/BKSq
i/3HaWZ5GJ1CdC0CP6rkbB5JGXHtBs3OjENThd8s2BEa54imYIBNdNtYZr3zql2sz31kJiD0NzHp
0Ey4qNxtkdGvlpsshffeppFO5zZ7R7Wxl5gaXWrwqM1xtS3LrjixrvxBSIMUjYR6Gwg17rMnURjf
HZ2DdwJYyOxy0GtVw6IZiJuJPDao8G/8tRxyC3NTOG5Iz/1mTh1v+TYytj7OGvsZoAV7X40C62FV
/3GvAGq00+gHabUd8vWryfqqUxtNIkPaXl9kER66Dr+G65DOeiB69gzJzWCQDOnCmOsqnh90T1ZW
AfosdAaJr62DOu4uUXIWqa1TRy/HBbX8D1yv1kU6N5bqLUqH3r8Q8aeS2zmidICxenUbMDb33YC5
xR9V654mA7XK1FdvYwdXfInQ0S1m/B4VrWlrE18WjkCi6yCPlmOrfvpTSspVxOIj19NtmuNCSIPI
OYxT0GCiMNdzFN0JyFJ/z45rP1apt8MvOa2drHwZHDPdRn6JObAt7mz9e5KTcsdLgwJmztg2Q19S
9GFnI/Anc1jvg+C51wuQDjL4zNASvVqW9mQQe/tdEiBXd9OTMKLdiCYCLKYPszUJ2KEQLVjGW9BK
hxAfLisBDO15jRvQustDhVU6jerkLSjSb9Y6RHynb3WaPBVmuOf0XtMi3eR6AxTX0e5608R/iaKj
RmXbdacxqGDHV9YWGchKFoCQzL0tUt/FfPBQK6OzINdzndIAY21kA5zvZ8FebgHJ5AUwc1rYy9gx
QDIaM/DmxFpIZR8KaslR/U3IolioZs6/TZZmkQK9HHwKyh4kMNftkBiDtIDcMeO521WXjkfL4ayZ
mFJo19vrfnK24q0EzI4W6Udx8jcbVVw9nRBglUn35SThV1VUL1w4ViZKLt+Uu7JKLsmw7UY0tx4g
Z41iElJtUIyjz6vq/oM3YR3ysmMwJUc/wkFo5f0DaeNw2FAHuMmouh1cnXRIP1JL3+jWtCIpYZ5V
NgKqyYli1MrLvD34iGfQd4kCeBnboCkrZG/aXsnar9aMTiqxjGTUEazo+ffMJluoqm9+BM3AqzFB
+NREnIrsiASlNhfVu1B6D/P/DU93AabcJ8mdmYcfghxRzG3NqfIgtTalRuYQ5/giDsWNJ5NjbdWs
lja0wQ28yCA0ua5S6yw+ioK/kjSYCfKwteoR2PKxaeUDhZiLg964B4NeNc7Jtm7TnrPGiWi7p5X/
49nsmiPg27gmE0HokTlNlP0bzuyQ0ZMnb0kOc5N8Ti3A00CkcbNCNvahT9YurNkI+1785qMihqV7
Q4hTiMKPQEzovdCZwPaqeb101MekpLADA3VVTxyTLCUsucq6B0W1yRfWC4O1cUDWTE0DfBhBJk0V
8seyxIMoF56qsSo2k8vUOrtODS8BqZ0j6L+yalnU8GX0oYBAknwYiYcpyNxIJzvHYXWp0uqlT6qt
4jtf2iheU758+ATKvpXkXYcUOnX7YaiUfcehapFuupgB1zKntAf4XwuUQ5ea20jr7lDWTTpjDje6
IEJCQBtz6zQ9UiL4dHI+0lig0uitVaKPP5K/6Po50NES67AOdjkJlfN9m0xSbM0LeTsO/roc9xn4
CdVOmXgENbkGjXRoWVtUNuzk7PelXQMetXFOqwg/C1aKbXTf480Dx7uqRXvKWuPOs8RNk6EjxBVY
+aYbqqj2Bt5rpvs3kSJDysd3sU3EZoOxEPo257NNmFhrAq/ljWamt+8M/uV+xmdavGuPegd+w26r
JP5DZDFb9tjVIdKgQNhFIfCBUgtIpasIg6Qe7KRiV2eM1IRZ0sC+o8bPTZNePDOh3D3cTlX54quM
skxJL6QP3cW5yWK2mWv9tnNpfQ6OpxHS1eDAqiI2JwMAC2q8dIQ1gEhZRFN7RjwOYhcTPHTKi71i
Dx8yZP3Q0HzHGklIJyb8RWd++kKui4nDTixVOdprxSQtS+vJma3KBZyZmwbhPilV2J3ZSo2BTlVo
sG6qonkZ6/hHwE1YEbH7NKjJLfW0TQQeCj+QFv/osl32SncqOfAY7n+I/DJcuu9L1Yt2TcVbHlvm
GcXakqRhLjXn22hDWgBldsZQ+VF/4Dyis6GwYXT2gRJ++IMNXjZZmc30pOlgeslgqvRXNZJrQmif
GkfZ+4qzL9vsLfT1O5gZK59KXWkxTkcRf8CkEESBdKdD3jAJ9KGxTwi1KoC5Rtn8hVrjPeWGBTyy
Y9cJTN7ZpdLNO66HF8e3d22Ls4yMj2xiTlPzd5t8y4oxPUy0WWCEv8CoDDdwuj9+coVr+cSmwCT3
ItbvyLVcJ6pCwk7Gsfdr/c42BZTIAirx1L5K+6l81jJnl+ZsOfq0z5csV0jPjcOvpB02HfHlg42x
0/MP1Vi84Ex4MsHpDOCPa499+mBLtilGfjbYSYqwf5IUFMrQceeD0VAIHUhBr1Jg0kNUFazlrBXS
5stUZxezhRuT47DIOcUz4uNy5bODnuTS7j8aZb9oBwTgMjw1UboPOwWEFqQxqrypwX5FGv1TF3yK
torXsmYyNnrxAJ364Gn1riOSisJZ4CJTQXlgcF2ztO6oPIwjtOA+v3QoN8paIWxMbN59HPi4v7Yl
pQg7np7yPFkZntjNQ5ZEgo9x0ujFcrkcrG5hk8xVlPKmMOboAfshrMzNfPkOvQY3p7XtM/2OOZ71
AIo/pNe7FNsFbKOzRnqCSwAgO63sPAYGIPTmJHqC4MyKeX7wx2eWw5yTgvjctn4h1PArU33aaaQb
GmWzhOF8H+rTuQM3RnGSiNghs9ZZ09JCW3oDIyArrS0UxXphYYhjMTqzk6gjuib1HSpZbLAQ1BAU
ovgqEWMd2MlIPBBE3LtIICWLpwB+KiFi/mzvNQkK3NZRvLFyUPsdSmMf0H1cIC1XJkTXRAQS0kdV
p+PcXEVJHyx7PdNXrMq+/7e//K/1lwmS/e/7y5fv6iN8/3NvmSf80Vs2fp+7xwh/LO1vcob/bC7b
mq3Nv5ESFqBp/r27LH7XHE03YeGTq6nTmv57d1n/XTdo1Dq2cAx+/T/rLpPHPascfoklZo3H3F1G
7oWeQqMtq/Je/kkF0TJsJ1Cd5QLZVmvqzcJs9YFmK5HVdl6Cpw4QChYZNpS4WBbN3sCatrXSbAOF
Z1rquQKsBBuQm+rZUqQAW8D8ffljiW4Z2hCWsZQONFwxgt0A9oTi2R4jWpH4v7fC1m7jvu4WFMRE
rOgr54h+FIdZN+zCYkvyE5t9OOssW4hZUCpxcUgqW9io4FBE9YuJrMdF3eBZM5l/g/htmnV+SNWL
hbCHhYJP2WqiR0vtQKJ67F9k1bPWG8jr8uxTimOdbba6AeR04w3QyCtt/Opb1qllAZ1yUKt7B5Hn
om2I7cO6tFT6wWYmgVVCZs1K+KbFj4qCy0HGrArgzObaJ4STzOV4jW60PJjCoCm1VarSXKMZoC8u
BZwJ+Cor+EMB0wXiK7JFV0owbBk/q3hyNiHZFSui8Sr2+d9E/95WipTbUYdIO6FNXtlZ8OZZEcSB
VoQL0FfDsi0gaGa9wWKNJG1A05QVRd/S0VNCgNjlNyl8ykZz2m3YdAmmjL2o+z0U8mdnIFVHw3MZ
HYjZ+Yr5Q7hS8bunVD7VAPFGtYboVHOYL0bJfqIETSNR/0k7j6UvgQ5D08zaaw+eZa+5mHaw61fF
IpmMt546pGW3rJwAXZgFTBpNQBMtSEpsMbJDqyvXqCY/yJIEPHfETxQtyETp3MCpyVtOIyI4KvAr
mNCWYUeaXuqR6LIum+zStGwQjBp4lwgRmQ3eqe21jZ20s/rtVNAu0uBndsETqRws0Kxoh6vZNesY
gWLG0pyCzqpWoOHzCmPggIvw4h0eDha4/U2Rpqk7P89PIrYO02sUIdXuNbYiXabd9OFPHYqjqphv
SqN89UYAcAnfDpu/hc9VDcMKDFjYXE+7mGgEOqnA6qjTkYJUs940rJOn2Cf8O/hxl8J3OHxti+qo
FO9AAp9wJxBfX3PViohLYVFzA2DoKDL/LrPsG6nZLxZLWrb38LXA9qCEBSFe4Vwx0DFJr9uVWfeT
acFugDBhF5PDjoiPbKbtfUUMOX6DTaU1N4iiLpWGg0n/afz0A4rOLdDUR3KMj0VX3/5fjs5jOVIk
iqJfRETiEtgW5SVVl0peG0KmG+9JSPj6Ocxypp1Ugsxn7j3XNr6knA9TPM2h7SZvMpkeZ3121wx0
t7+BJvnp4ugQM3JWWfHgNCk0Dkym7Y4P726u2tvQpic13pcRIkLMwXyzcNO2zBmhtJvPsaQ4jVQb
JvBGNk1hvbddfONHHVofnmy+rXVmW/gpCeKD8WP76XvcsyhsBAvrOxW7jBTH6NNn+roxhh7T5R1b
unFLfNS2VjUQ/3b6qnv7NGAgTzPzhH8CQAZoTdl9GWySXWf8YOBlbkjBjBqOpMCV16a2ToGxHCE6
2Owkz1Cs6OyFuk/I3u2mEfxo7t1ZIn/Fnhl2EsU1ICmm/wnyyNrSH2Urtzqm7iss5YS+zr+PTAAp
OvvhPQWxHvhwmnI4elI3W0iHT2khEb4qRlppklNwPHYmoDrbolnTgXXqXNJByQqkMNL6jRn6ZRRV
tVEifpUzAsgitb9ZgcA7YN0xJDnYyoKEkjr7XZKtNWQ/hICfSJF4CMr84o0IZYTrX9O224puDXRP
kptaJv4e6FNB7hP9x8FvDd5zVVdv6YRCBVrxHydkrTSYPR8/Hs3Q9fxPeyGVzOvZ4FU+yw7zkHVZ
TyMYP6ROeUYwcTcJvqmC4Dk6F/shoqcKpHkiN/XX7mob6hcDsRy9OE0ST0ETR4Taz0xehHEXBxiH
kai8ggz4TmXSsd3GlyaYV9A2PGr/O17/ZxFY731A1Y14dUY3Qnpl/CBsSfjl4N5jwz6o9WvwUw1K
hdd2AFyPA+Fx9Ns7F4bBjhMVhIgubi1MEDmC5HbjTzODJwVsz6vRi0vQgCgbbB9iRkel+jMvYOTL
dtIb+lVifZe3sUFkQxMDWo6wy7DPVu8w8Sq6Z5NCxxenmCQc47PDSGg8IJ7+jWL54OQ2KnDEgwuU
zhbCYVDJr7SkfgaoeaBpe6992qdiQYMwZog10jCFHe3n89dEVhs4Aecx5WC2tEFQkfQ5dGpaNG0H
bwlu2r3u7WJrI7bo47vG85/dmXl/nVW/eZLgNcZUsmEXcD9NPifzII95iz4LEhIdi81QRkFDopGE
TywmazNmxAovwfs42P9KtlU9a6mwiqD2LiXegvqxRUXPs2G/ju78Z4h6ymGXcYwE8hVlxusoiVKT
AdzSKfavc7NGWKfWYVlgaA2uV+zSOP1oB4dMbekP2zr+9Y0TgiaWDFY6bFG1P/L2koMsqy1xYuUG
O8ixcPt1cEbVbXJAWKUm8jvCw0dadT/mHN+G3ACcAiwNknnjQHLkkd8buBaytRGH5LW6NHMMM+0Z
L/wc+ln7nvYNzr7A+7TM9skcixfN8B+IRhXWI3mWfsfMkEmMythoCpujHmkerUhxKCNuQSdt5U4R
cbkhH/JuNWMetI3afw0q8lKWNaNQgpGbhZWZHXITcfpwc4bESzdIwe57y7M53gxoEbhAtbmfx5Q2
fkKsk/iAP+RlLI12k2vrn9drVijNm6abtGI2NlEh7w3Lu1WGS9pI+lP4DITaXkBVXTAZDuijSWj9
Fga7EP7qYOtSGXjsk452GkE+i8AE5Ixm/a7FtjwIolu7G0hDao4ZMiUSuTtIVTpMAvOLbFz0LfMx
aRaqgjg3yYNbb8yIOSHABKcb3gxdIKdj/hrWmaYLtQm0FpXHiWPZoQ1TepPVDBIrVYdLXbKPUOKW
gRFEp/BOPZRvZJuYu2oszqY5UvN1ZMj6C0sk1oWJz5HLjcfmpQaNaNHPLQH3eLDWmtrGBlYIxmPQ
cAsG1nU8/JByu0AbWKcmmrVo9OP00V+u/ZP2zZ0ycX3nC9S9lP11u5RnnmIIMfHR0SLd0zRz5xDj
jNnYw7bVdcZd1hU7qwUqAk0Ac1aZb6OBQ4xUg7AbUUgk46EX83fCbNRYoaD8a0y7Tw1RXBQE44n9
0Q0aEYBcmFZuLCxavZiY1uiuWwo0QozVgZF1T/CToi0x0x9sCb0i+ZfHKdMhtGxx+RMn7h8vIxUm
0M9EB6BHLrDNz27y6bG5Hz17b+hVJVF3j1TVp6YSJRFB7m+G96wemmtfJixdTQZnRPeG601YZfxY
TEEWQElTPefI4yoDo6gbMZjzS2db2QWE7Er+BIn5mqTFIWjcF578fGO6YB1l0zxCaXxuShdxXZrW
jL26h6Eov0TVIdliiL7xmcCOtUWxOnNmJemI6T6/0kDx+LV1vM0ZhGj507lJQAHf7UZu03PmmLu+
BOycpNNXI/iau2m4BH1rH5FC1VsrN551u9yWmaFAsmC5hJWHHNQt/2VR8zB4RbG33HaGQ8HyduyO
GYWhqWam3vnw6UUcl1y+6KDgLgSY98OCnQMLNK7dMnaJosqsLCSJ14EuOHHmOqa9g5iyHys0ZMDp
LLbx5bLFfoAjLEPbBdwZPJ0fMAIWgCAXvSlwLxx6Xf9kS0T9Yp4kzJso97dipgAYDB74mXlc13jl
ngFYdexHlgpDg4gzrpG5VezAQzE52QEmzwLWEY0v+1buEELdrKxDrh5/ZA3jXN+OUXgYHBz9tMTH
nuxuglbag5lGzxF1/L40e9CNVXrn5n2Jqsh3N2R3URPWxYno1nM6u1kozXQ9ZimZEzA/sIn2RszE
QZrVX43nq5nsBz2srJRE/LiEk7NEGHoOZ+9GD2rsovJe1AshniXDk6Y+gmreK2kw5CclzfccekVs
z+FiJ/SQrvpnpi6ljWEh5K11SAa880beJDtIhlbSgstpremVUHtD2yOJifClZty5M/9NtALfICMp
knj81GHlS9YdusWJHMDDkrH3G8vm7+D2ZyKQDJyw80eUWk5Y4NEa8ajSry5iZ4MymDvPhdldKURo
wOyanTuBi2d4eCQjKwqbrPLCIBJAU+gOzUxcas/9EJLUAreqnlDtfDbdxKFXJBQgU0Z0pPm8sOaA
8zwjeYZyZ3vvYrJTLrJu3rFGOIyWmZyt/uilXb6zsgWEa4JELrvlZA89MaR8lEByzp6oJoQxa2YQ
emCAWGtExIRcpr4iNeBo0MNvHzhYzRJvtV1lWwupt+aO3TaYP0gYY+MvM/D2uojoe1ATRYSv3Hse
Q3keaYmUUn+IfhmxaDrevoxRi0Zr92FGoGUrznaKb39vFurYJnF3JMs8o8o077LSQCyG4O48gYon
IfEp0qhDvbo+xdb8NIsaqkRm83IzY5VS1XcWa/aN06bojXX7pVY53TAaN8YQGdIm+tcF+6npZvdA
dWn1on8waL1zPU+vCfwo6P3MIoTHgzmNhMyYQVwfHFhtm9Lh70URwIbK50w2ehC2cbuzUEidWqc+
S54usg27mnt7izIddp1rWRxTMe89B5NEphYWuW2SneGKTdm/JMEnUnqU6BAhd2y7sSoelUuAnpjY
ZPOqhePAok2vgK4I61TtoHwA83SFnHyLCndPje9sW3PftWQkmaXdbBjCQsn3UcAnanowMpLewZTA
jrGLlV5LTRnrLSNjwezefvArdfRyTpfc7Z8r/F94NGWD6qn+NyvUt6MVZKHRGXsnRcmgADVshGkf
sZYtoRmMctcmxmts7ZsUeW4iqFvm1G83YK8zsiMI6ELYp4ocWQ5aTSa8yGZMmh96WsUOmiMJTvtv
tXi8CwZzXSRbW/JKeuLKOxafms1Q7zfjvirrd7ycFNpAFHa1ZzJIGCHMDnrblgWVJwQ7L8nQEvF1
AQTnxrNQOdFSh640rXBf204Nd5DoQ9cDYKwZQ/NnrSTmSk86m1wmMxxtPhmxxORtTEDuPOaqrBa8
Y8rIIIMMCEGkPhsDRaejq0edm38nhVShmTUbbvyUEeNUtOr4GWLb4hbq7vrIvhJsP3bee6mbf6Ll
9Siret41FmZ+pKg906T9IjMT6YH8QE2MKN49l+2rDEYcBUAsOpRRzHpIx210cSRAj4evseqwMdDI
F8kXZVldRXqT44Pa5E30k7EwbYrpJXJsauwCyhYCy6vDGuf/ocSAFbVo02rXst+m1TGOlWqetLKJ
eKl2JTIurAoJEfUSNXihnRDjXLFJTTQQnId72VjnZcgera7+i7HYE/WRo9YJXbftQndkT6MiEsAU
HBqGXKSBAcabfMYDHvvKoX+109kK7ULlWzmdyRD6mySTQdth0OoKCCt9wpAiWUj+CeIv4d+PUYa5
820IsoRbKXgx8+FnNk1yanj/N22MRi/pP3vlx1sSaaEyb1ucvhtRw3Ay6pSHDDyXK5EJ4W3FC/7I
3csrb0ZvyippUM0fgf7TL9BtaSF+8wDZr23wUFDEc6bB1jN5pztFMEBXH2XC8cU+Ax0VmjTH4E95
rstVkHFWqbr6UIF7GEs3h9LU+SFx759BW28nad18lrZ263zY+eOwOG8U6Thc4u53yroXs5h7tg8p
GTqQX1joMuT8m5bDu0dNuMntjBamfUoUAc4i+zdYBLjm+cZd/+U0qX6smdiFqtjbCDGgsMSoBfMJ
Spz748QWlZJ4Xmb7ptKYJTqlfFZFx7oVYVNLsclccP1eS1pS3T8Re/MmOqJs//99c1l9d475Ljjf
N57v7ythc6IplgyZio96ooixDNWtAIcjqKAkrI2CaWyBFMDOyCcpnBPjzs2w5vCCSMcOBIU77DIe
B02COMiXJlHWPQRlFdnbJeWYj2IuVtJqqmyoqRcDxdW55hvBMx0O9TK0uwVH1Dblgac2hFkULx/p
7NMtjC5q+bc2AskTO//LgEByg8v0hNq3S4uwJf4Wg/xsXPvPBNG46VVPMz/1W8F5h/SpQAcIG80F
8sOAFdFM/yMqIPP1GFsbw81/UloL0kqelsl8CmqUfONIv2v46TYSTOW0IkcDX+1WiMW/87OdH1k/
mGw+25x7tENDtkkiOvhCpWcTVsCmmhPKODc+QwICoq2+e8noEI7vsHPahuEASetMWOLehl/G1Y9Z
xN20U3dqyvjS1wfBdHKZFlY95r5Zfx3qyXdEviI8w2f43cdEVAe/9YKN0qtbChpIPWY9Q/hlSxWU
UnM7/yZ+Di53fTABgqusjIVX+ZL0zks5dC42jJj/kfbvBoP9TQN+fkMC2EfnZx/e/LUM0zvAG3Ao
vEls8TdpmjC8ZgI9JfK5FpkgXdM8a0MyEbQG5mUxV6cj9ilpBPRVHW95Evwr8Jy0/XiOGVdES80N
lfDDmBGjWdr+bpOuCC2TI3i0jpMJUJmqSocmZLYgVsdoamlOBxa10IEei0q/E961gfMtGTNhRTOJ
PfDswdrWEFZddryL3dOmBRN0yaj8GEh29iN6bCIvw96mVp4NhCqxaP4M3fBglsreoifNBzfdQaE2
Qq8cwjF3yFXBh4IC5B4cH7FhKvkFMvqKrYB9N3lvyFJx49DCJycXPwqDaWSlZn9nqNEGHuUzRlac
OHVNdrDBCwcz9wpfEecHBYexDi6akW1BOyDVLuQjYqXhbEb2bloWSlDQSGtq42+mGRo10sIF1eVo
PBrx6dTyBX6o2pYdUNUU8RLQVPpsdF9M5dI/RTdQ4eUPIsIrgroWYWeuL3Y0wy2IzOfSX0u9Onok
jsUNl0hdZk2uDOzYLu3fJAJ+nTNnsdDAADsgf8JlbQrxOKxRsFEuAWTwqaHoFg4Ch8geioszG8bR
74E0NtVFeHEbRoTQ7Xmgtuy0l7AwZ2xdZrlJK4XZKweUk6pyb7jcwb0HHoDQKUQDVb1DSfdW4Psq
IuerCDqGShxYeOyyj8HMv2IbYYJejJfBZR8CQI4oYt+z+dpBqpjErStdfdSleNQ9rDfgcHADe9TF
uMBPnJyvjCta31FncucS8srgB+bJipkRY5iaYMLJj6A6ddOnqnG+Z0IoQxfhH6IA4KbeaHAoLRXq
uM4ttokdHAfp/rXjqKB3K/DUlPSKfuKFljVXx0yju2lGSue+1UxBkno7o1sjrmCUm9rV5X6MW9iB
otvmPZ89fmEwacZv2saHyqqoSwemAFZWbW2fZMfAJ1w0GL5TNmugYI9wTmjDkwoBcVkjPVCy3I1i
fptz2a2Mw03iTkhQgZyi2GMvjuwodM3mbJWltc3bjzRVD/mE9CiKSp+q3ATaPvCxu4UAilf/RsZX
l1+B8Y8thhAH7aYJN6sA569isFdlRQhdKVNr0/lLurfJOGIEFizR77J4FyRH4ylBjNK24JBTzaQ7
oLWyO+gDU0KAV2HRXop0Q4wTFpsZd4rEP+2qVnN+mJ8la0H22hyfaVKHihSpzAiukTG9TJN8zQex
7thIzWY2E6aVBAiYZxqB6yFPCbXlXNEzCFEY6tqCgWXbDRVhm/1EbrIR0UfPjkB0yYvtkrZRdvY/
HQ3fJrx/nqV6axOvtEliTnzhc88keGlD0QbkNpFvrefxzaHUpXRwHieSq5m78ngjh0UriL+kxcsd
kn+rsH8xKskG79S0YNfJ4sIhKHXYFuneRLXu22yyohnpStvWLEWbfkdeWAWwHPkqDYSfuRKJ7rlK
zXgbd2TZoiE+WwbwORUEu7H7CZr5w9dNtjUaDz14xjQ2s3C7OHCQa3c6jbUcsPSWF47mf1aTG6hl
PgkOB3tpMWtdFGgARHPN4G65pMhoi/uvpRnpLUr1nLfJ33yZjjqvPgKvdDcUzMmucZiuaMwIOKmi
+1w9Ekn20RDXcJy72cNBtmoK4mzTJKZ5lrgmywUuL4SYbPLuszj9zCsV07ZAb23lYBzcgiLLD1Iw
HbyFplda9A2l3tMo7mpnzLdoYU17uFel95QUdxWHdif4tKoJkRxVebttKKZmWDNEC6eM7OaPzsO3
NVd5z3Iz4L61LBjg03O+JHiDUxT8cGfCpuGl6yRLHLf0v0mMmvf9JMAAOtMul/zjyCGuZYN6bVmc
42JkX0BWIa6o8h9pzMnGWkwGOr2PH03Ea7B1i9Ft7i7enPwoqD2UE/wrQNAfPVnrjZPH3Jh48xRc
yANdMnq86U8TBfcN6TRUfaTtWEwfGI9btyBnnUEqq0SPAYao/5FG8NypgEgqyZAHDqnFmkvm8WGM
HwzwazvFLneXFOODXuRr3BpmGNG9IywVuyX21MZz4SBHNk+WS2Hb9n20UzmR2pYcmAEucmta/mdk
5W+tGlPgZ91rlogjbBMZ+iTlbag0PnLX/Iuu+GJTe3ETc795jLBh303bmeuXjqw9u0vyR3mlPHM3
HqqELkyVqOeYWY2WYMIuypRA73Xc6ewGm0DuIM9ISO67Y+Tjj8sJ1NnF/sKL0Ba/pe9/KvwPFaND
K2aJvdj3qJux9uSqRJwyfiJ570kOSAZY+whPoWvHDJbxvdqPECEmniSCqulTN4Oa1S6L9E3FyXdt
o4NlBbEPAP0llX1KfPfBCfaR3Y9byzCpTmGZbrgo8/4dvi3vkleAiGeS1bdj9hl3BSW/cFuyFp1i
L7L4j0Q3Q2IuoYp5utOUieB9mHlZei53sLFQhTrNKSUj5taawQHY3nKunWYvTVHdCQ9G/sDr6y/W
vrXIWnHyxzqqvEfkyXNe7OHV3LvLfPOkWR7oV2Gm0YZZ3y4H/j5LmHHFc8OHN9NJ9wZ1yySzYq+G
4RdKHW+PO/nnGZcLQEFvkxbYJOYeiGfq2JvRAMqZjPFwGKOaRMjlEgsV0A+OwzaIXOaT2oswVfUx
edHITEvP+Jj8dgtdKiHFuG+Ba2Wfkg1gK0k400ayK3XGnmYs2OzPE04S2uAd5oKzHPr7uKr8e07G
zehOA7hw74QUot56/LC2xWSNOzRgkPr5ccsXE6U40Or01hhSwgjYFPUTsisESQ2rxU5jasYgt1Ex
SUvItMb/o9xhWze7uMDoStRKFWad3WynTB2LeM4Zubv2EUAXNpGaaaxSnnFXa+sxT0eoS6rQ7PDW
tHUXt0IwBPE20RT0k4maq7Igh06C/BkyEXsMCnzG6oU2f+EMuLdRhjK44jRfGvcg8MeDEGDQwUfS
L761t9hsbZVdfRFE2e/LYSsjJ8VMKJNdbL8WvsRp2qk7z5hI1MV+kE5cZz7hX1sJWpXIpNfK6mUY
wwDBUAIpaSq8aWsF/mcj/YkUaJqNYRWIqJlUhqL1HvIh/ZSWCxeKcHBv7CTW3PazKhEo5oJCx3Xz
A3r/UwdNfLP4EylfGe5woHZnu5BvqeiAidoHvSTeaSwGFh8lZhYfGBuRhCYzCHc+2DHSca+wQ007
cwgwtm/WgVgch9bQjodkzc3g+/2XszFbFKgs4s5yNr/lCynha6bgQCs/VPz2sgOiH/BDMDXiH6vV
WFA69d5UBNwnYnny/BpwZ5a/Bi0iSUs0FyzMIEOrd2RS3JA+C0E5NQzT2nNruk9Nz4/CXgiEs6wy
dKs1RmoiUGA+VuR1Y6tFDEKE0F+Xv3Mb0WpvTWNd9HqiQfpfvCKexwOCmd5qGbnLVvxxuvYVXjl1
WOEdDbUIBjoEiqQ8jpXbw8pa+I56xm/70u+OXYcrtS1VtjPcwmeIynU2eq+Vz4lrRFjsBCLI0TTM
DVSkDHC5zrsCCXdQnKLhTMCYTQUSZU+lZ94LafzBEvfXn8v5NAbYFWy3e0+L6SciJNNNo+KM03Qs
aVsicSgShq29ns6RHHBH9OfGom3SWEhOA7EApYfpSPhkXM3dirZs21NWEyimDW5OzyisEPL3I6Eh
cUg1OPGe4IEw8x5JaS+3SW3h5OAcGYrmgbLrl0iUaBrOEVYAv+neBslux+Wu36R5cJklh0HgQBdk
L/WANe3Lkj4HxWQcVTCpbaXT72YIfnOCGFIXd2TXLk+1Ye8LV7+pUrMC563CRs9KmuNmOwkcQ+y/
jHTBnESwKK4Fd4UIsgEk5lpI5y63p+ukWX+qwWXUWizfCX2qXzNoWeL+2k4Z91BuEsowsLKe/W59
aSNe2iQnc4b/lesqRpSbuRvCU9L70S5/onbAi2qOMVHnPnJZ/yuqzK8SvWtoq7rZiDeUXBBlD1Hc
Nifd8RGt20oV50fe53WZmZyJ42n2x2XK90sLi89PC0ZOE57dVSzbA2PhxryUxCCFVjVEh0DsxxbP
kYfNhDmo+UVpxPKdsPPNfNTWzPJ1ZrfvkY3TcQK29KKsbYG8R2v0IOZWgb1tO3TBu1n/77YJqzFj
oNmvbK556wGY7QU9CRjglJGBb94vtraZNnfPLXjFULAjDy0NiBddqHN0o5tCVEe0wFaTTYkWTC0P
hHdttY/yvlaXMXaQ8MgnrxbHqZve66niwrOCX3BzR67p4xItCPRcsjmi+UlV5j9BlehH2Z/RZvkb
tylJUvULoVEJ7z1dPQjBh2k0B4JlVm/HPbcksQy2JgUChws9dvrqJg2Fa6537PLZ8V+IUf6dM/Rz
gCOhfgYkEpYomMPC6IGk/RCgR3GZr7GBipy2zLbas/FK9E998urhnLl5zaK2nPcDDWLWmX+9HlrI
bLWPsiG1zrRAhjWj3mWa5IFpHeUagx1CUvPwO+cUWYtHshUycBiSfH50x5jVUQYzid0XsdEBRSnz
nefQVqyqpGSGud7CMiAw7clhUZnFP9LKPhsxxwxNK5x0EYa1mEHUiG78DODiVWjV76wxbW9uhn++
Kv7aQVV+O+Vy8yolft1anbyi+ui5ox8Lakkq56m6x+OjYy2gEcRX9gj1MaXr4NH1aED7pnkdUvvk
CP/VKnl8Z4MwJjFV5y6es6/WKB51RcMuG+XRrvb1vtW4tpnYsdNfrkNxrQIR36m2/UaqtrUK3z2z
huB+m5O/AGFOqel1l1VeFtmfUQ4Hrl5op7Qav/xGv1WeSQ4IU+NNzmkKzyUX+Pydl1gCYF0aJjv9
wvubNuD3OJHfAL0RmZOpZzOvITlweJ8i3kAd9Tk0YHIZBsZr3dwxeFmiOWQkgqvf3MVBbjE7hNhR
xwqGK/0su14/0AehWnB4SX/nOcbAO1fCQlHKOEc9ObRywg0Ond05hXVnQw8Zq2shJZA7X8x3S8rE
ziCmpvdGLi8n+oWT+U9Z7et6kgE/mlfnqbl6UKe4+EYCsDpTp9WjykB7n6+u1WmZN/HqY0WKMK2+
1hSDK8EDcjtjefVW72sqVhcszcK8+mLb1SEbY5XtV8/svLpnLWy0HXZaRhI/FfbaGpttv/ptWWFs
GKOSVstQARckseeYc2dMuoiV1p0uWzy1Onh7rLzl6ulFqsMHgct3Wv2+McbfHgPwsjqB29UTXGMO
ZqvPOZEd09U1jL0AiRJG4mJ1FHeyerDd6cXBaowOkYcc8zGcLECK//uRuxdn9Sd3q1N5wLIME/Nj
dv9Uq5OZ1LtxrTfvFSbnlhpswfSMLwlU++qDLldHdLN6o9VqksahuqyuaX/1T0+rkzrFUu1jrY5W
j7XB1baVCWPYfHVgZwxwXSzZyerN1pi029Wt7WPbHlb/NtxM5nOrPjCG17J6vIvWpYPoxnlTGd2t
zRG8KMY7vjAtjmTvUcXDsTA8QNTihHZrJ3rvgWAEch1xl/cYyDvs5tXqO08xoFsSJ3q1etLRMaOP
wKY+qmOnHgus6yUjR0OgBdKY2nN+zC0mdzydoWrZbUQR4bZN/Kzzw7y64oNC8bcYWN+l73whBDVP
g/OTNUOHXBRTa4a9HnoWYz/1QoruNcB+v36RkSz30suvRWO+2U70tHI1ZlSkXLinJlkeCd94Tobg
ZXT8eznHcHW4G6rkuXD+BbM6Oktyc9L5RZvJKxavlxJYgDZwIui3GIRAAUqAOK77aHhi3HDSgAYi
gAMZ4IEZAMECiGC1kRgxWwmPfqKTxwRggVivFIsvdIJkYJdfXXTrwBsQ1LsjoxU3Q3BMwB8Y0tqZ
TPBmsAhzuXGBJND9n3EQcjm9RF7+ba0sBVSAkHBsm00L71/a0rImoBcAOdxq+wgkqEcfzJ35Pxml
B9dAmf1sg28YwDi04BzG5IjDj++VenelPTAAOtH5v3dgILSjnhaupfVAYCEJtcgDGdEU3xkACe6U
f3IlSkygJSSICQQiLB2ATkDKvXOYYOcrjcLmDWnBU2gwFT24igZsRbXiK+aTC8xipbsoFHI6gEVw
kN335N4Zsf1OTMPFaePd2CQ7w1nQqS0HrYcw8RH5Ac+wOI6TlaaBh+zBX/Ea5SZ3zCuxR5/Y5c8S
CEeNAyYAyjFiLM+BdHie9d1J86HH5uEC8ViZ+MtdA9gjFvxJQB8rZ8YF/OGuSk1AINrPmEzrtwlA
CEHwZ743ZytBhzQgRHpQInGzLcT7CF6kXTkjJsCRCPBIAoAkHy427iEEM18l/V4OpsQDV7J84Dz9
W4EwUWR1AzQpAJvYfCi8gjsf4IkL+MQHgFIDQpkBosyAUdImOJeAUjyAKQvglHZVzmCsHiLiZJv+
VpvkCEendlAPS+Pdy2Ekwmo+xtZ0irQdItwi+rfdRf2jRxE1aI8Ss0NnspwTJplV2R3SdS39JcCr
cxPuCFlqSXHcNFbyhT2Nx8eUO+Fin+1AT0OiqaOBSfry5NpkOBbmsYUwlZnWtW+NF0MydmPzwa+/
+e785tOEGfwYV7JNMF+DuQXxZL+ZvJDrC4hW7Y+y+p20ckLfxpvlzW9VDggH1sb66wFiqeisBgxi
Vvvh/lFO/Ehs05WsutuYgc3O08uY1ycrUE90IyEGyFPge/ed2T+hx7sBXXophuhxXuFhzsWY2UAh
/K2EejFy8QbiysFZJ2JxFRUC+WJd08j7Qqe3OeGLn8cLOq5LyibLVv1+7CD/2Mkt6YKLKPyP9Rjx
R8kyw4T1Ot60CosmhT6V3NaTJPAxKsE+8ba+fJ+aa9zlr5NbnmOQcX7Y6+Gl/0fOxMo9ink1qIOL
6TLX197E8Ffu/P7qVi80MQ8TkNmOqRNYAzjIMyOHbq/T+V6ApRvy7KqxaLbGfP5f1JelJE6a18RU
l1b5Hx0zMx8Es+nwTrGCTK7Gn2LZQ17c+mq+rcfc+lvZbT2zAXqxx/GlRRpSTO4D7pFbC9CIxc1N
ivQmUYzFY/yKH3pKp4spORmH9I0N8lWN3oX4ztcscB6cFr+dAsVdXUdvvla28f831vfJzTacF7Nm
/2tc1q8nWD/PkTklVVk1gReszvbImmkqoLY8FRFZj9lXQt7EMAeXpE9f7Sy+lD1nNP+Uy3eQSfAa
zYXcnoeVzORqdYFK87T+ANa/v7T7B2M8SDu+oSS6Q4f2Av34rU1TUCTEdQzZuz3Hr1qiNebW+0yl
xC8/Pa1PlDn6D9r7WQlNNM23gRzjFZjlo7APypIqcLzR/NN8oDri4UtxvBNPf/YijWlS3YTPv6Xk
Zf21womObffVqQrtcvo6p8tbUS+P6ze1OOmV9q232oM9L4+sHJ8zpZ5Q6H78f+kI78OyJkpYFsPJ
64pmSj3vo02Tm9vtXFtdZ1V/V50+e8Bousk6JJC14eAFTP9WjpYw2s9kUWiTQdKQnk7yZET08/ol
kHZy9If70Yw+1jeKz+piKvNtHKfnQh2yMbtY5gw677G3x6epc/C+YvYjaYHdAFzD7KgiAVSjvv7/
2IjxZX16Y1fjAUa+wASX3IO7oBnWMOD3ZRlvmSHekNR8kOXM0KG8kv73gVzjoDN3z5PJBQG7bI5e
rLqE16Re1ntycsrD6k/IeSObbIIuOz6rIb258d+RI9mx41fHcM++wF7EH2Px+f/1WuXxsxLDZerK
B7OGQEZYgW7zb8fOP7s3f+keo32URS9d+W+Oxj8Uuk8r/CeJ+ks68a+76oXl4WUV97HY6psZeTbY
KH98Elb2DkT0ajhyjeNQ/7F3JsutI1uW/ZWymiMNnaOZsgHYiqIoqpvArpqLvu/x9bVclZb53jNL
s8pJWQ1qEDcipFCQAgH34+esvbeLKVczPXHcLRm0RdNvGSLf1u/H6EKDtkiSDMgyyFpen2+4wcvv
+7T0gzI8h4v6HdXhEw0E6rwP+VtYXfHGCnw1rYPrhIg8WctCVNFm+qZH6mvOTdFMFrR3f+/6AMHI
chxBZtxN1rZ309YvDetWLQeM6ezeJkc95pEH4L5zGn4Ck5aVYUGNFJ7Kt8mwM8OInGiLO02esrZk
RX12VfulkX09cH6yOFExPApfjFx4PStoSMBrOxVeC2tW2iuuFvVt6+flcrZdDAwU9VzjtiDccJdg
+5ZQk9qc2ImGOaW28gxYsc/t8sj44yQ0jC6QYcfI9usxvcqdvXFzkgbbr6iv1kQe+KMVvmgK0JSi
mZdAkGde5WfDlkqWrnwci7cx0b77TKFO0lkWq+fJLD5FM73khv3TjsMlzy4EtD8hosUlhXhrc3hO
dFbbFDN3w/HNEv9ihhZa+CRwZrAKYxNY9s7GNLKfib6tp/3sjIcYsjLHiw/gHP2Z5lY7R93YEy2v
Ht8P4CI4Fj8gIHnI+QFQJ7uYcQ/V15sZvDIOZtYGc124/YlAx0cDL0Xc4che1M5h2Z3mZN/YvQ+f
fVEZ5E2ZFz2yScQPNFB3WUD4jmWdMPvZdjSqO/UYY3oXRAJA9btKpFBweMrEK099fKljXBMRNcGm
OFZ4MsP6iEU4IDQefmrtq8T0RMAyKm1JjD0hsl7CkJS7Ml/TqXuQ+F/g6Mzmg2ctYICs59BSaBez
TVP/MEOlvBSbMaSEgfVUVQLRYiwU4S1kOECZTp68zrKiBEtU3fAE134opb3s4LIczAcxpA8hNYcj
PklqebL6+KlP5itiA5DXyncFaxqD8KG6ZEX66AAhog9jmLNAdUa8k5BRApzE2rQAiYavkLtIT1iR
+uFedsPNUMAiE0zq3FYCzTpdDyzNMpYbXi59y2cl58NAx6XEfjXN5yHC9NSEELvY73FoQ09Xx5rW
1mS5P2ZbHAS9CUto/kwDrUSQ5LrfNtkwLTP0kAG04+ssZ4P6k7TOSdKVne0n7lkXoDlWtO+mdJ0x
pITToJVA2A9Pot6WW0W+S75e9zmurvmqTjA9qSaUzNc+T9edPe2YBK81zEXlmwnRiaT6vcAfpaNx
kMPoKpz17ZzOWDh6/F/XlpcOuie13vGMl+LiHAyl2EXach5o3gats0ckNc1rLFS3uo2/5IwkKKUz
E0TtBgPETXupkmHrxPOmCeaNyYgmCOSDq6yryTlgAtCsTR2BzrAvc/WCQOywjPneqCO/nWuSFGY8
4rJ9p5UYS3o4mKwgTLdprTNXBDskxHpJvEZHl2OgVCrWo/rtcAYXPEADv1LQsXN/GyCukALcp6Cu
GFs6M7Y6Z3kF+CdZL8tPIQ9Nmv/NhlToDSO9J2T7L0raYsChnl2cU8rtpLqHeBEeXYWYhmj8NGBf
pxiFz6n/vYjkUS265qn5ngRPCSjTUJoHGy/X6RLY0yNk/3tAw5xTVjWocDaerR4Fj/5SYrbXTs+w
ZCc8kh8H6IIKx9S0es3qbJ8kBG9wF+BRcGa9IXul/BotWjVCh8sx5yuAPENqjjxyMmpJ6ciM24a9
dyk509I9yA2vg8EM52AbEozWpDTsR8Ubg4aEWIbrzZOTVkx0kvyMleOLOeIi2sYPZAdgtzd9BarL
YHk+aLxrlPOmYTNizjmhi02DtIXAsZM7pDsUHmhuL3Uw3hiYPGqpwhKonkU1AqmapN5Bs7I6GSh2
ZGlahzQ4Fg+18XkUwpPfZkfHgtbZ2z3bGvKX3GY1xcVnRoExjyYKQg4K/HucYw+K3aNTjN7QmVsr
2VWmcuZEskpOY7DN55AuR/QwWYsPR71tqomMd3fHDrTF62qLTkqqhFAPb7M22yj5vJFfxixvr9iB
z6P5wCx9YDGQyLk1f0qmYgZkRBfsy40Qb+vrPOSkz5u4vQpvckkjpN8XXekIHGbzIqMTyhKEv3Ue
cpMsKq26kJJ20Z3GVwPXT6JbxQSXzCoReijoth0NK6V9GoPLMnMaFJVPvrFvLfV7ZYTXim2PqIg0
EicATzpo+INjelEood/wrbbCnbNYWza+AxZLa4zmcmg2KKc2A2CokTSbVmn8YBq2Rm6dLAbjY46H
WTpudSXdOyTt5hN5VFwCd0QzPe+sUWyQ7b1UCR8cBV4MIi9Pc5xYMI6zb4z0X+MlPfR4Heuf8qZy
atw9AKIxa3EmrJ2j2DfBUZLZ+kmy/agynJt0/OqqnTYZ3u/p0OxuIUeZNDPe6ko9dnHkKxrm4NHe
HImTEPTx9NPMrVJwSHRQOIvhTy4ULAqZADXZGYufXb1XU+NR6CiQTbEzFFaYfvD4wXw3dojWWHYw
fJM0097OXT+vnb28TN3f5CFTtorNxdOxjDJWv5ec12rNZRMwlKO3uOkTKgV9I98k5q4s/65Px2HF
vfLR8zUjjfwJSSUNai9odCRRFAH8PYmDrT5iSVy+Z0bgWaWzn5TwqpvGpVVND8v2a6z0pxrNIR0y
glIsJggm1s4me9xdWSAxonkzReUOSmbVS0ler9JKqDy5MA/9sItiHMFYVNP6+LtWq3zorurndPcK
DNBpzW/7CIYWfzuuxpxgTV4W3mhFZChxBw+xr9iYd4Qj7jkQSnHvmYN6zDr7IS2yQ6oP94oxXLrg
A6X3+5SjMiJ9tmv9GAUmxLDrBxqwjYbpVj15cyEeMkbjsIoyDAlHtOW7axr+u5yOTPwq7+QUI140
Npelys5jpVwtl1rLBKSFXGmb6LQM3HRYYzC73kGMrbSwOurtm05070jwUKFVmzz6tDnX4TyQYVWd
OETgFR78tE8naSM/6NoG3YiJ2BXFIbtidOinGTHomFkL86IqhjT2ONgEH+KxQ7pPdsBrYNfMqh/E
aNUCZ4M3AAGbzQW0+xJk56YsH+O4wCYoJyB5ulUphx7MfKfY3TdmtoeXPeVKvEkMXgnIZkHXmYFW
qHwMWJpv9MXZzQUjU0puZzl1M17IC8LvNoPaMmvzO9MTw4cwKpOqBlXBS0o8NgnxAdkQ3A3Syjlh
k3F9DCYnwkaqYkCccxIIYOr/v33I/4l9iIaumRCT/9pA5EEmn/yP85+vn++y+GcnkX//2f/0EiGo
wnAN09AtzdawBfnfXiIkWJiWadlkTtDTthFg/6eXiP5vBjNzbEZc0wCNM/4hT0X9N8dSNZesFdMi
ScAW/62kCv03wuifvURcU7NUSyWvwuD9/auXCKjhAFKDjM2dtoMVUvuNnQWfDm8oS8Xmka48T2zy
qJrOUVTNfVYcnwACLCIS8CkqH1GCYSud1FWU/aVXog+hP5B4cBdIogebI+moKAc7DB7oBXo2DhHz
NG0w/0EWq1lvzlKfSAnoKDkp+kfJcVP9BIATQUuwHssCnnksLcGqTBN4PDzvVWvZ9jYd+szFB0Qt
u700BAepfR4TsubUQCsRD+KKEerVuFGW/KWbaEsJtWNukSDdzPG7DsDmjDmRQ4wUlwuGxJUh7BW9
YACTyX22SW2OZgQNdXVWhf63cu0rbv3TIZ9OcYmOjl46k8kOMzmOMq6oAWhpT62imQmyQior/DaT
xdxECmi/j1U+wy+4xQrFFaz4DQsQuuVT8B7jeorsdpSilwUhyGqsaC+TBQvQ9QXjB8BvTec4hoXB
LKKesk7mvmkbpWYn05kV2N1aa9pLqnBiQkpS4JZCQr3zaAhCN0rgeRuT0LRbzpgtPCbYVWzjuJJJ
b2yD8iyaFPSSDKP/sOzhjzpS+QXjgvoAK5IUSlPDUiowa/pEnOuG9JIpH1rnvogs5HjEH3FMuGnz
WcfhSY1GXF6Lp1wpI+IkipvQiaRczijvQkYS4WVoeyYxyknHMjRPsr9mJY6jET0Mmh2y5dDEwZ/q
WdS6i0PzlwiGl9imISykr4gyIc/GG4DQF3hYSeTxaapmS3y6totM80UpiuvYZdduxL9azEx1wFFs
q8brAaxCo4LGnhDStWvKFh+3/A4TfrNs1mu6AquOhsI0PuJHic1spZ56dWHAMHU32tJrJZXnzR5R
Twd6FeUYPo7ODUHmDnoj7Tn0LSkzvg456Ahalo9TcsxVDNd1dbgVZeznsfZBNqS1rtoD24cAkI/A
Q9ybttBJKQKm5XEOERpWYBPD+GqM2iuQ2obR4Xk0LD9oIW6hRftYw1OhOKE03tnDexsilEmt8I8S
GftFgiOJ7nwWhXbPbfILcMRdcVJ/xjmBmbk6UihhJBJCgbG6MQWDYwoX+qNFcWkjEkus2vxSSGZY
dUNBxx4bF5K01wjsH0sAacJN7r/fFZ2C6QP1pd66GQ6RLtpEw/D7KT8oI3R2X6jf9G1WEZmCEZk1
iKnHQwUQVunZ52i376oz/IVy+ox5/JndQk1hmjUSwrnXy0NhMS800/wxRO0BPjJdhFS1HRI7QJIR
ged2Hsm8+HhZ/BJmDwRqpDxtWAZ5s8heZ3fe4nRzGpNlq4vxatrtWRiRp6nEC4/qocLYW0hN3Eu5
2NzDenqaZhNr+5CzubM3M7Qn7Si93LB1wd/TmKp1LgMuigGVqI4N2soJYwUcwiQQVd8Eo/E6pBVC
Pl7cMSnSEATli3y6KzJPA9T/mYmersFWcz2F7UWfpF+B6yJ7I8gGM32IXt+lSwSKDF3Zl8O2dkW7
WmgfVyJqAJ8hHQJlelyG5imxI2vVyHTjrDuUGQm+Q6++UPVjZchvRxaNAiX20PaUvkuS4Y1N0Bvk
4t0BSw3i7K8+oVPCImRetWRi5gSXpqX0hk7xSoMF29mLeUis5K9ZYxuXajXTYvpxXQ60jTQWpYim
rBuc67p2/qF8pqw1mifM+vX6IR+QJy6LmHHNTy6F3hHbMRSIQIppa7UFBlSV6qdL6qxpkb8WVfWx
QJlgGIXJ/zIKP8U7lUsU0AJ4h2jlbdbv+C79gEe4q+aGQUHBm2a23iKWMFsEeV15gSF6KBwwBBar
4xBKy4Ap+QFNAnutSHllD2BmyQOmxepLkmDYvug0y6DQ12PiXueaWhqgSN9O1g70W8dYxYGbK9XP
2fwgawg2UZ2TdackkH+DAoMFtUbaATtJ1q+QBnQ9wTTWiJlJoUwPqHtZ+Qv1JzDTO2YIN3sZvmfC
T/VZonsjo312PNRY/C6azdri6O1LvliaJ+jlgWjcM/6QrZNyrcQqguv4ya1adEPq5BN/wF/jwbSw
mxtc7veg3M5B3qyHHsUvH9mzIwKNjmnyrtVXlR1gXbkxqk/7LcnRopR5R44jjkaYbsA2GdUNZJaT
IEkLrdAubH60PlzG6K7x2fYZmu+JcRLmVJibpsrKHIIHnHtPhsMd01piC+x1agI6UZ36Rwnrrz46
cLr7sesLiM/bktqPvcyXd+DNTbP+0ETHpyLyV7sfn4WeHlvrvRPLS1Pl75orbceyOODxc9Y1Bg2p
Uj1XQfatwywwU4ZpsfUGGeUU41PanKTpS63lJ6VBgxl2bKDjUO0RG99tZpGs9VyRuJ1grPvd0DI7
Lu3225pqZAOluhEGgVrE+OCBoKMq4HgcqrKBYRUPA5TjatHYsG2XOWum4MJdOX84vtwTE0mwXnbP
ljmQFgG1M5nmQxW2KcYQ2AoOmXnu5zxd1YAtm6SFEq61Y7Zg9GzknbXnNPGNEgNzRULHs6MAX8iF
PsKKG0SluhD3atbPGN4ybW/I8V1pTbdltbvg2wNVhz6Uyzd9dJZ6BC9EP/mMyIxPSyE6ujPITL6E
i3sNYShXGsz/qh+mFzfXf4oGwxDXyZ/wqT6z3PkTY6iWpKNWvBil9mxZ5mFEeaOEeLmIdWVHz7Qn
YphAzXeV9ooh1D15JbaS+OMKtc1oNRYMbMpZ3j44RAKvOgcGJXXQHKlJd8ErnVsYAY8NOonDhd6R
xuSuuVPPWCG+mvTpfDtFnqtjcTEFynFs+0MbmHvyPPeutviOJuXob79FWb6uhzZCgr9A1xeqV1a5
lyX2qcya79xgDKpWAsf0yAuK6at1slutVnhApt8OUzuOcCCif7tW1OthipiQVs2lW2ZMouKYFBNx
NvLWRZGIG6uV/SUdlV3YQcOIQ916Iqx7EwRDAGmoCfjk+mQztKj7lBoS7J020cAqC9NFlffWjAV9
SgXov4BoVpq4YW1gLwtvcR8+jqo4ZxWASUcg2TocNr0UrReO+a6YyUXrwr/sfKuEJtx60avPwNWe
x7m6yDIxj639KKxnAoSIVxAMDzpksBYAxopF+jMp2cg5K5AYzDyB3287Z9OdNGHkheCmJLUs5qrD
kGOJrO8uzl8HE9i8Y2Muo+WHIQ3LVxJui8j50A1vzGgIlU9KQ4lbSQe0gNBhAETxtAzmntl6sXYy
AMUAJzqbjV0rDok0qGPyuGulZZ2Cd90kTewiCzs7cFWASBzuyhGru2opUOtT+2IQqMdrHUUX8qTg
XUlAa+OGnu8QoVs22/KiG9+aPTZE9WCtl+GxZzPYSvRhN2VWt+2p5mxcu2hgGTY9IUTV+LwxLmmx
7auwEl1UzAbFMc1ykmtNJigqstlZWv41GATaABSbepyxA8yYcYdj+gzZTswMnoGDNA+sQlZ2d6qe
JBIGS4f6mgHHtzIhI9RwH8Ql3i+kHSHxSmf316DQxqowxrPQohIhUSa5h1HwY+NqSHJYtTYq9FWu
9p4v3GnpWNOQ6dlIqVCwMU92UxW66yU3b1YV4yEuLRRLaaaYVLtGmiviEukHJ1taLhr6VY3KYU37
5DIwsNw5PZUFuZyvQ8haTgYNzxogJtp9/I1glrEDKr8tu23Wvcg3jdHLMoamOabkCzxY5iMV73da
etBjpdzkBuuwmPGLNpIaGQzZSrI87RuEXsZyBi6lAKLdYMq+gyI7EL5qjK1nyr4Ehde9lZ2KUjwm
eG4g6ajhhP2pcXSyrbTvtsdQGNUlak7aHkTUnmCOrikP9oxdue0szLhENPp9K94Fsbl4X/PMdkj6
KrNGYNdHKjoH/a4v7ARKPx7Iop5RAqSdRC2JJ1mbvflGGuGVRs41ho5bxbTeTFjbKGs+OiQnG24r
io72hu/fjWyG1YIrOSaGfC4g9XR9WVDZLGnIGnDwbpmuU6Xvt0vD3ERTmYOFFu/XQR4DNuzitZtW
Yl0Hs4Kl2DxtYwOb6yYBX3NJvxvIDqPXBe+kWCejR7DXE3xWxipoLqtmqpnnMStegj4jWqM/Cmwt
eGwaLLYRFcVZvU9HVu5Bwb2rMpS7EWPXmTZ8lCbuXNzUUQYrY0BwOT3O14OKiIjehj+jcmMo97PU
AwbQIl5Q7wTUlsMY0xhNOaEgZgrsczQmKAPEVO0J1dm60nWiVu1lr3aN6WHnRt7f4F4gTo9FlyTH
LnJ9My8jP061bhub1jbmRmPGSIIWWWCrsmuwCCjie2G9VSjgNsucX6LCDLdmbISXhkNTQfbFEUzL
tIZtRAnv5wWnlEr6Rab5oG3AUK9TwuG3lRxePZOuhf1wu5ma9K6NJX7DLZ56aPMS3yk4qoRamzz8
/rEkOmYHWgJjRqBgGkgdZDdH7Ml4QBf5+GYwckUDohKOUbzWYYIdS6JxDlLGNcoXtrbcTUqv14gS
y3L9bGZYaebledB5oir7gczEPSMYogmHk2502UtrjJ98tA0ajanymGFgbTrXZ6erf8XUiacGlhcO
GBuTWclJy12Y18zzNezDBg3XuTCgphuR1N9BfcUorQLTqx+SeHZPdid+kB8uiNlikLt7GibPscoG
3RiBsR4qjam38lPX7XPSyMInBRPT+nrc9DEP3WhwnFJVZCxMA/uuRyRPSdfrBaLz8LW1QnKW8C8A
TeyfpjnGqFPck0wjZrt86lQmTy5WREMdXts6/zaKGL7RfsrBnDqMMKekvfaBO1yJnPJ0clS8UCtv
ItTvJUsvrbBdqnKmNUimxDOGBAVd8ck894oO+lenlRs687Xp6C/byB23PFGb1sDrneINS/0BbCmy
yNqa262SK9MWc5unoo4bbpFEXSeZtSscyqSmR1CtEn2ZBKWBo4o4xwgqGGlgjqdO+tsUsX6HRl1Q
4yV/nHQ0DsVVn9FtO6rxVxE49hdY1nCMtSPq8C25NAEn4iyToF+Bam7wBqhqQ53Pti4uMQfBWjcO
3HkMr1kIRflu2hW7fDY33uiEn2m3z+oGuYLufmGU+qHbsEGz+TUr9bs24MxiFv3fUNlD0d1RUHCe
Mf7g1YEAmR74wl6T5iMhh1QflVwNic/ct/P4M2pZu+NwAthwKQdWfgdDtlxhoJCUzzTyT8ZSfA8c
cUhokdF1ExWpGr+HC1iO226GJNI4rhbLtqAxQDWALRzD3GIoS1QtaPhQ7GKbmVicMgNP6S+iQO9X
hhSjY2p7chKMmTv6HRFF9q5tUpj0IKHJE9FAkvIlrbtNmXrD7itZ1YBU68axj3hMLhu7xlNTQ1wS
dG6BgmRuN2WS17sgsO8C70tPHzFkcL4JqjWZuRh4cdGGmcsEN9qWMsk2IzSUUax7OaqsMqY1aZW2
uScL4E9AMukhV80T+ApjPq7/uurm7yFVliNSOIyaBui10H2OF/V1ghRtC8tAqpANK5Jt/4RW83fR
7UcE754WLEwuUtbs1oxxhewD6ePOZITgiX7T2TMcCScpguU4S2cgbBtFdFu+1EX2V0nwGeZdq4BG
JhoUWk7xWD01Us8mNCbrUOdBMTxbvf2htVgNlPiBIxDtKf9Uc582t7Stq6cUxB5/k2WzdES/pC7r
zywa4WMxhZ7N+rYXt0J31LwMJjNLg9yk1LGwUCrRTqLpWaFwv2bOLDx70L+CGf8/1FLPcTR9DGgL
Pa0j+bqdgmY72dNbRkDI9v/ulEAGp/9HRPv/G0Hq9N5Ny6FZ/1+PAI4kxw//lE/9Hz/0771/7d8I
gMY7jcY/puC06/+h96+aGq1MQ1i8iin+KaVatxzVth1BS15jPPA//yGlWv7/+B4Puanqhvnf6v3b
JoHX/+IjTiy7obnC4X/Jvf4vvf9uqBwzN00ijHLnx2BUccLl4qGf1ere69chWervJR85SbvY81fN
wXBcNi+6tD5dPhY0RnJt5nhTp7LV4eyEPLU9N06lrHHSqLy4iFu/bZbPnPL7xTZPCUE+G8YJezIA
RrmpFuVZ/G6y7LaD3Hb1ti49jGL7lWfR5dVCk+15IB1aU1+ZCWSnZHTDvb3Mb1wgzhbYcuIYwH+u
E8CqZA3GPZzz4AX05OH3D7xiKNq01IdGn73JUKgfuiW/s7l0ynCa3UfVnS2aO5zJNZfldVFRQ9QJ
TrxQyLxs1PsmuWWQBAuqrqOiBTdTi6KLhv8WTn7lpcs6d5OU7/qQ3kuLsYg7sZYsrsoPkVhW2/aW
GqHbEnPLVLgJ/FwWUikVlS5LK50aa5HFViXLLkcWYCD0wPiUZHhrh7xbyrRs3C5UbZ0s30JZyIEG
LOtZFncGVR4hp6z2lH2OLABJu7G2CzVhWzYYig0ME9apzknK7vAn18L4ZZTlZCYLy4QKM/8tNWXR
aVF9zlShTC8w4qhe2t46AxZT8Nr4DcTEN2Kg9LDozoldzd4nE1ERGbePwFF61lyMYuAx8YyTBC4V
DOfEeFqreYmDTUGAqSqL51mW0YksqB0q60WW2LEstgNZdge4HJsDzvAI0Di2UJtX1OhGe9NlyV6l
A8W71n2Y9M/gerZES2FzQZ0/U+8b1P2FPAAk8igwcSbI8qeAE0LQDhwVbBNwsUC6I48RpINsAnmw
IO8HubVjvxthNfpGJVQsU+plTd9ttscr5Cc+E/KYunPLjFHIsmEcQMHNQJfBbsqAt2DQKxj4tgx+
ZwbAMYPgmoFwwWA4ZUCcMChuGRgTAlsyPm4YI7uMkyPGygq9iZYxs0zo5aB0qBk/O4yhF8bRGmPp
kvE0m+Imy54p5vz8ytHxMDDIrp1yq4bLxgRryBZIpK70huwUqcom0GXO5HMwfDZQUgRw+zoUSW+9
RWp9lCyNAT8zg/QbpIdhqXAyIoLwOjxJtPI8NtETfJqsYMk8JRyq5CThpq9iKrayYsoS/VuyNTjO
nGhDHOKEB3mcvYDYPp0RjQMAEAICpAABIWBAAiAwZCN8SrXPGN4T/HiXtKGA/A9T/TghOFSJJK9w
xl0aZ18aiQ8LD4iQnDp+J0tny1R5PYCFIfqYOLWUYAwFH4MF1jCDNziQD9hTSP86xlq7EQhCfikH
iuiBIwCx1hoNXq2tdjpXq+mNtdW8zFjSO5bweNEdLc91zAyq1sYTvtNX+fWckg8E9IqvOw6wiufo
770+ewZoiN5DjDIwlH/P28rLqpKQ2tjXiShuoviPhusspxk/phIr+RrtU92u1sPg4uKDjZ2ubkhI
ZmrW+MxGGN7QZBy28JfKhVZ4jU1aINDxjPi0x/PeoFUtP+mSKKUR8MOTlyMJFsyI7Z1rVNs0FY/W
ocqqnRsX5JfxYcwRR5U/rca9B78pXwyP7UzFYG0q8ehJ9kn6IaqYT1Y7pot4k+/SAjWWsbvM0Txn
rlHoGFsaudui2yu1+yMgdhbIHReCxxD7ejFQXhLwA99jfA6wPsy/DjbsTwoDlMACyRjfesHDuYQW
dOERdUZ5eOs0mBUaNtwhzgl5cqLLt+27nD7AtJ2o5GwIJBMSSYFI6iCTTAgle6mZpGLVilmphpfQ
rzcxl0mvSnT/Z2hwQuhjlj4XlePCjCIiUME6obrK+FZnxFcr7t7lrSyvOfJWrA0ebZODj7sSI9Z8
hZcUXi19M6KbBoNlwGIlMFkpbFYBo9XAalUwWxHs1gKVD8m1QHSFZJFGxxnKi9xHOBWoL+gvAQWm
QIMtUGFhJB13PktYsRFmrFd8dF8PoRP4KkQZlMg2hMij2JUtpy0jt3VnsfyBJKLGwNVqZyQkG6NL
6qbZ73XlzF/gctsBUyV2tcA9c45G6wzNBGpfkR/jLDArQILhgru6sZELsfz3nhgKwW5NT2/LjbAv
JQzM8xgupleU2ZkN1Zv1k0tyly3zyKn3f1kbvEIsKD0st8749fq4Hzw2UHycdi842gewfTqMXwvr
B1O/cWH/BF3ICjgPItCCDFQgBBFDfTHaXWuQgwKCMIIkNCAKaa2De8IYtiEdYJ4GyMMWAlHeVBFE
Yg+ZKLN3M0jFAGLRhVx0uF4CknGAaJQJxZpd+4PBOp06B3PJyGEUn5gMEKZluQyI6bhYrJtc7Kx6
lVnzIwSlC0kZQFQy/XpWISwtzrsg64ODARMigvRTgcWsYDIV2MzlwYHTHOE1U7jNNHgqoDgVaM4S
qrOD7gzNwh+hPQuoz3aJSTVuTY+17oAbn+VulXQh3AwIehpe1NJ5itR5M5LRUsCULrClMmQau5IG
4hQlC/8k49VbaFQHKtWETsUJDUh6hFi1aE+6EKyT+p1hulEjMyBvPDRTsHoG+RLtpAbqI0zf0GvC
HurVthz4SDJ1h/3YJgHTlZn0oVIdwCQuzTLuRyLlUjzstISF2lHWOea9YVkdDQ4jabSw84zb7oKL
0Ubhoa4SJkhiaDf0o70UQ+WU866Oph/saXZod2lnu2YhykAdReI3vbNvNcOLd2jv1jPcsFyZQwVu
jyNoz69Uwhdn+p2LgtMI+EcHCQqF3EMjD1DJ43A1YJQbWGXauCsLpe7E0DXBX0WH2IwAok3XpUmP
iT5fjywaZV24zwN8qOczE2lHWkJzF2jtTw++30JPl7Tn5Z3jnAL3u4Kvlp+CDW/No7kW8NczHLZ8
M1jSHhG1bpz3uWfGeBvhtgGDzy0cdwLPXUiwm8H1W/MZQXvjKskoEfy7hgMX0MJ2Za/Gsrt1eXfX
I+VqFtHJHr4EFLnOYhBBlcfQ5epINha0efgj7+8cAh0M4LJApAfiEYsrf4RTH+DVbbj1FH49gWOP
Gt+Cag+g2w0o9wraPYZ616DfUYfJCG0bJr6Cja9h5GFcGAEw4MvqQ17au9CtL5aB6xH8oyJ+8iTf
MDTVDPZ4RjiY0t2R8YGcZVhvdQ8l7HSpJadiflmg9zUo/hiaH9/YfUtRQhQFvfiB/g97MPR/hwpA
oAZoYi+5JKDj4lVDK1CjGejGbwUFQUIR2KvHilpEg9/EEeUUIUjoicyq6autMwlgStyw1Y2LMXf+
zFuem5NSk4qXiVODdyj2nEQCdCeexvXcTofanDZ00uhasEAsaCFGNBEK81TE0L5LP6eRmgkeoAUD
IZQUCvMAGiMszNiEr3BmOaioLgbUF06doYZFjYEqw2KaMqLSCOiVwMnUaDewNDylaDkUNB0YqZHd
EgHkuk9FdulQfhQoQCyUIDOKkBlliKVTlyEUmVCMTIhs0I+YUkiC5cRZkcoS3bzoUmoCnvRSoT0h
dpWQYLKb0aQYaFPyMbnWS7rnXLd2h9lTSwZ9BWm2xbhXF/dZibkIVPgKa6kB9Uu8kj/rjAxz2V5E
PjNMZ8WlSkUzww3ZoaDpUNJEKGoGlDUmChvCPF9sKbkZ0d5AUW96tDgmmhwLaQ7DLh2ljkCx45R3
DWDFKjyUELg4Iutx0fe06HyKyJtZQjO+3fz6DKIHkhthjj4owIKT64dmqEc71KAhaie0RAx+DbRF
KRqjGa1RNba3AO2RsA4NSiQbRZKBMmkQHzE6JYz6niJ0S+H4HKFislBdpVLVhLpJlyon1E4dw6FY
yp+Il7jJb0zIszl9VKik0ggJ5IS/83wv3EsySkuZ7FFN8jcjmm91Xp07FFcjBwb0Vwk6LK7WPUGX
pUkNI4LFwplusz1BNPydS+U++zaKrvrVQN2F9+lnDztbYfo3Nci3UIGVqMHkziXfp/wtXNRiAtWY
fFsjKjILMRknCwVtWY3GTKo/BZozkGFf/pgUi8ofS9GmdWA0Aq3ajGatR7vWoGHL3PQx5CYK0LYR
VwAr1D1RMb9VpA8QZ3UscAJq8IcsawS5df/QtN0du/F7jECyNxcqVijhGtR2REueIq81tE917m5u
8KhHE8nj0UNU+HbZP0/I9nSnfpiq7HFBf9qmSMYSYq3G1zwIbjplRBN0VNJfHSfAdCg/ZirOqLNX
QrxlFhFZAPnF5NxsMeA8l3264FputsWc7Vo34p2j861olTt0jI62UN4UJtL3xHHe5ceoADwt03Rt
UCsiSpzNGKDb5s1NV/kWhK3cBz07V82fFMUjSVm3AQUkT/P/Yu9MmttWujT9Vzpq3ajAPCxqI1Ic
xEHUZMnaICz7GvM849fXk0nZlPXd71Z3RC97AyMzTyZoiiSQ57zDEzIz0K/GuwiGZAi6TYx5MCfR
PKOu0N+j+nRyYFYaMCzDUr9FHuMeZ9RT23wvdfswtDmgsOEhtLFThac5C5lBHeYmTKyXASZnCaMT
VZVnxRyeRpie/GXvnQKBx+ogOX2dwoOg+4AR7lHvtGfFCQ+BclB0S6jiL8UL7zLlIa78gxYFX8R/
Kg2rm1oDRhzsB/c+m+JTncHda7ObIeoeqGKVmrYrM+9Brg8fGHMvMKRPcKDvxB8ZyW9Sr8MJRcPT
ODfHwfmuxMZBXMqfLRAK2mmOgudyVJ5IRB81PGdg1jowbB2YtgmM2xrmLSXH+2ywDjWM3Do/f2wq
139o7eYoCIv4hd0r/A/GZgVO/hjgUSVej+pU2xwRDLZVX0VoEM4nxVKeVAW/ona8wezpvszCk6oD
vGuGPe7oNqziVNCLG3jGI3xjHd6xnT95zYmtg4u/4+Tdiv8Y5h2L4CQeTY3pVv2elPUTN4khXQVl
ejOEJDP826R9AY4f8i3zhyWZHurtyt0YBoBWgDK09wBgqY1ba5xa71yN1wh7GAuROyf1HnR41mHI
64J37fC7hTXTc8I3UontPVJ/NzM87Rm+tmFDd4+v/UQQIrunAVa3zy9obaL6SIUQzjdZ9qeBJ4MK
LrhLsYTP5raFIy4+fOITpVbBsbbaLzFsYfGN6kz/5B20vPjqGwlPgzcl9At46J7KFyZNTzo4QPHq
pyle+WpNSke7FePh7D4EmfY8msXRQi2l5O+EoJ/aWEu3HZ5zmPCejptKkB6T0HsC23Oa2hagD1oc
KpUOIYZj1I+CVVorkM6N9tobgfII1jnknNdJpdyL5pyDRqNZZThreA+zPj1PKpxaP1hkmbpTzPa+
/Vmn3h2yTi+4JWv+qTXR2QpbRLWSN1QTXodWXYu7gzG+aZp/yFlCJ/WCGk2OQuVVw341SBHlAP0x
u+pJqdon8ZpCCMc4KKxFZsZ1qicbprH4P4pPNih+HnqnG/FdtRBubRP9Jm9gJ4TDUzNxy4xB+RTK
Q+7ax1z39m6DDGi1a95J5caYnJoRal6bHczaWLYkpbRIfAa0Z/Huhs4ApTd7KQtBjKpfzQGhlSGR
bZI28xVPwojiVc9RXR+0dN6EyctMYoebXsEt3D8A0dKVH01cwZXm+S5ng+0ERzeBL1AAUfQmHNh4
/Ek1HVCuh5IiygwkTjfl6GwMkophfe2jCiEeUMcWXlOPkQe/qDmIBfkNgFhimqQ8E4SapnCv6l+K
hI81z4PiQzMH4TpjzwuSb5FY3qPp8lytTzvLf67JQrTd0WmVV2TX0DyCFMK/gq2SpyCtMjySYan0
FGNCZ9oAWLzO85sBPaYEmAieN1vEla9bvdhG1oBYJ3QtfjpRTABkeirteOkhMNn/BIR2KPMZhgjE
RCQt2qbeReYtlmEJ+IsctX/uW4Jol0WwgjReNt4yLY/AxdgebTCdCuBU/irkRNDkTkLsMShDl5iB
p/km6u0Visg7L+ax1yVj1G87Vb8VZA2xHF+/ZRuYS4yyIZYX2N5b6zJS1mOogr1B3al8MXIyEPay
H+uli6+PSdrJLr+G5uOI9hzvq3ifq+oOfvIuq6O1VmOTDL2MNN7CIt0o3q1W5c+SzjfUtKCh1Xtf
81bcpUCXCXaiPwzbApV0gTVOm3ZfUYh2He9RzOR3KqjGDdcvG95S9JriCoFjYRkDNTJmOzUZCl57
0XrQkVtFcSNJ4WIZwyafYOvjBcd7MtjeWh1Qzqd0Z+OT3Dj5TSLMePthlSQ+yjslPOO9mvJjqtyM
lvLTzysEBdK/0ggZrwRpSwUP04Xa9M9KP2r7IoteUwEwD9GNTXqgPD5JqU5tkBSt3vQYnF9sdru0
E6bbyKEUZOKjcbzu9PIQeaAg+SySyE92GVKvAvYA3MhzMnQHNfZ3SYnHd/Fo+d5f2hxW10YDEpuM
3yK1rDurjKtNHHsPXRk8NBDkPSQp/MYy8Llq1laQdNc++mcxTirLykqwuzCsR78Zbpuk+9lFfrSk
TuuO8YLKKWaQJtvcqcD1rUNXeS6HH4XecaLqb+jkg9mLXifPfgiaeIOVrxJ6BzQRtqnWAruzzUVv
aEA3KfIPcb4oU6W7yhV3k8zspZXcT1g1XISm8QPXvp8BW4RgBCmcNjvrFMaYLTgziTwwRQBNQM36
mfrszN1L1SeIPFrNtdV+de0qO8Bi4OHCeogT5JBKLVNWdexcBY4CSxJHAD8yEDmrSRrmXnuLXD9v
bIfwf4mti5HxG21S0h+ppVceSlJTa+8KDWVIlM/gfCvuMtR4N1pDdXexFS+NOF1gzIT8oU9QUiQv
1pw/RA3IX0WvkKMwyGiE43cTkWgEBQGK6RUaSH6NZHwwUFGFKLzCT6FiH1gtjJoMfKZM4E7BjC8y
F9PKrsFVxR5/DkOwqT0dKhYJhVl4maAdAGImya5ru8X9rntK3GFt+gDtbLahV9qTPRRA7OACc+NF
vMdAlcmznEevHJyFonu42tQe+MYCSjp/6kUxPeg2Cj5FVR21ZvrROl0OZAd/Jivi0QwVSura6Q8+
lfZVOvmrivsX6r3twk7nn7gmPCmASq9AE2tIGYdAh69wGr/p+q5dZhnAsJH0H8LEB8jih8hCucv1
K/v/k6n++j8hUxn/WEZdfMu//fjDilnEnyuoiqX/p63zd6cy5Bi6qV/oU2gvYNicCxrWf/2Ha/yn
hnqeK4qtJme2/rFoaju2YahUWsXA/x1fSpN8qAtfynRc6rYADW1qthTUeFHUVL9/u4/yoPmv/9D+
dzbVUZmbbvCsQNO4iqxV30TRE+kog8OHxq8RJOj1JxqJoYVPqgirp/ewMdH5/YaH63ZpQTLRWuLB
mRVgAltUU8wkJnM5hg9ta+dyVLasygsfCny/PkQkTX+OkIMybDBQ4sswSDqvIa9QZBTLulVpK84O
ORp3h7cd5rtQvH+dhgjiR4aRbbPMGWscpUdcOXA83069b26QRYU7H+tduij8HtHQfqo3rWz3yjEm
8XWXekO9AxtjgP5g2xVAmHwekN9eT/AxKTkF5XMUYGWiBVbKDZvRtLHuwYriGxgD6IFiwbNv4YHS
QUNsy1Ou81BWQbb1SA+dRwcQxfdKd5BjMt7D0BozDbhHg9m6D27E9XQLqewMkbBb5CpXRq1gGBkU
9Y1SVw3wStnWnL85lUO1NlDtFkETBVnuaKJ9Ph3EKp5cRZ7KVRN+LRZJg2xvPygZ7FyhXKsX5qkS
hylR8ScGpRT3ngEqkkOG2HFZoZqfpkWxB/Hpba3ADbdFGhUHr5iaFd5x8R1ci2JpwZ54KnBjA4Nc
dK9D3T2WY4hULQ8rSVsDsS7NYK11/W1kB82dU2v1XdMEzV6tx1vZgu/UAIcEMi+68O59jzLgFYBJ
7D93/Z5o6q1BIWVqjygX9uwwqmxf6G58mEzsHZp56F+0LjnYjW7/SGzlPm7H7PkSWonQPB28ZVj5
/QtahwdAmc6PWvfu49xNjoY+n8o+aw4geOqDbmU2CY72m2xd+psib/slxgLIuUfnUJX7+wiKiaky
Di+0n6MgR4yDJ3xega8ux75LVn2hUCrOTe9IISM6GKUXL4dZ79/ainxwVLevBa52aFzZ3Q2eaVAt
YqSaQ1BQb3ZYv0ApKx5Tw/E3UBudldm23nNRauxNCLis3QMfOtgl7hz/uHal9CDy0yhfzWBLVm3M
Tbw3UYvp3GTew07ulkGmaG/Y6PHzl75lHg+LM5CHnZvZ3m0CFJTMqR8d4YtN1zWQu5tsxkAqEQd5
JvvkoZ8qC5+bv4kBDtVt53q4dTMf4r2TWw9pSM2wGqy7oQnsB9kFl+2uBjt8hC9pPagaNhItHuI8
7tOsoGgdvdFBYYJWUQ7zDRvTo9sAUSRvAHtjSvWbAnVBdDyjSNuPRq3tnQj/eTmcZYZ+c27KYR5i
0FgXE+WI7DsPn9cYcr/ZwFcM3rSiXc68tldo7T1lM609oH057+vB95ZJp2GSoBWATpToh+ID/bCK
sXsALEY9Vg3njT/p3X3nYistQ/5cTW2U9tAE6rwPeJTG5suCYOeVFLD64TAZYblO+2Yzs9AbahvT
ooNqc1A5O9oWnjH1gNRy7Ia7vgvHL+Bl2LVk1ggZS0cjz0MJEA+V/WSoxyprSc/19awdErxq/SIo
7mLEFnCyyoJbE3ywo9XvXbGRNyc7OcjxMWr5PeuGTZxZGVqbqHDvSi+3d/JMHpRMhb8WhEhIz771
YUA2Lc/5ruPIuQaRgnx5l+XLODcAVQCiPxjiUIZph1WiOD3MeuwcZKQcugTJiX4ygeZJIvd9jgzE
/mXXVO3zhCh6bvblW2wV6LumtnsbgiLeDlOUr5WJekqk2ELkOLd/YLdwjg2K5GNsZGsI1yXVbR4W
ePiG40Ee+AEeD4iAQu+djDG4EaOyT45GYjSUo31uU6MdEDcSc6MpQy0nA/SC+4MY8cfyPGJF9Y2p
omVmgd69qUKnuvHJzcyADzlNFaXUruWQPKg46vC4LEOhTp3jL8Mfws+RAen366YrYYV2Y3vfq2l7
r2agph0LAp9swqaOT5GNG4wYlIc6bYTZVABqt56QoTFCZWGEkX2rN9xXU1d3vyISMKP1l7R7xKCi
R/TjD6OWJV/BpGQjtDB+aSNk5vPmKXao6FEWfTVzd1j64VDsZg1JStDuD7Jfi4W9WNENe4Sb4vu2
wiBUxKsoT4LJV+yD7w7TqRjZvaMaZL8OQ4T055zltyN6NrcZv7BwZZ37Mi+2bl/5ewvr0a066bsY
0569L7rQrfb3l6Y8k32JuUb1oTlHydkyXh4uUZU93SeBioWFWMxDLHhnZ/M17jCofDd19OYr/aaC
XP0cdfa0tszRXwPJm76g6n0TITo5BMbaNrIu+x4/+5Xn77rcjkfuOuF10lM9UBSAH4HndmiiIdxi
pd90dUxWcWTGW57isi9JBT+1wV3LdsMHpa0OTjJ8z5ucF9Jq4AmGIt17Y/+1r0PrvhWHYCIBOZVo
b9YlAmhlBcxWV0Jlp8ymfz4EoSewt6IdKk18jRu9iq/0r+HPgZEMt6upXqdm9T0O2Tf1+pygDaZi
mpMnms532wWMqlQFgOZ8QhTRgyobRs21jO5glb1Hg1nQUVZBw6YohWumcWsdoyksjrwIYTTCY5xs
ak5dHBsX6xpuP8O/jMxiWMYg5IRGalzfyrkOhpukmf5cKy99FM3klLKXdiZc5dzJzz6wkmH0tn7T
ruzeSb+rSkQtAXe7U19rIH5zUFEGgNuv/CquYPxl5wgf1MIu8Yt9NdbtfYm9+5UbK8FWM5DOUaEr
3+G6Y+QWFFbuCt0mq4ZoIQf/bsIkJmAhyS1CPYyjt2GLS5Wtcdr9jN0Zm29I17IpB+Sh8pNuf4mT
Z6mYoaV2xAOIA/r49ypy4NIcXNuAeyCGNavYaWQkN5f1LnFyWqt3IOWnkpyjesKVdNixeeIv7+C4
dG1gNLyEITOeXAdxb3XmN6VGCvHaTuJ442W1+2zBUwuLsD9pShY9Bi7gKs1znjMzUYV3iI2SCFFu
hfle6XraVo5GYbvzUUm4r+dAv1O8+cQOWv2iWW5GctGydmCn3g9l3/4Ab9muuiK2z/2wvblZyThc
Wx3eQBHNC4b7j3ZnSG0KCIP/kOldtQ67Oe62MmKeSxQgvLB4D5HLGIbdb2L8u4JpEt6GxmsZ5eYu
7DTS9TN5E3hItY3knT4sxyHsuBdmeDOEbveGizY5PzE6wlqogAG9FvXwPve83HlUzugKFzosgDSz
GyG5RXqw7TVoQqIlD4MXjeezOLP/oS8UozJkZu+CeRW/QUjdo8kgOwu+9bBYooqh83lSODdVh4Bz
3GMJasapCk4q/GLrgQkgitalXxfNT301+Fm4jb2GW9yv4N7sPk6TC8g+e6pHLFxjGFL/c3CRwDNz
dMNayuBPF5/astkltb4K/Zjka5fGr6ofVgtLn1MkuFX1ftC8p8oKk9epsvtlYvUO8jm6eSqBbYF6
TrdGar5pDc9PPJa+N0srHWFpVghc6L/6zGoYYLaFenNrgfqR0/6uL5lh27diapLCgYaQiReQMzTX
SZG25+/JVMMwqnTeJzWMbtzKx5O+hXZyasrh0VFTZPfF10ke5NS6r96nyj5fMdX9yFOInFRULST2
sAdxx6YUn2DoTaXTG8+zCTelAPJwdP2uxNfwpRbdrpIZe/hisFfryHi+TJJNXQd198ck5ulepcFs
gHt3VTRgLlwtD6Ntj2jQWNohfAzhlnEeGScQnyJGHjqrEZSxdly6fw5cgs+Tla6sdmHP4TzZhHzQ
ZjEGIFZuLtCHtzYohFqPuYbKCs4yKkAcy3o0UJzcmoYJhUI0yyg0Dk7gfpWxWqNr93UK/1zMPAdM
FvqL0XB3XgwhMCi8vB2y+f/iUh2JURdIUu7kSMCJQxVO72fkDajSe9CNL12/wwylgjiDR+HyMvUy
30p43szcAI+0X+taXejPWPLSjsr4vPBl9DL1O8ohApGQQQ/NVQVxw6kzj8FcwPfCpKueLePYZT7F
Xnk6z3BHB9wUrmXceUqSuN5eQetN9sk4eQjixDzaEQ9DSdZ0158G+lpwyn5dQ8b6yOYfP11HDgRt
+xrobXw0PMdBi9Ya9+cPq/7TV5PoC/C4+NbpYejJT2mtuiOZXUi4Moqbyd9NCgA6ADscgFbxJBs1
AfCZyTQPQt4+qq3+cXSa/tExrjqjjs+NemjeusxIUUVmiId3SgHkYNayqZMU28i1zqN9d15LtuSC
rJVCyHmU18oStusuViahjkTZXFbWjcbLVg1+ml0nsYelhZitrjx2FD0XSjg027Ltkiey/kCdKHet
Mxx3ke6v7ZVlTeV1GmoxVVfsnvuhwZleNFVYRzvoh2DHRFMJnfKImeuznFqZen9HVnElW0ivB0/j
SsbJC6FKuhrLujjUdnQzO0NwMjvET1pVuwvdQruLHeijUFGPquiS/X6Xhzc6VV4qa7/C+DEQvoQu
BlGiL7GK4ZDP/k0hCiMztgrXpXhCUsVz0YRhXwmi4CC7urYo91oQf5Fj8iAnuVHhgHcnns84h9rc
RYnrHvAj9A5R10Uw2WIXU03Y1+zpbfCMJYKGT7LJKwFKeWm6uKo2GagFP9aOH7g3p3MG9n/hfHsq
orwl1arrIvP6Z2YW9Sqd4pVpahZak58ys3XSWnYaD/WXKKina9Pq0VDquheM5cZNkY/1qqj06bVk
7+8YTvfiK/awsbSqXkFLmV9t4rvf8Zf+P+MrsU6PPvdry/37U7xc//d15frQed7jxfpO6eAd66oj
eOc6R6gWwiOSW8ULIKV5OSBmtU2yOX8ZrXIdj276iOvneFtj/gJ6gX5fS6ZVnCXgOMUsfS6/OdQK
T31pFw8hOAtQZMWLMZCuMic+uLIJDsO5GoeSYjj7zGev3sjJYTjx+BUINrFYupyoifKAj8K2pbk3
PHgpB3moysLeJUCUL13w/vi5k+1hSl6hEDcb2fowgPMxgAWtLWFHG+9L6dmoLaycPUGgIvuIyGdJ
DdfIni2VTE3td9GRZFz+zGaXHdCMEIrd2KdeK+9lt47Z8s1EugI1pil/ztISISs3mNdyDdK/aPVl
YXKQowIkmJg/krrXduZUsHOpWjc/ygMG3UqRHbVZTdS1CbyKhqNnxRFH08pYUug0/PTozKjxYSrG
rE8Tyo5sVFWbP3NkYNBESQAq2IMKHxrrEAWYINuxwjcRktEi5xTCLOVB3Q8Oeg1FVHTFHYx9lAoQ
100y7XhuTl2RXg21yoZ7CqHheK1zktFy/RKm9PWl73INubyMC/wxhARbbS9dcoK4ToTJ9vH88s7X
GYb31yKDHQcORN7WR2qtd2np1fvAnGvMYznrXFwK8QCnndpT16LcWUcbvLDvLjGXKbLvHPx7mS5M
IoSby/OED+td4nIrS29c3BDx7p3dhd4gpaD6Fg8sWlnuAtWEFtujorCTh9yc3s96YMIlyaPfbRFz
DpczZbgp1hjRDfGU3tx86pcRM1uQ5T//HmkmIn1//h5ZwIZdi8dh17It1/v0exRZYat744gegurZ
Xr3AXe/Nmms0X0UFQFYGUE5Vr0sTxumlNOCVmndDEfnLpUuelfpfHp+g20u33Q9sq+SKcHHG3NzX
Y01teW7grEFiXgalYj5kXeWeIo9i6jyk9SKyCzw3B7ffUeH6++DWc5emDMYV+mNwDiquq1XUvAfK
F8NU38lDVOnJDffM9z4ysfVdbbaIwKYIdEEVr+8+9cmmHJBzZZxc6u/6LnPlNYYCHIGVIzDX4V+5
01Apm0SespCJy1jkNWXbVV2UbymQ4C/G8DylCLiOeAXLKR+iU3NoZxgAhONLUCOemhuwTcRCf15B
rn2e+OkK5yVkpy4yp3IeyyzklN5XX3W/ezNiBTJQmzf7tg/J2ju+cZQH5AzNYzHbygr0P8LbYgBr
sdA4n3ZjdZ5hg69zUG4tgnVsU8XnSx25a7FgVmK2ZMn1vSEMkKb+tc55sXrAcaMRWPdmk1YemzJE
QIDJcijUam9VZX2ULRmhK+Z7RGXa4QOepZ8jsq55+Ofvi+EItukf92+L9ximLKKYaFGSwfyzsgps
M4qBHjvAZv2/rMxq+61qj86uKlEIRHy4GMBA2kiZJ46zq4fC2cnhzgPAtvoQqTowzqdhZ3phV1/J
gUmsc27LiXKJc5sUCkUNMlhX5+vIocjO+357uUaamD8ntysxFlT1cHl5BfWk/rrGJVoNqW7UCEvk
JEPwKCSvtZ0Kez2lfrKvDTXhz1W/n33q85UJh5UaiUY5IONyzOhWc89DAIkvdef/Puh9o5TY6dLZ
6wHPjyLmMizPTEWfhS4JMso8rfYVegUDehHn87AArmr5/vrc6Q3GfF5exofDnN6Y0BQdIzEP6Vii
Jcw28CuyWrBIi1qFLawaj60ebUfksL/OVIZWqYGXh2zGeXM9QA15qkPF2OV1tCepcxrVOdtldgHo
uCsgD1TZrp3CbKcMVI2v7A7rPFQy6S3Q9XYWToM2y7njw5gMaEQU4hKIfICfAdWPcBIi86wlr0HF
m6Uu7cul5JmMkaOy+WHFhiqUhZMi1sVc4N/GXaZ9uoYckH3n/4JcQXYGZULB12l+ytZ5VJ6e/2sf
Os4BQp86w5hwFSfdsrNb51vcY73YI6K112fSfyYOKFdj7zrfqFZ800s9f5iyvLppbOh0bC2zPUZn
9RrNoje7y9xtqIIAV2ZxUAqQfAbsatl3GejS/C0OfRhYIjbTmpxUYlBsUxWZDKpn2ekyINb1Cmgi
+uT6y9RsnbspiZw7/jvboIyVg2zFOKedkJy7aiyrxcu75tbjRt6LjI/FJNzCx/WQ281CTpADpc8T
gE0J/vqyrtHnMEcCmA/c9ttbDaCWgaIkbNUmPWhtZ6wjbX7VRNelnxQOlMXfYZVqQAhFIPr6EidH
B8fVhyu5VJxQzHccgAxi2iVODhYIW173A1434bL+mUQRwkI9NJapn5zb0G3ce1BRwSaqSThlcpTt
CAaO8XBwbdO9n9rO2uodJFEZLA+WUArN3a7eyaY/j9Zu7tvvcgLOXO69bqg8hEZms5URHjWZA8K9
h8sazezpPE5G2lqBzHEfTSDtqVsvLhFmjoUz28J4hTibehdo+yzU2xuUyDHDjfjiXl3a8uxy+B9i
5LCMPq9zaX9a4tKUZ/82TjPSFy2FBv93YWXdvr/qWYnelBpviUJRzL08KFqJkZoZIPQh26PSPiOa
bsD7+iMkqNuErLBOdDMrzRb7IerVv0IuS33qU/E6XJhTh4Pm72B5yUvzMtesXgad/bK8yqX7fGnZ
5vvrXoe18f5iL4EITkFRU4tinStNeo2bWLnWJZLInN6bldlpZAvA8WWxn95CcEpvTcxI9l2NeZdo
yf6qQinln2/Vmgkg689bNYUzzVF5QlTBVuED9+etGmyNSaazhE5T4MqgmMltjYrhV7R2sfjDiRxG
Qtav1ayZbjrHiA9mqKriSzM+okzfX7HZNL6HBsZ2sWn+NFOcKYPvGZjjnQn2s0ntGz/Ksl0I3X+X
TAF1YnkqO2XYp6bSd/zWy045fJkt+5SYdVgZIcx50UBWW1QCAiUPfZJ5IV69AgKlWCFaRi4OQVU3
voEC4/FajlzCzzGXzsnE1zHt1bUMmbMZvQatppZY1A+hBXnjnH0WeWiZwhb9eq1nQDbokgeZxv4d
f+mSZ7/75Tpyid/9l3Wg6pEjFxj/WFxTRshYOUv0U/vOYOv3sKZtRWhpVvlOHpT819mnvjjCGQTa
pcJxykLCTYM6ImrF+DKIzgRHCYYQ9Duv9Pftc6xcW64i410ULrYmTzofl//9kmTI+ZKizwNYfO2P
qDJrQRHthlAJz4cun4qCHA/tuAx+nV7Gcy//1va4QV+62kgPd5+WkaOf+jq5aAT3/n/45nj2v+wK
HcTbDUCNAAl1FUzjn1+drIZTFs5G8GRndjf5j9OMd3pup023bAq1OLR1heJY3z91/gRPUQOdv5Z9
STsM66L2vs9NVb0H+0kcgjY2xielrMuNXCB0QpfKD0KAfeNbJEEBHi5S9sCY4ej+MUsa/1iKsxJC
xSakWHPVFCWBslMOO+gY9bM3HWTr8zIy7jwFKdJ004aEa+aYoF8h2HW+cfAb1cDCIg/QLzO+J4k2
7T90yRCXsuQ6otRzVc2FeZB9l7myD1FVB/1DfiIvA+dFZTvLfxRuOAnbaq6DvzoowNG231flGRSd
VwyedkhpeWtXpToB+yy8HRQTt+4qnV9G3z9V4+D/pQ3VCjTe9C1XqVfpfsv+tYl8OPyQXO00ep+U
RDiV6r57ag3tO+YkCeoMFBOBL/iaWuyDjhKk7BlkeVGeuuGcYyCkUH4WsTJmUEKhcCDKl73r8oyX
h/Wyh6uMpjGyZzusrqf3U120ZaeSUl2TZ5c+gEPXaLnlWzk4t06zk2fntWT7X04/hcoVna46NgZC
JB+mXC5Vwc+EX91X61RNS4CMdknKigpElLvcof2+PPIICrG2DStUfjO1X1WumeJQKcLlOP83KK4t
yh594Nwha1lvSUCh9p6TMD7qgWUvyc0YaEAWI9gkV8FNF9zPuRlEaXhs7HQ5ZZOzk63zZKWF2gyo
/pzAHzqh10qyYVnn5VjgMVphRxUFFfoJWR9sc7Z04cJrRUKgThwoxKIdjOz4Y9u3EefAGehDe9CS
mo9Noy6DfnyNcZu/x5xF36uUshZ12k/wm5pXwLb1PcJ1+h5ZbJRNnWB6zX1cYX/Hszv5EK8KbdRA
CeuW/FazsY2KRxPLAcxjRgekd94P+BpXg5DiiQ6DMjjXUaGjCSaanwIvTQR3ShxTKNF9iktKDZ06
GTi2qLOTDcuuz50fLiPH1bHGqh4xitXlpVyucOkjzwn8z4RZqGar3K3rU6DoNU/5+Fh6ZRAj6xA1
5z45GqXp0fcic9fZc+fBwEzbVY0zykLGIRIBAh/SOnJU6u05pPUS/uAY2V3LlX2f5VsIdAfFmdeB
FjsblDK167RDerPsyukVq56XYCzUex9FYGqqibUITOPcr6jufB/k9F/iHeJDjX4Z3/E9hYx9U5Vm
c8wV24dXtUHhhMptMvAJi1IVJScqttCryhWfqhi9l8p8BnzKfUmN2t+TZJQd2O+TcnhDm1LR2w1F
9iuEQmK28aZ1WxqR+3VWMecqHM+/Q3LIXqlqPXG7C8BGGIm+6mIlu688tVy0vu/iEDZuLQXuSFHY
1gNmx68Dvx4ArehKM1IglN6Da0c0URfMb2Hc79IQprbdlu46V4v6kOnwU3shbehMJj4TkYIfuOxE
gxLMAFLVG90P32YX5YZsKl3kdcTmLxabv8tG8bxbZPMn4y6bQhlbjf7HWDkqNpXm7w3oebph5lsZ
K/ejl8V/b1b5DeT6yu+4XlVo/15PblLl/vTTejKirvBmb0uUABMHORl5CDQ75QypiuG9x8Qsrb+a
E5wtlg2eD5hk8R26zMhLl/FL+9+tIFe0fRIpvPM8arHVzb77xvA0QRPayZymzG5eujSb3x7RdCxj
2IVW/N4cxIRLU85HHfp99Lzcn3M1bYivjLRNqMMVSDvBsu4Pgwrk1lTi+yhS43uNAs86DD2c0kVT
DgBFTnA0pFIh++QhRsstG6kKn7t+LXSZ9G8XGkvwVW1s/EWFUb1BGsU5ktQmUebF7msUjNeq1tk/
vKb9mXdD8GQA8lpFOFGeQ8Mw+RCqxP45tLGokV5C0wnx3AZU17Krpk+rylAfNOhKvoAIoR8olcWw
uGwU5iyEvtSo2rXcIiS5ZUE0EjuDD7uHD5uNvz+V6xUlH/HLUudtidymyPUwmWPHIk+bBmkHo+SH
Dq178+hjWDpqI77u4sBz+ZcOZP4haVPrIXPteDUblJblYIZe5dEKtQ/xc1x/8cqoOcRbXCoElSKp
KTobanvSdc19isxnqsHlsw0m9Oi7pPllkNuk2aZ1zOQ6FHyLejCCJd6VWI8Nc/GM3P1TqpKhCa3C
fZrTFzlnHsb3JTpF6xBx8et1G6DYDhvyZ+u1G1KN4zfA38HCi1LzHqHEaaVnrUFBuXZJsCMKq+YF
Nub4JV7NnWN9q5nu/Zruh/H0eTqSM9oq7zz4duQvkmDwbzSt8lCEadxiU0MF55uKb/C583dMF7sY
2KbAHGVcU6PAJ7xaECTzAuMp59N7HB0N3AwtLFnm41Ca6D6o+nlMtM6RWXseky1Dpxwe6OFtijvA
ZxDkGLgZxTAd+SGQjxLLeAnR+zTfuzwL4KhLSVHAKWWYPJODqoqhtmOYYMdJhAtZPm4+gA8MA0Xe
AZl2Tf/qjsjvdTxn2lbg/5XW39XQi3+kBfehcuzrh94w9RVvQrjrTKU4pN6UX4MX+TCnbN9SbOJ/
xGJO1xfUaKtO5cdpiGDn1wHcPM8M81UqPn2D3UNOrLRnN7HMB9lFDhRMVOsdB/FhjXKE2u0cszg5
iBTyOR5XVR9m64wquQpCWKmSx0F8rlTErW+6qvQXkuXj6T3qMpODQJsYtfjYXXmJqRzkaDf8sKpc
f/q9hOy12Kr/N2fvtSW3zXQNXxHXIgHG085xepIsySdckgMJZjCTV/9tFOVBuy0/fv//BAuoBPZM
N0kAVXuf8KYRrsnHqsHiFo8NjhKL8q1HFeRx6ByOBVPPrwWOgjZAMprX3RhgHUBCUqMi0r42qHFA
AYt3IDmJSElNDtbZk0S63INc2woG5LKWAUhNz7jMQ2MVHfUg3gEYt+Yhqib5boLBIsWmTbxSPfCw
l489A0y2iwyH7j96Jke1STd0vyK5oTmDHKQ542yjOXtFiwUBjZcuSYfegJS6RjWsAdJlHWlEjQ7x
cxcyArZvc85EVu2kBDIvWDOaGz5sc5NuF+zLIK0BiJ81tx5Lixv1tILsyEMr+hxl1zTUoZAgHexJ
oY0f5tDGOhRNruflVoEa3sRuzpO1ZerXC0jr5NNwP+h78P20/FMrBGkAh4SfvN0ln+Azq0GpBvDR
GuWTJyPgp4p4xht3C5zowEjLp2x2yqfQza3j1E7PXdWXT1pOvbEPfi+aqj8CqyiNNlHQgfFdNbyv
kmhjhzbAJqumADuR/UPzaLOY/109dfUrWLksO/6tHN3kGMt2PiUfzTSm88kZmlMVNOMeWa6AQCct
2S1jJtgPF7LW6ocwZPfzEKOtIOa0O5nSMO2l2KJusANzcpSvaxxC7TPwErw0uRO++Cx9KiszudIo
Hq3mGYj/oB6GQaEaJMH/HqFgKfuWMPGEG0eDXVh840BB19wS1SsT4OIPYuQHUpCMtFpRAnUbCaDK
BRzXP6zHYcAumBZWoc0PNKSG4vBUPJsWw02sRkk90jPB+xVM3rVWDY9sVPC7M9K0Su9KcuQ+oBqG
xpXpAsMAVI97Mr5TNwFQ1pQfyar2TwcYmb9aJhh9kir4kiPbedubHVdZg+zZrFEpTqnrPtCh8srz
7ywc0fyHBcXgWemuxIi3zNrGDk81x6ckANEmMGv8U8+cH725C0dQ6nyMSU2GD7KwGKZiRWpqmIpD
vahUGhovXZKisshe+22cr++mjQUq5+7GH9PeyciGQtxNeXeZd9ORlW7oikPZy12WVZ9J3j/MuAjV
tHcRgZtitMh8BZ4QMAOxHSgB9iSqETXtbn+SgbcjWTi5FZKUO3nFXoAHop1iWg9gALw6gW9dK8B/
QZuAhyYLziQH/aCFtTlQQVdiCFGF5DinOE1w7E7GSzfKfWfrMAtIcH+PRUNq8rLEiztOKLZaRhFo
Yl4Ya2kaAPGbO1D6+KBEOFHTgcAGiJkpENZj7uJ/nvcA2VRdbQNsLcc6kJArzd249P0K4ap4wP9R
BV3i9wJrwwksLNmLV7v1qSns+kWqJgRRh2Ol3oVEgBev8W2fL+AW8C40Irmyav4pIsfZAm8AmSor
7fgRfhGhEunYl0hTQFmm+ZSGrF/j9ajfVnMEgAYP9ZUrFGZaT1UCfFIne5rtzGSrQmn9dEQC9AT+
nJGE5EJh/FoRHzn2kVyXKOB3Go4WwPrIdwlDxiYW3iiAS8vd3XSoB3OvyDFdRORC4buur7adU5hr
ac3dpS85yIax9XhqDfWu1fZThvNRr69OpmqWMe/tv7qkojF50ZAa5ErkyNcYJpR94X8HNAn8/2vk
XoHXBZDPG28Cjgz9b6c6gnBR3Zvd9ykGNaB3hPXiY+I3sHxftJ5kd1PSeAwsMGE3Zbe+y4aP4+IC
ArELiSIqN7JB5cJyH68tlEhfJDLd5gyYygHVqFgTzy8Arb0sJSuowsgugMebVibKm5FS6xnPOVCv
XroUXARuOrTIq4WMGrtHYqwlkz9pVCozoCMCGRvbjeSkTZn9a+FJ+6Yt2wJQX07OgOoCP5JLIwJR
nA/aaRqSwsTvAYQ3uBaKT4o5BkjHv11LLXoDqXr1vFwH0IGiaLlmXINtReMlzH1+ACEW4FIrP3JP
HeqRbTBC2Q5Q4NDMLtD8VtQNwDRtgxaud053DqRaxgVKUJGemX8m2URBF81jqEVHUt3cTUXzL5dC
V0VGd5PSRdQ12B5GL/3chHEB6Gshv7YTKjtC3GxukVniid8Gn0ieyR6ErHPAD81sgvG++BMsa/Pn
SNbuKYiKYjMr7155O279w9tixicyHxoLTI3xqzWFxbp1DSFRgN0O55q6ZsjUDgnGVYrNkRzIeRJA
YxBqTZDZbA/uq6c7l1YAq32tbR69l0BZEP+BB3S2IzVNsyj02J1EjXuBmlFP+zHj3ZXKKW62oAiv
cCrGce6g6igmgJmjZlJiMY9Duj3JClWToU1oqBttUkkJXz1+sJFJMAJhOsFWtgpITWB2KP9YWppB
q3QcB1Qv4LmPm31dI28eWT04RIrBbbbPgyY2kOk7A7SR82Sz6LllJTcXLIIHH16rOMYGPoqnsGJk
eAFkcQ1tFaW3JnFbG0X502FmeONdnMF4hj0CwY9F1oJ01s49nNTZqKQ6y9zpNq6BMohFiIo9GPQA
4Ix3FRkvLktrOl0e7xZLAEaJs5kOv/Oc+dt0xE4nNUuExeafXkuERU4ReneT9r51up/+3nm5iOWC
6IpTLC82MyB9UQLU4g63C2YHEMGGV1zFjMMCMaovQJN+7QEQeyIlNWEy2tuxrhMQiQNMaFXnZaGq
GvagCkZZpvLwhlbgb5qh+nNrpg3Oddok30Ypyobnwa4v1PjYVb+oSs6LrH1k4lJ30ShrA+CQKHAW
Q3vnQ2qr7ZHDu7gry7iB5c8DqejkswQ3gdZIVwHIEb4NkqgHuF7Z/shMRN6g/eSphtIM48HbuTiB
QGIeEhpJRA1jPN91A7DZtC0pyK6p3B1W/vYZFSx/BP4conYX79+xCLwr9VwXiP2VP5Y7rWD07s5k
NZxYEh+xV4n39Ea9xS9d8pka/HBJKJVm9IEwa4jBeGvGJLnWVnIgdJbZdK2XIopxpGDyTz2wWl+Y
FAfCdAlRR/cCGqMDQbeAjHnRab8Pyw8/P3cAhpVtc6MSOIxBgvWJGsfvfvTGPLDvZFVspsWKhGTT
eam1bXBItWYe70bQGfH6WoSomcT6AWsyjEhUz+2PnpbhnvfZt/zkYPQxuDiUxYNZV0i2QVLwiHoj
aO+mmKvyS12iPs5a1a39aicxKLNlDRIdC9wZRpODNLAGksYI6CQ8p7jxKzerZWtX22Z1PuMkAxh9
ZFtYA1/n3jkXfQPYvQSsclUHUtywqL764OyIkzn/zXNYAI7D/2EBoOhgBRSBf4+hLUTr4iW8Gbj8
PqDCAksSg+EvJ3CCg12pTzQExrW56u2efeqyij9qWxNbZtq4VkNtTFo9pMj1UPFPromKGu2b/j4H
OdvpnwF921GF1+DRny8/j4cfkCNA6ypkWewffkGNiNsTz9OnBHhnT8i4dFW9QpQn33matwewlqCU
QQ1zr20PMZjhzL0zAS5DaXuci4GvUJUzKBOpyhceZOTmUJ3EkPfjyi3A1UWgChN2J3c8nC3gJaOu
6tRNqDI0K6DRLDgMWbIZ/SZ4w36kD5aC1D3QCRiyh94D5vnPTZJE74mDol91fFYncXwGWNe0puG/
OY1G5GyxEQb2MLsv3jxsoNOWjWRJ8dZEkzo6QY132SOHy3KMeD24Lh5ptjCu+WSHV5m6HlICrLE9
WObwlWTUaJNMGY9Tv0t7Jz0vDtrOqYCR58h83miZ9jXzKTyao3dZ3GZuZMcmD24cxV8XUQEFuxNt
fKHhIstwkNnaANXDo/ReQVpt/DNf5JK8lEZh7//Vlbz0ZBQOieL+fuTd809Dqosgs5+5pg7gyBPc
ebZaqy/RaN1m45plswd6ob3hbuLuTZWZZjujvek631kS1UhLQ0uBXukhpbFp4/9Pvlkh3FNuZH8U
3EubPwqXsVM+1j7wr4G47jSzc7iTAUafIb0Rj4IZZxAlP/U96lNbZNvALRagRp5QCLEGBFM7f52w
TzCL5BpGHgPKI8drVI5M9V1h9uY1cZG8thqmzLzS2E+BFgRg6BOJvMED2Layo2EeZNhjcBbzLgBS
ydIl5Zx5AzgVATGsgj140rAWU7tTeEkrAfqcdczBCUG18ndl9FQerxtdgg9kyfgorQ41UaIAleNH
Wb42WcLE48gA2YtdBzbOVzMqcP6OVONN2tTxLfHGVyTlxqcCmJbYOlGyOQUWCQDeq20N+oMbyagp
e8fd+5kBFnltbYBdBnwZ2EHMQjc6pHb/GnV1DKhKhKKGoviN56xLBlKDpgD1Y4+NFCQ7e/l7NXlv
OAsTTzRCzXgPCCmkMtOwdEv7iB9dtG54l7/bI29f8r7fWH7nIWuywQH4312rqa/3ZNt30b0r6h07
ciXlx8xTbcRP/lAU79gH6zYP7iYedsvMXLnXI6r5P2YOOuntUiP/tffT6UyNLbofPRqWzBvPDzIa
WiP7zZntavevrlFYqbSuj8g6fB0K+R+5avwxVQ18zQHqMNwgMFmAPapHqLtZVMwRWPx8mmWsmDw9
foyjEJVUfyHxWLjDLpg8JAMA62KxQO1oO3pSkBZvEucFgodkZCIUYk/vSX5UqTpzXw54B+5ifFJS
35mTZYB9FWCqRuVah9BxSCb9KNsC/bJcPyiWWDrC4wdQV0IuZIJ10o8IP5uJTPQk5NbSCWiER+dU
gkCtnULsl/FrkJiAtFcNx+v/0QJ80qrqwNAnATk9ZymyPByc1eMpV6I09Uaj0gq6C7B13gC6hqP6
DmjIu8bJQJr54ZBhOjCY8vBAHqT4lyBkIGsgmuLGPuyRVdbvxwYgp45auDG1wKMGBJj+GQ/fPQCl
7+VkxlVBE1hBr9pehDK9FahZXs2JXR+0ghxQF18AbLPyQIbxVzhS6PmB7QsSMrusdqQgO89CgY+6
iH5OextIXWqRmuNdOlOTk52eSE8OgANh4BUEmFY0p7ahnmsj4RCHFcAWVheD9MPkNGO5vGe+0+Ad
NerYaShLL18tjxA1xhkv8KVVM1rOFJyxFYuuPxdHVP6tWpO5qFulloy0ueVOYNydAOQ2TTI8R4Xh
gGTZeqZRjmUztlmVQhSdU6+oSw3K7vgBsHnHOwXYnsKzNkmKODyTLCXnQYDSegL4y6ACarssBMvl
EvrRBQhi9inpBJ5LcFnCkCOFzQYPyUF6TL16YN7Zu5ujiAoQx84sGjcCyNvrJYumn6JuNfIC2MUf
eTfYFSkD7FtNw3FK5mMM2oPkDUgi4Dxp42gHBgKAtpA55dEggwP7sqiR5qPLq6cR8Iu+b0RnENq1
Oy8DTIRlt0YDNgu/uBgc6TYb6i5Sy+ifms6tDm49F5cp74tsc9ctZd3usPv/tyC1ikRGFIh6Woba
sSeOkv/DnUiHtXkUYbn9cW3knLvy2Z/d6BjEQERCPgOyYQthRtfCOd+JBKXKVpJfRRyD0T6qwEgy
RgwMo8qDmoGBqWSSGTjZlaGV2u42aoET5dUdByxMyi8gqWFLD9B1r6HR5QctSkFeX22qAlwp0v/q
+3xrGqmP3X3HexkmbKnmFph1aDjPg/9i2igpm2YQtpKMmmBwQUpW99Vey/yi+VWmcX0GXRWgQKce
rLv+1IBUAYHdDIhhlecctX3XOuXRmkEYqGXOAHTsuKnsjb4m7Iyn6zqNowPZRe6QXkJwJUlgKZ3z
2egOiesfaFQqkTOOvFrxIQVpYTG1Z9JQw0lD3clN7GpFXTLyS470AxyZAN0bjlqhh48haEzN3bT4
VrQHdWh4N5dXFfF/PIkt+6E00reYAz47z+eBH3iuaT4kjY8ODpoqJtlbBxyjLZayz30/hb9jgXUQ
MgIOfg/GHRvFxgKp/ceIJSYYsID27vFSrFJZbNqwD/90E/OY+zX7vSrYC/A3h++87r9bNquegCLz
RwmOgicT4EtYjocpElL6CMyEqMb20754xWFp8VqHwMAPpJRHE6yOr6Toxj0IvqeXZYBklBPzsaWt
nVwfb0iiyspdihRoEE9X/JB2LESNsPyWOaBZYkDAAop3dIjwzvGy6JjbXBJjerVwDwCKpQBYIVys
3kQSfJl368qdvWQde46x7kH3vWsdGb5goxHEInn5zfWA+j/UdbEzh6reCOX7z/g4enhd5vbBL7nE
ddmbZLP3TC46PM1Oc6irLgZfgPvJtWSyK0LwA3OwEqsTCRcEWdK0exRwe/GnsrObTSNABhhbJUCC
o6nY1RxHgjRMs7E7DH4YbyZpiU+j5ICODF2GhTaMow7voOZsfDFMNRqzHhzE1o501PhPrcn9d+qH
8q21y/zUjdVZTMO4B/icfWpV48gSWINzhrdlp8Y/s8tx7ydNWc+gEsehBPTp0NfmgXRIhXVOrMob
f0tmSzed+2/IwQ5AfKziLZZ/zab97qb0TSYK7B8pcxIjyzz7r18Gs9VX/29Vw54LrFnbYybAU1BR
8fDTiN3QbJD41P5i9TgbHvrUPwNP6TMqgqJ9nOFFImQAOfs+WaMLQsX42W8YeMNLowZ7vRm/AQsX
wPogSaLRyEuUO7d47QNnynggma8skFO8WFh2JN68ALXiXhNPhzA2y/OP+v5pPWaJ/xRK788GQImf
Wxupv2BAsjc0xPZnszHsTh4B+4XEu3RAAnlq3SxQwf4i/TVJXdb6TxOzlgipafGD52FdTUqK4M+5
BJsd0HQapKMumzB9iH1pmeQeWMXUHg2Nc6v3lvffjgH+Yugi8FYi/XrVKNi8RGTnnBvDZy4kIKDj
DkSOSeK9oMrkh0VuoQKLM/HCG/MEtprx2Z7wfs8q+SerkqTZ4isClgLgBBmhghp0ppitnUDVKitM
rVE1VVHzY5W0jx4sx8vsgoowt4HcG4Vl3PrAqC5gCD7WtRHeqCF5Cxg7gFYaJo4joJgqaSzaUH1R
QVBw0XIfSSUnPOy+mMqq63swgiV5jqoume17BwyzBfPkK09T+WqmTouTCNM5IoFDvkoBArqwtJ4m
EHY9owQBRIZj0u3DwkLSYS6LZ2ToAbnRjS9koeVtOgLDn8tuT2ZZN3JAhzrutkXO2CZpGCB2yiq7
FG1cAPA5cL/UQ3vsAz/5fQIw42qaW/EOTOJ539oKUEgkwQvuBthzVCZpkKyj0G2+UTSWN8HVZVN2
AbZCsS1UtArRUsBV/c4bIOQDCFu8Z44BlNBc/m7x5tfeADvZOM/WLwJfkVyAeahsePQ+W/a67HLr
lyi4sGbE0stDzr2Y8A1UzaCaYlCoigI1EzQaC//JmP0fFikDXWMXddlh0SJ/na+iCNt24N3ArsdH
KGHE78iw8E8EXsFw/GSOwI3VUBaV6P3VlNYc0KVuBEZzM0MVnpNNoGdJ1dhwSrzNhZdl+BEmaGwP
FErKJMxqf9W5Dt/rsHURYiPXNfYMeKovUYhceiRBmN9EWuw8IzL+mOPkpejl9KUZErmRYA+8tQGf
j22YBgpj4dEpL8fwDzfOXlp7Qr1C7VruPpmKP5uK10fCd4164DwZAXjA/oJyHcENcRgb3FREh93h
tYfv3CrFKx++kNkuKDL7hn+QfWtAancO7fkJ2Dn2DVxYfJGPQAbetQxcBlpBWoArAfEzAz2tDkKK
tnUOU6/O2j+CI+/FueA4EcQIiKsDDRIQdSACYSttSyZWaVvArRy97YMitNpXH5BY+On9dZm4n41P
jv/tIbYZ4/aVCBSYRVULkFFSx3U3boDuowpu/vKnjz9L/4+a19nxQW4mB5wmYn36YV4ZIjtZTf6L
FlEEmbnDNvL84O4PRYreBXZEb0t3rz2WD+n3G5EN8qo/I3Cb2blMUEml/nZazuvIRHpylN0Fpxgo
XgfNRtnMj/+FGTRJfpVbZx0kD9TZTVlv9F8KYKPJTmbgR0XNIbv6YfDN7PCqktcxiHdIFg8WuvUX
JHIOV5IMccOui4VTo/AP9XtfSIa1FrsybIiCBbEyQarl9GKz+JMj6f91Ih0i/ESTkWC5BnVx1KMJ
a+590QHHqhvwOhTjthdU6VUKbJeuCuuXOADWBYk4MiJBONwDrLFy22uKwy1wBosoveZ9jEUBc8Ia
nOdBsLpTkZ4aD7/zVZ065hYZdYBu1Brq9V6kGEvH4zIzVoLAgiINt3KOp1izjDIQg+J05Q83sLM9
3fTpQTCP/tbCocutU8+Boi/Ls/0s61meKll9BVVL+5wE5Y/GdObnwq9anFb+JR97nqJgysPuCJkp
RRYY/JYDqVRJhgg5+pNqwgo0BoFAeotW0EylU3/Vk5CDmqmLZsz0MXkUBChnVTNRNFLEtQfIzRLH
wTGgN9ygnF8zASJZZCaNWx5GJf6uWBeSLIrHI6i+hicaFdikOAH6BFRFyoGaMQL/r1l28kBePguH
l8p70QbI8oj2wMiINlqGc7TPVifKC4mMGlVyeZm+04guqBIA78OqAImXHzMlYHmfCpXeo0S947AD
shWRPqOG5DVIZBMHRZyfSJaGXnQb2bDXMfRn1J/b66ejAB3S3WfMsSa++4yhYyoWMUseyMvI5fiC
m7aeuLJYtDfSOL77jGNi3n1GFtvsIvsjcN+l153r8jfHe3MZEhFCBd2MRCds69RlHy5jMNeGMMKw
TsdZbPLy3eJufEZRDvZoFmtyBH+NPDDeOOnVseb3BsdgExbez3Hc9W8tfmfIwUc2KQ0DdzZvmSEO
OYrS3kIv7t/wNBxXFneqEw0DrF+OWevaoAcVIIYyc29rVWn1bEQIZwJJHgV04CRcjFU4v0oPpKQZ
KBwI1ZcLagZs9FNteeQi+9aLM9CNSoCrLuXn4kM4TKis3FpR/8NogXBNO0eCvodKEKx+QpX80+Db
8b7w7OjqFUNwbM320MQ9tkmUiJrUEvHdkMx8lDI8yLMPB/KSQAk84r3yzgyw88mwIjeaIu2uOFo0
pgEYnAI0S76fnAg9q0zM+WCDlWtNw77wrVd8ISMFpUUSoKHxVSjN5ATcRABoBd4/7EXxSqbUCLtC
bbWK/zP7UA4WyGVebQXGtcSPQdNC1+O7MRjSk+S1S0A57sjMctauXaF0AiWaHrLG7vrIeghP1AzK
OHW6aSVFN2/ujf7ZL+LYWNzudTrYMlFsepg0oRYwVd/xGEQxjgeabcuU7OyoBHbWxGxpzI8eyUhL
dg9DHoDDLOEWMvCVx8/sSPG/5wD+0usk03ZP0zbOZMsVuf0fLoPsqgZls1nFjvpj/GzGn8loitZE
MlKbnP4PH0Kb1FWGX8PykRM+H7IAu2P//beMonLHzFYeZwVoZammUUBYkVroIgfh1IZ8OpCIlA9m
pGgIskr7ihD05CivfV+0H+F0FOrRFNpEhw+ToF0VNWu2i5bC/29nimWbyAEz85u+koer1VNQz0Zp
xWaaG38nrHjvtD4QDBSWKcqK5ZlZ1e93wKWsR0EnMMB2WsbbaJ9iH/5nTqXMDTBhg4ktc6vxWqjG
dozhWrZAy7Rs0EOoEcolxysbZtBccrs5DGz+BBSD5Dkxy+QZAFhVPkhsoKbyJQ0K81kg8VMNSFxN
Q/Yiz/WHCUnbYR2UPHgmO17Ncuf0eDbZvHNxAmbPq1zd2KhJVS9ismg2P1NL5uL+Vqu7p5fwZAeA
aODzusLf+U0+fp7j5mh5pfW9TSYAXGMJd5unxDg3cels2qaovrfZigwGE2iWReC3YCXi9Q25PkhD
Mhzz++RW+9KSIMfE8xJYY057HPMwf0O505/kKdL8e8ZC5w2badGR5i7Aj0tzuxwcww9zF6NwNiiS
03MDXe3H3EDDrm8NjvHWVtuImwcyYlRRAdC5kvybIS2c19Rtf8ukTE+2VaBevSnKd3dg6SpKUT9q
DWyxRSU2B6Cm+GFreCDd7s3wlbIQwh7AcrNIvQMNM2x9bcqoQW353AKjVmn1cGpinHd8GGtfZIj1
T+0IXnk3BV1hExTRr6MJMAmfM0BeutlTY4HmlOQcgJGrpjDrJ9/3+5feyH+Tyh63cxB6Abn5jHV/
/gmwGtiUgFwGrQ/299gBI6dRfsWxEYltkC3tcRQwgswLhXVAZZHrZLadpwC1+Bu7xBLLF53z1BRD
wVdIB6uvJRIaliFpMmVtc1RwgInQwPG7MiRNh7K7cxFYJwpIdos2tAHFFlrc2gP2v/KBn+75B+wt
fVti1QUghie3fpctm49uhGXfWFnRuVr7FrZcula0r1YrnEPfVMGKhtQAOyMEpWDKDoEp7U2eeGzT
BjE7Nn08rekfUwJZ99ipIWWL6CH9n2jYRvm98RgCOlv7klYbUyjS1mqi/4NvA6broY/tF4YTpMPg
+MkeW0rNl34MNzn4Nr6h9jjdOPFoXuYY1N0+cF1xZAmF4VSfvdEN3kYns48VgFe2LCu9X8WEnDjo
y4GLbZgN0dkLivw1Gfm2FNET0HamX03Hw8v41HAgqbH0xSsa4MErsIOySAvQr4kfCpbh+IUUbRQV
i4cfYReKoyYBxCO84jHQj00OepcQCOuqRw1r63FTtWWz1orMlP+wW4zT8U8hQXdKIzKjnnal4WIb
nEUwxheyCpsSp65aST3gexh7ACy822ARRRogKN9s5KSAoj4YgGcZWoeiRZbPyky74CbKKd86Q11t
auEEN2pS/NBvs8FfhrnyTlrehNI692Z/IRG5Uy8rwNyKTVG2EthNaOsBNzZPSnNlxDgzYW4RpGun
u0ogVGEXNCleUbMJWiuG8vplqGRu1PGNm8zBVssGvAV6g+wujjoncapc3JC4vtMGkSFQOp303XrI
pHPEiW+0th05nnH1IO2eE/a1dWMQAkUg+WrAWvrsNi3O00bL+ioqK99ggy85J5ZV/VKExobk5mwn
+ymuin2l/GsswI2oGH7JRWGcsp4DAkzJPTeOUWwGwg5gM9vAoDLLVZmgeIzXwBLPZiA5lvlU3qyu
CM6R5SH/Qvr8V8dxAOpX57/9/7OwVAz+txjt+NJKnM8RR1Xq1EhOypBSi7MPxVJlR/NX33OcnalG
pp/9+R+4S67392MC38SannsmEJc4d4Fc9nBMUOU2B1qNk751Dd/lSB5as7EYf3GNyN7FWRnvHBw5
/1I21bgJARR7IG1vAzq7VmTNpAW7+5cSWD03UpYz24RTNLyV8xC+u3m0WsRDg2V7Uj2Ty4zH6aUw
RtCeVf7w6mPdg7RCMDim0sZO82id8DCN36iRtuzXYeWAClbJAlswlJzOiwU5echyWhu40xymKBg3
vVWB8+zvK6TOwtkbUiCmnVbQggcb5WWz0eqaXhhouTTMUb6dIyxrzCCV5zbq5LlXDQ2roALXRD85
zza3qr02oZ62IzeSDZ0rDsbETtr2waymmKT2Jw7Gb/9HYG33Y1p1GbYnd77XeQeg4iEtU09E15ya
rthVTMw3FAzNt9jCs9AGcezONUWXbGOj/AO4xwluvTDRdvMIxAK7ni4sCz1QUJvhFkxltaL9tfLL
hMOGuRucnQSgx4UaO/ZfsfBRaLiRsxaq3BJrZ/9kBI4JdubiPJWdYYMkA6WT2HHKQ8CBw2agGkyS
FhYOglaPBlMEXs4DSclhxO560+fuW80bccVJ7rcCOb7vtrSz9wDcAqMZVa8kKjv8xLjt5zjwqbP3
SPqg0ACgBR/8+NlSTeXFLbaO63Y9jGP8TE00FOLZEP5LOYsQ9fVW4YOKrI9PyPr4+mCGvDkDAM7d
7T9+jow//BwthlM7y3UsDmJXHN09Yv3WteUMsxzePPeTJzIv2YRMpXcAyG1Vpb64UIPHJugtH7su
jtkuWJeX5yl4tmkwYusdFTw/8eNR9TaVSI5ujS5Zov7UbpnKTiR+n4i9JiMKPriosdksemZgvwOP
A+Dzp+74C5YY4WGw8EgljBejM+tL60w3Ansh2OrgL9GC6ULDxh9uTlM1L2RGIvBV3jRMzN/jkKkf
yCW0U5c26D+svBGoXzae2hRH78BO8E/IkfxOI3duppdEFEgEnQxAmtYJeD9GJ232gWjxpCePciyP
dQPY/SY1bb6aLQcHgEb+5tpgoNyX2NMAsMZwHhsg2qC0PYs2IFM1kA0dh0+J0UyAZk6QWeNH5i3m
tXmTHCeCRRxFi0wrSjbm64pn/Y5kQkwjTqMnlXCF1I5syu8bLSvb7FvUIzFIi7StloFRJL00kYIX
6xjyIMBI0u20Idgq8vN/fHc5aIbvT5yRjBEwx3HxpbUd2/5HMkaK3SUk+MjqraIaA+SEneOpsS9I
+bMv1AMH4P2QFMB9/dZ1oG1bRspWJLMABumHb2mATgtvCHeih3AJyONAXWm5+dYcXJyYqTBm1CMZ
Oypt5Mxl4TWWxZe2MZz3DjTar44YVqYzOe/IfHPeAVC5c0VTvpAosPFuIyw5XmgISDNvXQNf60BD
JB+3O8C9D9vGqN13sxjtYyTxmkaReoeLXRuao5FvPSawMYhyrpNQDfWowe3aPgEqzTkBJxslLtTV
GuqRjAy1H4VBPkNWrHQI7fcQBhRxcotqIbHE17EYRSA/q/VAUpOPzTVQ+6RZgYzxEZlKy2jyzY0b
d2xHw3ZI8ycuqxuNItp5tdsEKebxeM7UXmuLTAxAM4Jok7RBJZE04GLRo2rFrZ5/a/IyOoyTgWMb
P+qzaZN+ZgWoWMiAmioq2BU5dDhUsYbyYDfGF5JPbQ0nk1p7KMqNKJBqov2oR37UQwHCf6VU/ONV
CfdkPDSYDdJSx7GXjIs7hmuATYO70OXN2+TM3spNcJjZVlV4LYZsPhc9cFRDE2fQH3LqUWOODImt
vlPstUzbBVXc7U0Du4ZaS4H10IvN7Zxn9flBTjPOeGtQ25m47ai5dWDqhaybsRnGFqX21xdbWU6+
St3pf1zdCMCqu0+sfWkKdXVuBZRmPb++iF7M1cZwuh9XR676KoDHP5/n0dqQaJQGUpKQqJXFwbcj
qjG9bx72nLZA6gHfqOulb33Zf5/7yf9mZjleSVzDe+ahLS6+DY5gb276jevV49bzonbcAdvV3gB/
AIdndlmK34IZBIIGjsMGei4GbBKXxVKqR2RXxVsZRd7RNW0r+0wyQzTDKqz8ZusNgRS/TQJ0Jt7/
Y+y7tuPGmW6fCGsxg7xl56RuWXK84RrbY+YIJvDp/42iLLZ7Zr5zbrCASmxJLRIsVO0N7EYfLdEN
e0ZbWbPRZOWgFtGu9yJsvo8MtCminPKnTg20lBHqNlHM9LyISN6OXv6EM3V+FMLekwi9FSC6pKmX
ecVZD/oVrR5CCoGyx1BsSLeEXazC4XOEPnOwGAEIumiaYRsKS168upOXAP9MoORiILTt62xbl1NT
7Ugzhu3f2mhPu4ANgFAWcY6df2rIq9sCmI5MsjaegC1ZFeM66+SGDcCOReVP9dvaQj4M4CMXlNI0
IG0wCr75fz1qHsBiXR3/iOiU4paGsj88bh4oRCZZAjkIYCkvAEruzqgUQhuiKQ4eyvlQFVkOZwfN
Rp1Pa54UmJYWaNUiC2BZixHN8JcZzrONqzxnd9PZ424qDrRa5IvvfAGK2gYo2X28KoVdzGn2/jmr
Ac3voQ00nsh1f/Ey8F4zTZfb3K6no8Y898lE6cYa5EfBN5GB1UOARzyBqaWN6DqsXblF5d+bqcZK
bELMNPim581mCHLnJ0rHYzvXVFaYrxccwbQPkpu3mXEBFdo9zQo7sWZLWhJ0YNYjfftm2RO+4GIV
MO/p7YioBynyhhVJBR5eFIjRYBvRpUQx1hOtHHvq0fXslLNFpErLasbODxYlC8pVIqu8XP2Llq6A
4720BFzcP6KTb2kpnC7HTQGL+dECTVi6CkEKdfTMEAkDFoUfuNaGH9I85JukMSc/8oALhhvJKZuA
hBzEBSr11dJViNflGE7NvL6bImUSx+sGWP1geSyPZD4C3VB/puk8xKNYeSl6lmnZ+f/7m28a/B+7
LNvDCbPhcQPFrzo4vbALu3sKDZlbCmBzVy+WXrrHwC4toOZIfZ1GbYGGitS40tDp5XQuPGcb4XF2
nc30igW7Mp9a30z6Mt2MPBnWvY02BHIJgu7NGb2JBZBZRLdfApJWXQgF7f+4UJgin/7uTk50MVAV
tT4tG+d70jX9mdpBqG0Et9vylOLBRCIa7vpj9MIqSLu0mMzU1rR+1955mFMCHhvTSFa2ApAwQTuM
Mks1RduLcyzVQDPXUXgSpMk1gPtqkXunnQg+AmAczrElTApynKXkLgmZYomZTuXHMEG3HyoJywsN
cvQUAZHVbgMtYsmswYY/BN+ctyeTjoxHjhcRWlda+PdglaBmZv1uiO0MmQZ0p7ZqmHtSVWOrUrZJ
DG4QJTfKACcuLbDnhgI4Ezzwph2VVJoZ3teHUYgLLXM3WeFYzXsdAV3+bOJQBlxrqMPES+0xH4BQ
SVYUgw1Cm2MkIr2PMU3pKm1N77XiaA+dgXrNERypjeJtoYGYWaosajaRXaAuRykWthanbiWI+xTV
y8LyotuBtQoCAUxatOVtZI0Hxtg5eGsh7+o99kMwWpJLoi71EBUY/LgU2dwNjQXmbxQPVg5Qlukn
rmTwNe4z8xrazPiEWyX9WtDKbz+FjQAxh6pWnTSkXDVh2WsUQOVX1kYC50Tut3Dqi692kKHZrqra
Vw18VzgwGtJblDC21XgizmhWsA+R7qaHAeBWlwz5pi1IGsJnsy/rdTYV7Uer6gx/LNLmW6rz1xbU
wH+HLSixMlQN+aMXAMaui395NYqvy+QcA13kRNV0eRLisL9BpfdcOwfeD8vHP1hyoPo6m9fuc5cD
XQvFduQQ973YI3Gc4JTndwEeQKZ/4JTDTMEaz8tdX0q5JhbCyHJj9E4JuSaOwspo75eF0fCt4cX5
rg8G8RpUgJPHGdePoHC/IH1qvdplHez00U33fxoM1VdANJqnhhizNQ6MSGzO4ouZfL8TRQoZcgT+
g2916Lmwk+99GCJRIbUiuUj5nfQJwL7xuwHpNN0PQHnvCeDDz3cR1a0WEdM9rX8r53vFXdscFAC3
ffNa7jPkhLoQC1jcExCkUjZtY5xeoHYHdI8+cBOLsw3ok7MDwJUaBRrHlBSpsiFtoWnhBhTJDjYb
KHLD+Uc+gqgJZd7kN7W9q11o6ragpAw0a8stVF5HzNE+FvjV+nnpFr82niPyX/1YJSgiLqaPSW8i
l2Dm+SWzKxekvAnb6rmFXgD8woGhbKKFtBH1lhDVjQadCnZ/DifF/bxgsDe4Ia0bvbZX+ogT83Vf
DRs9B5gxGs40ILIocMVlmBQQIi1xBjn5MTgo1rU5Tm+G/+pzp7+bUhCna34Jkw/AjM5+oedvArsU
WDJOWibA82myKDuxoEfbuRLSQDIRtQ1f0bSmKWiEruARAHd95wEUpe5+ESWfZF5sbIuUAenDBSXr
uS1WrBRtjq2Uks1GkcBUjFWIvpnWR+Wf0pB+9nfdmB1yvEVIJxfne41XVjj5KADcopiCEyIbzmj8
51xMLnKyoaIL9hrzyHQjBrs8R/cFeoUBT5lldeWTOkuKnUji/uiC4Bzf6tLNkb3W0zUaWMyLi7vI
BdWoXPq01jrQPmpxhHNQMTa7ojT7UxZ262zoXIkWPrwVzNOo4iZSrXj7mdcJGeCdHH2XFSv8wNEL
Hwn1aGXKaLh2yHpdaabZAKCfbJSO0NLDo8lBvqH4FbpI65EdsATAllHY8tbLRj/OJmSN3qMtQAxH
sK38jkdyJm9gCJJPi7jN8Qirqx+xY/R3VzcavPSgNBjMIWPo621a+1T+k2RR9WTF5Y0qgqjsqIvy
Fz1pnMtcTzTozgZEBXJDy5IDZbaJ6huZktO7PYkykzubQPIRlKioMSJ7Fd8hhj8zK18AK/0WO32P
TbYo6iix07ac+rvBEmMlddmvIo+NOLhDwyoNQ9gfJ5wwXeYVaCienAY9jMqAOlJZWTg7AJTWKA79
7fRfgeoy9y7kNfwOhO2sszaRRN90QbjXx9FGF51oZiQ5JQrawr4QiBxB0ClRVXvWhUnrJ252+HQK
eC7R2M5VlmREEf6MZ8p605l4Z5xfDKoU+9sMB+z0skBDLTSAugf1LCKYcZIrMISVAPD/lvUTd329
DPJLCm5sirT4ZypmrexmaHWKh+PhbeuYrNyA7eftkosfmahQFGV+Q6Ew9NEe7FSoKQg/DqX15CVV
f+Jpt6m7AtiUpQTnVma4lW/3pQdMKXQJnswkADwvTWcpOdFaeY4jUC1nxZ3TWxTdPWgoPTzZioMd
X00UMQaZuxusfojw4vF7rRkDKgUFkubXVMdeEdXzfDcLI7s7j7kFwrkq/ZgZdneUqmUjbzX0fkiw
tg7uNDd2gGT5rR0kc7GRx/8zmztBFkWiN/tQ6P15Ebk2MKfMjv9FzSGWRE8xUsRGu/KYW2/pMkah
4ZUIRGV+p+EJ0qJC8EyzzhEDPlwhtm6vpT4pbGPA6zWp56lV4sZmJUiDklB0A4C8HW3fqDBLLJo9
yKTVim2gQsdAKMO5cDIApcQCzMnGxFnIyS28/Ma5jg8GkL0f8ZBusj8tnDJo95Oso7MGjEDfNHL+
swpfgiQQP8zULIC6nJi4E1XoTQxzC9hoLv/QJPYAjHjTeTdFQ2OBMolt66EwyfOjtuZrYW8TKdrv
Y83FOmj18AKI7/jJq0p3ZYYy//GHAVgY0A/u6Ne3ys6k5wbuFun0BeVLoJFtop+lVfFtZbLR/FxF
6U+wMPGta+OcfG1yU6xliTwqGQeBBZSqdz8ypFWuqGTBh/xb2y9TFTHPuNwOyWZKuATeST7daJaH
PwFYWV1pQQNKIoD5wRuxC5XVbOr16X6IEjwKlPvUjdNNOp642R+WUGSux92AGutJ7BdLN+bprkBm
Cy8eGaDONeBko/8Y2B3qAnXXN6htQSLJR9tZf+jjcUSvKoq7uKKkpQGplbfZ5LlZ5S+aB3U/6Te1
U989yGn56LtEXeKRLPCQjTbSUl+xgl9wf8FRGvZkgW8ZuraKhhpoikDOC3x9nDgQfgvHn9c4CYme
UCiMt2llPnLTvIkIt30VglY0LGHmsFoq3sJ0JnPQDgdgFE1BMfdA8WkUnA/Brbd/rFwgITgK+Idg
2pGynS1ppfx4L15G0ff7SGX68PmANaJmwIiXl6QBnHXQoxCaFCQjLQ1MZQRTnOat27buVkuAB7si
zG0UpPBhvfguAXq3Ao9i8dlJBQ5hgsLYC7vMP9iDln9AD9EK3bzZjURgbDRPSQcI2cj2q8TZgE7F
vTY4oH5RRX+7fEJWyzHBw9qYcfSC/e7GsVr3SqLFghxI9h5jsSiG9i3GuwXF+LerkMX/vErVoRDA
KIcKEBVa+cS76KuFavc9rXqUTgEdTCkA7jArGp0DeLwz3G05ddoKTNj6+u61ZH4dEW2mgcfE1tfz
iwkYL/zSjZM8fpqaxN2FUbuLDGAGgKvdStYoAwk2LLfDr6id2qYgPv0IGEY8fguLqX+y6GsQ1eZq
LILx1Eun+FwmgAdX8iFMKvAhhcnsrk8TzoWawbsCNNV55m73kcLmQ5ZubYDL78jr/SrcsED5WLhg
IVBX783OXE1/XIXkdBW8PG8Mzzug4OvrlHfph6CPU+DMemzT4RV2TctZMUVAO9BG0BopE7Tv3awh
8s6t+wN8K/aNpGOXGqBSy79GKEtHXu89zrwew6zzo7rSDs7QOhvmofouFdEtZ1x/LdouPjpu3m1w
dy3+SvQRN5Ig/CpHrUdxQjDtusC0vqAqwScDrR3qDbAJi2NWdt2r7eXPdhLkfwGcdFrlXVVdWKiP
+I53AggjUEgG7tjJ1axb7AE7z+rTjVkiy1BPovjrz4+hI6G2Ibn6GCrHfc6HYdhabnhMsmG6cvzZ
XmxvaNcFkD9283LQolOc2sKnJfikAuxLXyKe2B9I0iQWWsTzuj3QUqDmfI8Uz7CiZZXG1jPeGOcV
iaQNwh1NA2eIbvv2MKRPphpoxrqf0guDMy2wv30T48AwfWIj4CzlYB0WOZnRIHoN4KPOAPofZfvg
zwDhs4pF760XxWLHcuzZJc54V0tkND+NqEDTgbbPHePXcqHFhOH/8SgF+uLo00WO1OYfh2V19BTv
FssYoFEXEcyozYUsxAEIueD6BVNktFrWlvUDvE8toHvKimG3xjKub3vWNdhuKVRJux9BEqU31pqE
NFiJcPWth3futEw26LJGHxG2rZ9YGGyGsJTfAm7hRVLJ+R/y0IWc7IWJdP0okdlRTgAhlN+4I0cc
Vojx4BbtHIzki9P7RQq8u50yW9a7WHVDWWZ1ELajn3vVVUWiMRD1Bm+M7TpWDVgkG6K6fhpD3OeT
CRCDJIsrqaP8zfDmSGTM8wG7ZBmnfuq6OmgOVVR1jSgd9fPspoKKuKg3qNXFNdSnoMFrtPoJ2KIo
CYLIDqcJXx9UVUc4oQfPSP830EpwBGH33nPnOC+lE6NjN+LT1qx4tWMTrPKyuwCJW0cF2QTGl7i9
eCkIWOj+LfJ83HdjUa50qePcAPWnl7jl6RPdyR+1kawetT1KRlY4T1FYRr8j18I7W0WZnb2hazf6
BMicXvGoSEWwQrO4+NoGYXTt4vFNXPc4ElxMySrMZLjJJs5XnddqIBmTMbh30fc5+LjXP1vYVu0d
xc7rtfkU70YdyQjXQk5Q2d0Z83j62naFs82wXzgR0UUZcvDh9cgrHOxQX9tEgUGkFXfTniU/wQSi
b5FQ6s/gHurPWl3qW83pQux0kYcnxSjboJ3XbpC3xTp1rE9JXssduYwxME/DQ8U7sKvn1g/AKg1A
zbTNJxMkymBvkeI0ZBnuFgZoL4Xn7rEXG26tGkZ8w3aR5oD3Uy1JgaOsAptLf5HQzEPG19fTyNgt
CoQd9p6Op4ODm+sOtTlo1xyztV5wUG4VceLjv0kk4DZdt7EbpT5a6PRJZJCgfwSliYDDaZC/dMsh
C/0057vGaY2/m7Q6j55X/swq67numfu9HIsvVgHSnrLhf1tDU3xzdBSjtb3p4dsIkNEmlGIVsDTY
Dl6bvLqAyKGkKK0mVJEKVLx/fNdR/nRZveuU5f+fXxPHviMKccJxE6A6pwg1dwIpKWBkgdZA8etF
eNFa1bkTXqbCDEie9t6bHBhO0X/KXWDYL3Fsiz3Gofh66IGBcUx2zIqvVA5uyy7Bv2p8pTpzrlZ/
6kIvvBKeIVmq1eKX6umVaswNaSc3pcvGwTzrgD9ZTQB/Wkmmp5+bdCh8QEc033G7PqVZDAj/LtqA
zBRIABNAKvoy13/kHnrKran+gqdetWLMHl5wRI/UWAZW5yH+YOqt+yVtRm/F8qy6mVZTAHZeykOb
ud3TgKO1ddIm06cyKP528Nz5hebzIOp/2W3+C2/q3ac+8PjaaLL8KXzG1x2br9E2bxrwU1Z5aTif
hSP/UjfrX6DwRecDTgmytHue7M4EVLFdrzhQuj9MfdNvE8vLz6ATCrD/MO/j2FbCP3vF8B5H70fE
qZGN0TmKbaa4nfZRh8YT0E7yr+EwZOCIxCxRshB8818X7TL733YP2v+MR3ZoOgBIQ+80G9dygXlZ
ehlqPYHkGgb6/XLRNgpBtmnsNy0tFy2rJfroUzdYxRPI1A7I2zfHugFAFb39onUDsM4pvvY49t8R
rzkNSPh/RP8FOy1U5053CceU4Yas+NQdo7vwdjrNK4WwlAPH+CBilArd+YS6vgkbhlNu5UWKUuPZ
ii7nKDdS9H32sQMu1F24mJ/pcuTTOGGP9ifUOlkgZ28BS3/QUULpm6NuXbWvIb5nV1cHvj4JXCfr
D81gf2+SHg1UJOsKfP9wmC/XeSRYuond8pcEbvZhbJsg3bzF4FMSc//dfzZdXAeGSntnag/4idIT
DZZKnDuUTg/BX3ei9aKeQgeJ9gA40fpUmntSLHZFK9yjMH0Sz6YPFkskmi3RKciDrB+sBumRtr85
Ub2mBAy+1LGfNOH4Gg/c3np9Uh9Dyy2uOFvhq2wa278iVq8pA5O3NpCZ+DS8lmmM5nlw2VMtI47H
yhRdR79rI+sixMmh1TizmkobSQsa+fRMs47KH5d1FOvHAkccwLfQvxQ16odoFprV2yxWs6Ec9S80
W7RgX9W/PNgtUYq4OoJy8icH2Ocqzw0D23GGZy9lZwJK6FhhxFbdwIw5oTNneXB4gqaDEAeuXAdB
sGwBTVLmQAu01ZJkVmU5YB38SJIaoJSzWKsbFIBO4CwlxYBT+drWxYV8vAzpzMhlb3HIa3RiruLQ
Iu6LV1QCjK/smUjUhoxnfj2AfzCumbPpARx2zpOWnbRcj4C+ZsnXqsCRRe/p+t/suVLMwItPM2Z8
A8wXcSwGULGqOpCq6Sefxw4/0HLCQ/g8ubhnS1XgAfj7e61bmii95dmV6oLNvH/F81w/gTMY5I5d
i++MWlJJMA2FNt2JyEnAStcs7bRUDyuruu3vRX/G4iJF3VOk66hhAnB0AyjeKQvrW41sDq2w4Z5X
BGnuFs28shUU+p+W7yvSvVvixMddJ0YZPommumlTF7/y1m5OUQB8IC/Kp29K3pZx/OoV8afIjbLd
CAC2p5KJt0F2OJRGNhZYsEPINH/ROLYDkBuwx60W2eLMRAwkGTvJZy0p0CXo4Y0K/KrbTKSev1jj
nvB2PVS1D1vp/XGlMk3EAXAxLznK3p4KQxereEzszbxsRzBnK4UVD/Y+CMWPBzktKzyPI+S9zqEd
Vuh+88a9wpG6JVaLPXzMWp+WuJ/JG82y+Or1aLsnSWRDLE18HYREZmgxlSwb90K5k8mdAjvUMM02
bzyCVZt9TBSD1syEhczfU2kX3jFSsonYsWzIGhd8d3cMWu8yMHO4QGvSv9kG6itB23niji0+0NB6
HpBghh5Qnu8y0yo/uVlRImmOo/Y/nUhk6Oabk8D34CQKByUL6xKH0auiQpUA/jioX56nPGHAsMoL
VAEuQqDPAqHYQy87dqcomH4f2JQ+G1kh9mSs8/hN+bDU9Z4dwsrbkpzc56s9hFsuHlOFNVnefQ66
AI5/nj28BW6zyh4BURtqrovmHNteM9PxthaSma8luPyOVSbAQ6aWhm6nH1JwWI5lAWjiWjRfOuZ1
Fz0ZilfTnuy15NO9qwwAmkCu4KuabmknfvYWugokF/2ry6WxTscs39Gy03rUA1pCIqUNrQkssqc2
Mp5pRYNW/BWwIH5BiRP02NcCBOd3sKK23oIlIuxf/y2Y7qBucmQMr3cTCnLQI4AqBXwztC5CZVmt
qoBpnVk4wbTdQN95Vo2M8LuCZiXz2FbWuOnfOU/oDMHdUSBdwkPvNEckfaej2Gbgbb4NeBMixQOy
LykFCJ/sGFjdrMhRxOcCtwF4runFdEtMLTW1YutDbICkRAyowUGhMGStgqPBg9o62UGNzkKswkE3
+6PTAgeUR0btV+hCupBxFeVNvLM0AyndJOw282XmK6BVRbEDdta2GcvmOOWp0R8b9AYcutA+LNea
r42tUL6JOz3wkwJY+3pjX41KtRqhU7zzdU9TXFrR20AaTal5/rPDEfepB4F5B6o55aEGsl2WKOWI
/LDBay5Io2G4hOo4aK5LXh7R/5fvkqFivhVy5BrVkIRDdgs691xpjo2Ou98iBmyK3QAoGJ8sFocA
NKyoe/eOi6hMe22fRC5oWqI8v4vL3fBblWTxMcgc00UvKiDJBkP+MtRlwlzJGtlFoJhzi0NfDJbr
Z9jyHjtAtVF4ikcfwA3DxndH1FPSkhQ5+rZO0pXPU5oiFMncliOPg3Pq3RIgDwU7eYl9alsnXk0y
63d01FsNDe60QBCec2EBUOKuAIRf4XaD2y1p1ZJs6bgYvSqzw2xBS+lZswWZUYwl5HsMe5CvqRFo
nwYTudNeWNEn3qeAmLA67SaKkW2R7g7PZSH6Y6z1xd4GrtUTmp+KzSBc/oKzeOQSNGZ9VfTHoEYf
vqV5WvqOK8atHifWbVBHL1EV2zs9lDjUpPOYrsQRvF10m6aOzBbdIdWFc5mfZ63ugruUIgDbF6c3
rIR3xUCOoQd46zLlaG5x8Cqud4OB3bzssmAbehOOb+X4xXHrAZRkUY8KIaRW8Fm6My1pRrLG8S4l
cC4BaBG6Lcp7YDdPyXBUzn0ZR3utLj4sbncmuaiGU4n6EIFzWiSKUF+mCa28aWkLCoqOR9+1xn5N
AOb82qVefkiattv2bd1/1cMIXHnluq5j77mvo+J16KIzd3H4bAGs+zXOLQcpML3ckzKXgGeULZrK
k7FEf52MopuZIyCtlMO7O9mb7QQA/Dqt9hFS70jCowi3TvjJRS/dB5wQuLckMT8Zk55+idpE3zVd
wja0jA3U0qVFXTz1xghkrd70LWVWoorjZHJkrWm7jgZNQDgYEa5gokP2zC3n1ONOe+ubukfdU+pe
QgZuCZKVwBO+ASYXmUiBrD8tSSEZ7k8AfPyWK4uR1dGhyZJvTBV6UjFnWMWg/rOpbNSYpHPE7b+x
VlQJSlZhNoA5gCEXVkyVsNBwCldSz04StSDeZg5DERcDmtFQU9B/v0ohTeQtQvQwXkYqbmI2/rvV
kIRjfBrel1nPgfxoFD1uTVAkLE5OdVLWpT9bx87vaYqs864Zq8/cTdx9CQKddapQNo3Q6cAXjux5
rJY4yfmrnUR3rUov/Fx8Yo4oP4d9BIQJPfmbPFio8bsARcW6tVABSCs1PgcIrbbZBEBDWk2qZzZB
15G7YqOR7SaPPwMfpz4JNZCWhgfZ7EEafIHw2rFYzkIVq0FB9yKfXXhqHQF17u4iE01HKxc3w9L3
5BidbBNZz6ka9c0srEucm6Ebrs/eDO495jn5zRbuCEAqDUCrO8DZnt5kS3BS30vn6KjUjE4UZV5z
9UGWTyNaEzkJZXPnT2pak2Z2JCF5B3TR+UfoHE04qxyJsChB9rNXMKRdpI03VxoO6NjGp5lKkGSB
DXwwYOWdZpmQYC2IgeO5bpUb+f6X21AI60QWZDsy7iIP63CAXOBiNHguc07oGHlaRGSrrkru6KHV
TqB8nu+JdOujFDTd+VqA7JgaAwCzuiUuclJSkppmpLAre9raPI7mlPWiIN9lufgmaC5EojDdTUUB
NJ6HayzhU9zJDihvRk3U77v47EHXfXBLnc7FKSiSk0uA5YM/yCwAlZw6Z//w6QLh4PMsXnSJhtdA
jsUJ4fwwCapxK1BOdW7VEcQUxuPVdfbz+QLqhdCd7AXdGkXAKUhAsecGapw54Gl+8LoSWjqzWEzI
r7IStrIFSGrp4RWh1d/PQQ+6oyUN9KQLwHLjp16KlLx6+pXc5qe+qLmvO8PV8cIJ4P9Ofl0GlyUo
0Yi0YLfIaCYdMaJgDDSui2IAE/xVn5JiM8ZpAIx0LElLiqrDS57ngFfmwSND1QrKqYuPD/JJs+zz
VMj1EoMNeL6jYe3ZmsLqicJO8cmshuxqhVVzGXiwzoIuuIKHNrjSLOhaucFBIVtJbZhysJRpL/iJ
p+NiV4l6OjW1d47Mz1bWTiM/1gJZQCdqQRQYAMn0sgx6ZwMGTM8YTumxO9uRBtwV7j5EkUSQ22/G
UWmHOJQGj/bsDJzUNz/ycKfuRzUAs1nXAZgNQlBzU0XoUUNzf3XucRu3D5bTl2daO3nLVihf1Feo
7y3Pi6LTGZyXNak9YbRHy9RWVTihPQ81UcXadio0svYecoiBkDjVQTHWqZtK3dvTlAYvNrVDInAc
qAxbFsCQposJzVCf9juE2ac1Xy36xdwaGDQJWMhQbGUdyGS2vnMn6YTnBuBD1Cci99kKbOPpiYRy
0m4ycvCkIcPlEgzlpN6e1vNPFWJLo6NebpdzbFSYVg94eR0d50QD0xL3mBmfSYm+6QatQPinBDCH
MhFG+Hs66zItKLehafwitd3LCfCIynJyrc1Q4A9kJml9ttWgXkzmocOW0Y2r4fggr1GTfWc2OyjZ
iDJaP3Tcjt5uzg8xHTe7dF2Q7l2eWycBIBugq+p4t4tAPnoCKRretMPhSAoaFjta5qhXq1GQCL8H
tZWVaGaSTb0iBcWbQz8YLs5ksywbfJ8zJE2ADvPHp7qLQh6kJ7ccBQPrSc/OVohi6z4b5JfYANhA
XLTjMe5i+cWoPwtWZp8TwOaevazJ0AcBMdJTb1Yc/7bnCTBbK+Fiv2w3IvoKvsYBeNRApQpy3rzw
EmeySm51AMoCdBBY1dQyz8uzzSv5koZD/ZQhKeWHIGD6msmsXKcp2P541GlfUmMW1w2Lj70djGuy
4rXZgKHKqlZj0Ncr3bPFWcrh4xQU6KzpkxbwmBhITkMWtfdLkmkBduTqfXwx+09bp0b/ZdOCQk1d
iga6Al3r32R9MSb7bkqe/zPkw0cqR03fIGnY+4tCs5JinWfY/k4vFRhVjgAlSE40NH2Ae203JCea
obnc3DvgLiVl0P02o2UX1G2JMngIH9xI9m8ui13CLPHmPILwY29X8XyRh3jLMpEobGUgYtVazTv2
Q+MdaSbVkmYN7orAX1XrefqgJx9ee/feGtJIfqLX5vpBQcaGiZ06Otd/X5BsHpbzpf7b/E7PRwCW
aWiT36C+H5wnOAb2S8Vz21NfAVDCsWdmimKXpBEKBebZrP/XdaEitbUJvgxyT6mnIdQVZy45UDwP
jGbHwdlnjCODzdHR3AnAQzrCBvYeuHHDS+sOeFN718yGpDFKD4ALBmhuyIdkNIBVGoqsCNIdIDAS
P2mBPxPiqeqj8zJ2dzorDzVaj0+t15toZrWCf6h5nX1oowB1TKlEb2Yj+m2sXs2XPQ2qCeKVBEXk
/M6+KAptCFdos9VmRdYKlGXHlhvgTlub2zIsBZragXcLys8vaPAOnpHvQr1KluOBXjN9RUtScBSx
AKXIcbd2yrzZDk+Ab0E9NScyI7kYz0Fbx8+0SFJpnY06uI4NQ2fWVCRsl1UTYLPVVchE08x2bQRe
MoeN+6pERbcswA2lXQMglIGDB90L+CP0myF13E2twFcBVgIINNN7YSXgWUn0bl8qA1uwe3sksQG4
IMEtp4K92/M4aJ5oRfaGiT92NsyXKPlo0CVkWgEti3vDNbGlQKa1C9BR0rpra0xNVFkNk36iAWhK
xgmJ2GHVstxZLYo7Q9GYSbgm1Z10cdLQF34yew/dS7EE1HJTAU9fR9PVpW1689KDysC3Mq9CY5AN
VqB3BS1xyuucg+qFFmS/WNEsiMZoi+8JwPrN4MfUTGxLx4cLcMoMqbIcQxLiCg/GY+Uxa7+cQs52
i1+pIB645PvOaNGAUDOc0TkoPkIxzJj2p7vpaI71Oko95mN71p+0WGb2mby0ahpXSPynyLgCLw/b
KUWABUbO4IQEANCTaapHN56CxIKUVgbuxvViRzP0LqHA4t0XDpXAr60t0nyLDOtY7mpw4FxSrXrK
i0YAUzUH9CVySujPlO1mME1QNhhOu2dldz+L27ibZeH77MFO/uk76B1eKYr+r3rSABKRmwF24Boy
j14HciZt8P5YN45KHGUFivbIPu7NFTruCI2k4kixNjhFpBWrR5xyJVG+mZfcRnZwAjw60NBQNRKH
qPYss+5AKCUFENyPnRO2/gxaonBQAMMOgky8LQQKEDpm2HdSOLIYtG4OR5gn5TSCYozjt1OLhB1Q
VPSlQVc3B3F44gE5vfFWeVZrG6nw+jQ1kGKstS36Vhygidpvond/MljkSwxStBN2Hm9sgN5Y98el
nTYrwgm4UGX+KRrsZkfNrw+9sbQkxeJGMuUltVDsHuR37bhkx7l26VFktacgHq8/GY1C71GNvbMt
TZcoRoitUS5GJP3vGuayzFC1PeGBWuBouGuqo7X72C03d84tOpqpQEVRh4e5o2624ao/D7y+yHkr
Yu7/3YTP/wHS5RoAzNNxXso1w/aMhxb8Oqv1AVWC0YcZ6Aj1gnITevqvqhmtb2qC1Kf1LTGtX8jo
2q+pNso1oIaKA94dzA/RaOWAHgTXTNs013CMxk9T69RbNjS7uq6q1YLyPWPR4UDwDfXbiRtn3f4f
ZV+23TbOdPtEXIsEQQK81SzZsjwksZMbrrST5gTOM5/+3yg6pqPO131OX2ABVQVAHUskhtp7hwpq
Hb+z211xgi9xPgQXtxae2uvOExCwaTy5KxuZ3XHSNKaq4GBb4lb35kHaBHB5OkZoyHlUgaMy4gMy
DCA2SlKgCR6zt+7gvIZaknSWHi2fKw+0StRgKeAcLCjFiZpA0LQ7pNepbW6BNi3vwAGkrDq7LwtR
75oR2DlkBuD8IjDBSVGAWIkx3uC6TFbnf//Luc41RRXIEkHe40HAU3q4XLmiVysjkce45IYQSc7k
bW/gYgaCycUuhW7Dc5EaAAUByGMnNdjiJYOqlJm7YJwXEunAtXicycoy8MHcIJP1saUcBTYF8qZz
6ocwYcG9FyL1nGqsmoDIICgVNE3upS7I4SDviYNzz+twJgt5FszTiypbk9NtxgT/EmX07IDlBPdx
uglKfONUuu2DrwcRbY2jI0hArpCoPtyDL6TZi64zVtKBiuYK3HbiEndHcvr6Sj3QF+hm7oAhC5mu
hzmMutU9/iDgjIBMURjV7kUYc7elL9PdnKxsDqIrMHrV5N5/kFpY4vrPwoChYZBvA/sdpLnw2/qd
08IbzLSNQLr7oJAlsQLRbuOCfy2LT47JPxdJbF5mmzRluB/KHBcwEbKqoMOVmBsRu9Yms6L+KBM8
l+JdxCGP4yAH4h7Id/cSIWcu861s63W93Bqgt5qdFJEbdgQGoR6XaBAhIBMVtl/6BwX6HCjsYKAp
BOnKajRBTJCOUXlYAqsitW992977oGZFGhu+3as8Ydi9sWTtx3n2JQgi1HKZf0E+UrxOkbzzBfoG
oJ4TQ/1lGJMfED8BlelYPVA2C+CFxcYJRgMIU6+ayfDIBoSksTV4jPcjIGTFhrMKgAr6DvZV+NaH
xqE8mMV2NU5QcWNLcSoHmKdz03LrZulwLnPXW7fCLzeVXgB8KPJ+mJsUEjKn3HDdg0Ko79Tn2Cc3
jfU2gicSt/8wDnXEsdtvHTszBk+EHtyvocP2Rt9XppXAWh6Lcu4BOtbbUCDJIh/cC/WUoRi8A6/L
H2SnguxhkY945JtHxQzJV9LPolvL8n6GFgfTq1HEB54wEzdNlXmX50gJkHlk3/jxtLuyU9MHD+0G
OVTdhjpQ0eiuVAuYhbe96d+YvYxXyFyPVoAD+bj7D0cDMNxc7kKwIK8ykaGpixSok0mntxrn2UrV
D65KU/U1kRA7MvYxG1d5D/yc0XDzsS6Rk4zLjeFkp9BF6GSn7roRN+J1MqXrqkFaYQ16qt3cdlW5
bnjQ3VPffsidQ4k0wxVIwa1HvC+r078/VsW1DCNjoKp0TNsTXLpMXtMx4cwGe6ssde6dcRyQu9AB
qHBLKGzPb+oNs8IMyELsRPKKOQDAZ/GM6SZbx4NdZjTJaQC1MzrHQ3e0Bqw7CcZLcOIG5LU4nh9e
Ce5LdqrhJYWLHRNKgQBWuna4GpHAjUwjbHkt3KPtyrj/68Mudt7c0rZY6gUC1aiYN7xLe4nJVJPi
8r7GFbMR30Pjxf4cGcYdi8rk3tKtAC3yMaexP0MF7cIiM559ulVz7uyliKe1kbgenlFGDzqRyr5z
0yqG8BwfPmWZYCs8AZvvuVPe4ixWIG0kBmQi6v7G3uIZ+sLei2/2zbopk/YRnGPJbhoKA6JfVXz4
978l965ekfhbulK6kNXU/wlxRa2FvSVOZMCj9ZC5LVYvq3DwL8XQWVtfxi3SX5U4poFXAc6bVRdV
2NMG9HHqi+cYauV5dfEDmt/rDpn0ARCd2SkfovF7mINZmVWD+4RUXGtrjeZfQgAZYsoYu1DPA89m
Erd47Iy9e4ufT11ukizEtyLIT9zNiw4Zoal7OwchvbHD1RkElIze+55HfKsSlX8FAbW5VXED6lZm
1Pedp3G7xgAa72ToNgPJnJAMgCyn4bYMd7OJNARs8eXf/xVt9s9XGhc4O7fx/yFM+x+8yl6gKaQq
Hj3U4IrCRSku21uox/t5Wp5w4t9cgDAZbmo1vY5u8+q43P4b2TY5loxp/NrIIH4ufOy6fF4nl740
vYObmv5hkHV8MSUo2Vyg9J97dMU/t7cSOK04+KZ8NRzWfrWgngMYZ+gdy0qwl87btW7eflV9Hh6h
5NRuKQoym5+bnqlHFTMA4xmwKdCYG+4CHua4ZzCnPe+iYpN5RfYpBaz6rijah7r30k92PKSfSmlu
Qe4PMhvdchUE3MbKbo+tjvDwSN6LKUN6h24aU47k+7x+oMGog3CmrZXj3Aw57XhuC98GViiv7tJ4
42BFZa/IhEwr4EzA5r3pc3BRkm1xGDg91B0kFLRGPO5cx0kesDJIHhJlbga8/YFxk0OwLpPkPlag
CSSnatvkIQ2Qk2wySyC3USEEBIf+irmF3MfaTTGu6MIN9yEtZdfTGKwDOdVbyILonFHE0HRM4pBA
ena7nseREAuE+mWOs1IdQxOOZuWfsPd8mT9NODXFuU6rYze0w/1bIlkCDjtelCAIIDmkliHHC+xI
dwWJI/1e/Mk2933vRqJJuBTwb+zINHc5iBJXsWLe5yjv1rwocII+SPto4uxr04AD4yUaKxy5OW11
pjCwG67JHqamfUT6ML4S6XBq8TK6baLIuh2QtoM060TmGy4yiIUb/XfyIrWhcXfCj5KjMRbPecR+
QLnXfsha8NZYkGBYEy5O222Ajv9kT5vgj3ZfIKPWAoPQmi6Y6b7ZtCPkLkO3fL7bxgkYjsa6An+T
EisyXIJW3mHSiVlzm66yjTRa+RyolNkmwHO/7sMq2tQJ+wFAkPGSAZ8CrGv+0zCmOyTd9C8p2Cg3
idNI0DjJ8CaynGaXRaX5KRigrYF0kvpLzdi3Fhnunz3V5qvK77xXLYc7EEqkrEPgtSLve+ABRjyl
I2TAEt5vKz9nZ0jl4AK884eD58noEiuk+MvezY+4pnhJs8G9ASmKexPrWyWqkQ20hHJT9qa9Whxu
isw45NSgy1ylSGp/GAe62WsXuiV4yr4HVmUUn3CrCb1VJ60AqLWcm6r2wUdPVSqaDKDMJHeBbSOO
+trkz7i7h3L4NDmnoZWa6Va5J2qCoBGU60s7NjQFe6eD5sj3PiF5yLi4qdk4Tbay6q+1lXkHsPAX
z0jyfU2qNLvYuvUjUn76jExzkNJ62LhpG+ttkONE9bDp+yl/thM5bqA4axzIK9EfpzPpW//R5dmz
Ew/Fxc+T1wL4Dhc4F+RBsgiZ6pBnPFHBTcdSK7MM3toJG5pTVuQwkr+4ilx6XrkXBw1BzWXYKffH
/6Ct9czrF7qFnS6XeJd7UnhQi7s6rZDIDTByMCI+ZU3cHSJ9fSraCkXNoXo6V3V78TixvkRL8iM5
Fzs1uQeKbCx39Qi6UL6LNgTjUM71xTdPkVvgjottE+if98k/9qJ4PHmSmz+PYktPRTsKKADq3UdG
NU8NzDc/Suj6phPzLzWSSx+SqPueqKT82vZ9umUVoKrUDJGm60POtLeD7GT2BpiHdRS0wxMsRUPj
gk2RWnrHJQOTtO5dCQAhfA93p0iXtlZTGHh70hicpQibIMNjDpsAkhxcHBBdRRpGZt0u9tzmwOE2
Xr0hGxVGNUHxpkUGtJUCXku2eR4PyOclTiFP+phOOKVd1BXJm5n1UTqeebvYSz1PkUJhe5FX7Bje
lHoekIhiHvqcA3KNVyOoxOd5mvIpxZnNXWAhzUOTV36PmHjSEPtPMkmwGsdF8M60ZPqtjl/J3zjY
nlj++NA6+F5pZs9AF3WVsjWTprMnWxIwddERpBBNplJH4Cv7FmGYAdSumvYwTMm0ShwJcl0SMbfb
n5hivCd5cQ9JEOfAG+94r0XRpRqNPcgSwMUFbN6sjc7TAPJWmZHvZl1zLW7eGOzveDTsEwmVk/3X
sLPFxuFaHA13yzAAab0NPU+sx1+GXsb5fWiy4+IztsDCL6NuAnSVSoMDLwnN4SbEm/NIL8/ZNLvp
pUkFDuHD2748UqNwwJyJiza2FTJStz1oJ8IIei64p0iQu6lNuua8165sPu5mb7x6tUQtAWTjbWe+
uak9VnjYpeDBN3rmHeqpN79hT3qK/LH6VrTdtMar075XZZQeagMaVxIcZJcA+lkbYMvVC1LZPllj
ARajDPToUHpW+x4oc1Dame7nqc7dHYggzG0qQ/F5NFi7Ay+JP3trB7pcDRYLO8NHMLIonW1VcHNH
fX0DOdGj0w8bB1SeTAXp2S6YOjcx5yD40VUyTg2X6xo3cxs7LNPZRt6ywnt2RTGt9PcQS09Oph5m
GWuu6W69KJqDnTpPi5OGa6befhsEOGeoZFbr9nWEOvy2wc3zxYxrH5rjmfWcT5mBHNjOvlCRjKy9
IEt5DqDYFmjj4yT4d7tmnruisElxtQUVZ7b5YGxa5JsaYZ0cKAaje2dlA5GepHKTZ8FwUiLLPtud
caIlVToGWA9oew6uxM8p7qixMZE34IbIN15dT5vRTr2bPPTde6x0cBrYD9FfwTC9mFOBBOvWNI9g
NIl3U9em37wO0GYdQD0n/F/PPY0RB4IA6UUANg4vIMOXc88Ql227iOH5oHtSAPUs2rjdccgRyRoI
0FVaG2BzKIpjO6bhPRV2AYingD5HVas629rAyUOqCyKtSwjVcPGjszesOzxYMVJd41RhrHEc6ZUT
dMTmmNz8q5oUw9p6eBtelaq/aVz/TKb5U6jYcdagZhRAu/2K8wOR4EyWVwE7uDnUvKrJNYy120jz
prKUBbkV3PFjNTKA6qLQBrKS3y3ibcL69riY5ujr9tybrDSEytRjq1UayTTZAZZWro3TZwEaRlsX
JfYk6xGq8evFJu2mvqHiTzbTAGcj8Ak3VSD8PUgZxmIej3osg04C+SmL7d/HI+8STPNeNZN4eknw
VrotihhPv8lVFvhfpXmLa4L4lKbellpkt/vRnJ1kM3UY1VorTk7gN976zrCKwp3EYchNgYuimyFJ
wrlGNlc7qMY8H9uTK/efulzZBOhK8lXhyHIdjZa1JjeNSGNNwsRetMhw2hpD1pgKL4NUE6TrLM1w
BiO1DW1cmks0kpcSoAviZENxoOWwTwVuKL7haunVDsP+qbZ9/BLAxQPtxjJ9qZIQ8DaOfAGPt9tA
KSB+otF9dIGx3cdToo6m6dv3XAIVG+d99zoY95bVuj8otEEm9odQIQo+hyYqvA5lCehVYx9ID2ar
FS5eIzzVrRAEkMB3UK2AyOrWGHJjfeWAKAQ/uqX4RLEQeUo5MAnoy7xn8Ef559k0Rv0dtCMmHOu5
H2eg0GWGtEXK4mKjGs2gRu/TYl8+F2ZhUMM6k084KuOrq/+HtA6DtZ+1vN6VBRSowdZ71mRGJ2KO
JdrZUXPPUs1XYnYupiWs+tWTQhc7xf4+LDkLBc5Jqr07Z2Lbpev7kItp6ap7TaMfnDoT8EQkaaa3
eOmBBs0AngGkdeO3nosLiEOST7WISlCGgIqO7CCNxSldM5yRAOmtAd0qb4JYZ89T9bpNSlGVp/Wr
yEVt6Qtzy6GOBpYXJOgvDqqRbdaekm6bHLkTb4OkY+Zn6leBsmwFzeY4OuIe5y9AB4YkWjcRrn5p
OUPHBYFlrBWgqad5/UNLocUr6shsV9Lz5ph5CVXrA4clJpGNsbe7Qq54F9a7IS7s5wz8bVATicpz
NDH7ecKJInKLnyNZ428BTNiKomRUBDjQ+mcn8iK/7U+dfN2J6U4TriI2rex74F5/KY/WgK2dXD/f
fjhJ9C0tREoeB6wGsb6mTaCaEOwFDqLBsQvBytrFQiuK2xPVqKgTAz/DpU21WAdW2LriAiue9rkX
iz31m20fqhR+NWSqt6jX487tuZxHWbrWtWQK125/+CQ0dBJKJFGFmbdJk9q/q2x2bxQMGlu179gr
skFaC/wGhZ3OIWSbHWABvBny4bSYhvpkpFBkRvJ2468nwbqbvGA+EmJAIQ6qrRiaJkHQ35RkJP+g
g1Th1/6aXLhWcDZsDLs73IrsszAPgxWzCmyyDB+8HMW0xi8FPNocFF3MZyIC9Phehjn4r5wR1DE2
JFeKwPWPPm6XTpPjfCz+ZKvBcwSYu/UWR82lGzmubB5WP0hwx/37lYO6Xc2xhMxz5OzWNxx9lAW6
jJjF1clGfofCURbac7UOBc6TsYBQKwpYQqm52ARuWMw1uc3QjN+q8yAUdT3IhyjWefs+Nxwkgovg
HqT4+RFJCMGqpbWTtpEjsWO8CUqz31e0ttMOaRQggYqslUtrtkY7UtsBjXUDXmwaAExfuAbvp+kU
hDiiDZSBdHjk7F6QFHDBzt766lRsBNrKSB+aZuj2VaqGkzkm6gzpB32KPI6fYuHi2ZFlziuUcPFS
A1sKN/sn1gV/10BGHsB3AqxeK5DeB4aJ10l18XFukgfiRd/jbCw/2mLIvlVONhxjr5+QFajB4p6s
n2WVcxB2YDwyRdjZXRpVf56cynjrTzava5/qaExPFEsF1MlrKNPbD1Uqmtmel9l/3MZx9g91FKQ2
WEw4Hrc9y3Ovr9NjN+0diIdWj6LjGsZhJHcDVsF3tTAgkgwa4U2nm85QNGzjlJnaiSEQgAfwCcoz
2kX+0omLg9FZf9EIvMxbtvFSi58mF2AZsDLgLFCP3WccycepBwK8bd87P7kmhzIZvxd1FZ6YbhlR
wpFyglqTp8NeybEEZsnHMT95KKZg7j1DlsRpdpDN75ph7074/eaiBfDufeg2/wJ2JC/GkXI1bXrX
Sr6OXuFu86qaThX4Ex9wHQ3qUtMOXgMcbIooYqAYSiGCw33rCAhh+RgEIp8j8jG4x7Ml/1K5dgbi
OBVjM8Ya5GLy4yiwXyQSzKUgskyjSMazwSJcWOIQlZxkB+03uOmhqtqdvS3nFajfyU4RXewhG1Ls
3Mmoz1ZkD94GiTSg+R/rdoekPpCk5gUepyL2jH3nBZCN0sblsUk1L/pWd8o9U6N6D6CRsnRqd1fx
5ZQEBxptnpLcrvl1GQQSxp9Ny/8ky4Lf0Q2LCC9lP8izqy2LGcowQIDlINb8YNO3NxQ31nOnq4ua
ETT3m1h3Ige3k5dmzNSRrnfIhI4VkgnO1CiCRp6SKJ+vhWjGoAIdKIW3tm+w+Xaosq9no89EsyEn
6202GpIcvz5iGPo9uCrSJAFeIsAZ6KSSx1KTcCeZ/CttuxwLcLS8oC0eUmtukAVUx+BqHEBwTE0q
igaMUZY14aTmf4wTAXp+qSJswjWvnQBcNVLdnWO57R1OVrq7sjKbI2vEU4vsGGtFXiqsqsi2CQdG
meLwAv7ltkwPz7vQCffLWGFT44RSSrV1kE51k8xcM40XVxsrAMU2UQbPbMFETUNtqwDPVu0oEHpr
XuKOGIRzzSs8V8lKhauyj5EfBrLMDkyFvN4vwTQBjd21wGcDHqNAM25/o3UgtlSgGa0+rOuuloK0
4CMbLqWWUDIvK8L59in1Vrb6GU6xhQXnkDfmrVDg4FTFWwI4pYJPo3BuAcNHSg0bnJVXVO1O2mmy
Jgdo47ZdWYChe0ReiZCTeUNoudLMcIHtihdqzag622Nfc4BPsA3hZQUOHQC0Pqk11Zk2RHn4bKlR
ni3X7z/5NTJsnFqNh6xMDgV2nBdeAoBmxuk9y5FgtxZQgYbCecJ3jk7tqGNpPSLxy2a9fCALso7Y
HnyL05qapQ5Q3PrKOhXdkolZWX3L0vBZhJMNUUne8nXHpnZPXiC7ra09TXKdSiPc2+BUnbFqnsac
LcCzGcXWmHh0GplzuMalERptGWHpRw4q5hG4qR6sKHAOmRd9tyWSaxPIGjyKPh03VgEudmpG2lY5
47pPk+J+SIfxse2c/AiCR3tFTrKlJZ9WTZwPR9AKG6B5G0JcrKryREUftW81pMbkCpvlX+0lJn6P
Xrq0VgSIP7Wv3EvMMoJ0ZHGahphtRwENNJn7ACCPZrMOcP4crsMSxCMf2nVVp/tWIVvDp1ytpZ3r
HC9eQ+F0GQN8c9VDbZfJzvQgaW8oyGW17vQZMg04LOjkBMpfnn2LpvQRQrfNU6qs6panmn1X2/Gx
/jaUWzwEmRffVR44DMjeuDjzVDg2ukBiyriIsgW6C5Q030b8HYCN9vqzqVzjoWTBdx722e2/5z9Y
OPi/ziPBhROU6jwJiWlb8GudKsvVjFKuah+RyoPzXCGMU6GLgXEfipfUbkGIAEjkLvVG40QmDkKU
bHXdnvvMvrk+OgnkO967UU11En1nP03VWnxYxr/qMo9Gk1Lv6zZ5qM8/Z6fR+xLCpe7Q7AwoT+0C
Hwkvhmwt8PaD6f2tmmZFcCYrFa2XGzuP8y9RxXCUyMHVe2OBzzs4U7Vxc/QM09jbT2l8R11U0QbV
w9y7wH3I6Ha7Oc26K48ytYebJk2Rs/qrRVnZ2Ml/c9oovXQitbagKMoPdlCNL0NbnYoqN59Anplf
uhA/ArJTWPUeNhr1iQG1+oTl0McwGymN0H3FGQU9RRMOVKpXFrdcP2xjDbkJdWH0kKXRdqO06gMD
7g30Vfjm50mYnmyJ5KaGkhapDSWRAJfx+oe0tCmcfhkWK976UJMcZENqUrCi39IyNo1FTXKUabMN
x/4nY2O3c7CrfIqqNn9IJpBb2i6YyMK+MTcOeIl3JCyeaK+V9gBeRPDG2kt9A4Fj36RsbhxWBk+2
nUSHcWh6iNGh6TMW4JqsvskbFy91bRrGsD2InhVrcpJNdNFd6tjGmUxAujoH5E5Aq4yG7Pl6ABLV
Sq1sXYhseEbCNdsGLegygsIanoXqcIam4vaOu3X1iC/PNp+Co43s4hfQHKgdi4fs5FVR9QBC2Ql/
VXwl/t8iVOCGh7E2zNsMt39JPaYvMRiZt6zoAHSOZX0L+HS1BelI9xzl5gNnkFSQKp9DI6sOt9mg
PobimT2HFlpSQYe2kBIY7fYZKCdr57pVH66jbOQQ1f29HQ45CEHC4mRgcbaGdgl7YGPg7gMmJtBV
yQTkNGm6gWBO8hUnZOfCFfxnBwGBkrXlNzZyvi6cPLqPDds7tLXTHqxIs3cGslvXoP75rqTcVVWT
HlwgUjdBBaQnkllDaNRlVnF0VXogm6MR1VSzdY2aJuGvyUiF2wV/2RAM2lEImQbcekE4B/z7ECUH
3BosvEdSr57zen3zl42+/sN7m9wUSDawdCfHJpDyHIkWu95t55igwO19/RVo1EUmpf0E8Zoj07/p
IBblITeKCXdm3vCC2y1gffvoQxjXYT7EgD+EQc8KIIQx2gZ4cR5GExRzEXLZPguOZFGXYW8+mbn8
HPWm/idBFh34u+TnxlDWHmtDf1OOlvxsNtC2a4scSVG6r5kk5s6pO3dLfbOgAtgS8oI78qY5liF1
mUI6Xvd1XCxtPcBx9uQFTt/djD00EahZQZF745rIOldeV2ztwjHWTdzg/J9H+jZNXwUgp/xXtYA2
Lqg89I1AblibWvnGgcIpcO5z3Z3ascbPx8DO4gweqVexBkWp9yKy7UznICOvVEOmyGHXyMn50CYj
0Lf1iqQuifDQzvpdxxzrQq3Oz9t9CaGqdTIMIJvW3ubdO2ivZRXeB4HMPOp25QAlx6W/rSNwIILn
0vvoypbBU530H/v/Pj/JbUY8cnYFGAJkbu6BTmifwy7DbTJYxXCIPjXPpTo7gV9/SctpvKSD8Z2s
De+dA4tdvqEmODpi0LXG7nHuE02PQ9f691NWu584tCdo5MQT67AJ6jw5ptCQLbV+X1ZUb0VexzgO
FlBoXBzYByLxmdpG14Dik8IHlr9FpiJEpuf7ONSkkMUWlA4EUBWWRGPFvxIOPGVQKIpTP9tTU8r2
MW819bHTO/c6ijDlHpQHPkSFbj1HjaF07iGON49FUTLGwUDkeePLe9T7WIPGp9OMFEXNf0ZR50yG
l2Hs964G7S1fNPp6/cnWpcDc2FUC/cb3byV9SefvKxlr+uoufumJduO3eLfQsHNkpGwFZGPirnrA
EJ+AE3sEes0+IxF+ehKN1nMKU3dDzmYSzn2XTZuwBeMF2CFaEwzxeA+Ttw+RcoLtVoCUOX0raScl
khuUfKChHAjLbKbJTfcUXCaOc5u6/dd5KD1tXST87LjZ/552duqIFqeJH6YWmYQi72gY8/8EzaCn
73IIyThF0p6o658+Q1dMXyle6HHf//dlX0R3ecCOrUZhDrVob6hW6+a/2/oQNGZYYILERHf7/+r7
pzmKGr+DIkmz7dXkLoFFqUspB2QAGQ1YKESMZZNoonuck4WPOAR4SpGb/zKZmYnz4qnYD7kEKV+Z
JdjaevYuEXiEmticPlIB1FGyZjyKD00U45ayLsOTDXmfc8Gn8LEKIUHMjWhX6RaZcAqEPWHic6iM
YBAVdQZA/UW08YJDFrvg6Ha6cs/7WCCLrvmZh27zMqZ1jnNbOT4ZHj5HprLyYjfOsA8Brb3pLZA5
DBNwpA0ucO+kixdHi2z7x9rBnrkFCORLPJjQ5LKC+K9p8G4rKGkFq/+aL/fz6SlKo2TbRGW1iZwW
+gv6PswHeqRYURV6Wa9g4VY7D5mDN1SQnWp2Fv6KW9xUE+/R81i1HQ3bAsxjzMHKw8pDde+y0DkE
0J46IOmkuG8zm63bMq+/Qd/5iLed9zMvp9uy4sNXV1TGOhwCqPPieOZoTn24Gc0w2Fd9tkO6uneh
wtKQ0c4x2Bb68wLrpt8cUxJ9A/2vOC72qvf929/H8PUhZOg1xabPwuGswBN0HnVNKkjGFi3/gSsc
3m/IRiGhZ017U4kfqveB0SEHdasLnIk4tYZboquOIF/blQhbRveQ7EMDU6fFHgHvhKuX99H1J6GQ
TFhId3//PNQjo7mXEd67JX4F1kxse0ck2WEi/TGQpFs4p/cB5vESE+nAFZYUyN2GTqfp8ueiAX24
GTv+vej64hIAFUktsuNb698zp995FqT/wPYqjBV2LBGSTRg7UhwVLp5ra9uEEFpTZ4hRWVrusGEQ
6yUm6sfpOExGDNZMzEYONgA07/nebm7R+EwgxTUemgtNTh+jVCGSUqfgZg6T9XjgJmTikh6iwqtO
+Oou448WiA/wHQk+FsaQHVvZTjdXdpkAcF7ENtZXukPmtCb4kUShNnnngQ3sfRQaFOkG7q4KIne1
OEDT2++b1OfnyUL63pTx+E6ZvD+HeWKs4yax/zL5D49X/rfKtfKtqPz0BnRh7F4mMQMyx2J/IZfs
Nq4754sa7HTvgxn10OZZ/sm0u6+hHiE3Kug2DArbqiHuj2DWgTxO06kX6OPsi7H8G5uSRxv8iPdR
2fL7uHOH9VSzaRfoJtmGwRr3asJBSDc4/J6CDavszmWc7KllO8gos3obaD3V+ScAn9+K0bOdTMOn
/RN5+Lubmqwag3008vurbshE+x+jTBF4dcBHgFk+VOfBMpNDZuL3ruQZqBNV0yF4iJHftaM4085/
ykkN28AfuxPAyd1J6AI619gaUBUiWqiSH6AOVCmK2uSn2tJ9jlncS/QHzzzmh5mWmann9UTLcFRz
7emn1/iuLx5UxN3tQv0xs4X0jeIrJ2fj7Mk0j8gHypCEe8F5iWFEF0LG0CrAHPK//ctEVKMx7Pd5
Fq81gaudQ0ZpXQJetSpGfPsYr8Kjyq14b8dm+kV4ILEM4vT1XyNGY1JzxFhUnzleQYcy8UAZNNbd
N0t4j0x23VMcNP6NBxWMDe4su2/2BOAAN+VjUGKrLZzKWZO9SNS3sY7LR2hFy9vaNYY1jTO59Y/c
EfZD4kPwJrNAvTGPnzvQy0gz9TBa01cAm9MVeLyrExXivfYnm8h4i++PjkmS4vU/TgKtf4ADTe5K
xkHMAQ0IfLIrQFkMzLHnj633gNVAc+tVdXwWuqAa6CvfaimSlxR06Q9k/59hLH9VYwUyWz2EMu26
X8mUxVCFwEC5qupTU+K+QbcW+9VoFihW9nlt/T2HQZK7X1HI0s1yY3OTZWDdvnIsTapZ+tubhhOg
Z8tngbRltka2RrGRAyv2Noh1NrPQUB4423jQL3TWDABerSMNs6DCCoz+mBrF1oLG22xSTgX4BXkT
AmVM7648ChqAUDa2jfvuVV0EwFA1WY9viq5SEeZtuM8s49PUFW8mspc+34eOFZ0qrEtA/2c75bkx
TAMpbPncItNgAC6wKbCqAxNI9RNv+XavoLZ7Jm/dmqCjprYNmcEtUE9iNQ845Em1j2PQb/lj8To2
aXHpVJo/z/iLBK+7S+yzVwJn8CYLji4EXCB5CehGaTNQRXRZeKRmZf8HcwMX/ziUFoDk4SLbAeYI
/11hIfLSnYIR6bMPMhZq+tI10gDUAywHXQDSg8rAsgLbsHy/2ILUg7Bfz8GERB4KxCj5OWklO9c5
s3CwDlEeHHb2K4f70wVodnX5k6OwVXWIq6rApgknv4GH02IqqAm8D05/He25crMAO3jQkr8sdghr
B4AgF+Gxxy3OXauLAlcpgBAM5p6aELupdv/+Y3aumS+YKWyHWaADEh53TO/qt+wUvRv1fOIPbuA9
JPhOnCsoGdy4VYtLLk0DpfTjmorWwr8b6B3VukrsaGtBrvtLL1oo6QXGTx+rEWkF/NWbQPob8iJ8
Mmpf7lhnuuBSi4azSEFrLDlIdT7ksc35Z5SKxm0bfxJKXFvS1ShTTYiwOUSZfbiOmzgLkF9tO+vQ
zgekryEHwA/i7EaGBZ4dhVFuHabiL1kb/Ywa7v80is9hzOsfDRSxwFiejNCiLKadjLG5+Pd/WGwI
rr+Zli0s4Kdd7oEBQbpXzBQqjLLh/yj7ki1JcWXbf7njx1r0iMGd4H0X4dE3E1ZmRiWdBAiEEPr6
t5FnpUfFqVP13oSFTCbh4eGAZLZt7w4gmLuQP8uyrG6wPOD7IocUWtEi5Ft1U5pEXUu+g74MKkP4
EmmWPve8HV6IQswvsisgloE6SCqVkqNf2IhzpzW0vKqAvhubOXzyuZxy+20I9EOKwgvk1/L4Gwic
sJ2wnGeUaeTbJgz7DRJJ5GWQDNBwFIbYoKtaYFmSHmso4dwSaEMmNfN+QoW12VTV1KCIO4imPcn0
tPcaPmH107pyG85tYzQHbFzJGoteZCm8+tcQ8G9zBjQfHAeWdnhazhNFfd+6i3jM6Ao/Py8hw9Af
6k7ccC+0bh2QvAD+LbwC+4daroCwTdmqYw5SZGl4ihCHBY0xBUopHpstQJF9cnEZJw4lerAqIFCF
eYyPA96HWlgalxceiP9ADnSyUylXbTkVC4d4zskcTMfFpwEXeeLzFDXiv7uvPuas4xk+OWkOX+ym
GSvB9t0Y7sycxmQOtMuBbLTDzF61XFlgJMHFv/gYGxY1OkHpDfR9ZpdOjs5OjNUHiWwfsqIiQLFE
lx08LdQaSfzmMc/SBkWD5fAHGDejgg0fUOLwQHWRd4cG8mcWXWgb8EWkE22VgHsfhFgNyDMiAD0k
hF+BXUl5K06tSalr0SziVotTVnk228T4JraQPnhKRyHcvTVJ75g7+0tLV81HUeRvPC4qVPK4I9Ke
5XTbt9CNSKUq7gobUsuxZ9ngyekrxLGC9hEi9nJBIdv57Icods67WJ+sQIbryUrFZqhd79h5zrRV
SOsemikOd36k4l0LeotDGZbzJoP+kblySKCe2eyvB+T3Id2TM2UDu/FnD37+ZbO9ts0ZCliQgDen
ZtCX7qvNh/4SFlPzbLWfliganK9xdf800SfXT6efRl1OzdhPw64Tfvrkl9Nr1yf/67U/XeXTaWn+
XjP00wU/OXw6NXNdr1J1uvj1VV2Nny79aeSnP+tvP9B1ZiiJkN0/P17xbvr6ePUIEt0zRQV4e2z3
64srBos9EjOlvMuLjONm5CEojyjl38G+s+SzopHy6kfBovhF82paljqwoNjpblDFn6HMCQef8PcG
5Fu7iLq/TMYe9ECh9u5YL7900KHN9tjP3H+xE6hB3ULva6liaLeYOURhr7zc3SI3ayPHBWxlCpah
VwjTD+sR6fmNaVaReomdPj77Xjnc15F9k8cdf5U5ElqaMr0yTZ53IiH4x9y4QyafUDq+MPYeklf7
aahA2zkF/JUr1DBVbRseTG9QLlrwe7yIIR/Ab5xvZIkq3npZEHVXFmW5Ue4E1SCUf9mHksmbEpSQ
ZxaXvw4DlPaS0BnGLQ8bGifMGeMdeJ2/G5eLLY/8d9K1BZiMZpcK2qlbgD9FQue5rhPSYDhFvKm2
DrEfCxkCQZBb90XodydRtRSJWRq9WQWCCm2EekCEYaa7qgy+eW5O3jIAXZcR0LX7UaMmm6AKlGsd
vYHNLViTVKyRGR0X1/WdmBd+ZlGXUbx5QkfLjWleO4yz6ZUIUm5Mx5cJ8PZmCSsLREiwztkVrr4R
M3Id37FzHOZ6edO8nMk2BHDSblZXm+noZz9zZg6KKrV1ISXUryqwXt+Ppeb3oLxodum8JCXDBNZb
NYxy0dnM3VzaAZMLUkOe0XgDjyW3DTuDmhJie4CMgRM68pDuFHl9cLIu2F6aUvjNsQN9EgimZyfT
NmdxSvHOJRzycBGf+afn7otn7gx6y9tcJ7HnWKs0p+OrCqKNyT1X2nHBhiPzO85Ludel3SUyRkEp
qpnwHyyt6AZaDA42E+BKglZT8Z0ouskpUJoIyXebHnnebaxq+tx0+mgctMwYCnUgXHwdWdhZ+QA8
MEh4MjDBSC//6fT9ay1p+ppS2YH0M/Duuwi8mMinyZMnSLezSUZ32PL6J59pbyVQv/ggI1BqBiPn
bwVImbgE84oXP47anTZNXpId8DPLYND1a5chF6vbbtoAad6/VoiqB8Qevkm8Zpd247CDnXcOMvQI
BXRs+KYa7SU2sEwLZmdyAVICkFXMgAJRtrm7JL4qb+IOPNCA+u0LSeP6gCWf6MCJZPqKnmfuUvjq
HBGg7IIcZXrQ0rNiBNgKhhCrdauh+P1NQhlzMXrucNO7YP/vGYBgWJy53yJrOtepaz1SgOt3Ujf1
OrBi+z0qj1bQu99KguxkKhY1ECyo4MZ9ddGTiGSZrTqX9kmOMsrhbHqohPr1e5h25aHKe/jLug63
nnawPAI5wWIE/coIJboNCHz0HFOI+v0kCqv/sHNQulqgSV4MTiVQuTjQ8MH0g40GrkPIzr1mWcIQ
tA9VgZxGGQSPdq0/WkoopO1o+AhMilq0Gal2l04kIVZIgMYrqB2Fj45H2K7uu3ERz85BYTUnrZwf
Zmjkd9V9iFIsM9KYkLr85yuRGE97M5f9365kZitAufvfrnRxoMhm//6boDj2EQAyTb3QXrstRHT9
+WABRXM5S8ELCw7fuW0Ol/bVSQNG/sm9mRbD1BefLGbUJy+w1y4uVHZlFzyGgPusmllnGvwuAMBW
2bPgUbb/q50WnvWkQFvxd/YepLh7r83rldNlP/ATtZI85JBEISlmTa3XRoDsJu4LdSxnOyhLIYXd
F2+oY5/+zp5PUt33ACNc/AdwuDiI5wP5Yed+tmCo/k8KG9inAWrIKIx2M7p2fAekWKbtjMNwHMYa
LzdzmhkJHqEo6g6adm1sXl3RX91Uh5gk6ApQpRefx106jLs5dF7arThUtlCBA1EfY7v4GI2eyxWZ
zr9BSr7aXD6L8exARIeLAci8qfv0/pLFxpupzwCJ70zO29jMgc4Z8mvzk40Wm2y0+h2DKhBISN/7
puxAWBP3rwQ6XRpMOUBsc/8GT74mMXZfMG9FXF5umd2J17iLQCsEXKkQvTwjSfQNwRzx2rhICaaO
n67NIC71K1VTCHFmt713pvC2HfoC0FRRr5uS6oM5kHKctiNuCdPKObIM1cAALFRQBQfirYXBWFEV
jjYZvV8DjbHmMWr1pVUtL4OMkXg9BBfMfHiLt5sAe7VpTGpC3x3ttLdBPzrY2UK0C2VVXraSoD9e
ULtmUDJF9/UAHpsYhDV9C52n3s9WWSOdZSlaifKzPshWI/bQiwZExct0DplXABhtOKmPBClUfxVD
fHjvQRLIX5lu1EkAeW99tUraZo/GwQwgKgLnFdNilYo42NhRL+/syP8JmQr1TmnWLezJEidTnzfU
XbMckbRdhjnpbicVvfNgsJ4BLin2pIeWi2kKVC6tkAkDTBcKns+Dh5KrtPFRBTU7B5reyrhmd5Mu
4idoMwezk5mwzoJ30zITBnYdLkzTRerpMqFpWi2ILyCanphJjWmetAGY+04pGT/V/o258l8/5Rhj
1WYm/fIpTRO6uOWnT2l7wDgDkXOZ0McmnbfZy18/ZZHrdFEVTEK+CxxFZS1+jBXVa0NbZAiQjN2c
/YtN8a9Dr+PxzIWAUxCANjFuJtTbAXQ5OBwgnEEBMz5l/oFyhdjT716LjrMaJSut5cKvZfs2RqG/
430aLXnV8bdyaH8iU4u3cTFN57JFkAhs02/tQOMlFobezjS3eDT+GirTEkX581BsB34GA1VnlO6P
O3AQt1t8Ac7+etCAw+1bLoNwZYy4JSHcYE5zYTcdlLr+9HccZK9TAW44WxYeisv6RWyBcwTSx0iC
1kkD/rsDmTWHqh63wRFPf4gEKNvJ1hltIPc6xfVG1VF3i2KXegsWWvwmcihYJ8ga9bctZ3w7UtQD
5nPZk9IUPY0KxBZAzuqX0Yw23iXqKfAwLpOLo5lCjZFG2VUONd8RDF9t5d7RuuUv4zACoIWAaRE6
4aq0fbqD+NAne6kBBEBmke7C2a5B5APmn+mdznbjP4QF3yNLSxJDgysA3Stcy9sZotwrM+6Exx0S
RHMJ5m8XQ5TrVVBc8KjAyiEBoBwSBEswqjsbgB3DJSkdssRaSJxF7okzKnT600wpksaFGyO1hg4i
oACC+JK9pV4POpXCod0y6qGuWqj2KFjD8IaaT2UrUMsbgqjU2PypRjfH17r85Jmn0xHhE7013Y0O
AZydB3/1loQOCz9s6mVWIzqamP5Pp2aQGe40CMhN7nffEgGgENMEvtBp2JqmjqY5HBHYiWnWTRg8
ZOQ9jAJx/8Ufq+ngwZbRL3+ESYoFcKi8LzY6HLIdjSd9m1W+Bars/LbxYn1rTOZAfOC/CKDJydVm
XLQbIt8MAoOl6bgOw9MxTfCzjddXG5snVbXzNIArd3+dSajGvnVR8gfp+OzmOlFXhORYgB/wajJn
WeRRSMB7H9epjT0IQe6mnU4sTFMXAKFAaQ6P40kF02UW02Mu6Mk5qyb8YWtsZi7zCdup2EVg/z1e
pyc2s25y7L5+fy3Gk4Yo7C786dM3Zaa2IPa0QbxKo4gR5UR2l8X7klHkzYF9/RZqZyfHAmqiqLZf
DH2mP4rWKhLPQpTWiaCdHSE3fc4JsLJjb4EYBASMx94VfJ27YIxsyMgXDS/0mz1497yfxgxktgnA
6QXqZENEess2fEXxzIRAnhPcybJx1+EYQQK6lZAtU63YWMiYnlVXFcsaWy2n9dWGSYgr+e5YOok5
7RXbhDFtDp9s1ewzgR3dbmv/YNy6uUre2MH9165tCIVgV6kXMQEVNlg0p4S1vfXm0OA9VcL5oct+
30STzhIEIhIb6x2oiWc/BcKNqPeV+T4FQf2PVNbvMTZu7wJMJABo5u5Nh7IYe2YQjKy6RcKvGBJh
qseMsTKcg459Y1Wa7yMAnG6C+TA0dvAvJZmR8zX85KMIwvcd3Eau6/0HG2QY5Jn2o0rcEW49GcZ/
w+jfzwz/5owWWQn+6ykAp+KMREM14uHq93e269jYr7pDyoCsbD465GCfFOnS0++WnFtWxT44mM0u
fXOLdf0EgViBy87MrC4AIUuQIHvrC29rbQ9HACh+aKPugDKpbTM43q0PBZWFcJi9CiEyR47ZxKNV
P3/4T5nIaw7yYiyczAZjeWutyjQcoItjVad8jII77TcfkOBw7qACXCVY7bTHCTGWlfDG/Em6eP2I
Hq/Y/H2oLPuPlg1tUnJU+9p+V6z70k0PGWPkXxjTwq+Eaa4/k3ZCbTZwgtgJyZckIUpni9LqZXvX
o8Ilxiqutu2HXjrveanZj5LYb3oYnccAf8dmrGW5dVg+Pv6TA/YO5c1ke/xYjwDbIVMx4MbEi9Wo
UpvXpecLIN4rItZXG0cAf9fy4cxCADdr1qAusSi9pxqs5AkD4RpqP1z30rz2gvIgTBAOn8Nx4mxZ
oGq0yvsCpLT3hLjpjuVBiworNE1H6utwCSJYb3W1WWPz3ROcH4wpFR0KuasFeBKRjo7rABS+qghB
foKz1NYwDr/b1+6uF/d5nQPsCoGjwz8HdH3vP/JlARJlYQjqdT+KIe7+5Z+UC78sHc3lubIRpXXn
0uJ2QAombTgIgQa7IkgMFNtceLiR+ADFwmt3SnXugWy5d44IXSwhNAvq+74dl6q05UM+hvR+ct4Q
s5IPQ1pLVMs4yG92ldyapuOo4OD2MQrg594QaiAP4EIDN1Yen8yoqmnJuuztZ7BtlokxNTVj927w
ahrmOlOvPs+a49W6pA4KZXOKH0ojBBdJj43VEYnS7mjOyrknZtV9GVTpxrQufmaIaRu/aGzfm1x2
eMpa07qlYI9pEbl5cz0fSXrav4BSddj3zJ5A/kmct8yafgROR+88nvPbSSM44Y+D81aq0Vt00H45
oHSMPlVevTXzmGltQAY3qXyK6v3oVpZelxpqHFPp10fLAiFoR+WuByWDczI2c6ixwcObYK5Nm50v
40yPGVw3ntUn8+i6igcIJc/TtmUdbXUEQeeJKojZIlY4NWJIEF6zzlY3BIcmw3/RdBD2PdNAW7pF
n6+9OvB2sV96D38zsHe84BBMAtH/1hvf4/EH6teTgOvixkAp+SzLgfxSvB0j4P+u8ErTAXI1UCdR
3K1fOv46iekM4yH9OknnBdWhIdW7h42aQlXFy6ABqMViGgGteXE82+VsH2c7+Yv96o9U8Cd/d/Tt
l1aD6dKKqLWiMr7Mc/U384fMz/GxGciFg6Bly8yvN3gmTOB0wFNxbWp/ye+e3B+nnanrrYQEG9ng
IZSeHf2ctC+9yqe1op67q/M2v2eZ1yeFCtiP3x5xBGS58UgRyLmvHciTGA9QXRwRVfyHORqvXGaK
Hss0jnbmEQl4ZX9rzpiqnwEojHajY8l8NTfp7KbGEdW9v10+2cxD9fewxqIggiDYia9SrKOgpxME
ebW8qGhCErpdlsBBrjKjskktzm65f2+KgI2o5lAodk5nt3x2o0IFJzBDZJixjCdkl8V0MzWxsB54
HWZblGXF2F3p1tqTvx58Ep2QmO43V7tfI/EKLo8M5ZIofdqHnIKFqd/npmLQsIQZyEg6lxqGhpHM
GE3bnJHmNE4yPEHkLfWc6qbTgXdTYq0HsoU485eR21VLYzQHpNnRA6WtQHbVTVaCqMHYQeAL3oZ5
APXkVg4FvzATX/fkzuQFYIcF2XSXXM7NVp0FFkN9/hit/nkPP7Xgluok6u1yh86g4KkbltqzQ/D3
FjwAWxPa3JKQ8nVTKwHKDbx6kARBvZpUiSYWWblVAxE+0zZdcpq6kznDs3A4kFgtCtNrOkAc+avX
NAFZvu/CFOiPCsR1xXzjz4fak3PRQTraC0BW06UxemFT3Mg2xqFMRiwT8fwPaFKUWHotkMsGFRKi
Z0Ypy9F+jUKZRmxM0+65Ori4BZMc6lL3qXdKUyo68Fmg3u96QHCeL+s0qBaZ9btbUIGaQK6x2zSe
pn050/48Rw1qbZl1mxhcN/sJDN5Ogxh7BHGnzDvak3Cx3iigFGFOEcxrlg139MKFCjxQz9f+rvHc
IwcsLmlTaa8+9QN38Of4hhb3UT7V20/dZuCnNrKQyQgiyQMNDLB6vgSqAN3LhzFXhMrjsM9iH1nX
31NfPqUEa9wmGsO3LyNMszV/CBKa2cqtu2wx9ZA78LzQTcDy6dyag2cP6ans/ESo1r2YjL2K3GzH
GfY6145udglF36x0g8omYms/BPIYxqiOAVyaJJAF88wANPN/ETyJ/gOGFhI79jw/cMPQt52vkEhF
w8rtQad+Rs0twPUQ7731wHq/HQMyYiMZQnSt1vGy8vvymcVguKYA9vyRQaoUOMufkxxesNXIXl0n
o8txwBMw8/JqQSukhvxJ0FM5E2EpDyyeffxsKyJuBhXhppzNweiXQDFPzdo0zaDij1+EXf2OzxuI
KeIHUdDo3M1bht8t05dLkAvOfQ1x8jUWVQAhIlNxaw5x775hWSB3hdeE+1QwdUC4GVSgqB5FzmYA
QW8Isp/KEeVH0/wBOG773VF+DJ2cdropdDwBuO5NK4iQWC/4PR9lTMoPK+ug/GCFj4M3PU5hXqs7
4MrHXeBM4NoqoDeQEuYAbqjtY1zH9vFLExQx+l9kEtyvmwQ/jAj2BsQLQTruu4aD58e3e+Dh+//9
H+f/pI7CTxzrikeF+itwVjrHfBxBKOyNaj3EGjUJquBvtvBWWW07T+Ew0SN068aFJeEWheBjpyDe
P02xjWJODA9avYsUc/l3O+uwllWA6kfKW0pfuk/MP4LwrX8DxmGPNEr7FKti3NM6hMqedsi//D4d
9+t+FTsgINEgi4YCfif27C+CPFCaD7MmHbLHqO1W3lA8DsQrUBtdi4fM9rYIkkYvAzgU9u7ggzYd
ArsvGRjglgIc03vTW5BiV3QTf1A9MMk2anKMV6eF3k4pCDceB5BwnHtPs2MW1MPSLuz8uxfppGG+
/xY1GV8DzdvvVAbAklXwZ+PQ2AiReJCMPIMsly0FBbFsqypsYFhz75Gwvu9pnm2jxm4WVxsCC+Ui
tGW7NS6mY5LlIvYdenZp3m3yqHcgNAv8E1hrfxiHhtYTil0bJ4mhjXSMCS/cNQAPag3KxDzBA2kU
CVgOXsDJB6b5moRvIMxZYdmLFJgNrtvIhcRc0E3kObRRnTvba+nrFYnFsFMsoHueK1TLqX0135iT
bkr8HBBMMc3I6ep1PLV0YxjqeNaDCyhEiTkkB8NnwIsCvKBfJgDXDi7+2FRV34HZzNpV7kHwJp1J
uoow/THGVY1tWH8uHNCvBCCHSNq2sh97bZGlbKbutgM4f2PlUbwfdKEPGcIEm4gV7OxU1iFzQYae
dbw8jtNysAN5HMJ+PJozwJx/nRkbCmwQOvddMGnGTKAwDOSj/7LrM+IjM1MP2K0//vd/fOz1CG65
GU9u48EZmf5Pd12vqJiahuWPgHmwQ00D9xR5w7Y1ooGmOZWg9slTaASmdemdWC+2TLH+rgKo7zbL
mgXkmOS5YUStmsaX56zC/8ycGdun3j6E7GcnyUK4LH6gjVj5M0YZ7LnTUU+Ay7lzs0f5+KaHDsva
9A791C54BAYh0zvZw4Exn90DcQ4AwQQpmJQ5+75wnZvOD/MHWo3Vtm0GuQi9IX/Iu3o6hpx8T3md
UGmzp3TowjvqZEckUKznym7zY2UFUWKaNOiHjQuKlJVpdkgXAZ1X6J1p5sX4B68tHzScGDrPCCJs
sr9An8cW8dy7FhIaYtekM3VPO6zMGwEiINWCBJocQvMLG/sFFHvY0zgV0a3owm/GK1Q9dtfzoMAR
iYaipdj10ehXJ4BXHmof5GBZCsY2SLLyPfZREFB03ObVwe3vTR3ICWwXICdEMyHSFrWvjQYoy07H
fm0TCfmBAHuTAxDVwcGRBQIMvW5a1KCDRy91YpYvr/1N7fxwyxaKQk4su4PIgg2031AtMf/X4yLq
7qKKfHNYBJr436ZUBd9Qn4HltSEjqC330jSDjNtv06R8oFQRU6lQMkdAZtfKaddCGRY4W1zBOOus
RiXaxFCDPl+wgeTPegDfAOQ0G5AoE/kRWwFPpr7KnmygnSCER7vTkOXDHhk0tQFtdX3XpfkEVdeC
vFUDvSGsdX6ieggArLz+UTGoR0XMSsG1jDCaj30OsEWKHmo8ptcawIn7IOKAx+D3+43yYFeVfvSS
h/Ue/2X/lAsanIY2wtncVHYdJdhHxytjCzPo7WRqdLBgJqtQe85rqEqOuHjpzeR347362abIpYNa
PfgAgcxCe2P4reOBC7oFX916OSv2+HCQukeO/dH41nnJEx65oMoY/e5oz4e2I4NIpDUgnIGHUVfa
5ca0Li4aqIaxzip1lxJI/YJ9y10r5g1Lc6eY+8MVbGF3nJxRisnvhPm9gUhe/9qqoUJslWoqT9e9
muXF3Rq1OOPC7Nr4dFOOgbcagCp4yTm4xOcfo18hMejGVgMu5lbtrL4lEK1ym3pDMt6tL9cJgsLe
RbICrX6GmkMBhqVlxqm+Z8jt+RZ/NG9q6r+1hF0bKKrnj2bhBDfTA7Hl/hgyNt8wRRy9x9Y9iA9A
U9nn4ABXmv/0fWywNSpp46h+DtgwfAs6qNWkVUnfaPo8uEdP6HAR86rdhilq6hXr0rXD4TMOpX5u
nGJYNoHj3o56Qniy9qo9hICLE3IBZFXIVDwMDZTVIHJQfOsRGp9/Xa2k1V07hxdzysA89Gdrsqt9
w2IbROUab4c5aumCcGZF0ixfFnPTm3OA1w5NaL7E+wQZQznv2K/extEMoah1KUquViOygHtIaYJn
bz7LuOyWeqYkM2EINvOQXUnFLlGJwT6EFZSEjZ1Qt17gD/QTa8QjXQ5jthuzyH77GZNRvyl7LHYu
Z+PKylvnraL8TntN8dCTwj6B7A2V5LMz7bJ8EUyNOiEwRh/wYICOI/whYq5WhLZVElVZANUfpEBy
N28XWqMOqVfPVlCHH3kPLnWHZ9kDdGjcjZRTswux16obWxys0qdgKc+iU1YC4WbOjG2cbcVsM2fG
VhCIhEL06u7/wfef57RG/vmKZj6rtJ4Zy6GINZPbhcU03hYQxb20Zuo6P+futqqhyWts5gCmjXzp
zBXkVxvixmdvlq6GoBTkv+qiBXsdsi8KWmYptolbqK1kW7fy9CMT8Vs/Quv0Xx0oAKsoz0zC2i0/
ELHd5Rw5KdCZAGPkRNXRRVnmyc54vZzKUnyzIPUtLVZ+RB1ymRqrrLu6GVGTPkJ5SrGmeIwZKuJ6
L/dvRWoHidOJABsPZCsLVjdPdZ55eFz61c40barCJQXxxgbJivaJ0bTEw5tma9Prs1BvAijBLk1v
mIK/XiKIu6gLFG03LEyRTcWrsMWaGvecmpCQV813MFYmMmXhBzSxQVqSVuFDA6zuRoEya2d84wrM
phGwul98W+jyPPDZV86+ccyjfynlCb/uQRE+9wKIfQQOIWEc2F8KTgbhFHacD+7D5d2GbPamLato
bQdD/sgBN0jAmFv9MZU/oKLX/QABMr7w2m/uVAWdIoBFIGPHFb8ruSgX0RCJH6R7vwyZ6+xJUFkP
AROo6VFBv/fw6rjxia6WhejKdyL7rfG1pvp2wk37XRVQDSAd6R4c5QRbVONsK8cBmTRY/WxQQH4D
/fmjdJz6MW0hbBZjm7gydhe6zdSpv43DlONNWMvdEEdHECzmhzFV/gqsRuXZ8rtfZ8ha+asxs4pz
Xfn+aprPsvStcT3AMYRbrgxhCH67Q9Kh3Aapw8B/dFkPSZFiei1GRFeNm87t4V+Wt/Ff95SBE0My
DiTwNraWno0t2JfqKhdpZJBpN9AEg4IRUvbhHmV14d6cOb/PrjaBjwDioXr7d75Xt+v4/y8bwNVI
G4BqN5v1FC/azfEsm2jaRmF5KOnjVIt0/cVuPIztMsy0L/rM5vTab6a5aDbPk8nKTkFG++dFqBGM
vog5D9n3IC6FAMFdbWfLGsnxffvXQ4UVw37sCUA0c4fodYA9028f04NizHCnxNPV/GWU6TA2cwZU
M+Sar+3/Ou7qQlAtmJRCTWsTSK1I1a9KsHItGpUhzhpyiCpGKJ2rO/YvtHuzVONfMs0B9kVQfg8j
D7EJ1wntr3VkvtIuafwuOteOh3CuWtYyYB9lnWZY02cchH802ELZutqqNGju3RA4bVRy4RmFhxvj
7GPSEjxn/skARDNRYtfQDfaZoe+mSHPQtM3IUVTxAWREy18d1AJnt+nIW3TkbjqekSrQPRK2rLJ3
oLnowcDBehvpliY6B0pHZ7+vyTbvUI51tfFOWKdi0iug3wcrMX4Qf1n7LvVOpmUOERQNEnfiDsoN
0uhsxlPUbK90PpClcfHmS3iDFV0uYWzGT0byLpv5HzV11pXlkIcsy61z3OWASCvvRVZOtB0tlCGZ
ZmnlGpLcKt2b5n8OmopSJDUlP67Mc1BKmqIqOEOOkh6bSL6C0xrwZrCSIDyL8A/H2mzJfWBoUaQQ
vVZ8MULK8G0CTQEq71SxMsEjaBD/AOYoPjcpY0jkNhAsnINKZvTMp4CaL89fdjGfTk1gAahat+WT
hwVnwkJArkeIcKCs3f9JuvguFFX5ph0LpGugcD5D1crfSM7YfiDZr+GIe/4arqPuvqzYKa+RoQHx
xB3oZrM7VUT0qawcKNvDXAg5nZB/6pLLxtcrgg3XKL8zvV2U+SB5dbu96RWpuPPmOeSfcwAFlKTF
GEO0NQhRtuoN9lI6EvjIuRwXazGUODAeNTcjb/Gj8Xm2DICu2FwE3S2nBusQqHhnAXLIi7BHBcBl
oiZPHHtvgEQlFChRNkHrtXGhCJUfGB5V0M+CM8rkxYOLzc3cMP48axAdhsDvLjWK8b1PxvVQquoS
x4skqOTiHthpTqOja9X1wvwroiCjCwi2WMdRj/oRf8nO/INRzZdtZvnojYkKzsN9W/o3OSjwTf3I
pd64nDNNgFAsrxUneVrUEKR4MV9DNzt4nPDLt3IpRDEFyaT2fw0dO5QGhrqXOyuoFOricHD9vN5z
zXZDOPwyGfs4N6u8wPcdClTP+ojto9xJb8wX4dRMIgmIqhLzlXSdld/5YM8xLePhp+rOJkrcmJYZ
zop4ugxncpC7DtuJJCZypUm8Z0MjH2Kold9WHJz7PPem19YC0gBocLoNWqhQQgXlULdkeGhQlnKb
8xQqEn6lXxm0Uv6rW8Zz6HLPw7t5Nmw36JSm+CXlXsbWDXQRD8HAOVmUaYuSS3vMWkjT4fRru/eL
vE3MgMsplhZP1TB5l0kuNjOyaiVkeMzpp0GmHdag9wjBzDMF4UmHYDZHES5ZRwI5uGA+mDO3BV93
KBqyV061udrBUQphJjFlYsH6tFwZP+SskYsx41Alok7enJDA7CoqYDcupu2j6Ho5IKcDbAa2hMui
yhvQyiu1SVP2caWj5gVCRKDxA2/fvPQ3HeNg1wnv3WpvbObQq43HqLy7NNK0PPy3eYbsQ+i0e4lc
jfvcsp1DRdruuYcUM8AH/G2GmG2rWLF1MDcRZ771hfV/SbuyLjlxJvuLOIdViNckdzJrt8vuF47d
3UYg9h1+/VwF5aKcn3umZ+ZFR7EooOwqQIqIe+NntGPmAIxH0/wwueXXdTnHV+Iz+AQOUZf/nUl3
QqU/+M3KaEBp/JTJi2abSK2uMs3IR60AW828Jz/SS4OxDaAHp+1gIrsgtTB8pllb1toyq99npZDi
NIcMmE2RzNGg31QHfKFYr/jFORAFFvNM00fXi34dy5nfdfOcAksL59VOZV+srpGo4+bZshLYqNar
kC/jCCwRdfc3P8cqktWcWHwc0dCazqV5Rqm6efZiwEb5RZ3jwyOVyBzOfRjjbA72RemENkzka6iS
4UV+W/AehlsJALzG9i+COiFclRpZ+w2gQpv9Cn9CACo3YieSB9sFZZuGDpWxA9gBDQ0AHpYZiZ3Z
gCJy6q83+htfW/UVCTQ27tFp9XE9rxv76FR9+zA0U+FLZ7CAZy3DF6sJD/QYbbswO/C6C/f0tPVy
EzXBrHsBXnpyzUBVszyF1+WxO4QvaHY6iPBbzo3xiWreXHwXaGX6qVHZrJ8CVcpBkCgz+/TTDVVY
X8aS71A6Aj5jm39O3Sl7NFCV8oRjgAlUTeiHJpGGUptqn7dpqHK97RPpsGhkON5AWTXycoMd+n0Z
4+Q/EZ8LfRDP6EqSF3SxQ++aOCpPrXYb4SsewKeolrnU4Fls8Awccc4bRuU2MqPS15SoT7GqN+P3
4HaEC+nIz27SX+TMfA2xAQ7Ig4Iu4VT4G91yNYDFgAoWCGibGUTBR+RJpoCGWs5AF1llk9BGVlkz
pjfPCaWc+5jNf5Nx1S8RvLDwcSz9DblZME7lXfvUt3H7NKGzY+MlTnEmsdPd4sEG7ypJNIDDoTrc
rLJY84cUqMHXNwNe5CjVkLE8MCTLdtOIHXeVx9K5M6xhH2vjcNbaup3OyMDvAOlSPiYs58+qaQXp
FevTu2T2zFwkACLjJ/4orbb/3bqiq3RknTTP73Qz/uKCTktY/WubGNk1FaB8J3WD2vod+gdAq6i8
nNl7AsFS94idU//EZHslL3y08qPutBqSMPACbEqMSgFRIxOzhLb1sn+1tfAtNNoZ02dTm8ZgYll7
N6gBpIwhiL1BtphGlW7gy1y9yXve3BVgfqiMqDgpLiXz4LVIb9VuciWPxTmM0i6YPG+fz6gu3y5r
q9nFYbsRg4FL6Cbql0fgBhua6afdbOACKjZdPx/ct0svV3i/ILlkQ416xsrSDvjsO0RRxHBAl8WP
lRieHdCloOmZe0fPCJ3tZDT262D1ul+CiOIMkiPrtQRmHi0CgVv8mPcmEBS/MOwLjkbrHl2eovdU
B25F0GPjvQz4i/GQaZ5ndKUqZURTVpkXFLwUb2tW99sYi5yHwvPteBx98qSYNLPSDGXS6/LV8n5X
ywVXF5otYWm62OvebQMdDZteeueFtnZYAYBiBRxEUEE3OjLc6N7XV4pGmjxoQPn3U8QTwDC6lvXA
x7L0wSYfHUg0Ud3yUESsQHIUtamko8FIpvzqefERWT7ArJEu4ubJNDN+GV38Em68In0LRVEqECIE
U2Q/Ol5h7TsBKIU+EsljX1UxusuJr5mjitQw4sdGDV7G7ACVAosH6RXS/J2d4h9bLaKB9HH8ZzVH
zv2q7mPtYg/eeFlVpQ56MhQSokdEhSfD1OXArUhEeVivq5eVswVvUbEDD3cV+Za6X2dGzcwai+4X
f3XNZtXJIXGCJGaP64/VFy5a9Vq0Tybta1gO6VezQ2ueKSwkKJXIutLXxTB/NsrCDlrUd/lc6cu2
5Rtkhcarg33GS4kQpJdzKw8V0DX2tFyUAyAtwduJRiIXGzFmb0iPPl3m25E9nMo+3GjWONxrOE68
Ry927QteZftw4NC9G1qAnW2MvtIOZODKSrNysD45OXjzVl/Sxwx5EXBdXG70IPYBSoZ3t6qjOe6u
na3Im3Aby3XVveCREgVe1d6Zo9ldTcvbuI6RAhaz+TiQzlUEt2Tg1rbLBzv4nWvxm5V8QkVFx6v9
GnZ1Q6e20dxedUA+5FCL+evNJW7EidZS1AwpsS14rxiqUXHv49zws0DzzWhn9QkVvcmGSOppIM76
GfgFTVpMd6ter9HCj0bbGX8Y+vhADPUSad/b9ZmNTA/AMXLg8hrsIlBnhlaZSUb7wUi7TTRNJc5E
zJpd7PdhjLKqR828cRqBzXAiA61evBe5r9AA1g7fCTtamz3rCecUJBB+dFM79c5Ex9COdM1Y2k9p
ujiQJu9m4MObmr4jfxvP5KcKreQKnrrUW4aNumw3RTuCx4iH8hiP4Mu29TrF8wxNLJXR4OsXJRTg
HcKQKb9qrpHAH7RyT7qGoYYR+zQsjtRiEGRAxmlqDChRE7v8TYPqSzvMZLAO5q8iGbywl0HVsC9d
FzX7VbWuMkIP7SjKbdXR7B/D0YrVmdaKFnQrboe60UbP8cXTg94gtJv+0LkAJMWuAfUJvQaoCeB5
5n7uNPVjk9sA73/XkUgG0rX1PkmLYx271xnsl2dDDUVoAbedpjRYowSWaGxV4XmZrqbFNXcjhk3f
xN8CfPCa5q4+qPC0Bk9x89jpzT5zbDSr4Z2K31rHuqDQCwdvNC3jmJXbCtzY+A4vj4Ybo0aJ2xFS
YTRV7tEEgBOGROk5AZ6706ewJtiD7M0Bxw/Ui0dDK/jdxDt+rE2Glj3SUd8edfT96kJ6UrkgtjgY
MXvyNIFN0DQbyKZXBiAPIdKsUCLNfif+i2XWmBkZsFiG1y4snvvcMo4tNmt3nA/atjb08hOq/PAc
AbHHn6ZV461R4BexTzJAREzjd42jrhV8ycbL4LjFzuiAmep1WQkOmYYfJy3Xl0hoxiw/gdypAcB/
AQbFHi8XgPDbl7Id3wZAVZi7uHGnDenI6qLYrdySnCvHFig3m3pKnb0OPlb01iaujXqdipdbYA4C
cLy5XyQyUIixKWM4/hp8UWogPT2iGghA66itMPVtW0b6RWRRH2jNjzxHh8CGVDTobZEAM1bsDQ0P
7Dgs9QvpFz+p5NADVv1GIIPujdF8Jp0DOqf4TJ4SxyghrCdw5tp1d45bgb0vGtuHMzbjwBBx8rY9
NuCEPKM6JbTAHjApB2X7Dy0purlzjYAc1jCr/wB2PMMnT0DySn/iyGh3dt4Au8Wrl6EfzLt2Rhfn
jZ7EFMdQORjrrqs/6R0naS/c7vwbPYkg5kOKKraeFgkAbpuitwHf7uMTP78KbW5HQIGhkuukFVMf
oDPvHrWPwyFMyj7gaqCZVaMPHozpWvdRJjsA7u+bDg2Fjh6XoU/u5EgBI6Q/Q38NRBbQXHgAx/65
0EsBPbQhn2VKK8mTG267z920Xd4AIWjta7Tx39GrYO5EfZzZAOAVq0A5E0DJnh1bCxpryvwhBO9j
GHX9c1Rm8qBNVYUiMdE/p6Kcnyb8foKG8XnRpPhEjO0GGDDKATyZyQXV8H+RhLIZuJUV0u34SFok
1PAuAUnE2f8YoBHySx+CNwVlTAL4AXy4OnmGwzQ1kEjDEAF9hCuXEW2EAwjU4VgVwF8hyyjxPTwN
YBPExvJniHXhGnu1rhdYI4yjehQssVUY8pnUpdcIUje+jC2Ixwk1iI9xeBzxlbUiAt0ABBF8EPmK
Eah1yndV0SoSaUZuJL77kp5CSvzZnd+OUFkH3OUibl5w6oM6xpkLFOKEXjDaYfnsuuVLTsAh7/rC
mMpn5e+aDpBhRoH+UIaEPJsLvy3tQ91gC4NQLdjdMbMH2eFXWjPLzSrTbFGSfV1D4jxZFYD4dGA7
vAcjAwPhylucUlnIvChXmZTkLq3ROHLNXO5p1d/eDt3tEsYZ8Vehe5aNNsDEqAzMgSRPwJIEPUki
Daij80O90k+rimYf0CtJbhKrChbwylVe16yAlipg0w3M1/QvGh7sn73J22V67nx1+9DaV1pmHEiM
QTWTFbb12mhZdHZaIBGQfjLTzzO+Q58aPYnA/YldBenzvACgCnhSrtw1zCdRRC+mk7CvLkeBRKPe
FYNh3HGgGN2Vc2Tcxa3+V+nk/THCc9BFvXVunC1QzzHlseg6ZrfoHM4n7P6ZboJ/5meExDdCMb+5
2bmp72am4cxMrcXRIXJYNG3RJ1AnBviBB5zHbei6qLabwNPT/TkjLXPX6S0vR+TJ3EuvOXEQA6s3
mKRZAoPoXSZlnhT4+qQpDWRePEnGjqLyk3hS5R//NsYayIpwsmbpKJ7PwT/bzdq0kTgV26HwrfBR
HRIC+3ZAlwdj5tchxydb2OjWVUrPmgAtIPQgBmcCeVRzYV9pRi4066fsLRSJNOTlY2x+pk7Mtm/u
SjGlV+rcLBtT3KP3aEc2Giq8vY75NEb+qmumjvmtEOKw6n4NBLDj4Wrk7ICKNyCMSaSuUMAcDL0n
A9Yjd+PTtNPCqdjQlOy8q2Uweyidc6bM206Zo+Mgb/g4/K90SEi8raVl7XmaQrz73yP+i2AlmD0y
lJ3hJiiazrH/rvP+2rptty9EjJYxGbLHNuy6TazaeatGAu/KGV6zIu/2LNRNYHQZOP8yQTcIWmlx
jpuof5FhmO8jsPrt4tqBWEQxeo+rcUNWHfBDjx7ob0dgwLzQAADZE7IOyQP560aNUjMTe2kyOvhM
WKKBn7o9RVkI5Lm8BeiTC2CEYNZAJ0azVUQBQQdarzjekc50zSbQ1ZCDflJW8bWZHDD8qoGBZQg5
9KeSt8jNkapO0g12reyy6HpZn9DqYp09q8TXHc/RiOUacUCIvh8gfEdw0ALz5kz6QiGzr0aRc4CL
Np7hxxr+wDtXfG/kBDrEqMnveTpW1xxNdD6el/F3IF3tcpDNfunyHO9pJoEFy3H8KuR0Rw5ujA0R
rQxRyRt7enUtFUpA0YNMqxnSb/gWBZv7JIq7Sc1cq5hOb6lgVP842qbtOiCNEK6T+t+44NMfAEyA
7+0uXjp5h9mWzyRpMVQtoUZ9cBwmXvqRNffbD6awHatjUiRPhUpE05BEKNQcG4cdKDm9GmjWG/Xf
nNfyuEgKWnBZpaflndW431pNdosxUSqnkgZYyJC6b9g04aWZeOfccZuX3rFchbbKdlPVNy8ouQ+R
FhLThqwp8IMf8agBG3s6tz5qMO94aSb3YV60L2A2Hn1rdPmRfHUn7Q8Vao63SErizKUSpwhludVm
boQZEO3grSxqNz3h4H9P1tVvdlq8iEm5DF4JlAgmxSUsdIn3atsXL6asVMcIKF5VS9t1HTIA2Cxi
h8PWgIE4mYyr/ta3B6pdL+1DZuPX4Xdu/+JadouMJNCGQEE4O+PGnqt4t6Jo/xaBe0XkvjFXKoKp
IpBBK+mfEZBSqC8cQdMW6/WrRDoDyKLM9S5N0wMgOXeQ8W+yHcCdbfAOzml4WaaAygkvJEsDzDxa
7J09ji/nLS1+c+fz3yBXlIdFpIiLWS2mmcGF5VdRVWwpoBsa5UUHdo9nDsUGnTsyaLHtKoCDhoe1
2TlJQEpDWSZyIiWZU2f+2yikqzp+8Pj/bYgP0ZYp+cYRHgboZ073YOL7TK0ulTA9tEhX2UW0ufZU
Ns1nqTqS+2z8rf43/hSneI+TWnN9qoDQCZ6vcasyDp/QauQglzRsZy+yVslQUjbNiw2QIm/Sr+tQ
OXETZV2nbOlBq6N5jbpeUVlXX3X9VXq30b25KBTpzTyPNqKstpbUuk3SVG6I1rwqCzo1GE6eJPt2
Ao76qM9ZQDPepQ5aB96dwAk5AUhhvjIyuA2gMzaruw5II7TJjsWWt0NzLay+20vUFKCqO2uupKPZ
2LDmSrNmiupAq7ERVAuYGmjmVmCNXZbp1RxYoEk4Lbo1Cs1qsN/iZAsNlDeG9Rp0G27mIW2vbmM1
0Aq65vtt1B4g4/qyQ+vSrNtno3Eq/UhTi6Ze59lndM6Wb1oysV6LUW3m1PbZTUeUqtHUmfUaeJ+A
TvDHgo8+LeW15oA1QkVZAurckBt01DqAXRH5Q89ldszqqQdrbsmBhK6U6PoFdJ8GBBwAcT2QCo/j
Nz8SaSCrqAHLwE0RrHqK6fEOMY0mX9aTVflmyLIF4YyrkAr7w5/XV75hD55wIF2/+a3rWemlR8Mx
+g1ddTW8+676NabEA3tnKtYibWNKs94N1ClvOC1+AXK33PVLI32oTgY+yJNKm4xpuEXZyA4/zhTY
cTcFNFvEcQb7z2rRDKByGRUorceOO2dZpewcq4HE3+nIZbCnT7qmA07h3fdmKYm0nlxkxLoDMNS8
LjnJMko3GqDGsPdiV57XAiU34uPwQTd40UlYfPGwkxlcGaBywrMZf52O5TwXWaE/APl4R93bNHCz
kJs6zs1g0Q09OD3wiYIO5tp51ogPD32ZFdcy1b9eX5FYNMGShNJwU3WXyGcU+4bfV3tZghXsDVxm
CjV7O4i8uM9BrXVgY91duJnUp1jW4Yn3mhUYSWsfJgOgyz0QjneFVwyPZm+iNiDP3BcRc4B78qH/
UtgyBkpM0n2fennXToP5owVXnumOI+oOh89MU/xpepSdjUEf/6y08bvO3eEruLqtTQ5cC0AKup4v
cA9Popza3XpbqPpTcEButdyWYSNj1djp2201Yc5RfGiihwlYTadM1uzJNlQv/WBewAbCntrYYk+V
4kExSnQ0phke204SmY9Z8kI28kpwPrKTAK3bkQMZ7GrcAjU2eSCPCJ1SR80uGp8uQjrhDJ/MBk0x
5I9vWX6eXdQyUAzy6BSJOBvB4EVi24H0L8bp6noVJ+fRNixi0MKo252M2nz0zGckwye0G0zAxgBo
sHg1pxD78ER/FArlQhfAHe5DJNrxzgfEhwbe73cPu+tTH51n3n7gaY8adXuucXyOfhaaFSACQ1lH
pfkkIj/fLIbVr0Nb3v8AbWSgnvy2PthF0T+qhC0bRobCJdg/dlDqHuCKsUF4qJ0EvK9oMDd5Omx6
kabfQOrxMINE9werAKg8J1ygTnDeml4W/x26+pe+SvWvyDbyTeV11otb9/O2m+36IQNSEQrk0ZQm
xYRcE0hNTyb3ZZWIIxVAok51k5Rp/OrGSRakgkVb0tc1+CoMyey7qRY9WAXTZ6r00YvQ3RmNCSIP
HCZlDNSU9pxNXz00cLY4LvzeAXl+q6GgGn/vU3E/Jk7s18qQmXOAcrH5cw5EQOyV9LORAuwHhSQM
qdQ2v3c16z7RcvbCx6p96TM/VQJpeltccJwb3heN67x4cfPUDfNmqET+wvQovUuL8pmkTqnMydwi
t1s/4lmQvQwyRkUGE+apttr8ZU7T9qCjz31LC1xZT/tkquMgnZ3iLrWtATXFTrZj+Pi3tp4mi7sI
KG1+qpRWNn8reP6jkbbIuk0GAK9NP/XaRm9r/WhSbZJzqtAK+1SquiM7tNgxqUq+0VWlEg3k7+Sz
fmx1gVqmKiiNrHjKZhyqTEgBOpnro+swQamxxLGcAiCmgcRIKgBiVE9gL1qbmOb99KMrOnQeKsdZ
Gch6s+4fxSUULaN46IX+4el/d4ZCkwNrnukU7tnwNPZhWHXImTPgPf53LrT2X/j9CxcO5JYDNrCX
f+G7XraZ8dreLPKvd3oTphouIL60zq4BVCxAJbcBzWiQzASrkxpoRrpysr192mSfVtXN0tVws5T8
8LrHYesa2YkA9+Iaf/VxIhQYLlo7FH6cUAPN/j+6uvS2luFmp8pt/yOck6UMcN3JsDNcffDrTnh/
9D2+eoox/Ltj4q7w6uIrR+/5th+78d4ejeyEx2t5TPWYPeRTd5cNzUU6/b52TcBvxSUqnytNwTOJ
ozdrDFh2Ar/vndLAtnhZ4bAvKyDDWykLgEeW/wUg06c0Ev33ypm+TXjg/eHlIt2gzlA+4atl3IdI
0V/XwQW70pXLKL6OX2+0q0izTks1f8BjbMtFK8YNrRSFE42bt/UAQ4PeBuKtL9vGYEhMDILtAFyJ
Njug3J2pz6jPnxg2DK/AcawuOj5FfVKTF7f5D3zhsqUXzXAj7ocWOimkalxDs3K47fE/fnCatvyk
jQARkHbm7ZC1LD4ZrmscOqBNLGubgr31sdFawGcnAehYQMen1hoeTpVC28V5h1oLIIwYD0b2Rz7n
3p+24dyD7i5+lY5I9zOaKM847eJ4utolsFls/qcx7acol392/QhW9rZ37spGBw8ZwFu3OOvy8eIc
8VoFmqyn472Dg1PvAfnB7E5wsVtVoQe9UtW5zO7Ii4yh3kn18h1Pq07rUA7opfiIAGeo90B+WYW3
MjNZ7pMfhVNY+YFXsJd1KU9Y+SCSgyP5ny3HiaeJ4xZsW8b52nu2jQ++eWh2+D4CTYZS0tBp+TBu
28oBAG8R4kuhyvCM4v2AD3437fa3nsBXfRHMM46LI9ojtjV6cgLys4GXezVL3T72jsPU0Xo7FFtH
bAU6tb/YSY9fXrPtQJZQK7ZpsFilcScDElm29VghvuiWcIOpKDtUW5bg/6gZUEbiXp6bAQ3CeJ8X
6M8MJSCT0LZq47ajdrK+5cC99pnjdferL2il3nwB+me8NsI4LSAL4ExJtk0KilpPtbqbqIY/jyhA
lld9Ki8jH77FoHgDkSAGN2/fhj7SPopkJT9y+Z1IBnJhmnROMXpwxw6gAwCBC+WlZ9go8/xzppDT
Uxz6InOuprUiCiePNB+BvI4y4dH1gPS00biXPIrQTbbewKMrDUwCK25rWHq5t3mP+rNmaqNDWcnw
JPqGo6KqyByUTUpACJptH6AhsAoBB4EpX0mZP8hlwc2d7uJeadHiRPYPMpqzO6RWZyTJDLPu0RYh
3Usn0B9mZej0+KD07Na9kFnrzRZ8fcJkB+6G5skwvWeqNsYWpH2qXHQ+1WFn7Dp616MS/9qh+/ZK
LpE3TBe1wKIPh9WZrJOGL9S8Ns5rHfggKxz0SoBsJUYRfiDspCpx8ltoOMukGDdVj3rSmjMf+fwi
KFXzxTqQzqQGjN+Z0d/35h26nbVJihnNySrC6oxsRzDg8/pwo78Nmqmrf1gW69k+HQb5kLfA0O8L
+0eJiTbY1g8bsAP4n18mYoTm3UeZBpcZrxlwtdxqz3ubb5aKyr7+kUgbqEkrKSMZbkoqbyov39dG
4LLF7vZn0eaHKEjuo/wOWw7jzp616oyDgTGgobTkGKSJ9SZOoLDHZlfsbvQk0gLyvRHXSDU4QaoN
mcFT6I+9pp/IihzE2yVI/J1udWHl5EcmK86N+ltLOkCOJS5K5knM1R/h1MdAmCN5mY6V8cOs2n5P
On00j7yJh6Po0VfaM5BnbFA1UwUk0wwgF1XwjzoTmDaB++l3nuvC2vK63cicFo8N9C+sLQoSJBO7
VtFV3hhIXHUA4tk1SWTh5OKX9ZpM8AKPVZQK7UdLlHUtUkb1ceRZC0IzPqSGj1I28LpKo7lMZWju
rTD8m1TrAJix5rKKNHPUgqbUxA7tAqhpV0FWwyrerJ1RrQHAzgjNcioAXXZ1Jh2JqyHCTmoDeLpu
l+eVtk262T3X6Cs9GYPs96aoenyE1IHTu+mfdYbdCNAV+WOXg2Qt5F63x0awfzXBot6oLn/yQGH9
cHz7AzJy8Oq8FwxTqfBSNfyPBcM9FRDf1B1TFTGVITdS1DvAnfIg7CMP3O2lF5DoghQJaITvlhDn
f6cBaE2rC62gAQXN+aHwQCWI41rmmwY4NNrEw3f3ZBg79OQ4r/hRrpZtxn813vi9BU3Gi0BzysG2
8uE0YQf9mNop6nSVh6393aEI8TuOHkKftTioiYcmPJtR32+LXGSfptLVjqZn2D6JCWAZgyZxTMB5
6+knU4Lvciqjv8hYT0P60HBksNRKL2rj585igG5ss0+kKoDmnFpAEdCAoS5Z+OLgvPIaq1ZGuxzx
FTKk2aFVTZA887STMCQQ6pV1yAAlxObex2sQzE2qMhG0e9G+R5p6u9QoDn33JlPpIRBgGiSf+R9v
KJkeR/EXdY8hmTgeJ2QDcRTws6NMa9DqoLmhuycdDWy071E6El5IikVW3Rdc+9CGdhOI3GQhww+B
Bnz9OQsxCFBochSX5/MmNmX+AJIAD5teFt4PfVIHi4hTpBB1ltWbT232OM5VPo6XAca/JLzPuu9f
p3SYvgzo+0edafpS1LpzN8sRVVBK3xR6s9OmZgYNAsTppxsIOZ070Y1/4DS7D8pOx2eWrIq72A6x
r88S65yOzon0tpAxiGOk99o0SRp0LJcAWSxAYKj6ZxPHNfdZ37cLcBRoHhNfAj58AY6qE3kqAdL2
5I2yes6N7EB9tD1aBAE+1XhL0y3FELHZ7sdhLl4tTyZ+4tnibKD5DF+5RbZdIVSY0QyHvO4+h6GN
AymCT1kgX2lqlMCzmVBfL1JQv4TIdT3QAE5PQPADSNqW04NwMJDadiqQHLQ4Tfjgim7KAxp4Ypxs
/fQzkYO+t+1lEakdB9i3tTfcueXcXRoQk2nx1J6Bf9ddSIX/Evz2c/wJJNzDA5xknEjMB73NP5N0
47fqyEChpNbHft46OF1V8exoBOUPmZfpusbr5HIL/+GzXoYuryXpZ4q93Bfd4hpGuC954lUiRK1z
met7I84fYr2S16wb26c2mcR1cuyHXk/R/qSGMBqqXRHXzY5ExpzmKRPlg2NHb4tM1LtdBTOXRXUC
hGjm9d5mUCfxNDjqOJ5mJc55AwO8atagmQfSR5qVgJ6MXEbwsC7rBNBLfpm+L1ojhrwRm2kI8fWn
wn5YQj6r40Bx6RJSMlQZZdbhg26ZkjsadHEz68oOiXRk/EMk7WV7wnYe3ViWtHwDm89FBJuPBeYo
WC2V6yNxtZLz/3EtIIlc9LoVRxOlOruRciGJgjJCawPgUZVygQgmKOG0adD/gda13YpAvBrIW6jF
pPtHQ6k6KZoZoGgxUnU1OtAGFGLuqI00u5podgFwF2t2tSb1s9Pl/ZOFo0M0scbx94hryQbVzjie
aPB+dmrxvnBMDfdbXETtsrBAs/iD1fAXXTskRdNd7QItGEPiRsOW5H4Sh6nNQMmrR0hnoxW3Q0W5
mpqN+CsG2Sx6DJUu9TRQvaoQyZihFzLu893iuCjfgxszUHL7xq19utZ61dUvRzUrOvfx4xSzjkup
M54DG7y/OzC6BTRYXohq/0T25U4myBjWTOpILIFiJHDIRFNTAHtn3wIgPG4Bzb2ItB4NR7Pmr/HY
oGPXpxdluWMox92QZVGuTj1qaIMPQbw4xiKcSR0KHAYdyfHDdcmdlHqV9PthnP8YBbKDpqoJo1kX
IwG46kyUoMyuKU+kWvWr2Kv1q/g7F9L9Cz+6C3XFwun+44pZGRVIGKurOSBP8DtHJDv0kepXln2t
0U2xgD5bCkefRANoKWAa8cABqKyrgRZ59pdVw3JdM8Ee1PhgaEMvp2iB5JDYJ4Lvo4HQ+tx3SL9V
d+NCIlpctmbpWsv6DmXlCxDg6itLpwPTeO8d0fENhlBjfqqRMLjqOl6MqaWZX8EkJ3ygRU5XXs3a
U9PFT6SfM6fayaGuT1MWaQDjP5CaV0N/dFvAPWWoFfgKELYgxo7hRUZuf8FvIs7lKWrdDRucqEX3
HGdEj3NiobIJV8PhKjpzmDugE7uOX9H0tPjzMWwPIIJHm44KqwOnDtmv5LOcwxT98k26nQv8OWtO
CfhHWWf7qYy1LZ/c/Dm0a1SI24swGnnxbLdi2NZaZe/JQeAT8R4tasfGnotnUkkT3BJ5p/EjiUYi
h4trsa8k0ZArug+Odp2AQs6zxU+FA8RRshbjUD2UBb4gU+9rzgEpPRMIi2gARg82lnK/yG6MRrTM
rIGwaubISrQlvlpw9PRIGCst8Jfl6Ip7AluJFAgxQFZXmBYVnOnTfCY76aUE4Y4qJN6TbkF4URcx
UfXjrzq6EB6P2xSHpU6JjgYZzmEAuKAwILE1ZmCR1zSSabEzT+60Wp+BGfFzzc1CEk2rnQ66E730
7YRsohrAP+fgsAZlLIDTaHYMgMVvushOgKG92C1VtN1p7Sst1IVnox2L7OA/mTae1nnbJhvsM8eb
ZRlmdPefM+xFcmCXYUoW8vEKwGYuyg/2D9MY/DSWv4biIOtCHwB7FbrNt0ygLLXO7u16TFHT6abX
WQ00W0Ud1wTgHWqXyK/smQUKc7VEAOmM62F2XgxaeOwrkIas4dYgNEOhH/gGOnmvJ2m2XCbmz2bk
5Zcbz5trkv8almYJEHbHvMbWibN23jTe5KJqZLCPyPt+IsmxC/c6OLqNzGM2/ggZvnXctO/enMnM
gb9JKxbnWk5XfAUCpqF9QilJuaHkbao7165K+edcOPZeF113Io8yAskM7WXfPex8svduYX70oP0w
PgeuSWK7tzF0DflTZzzQmX3qmmzr1npzIhE8aFvDnptPVZQ4V6Ygu0kP/ieGHnwOwGO139BTMFr8
6tYrvWfj4P+f3GwVjZZTtF8vOoxRu1wU2IBvF13vjYKri5JbrSGpYHHwIsgmHTehUUyPyWQIALmW
+CN1KvfVdbxTG8sMp+U4BBxTDzTR7x4sBXZTlUV8S4XKtZkDiYLhcG+tQB5NnJKDThs4kIqKhoYQ
SOd6bs0PtGoaQbMy6MmX1SHDP9X/EGg0U/SGt4D+c0w+nzJdV9h84EFjauikL3q3eSZNP2a5r2lA
iCQWtNWfiM/IxSgW/741AhGl81HOXavoTaxtg5/gW198o98VhkoSPwah790/OGiZNvnCrt8cGDbc
BXBgvGpA4QBSAk+WA+CcFvCsfxZ8PrOm1l55NGs76RTGWc+L+mHOQIRKHqAe8KdOhk9gLn5IrSS5
lBbQj+iO6UfRkuLQ4wP5gVSowAWhOSp89iIEpVKE/P/OleikDd3MDkQHeHXgW/6USUmD5QwhEJA7
Y7PqaKa1aglNf7cOtCAOviZBLAlAAXB3ogLF/OGNTX0kyq2Fd0vRcv0XaV+25DaubPtFjCDB+ZXU
LNXksl22Xxjd3t2cZxIg+fV3ISkXZHX1vufEeTACyEyAlEomMaxcyy+17Fg64huZgPeVB/VuZD66
hv03VgrdgYS6Vs2uuKlyCmYFpGAwxYl39NSGfAWe+erJftOuO8hcZ+kjvSDWR3xfuv98QQgGuSxb
+KfGMEMwjyePCtblzHmCJFTXBImD9gsXJuPAkRUjK0HauhpKhjhya/H2D0e8KfXHPoKuReaIdGd0
SQMKbXfMHyp/2sWC96fVlg3IvO+hyChycC2sNuCxi52GpTAgY+bzf6fPxhnoP9jhfNMzdN10fZfp
un/P624lAwispiF+4hzAxMrVeJDXwISVzCm3g9z3L81Y03YO2Ezx4vBZ6GozKKgg9ycABGPaZa2S
37YswCATm4er0WeYtk+aV9WUlrwnmABBAhRW4F+hA6Ow0w3OcvNQ9bgbYIUi3I3ld5DHtbzkIUbu
Pt7US/n9rmaZvPqe9Nj6riAdcO/t2+p1Sqtix7REO2uLFQE+0nR819Y8OpOx0RrAD/I4IK+yU5MK
y5ie+rZkz2yGQmW+/BCtn+ytwTH3tuZ7311ri90fO5iTHsswq0Eus4SOEX4sqT6B1MX4RBbTwVQQ
pMDYnpMBpQfVwzwpzYCwaUIKj1jj+Jc9xyloM4sGtLeT7oYaDoC3ZGzLLn0C52f6hONDY58AMosH
MWxrdNEV6YPejyHZJt/HZlSRgw4IKJpHKpBTbYULaPy3gMc0LMB2/9WDxEtsmbrjeSEHRet+Px/z
untdbfjTzY/UA3toUYhEMHdzP4wHWoQiz4GESVooiWpNfwCdcvzI/eZadFjYRWOPg1dY0hhLUpxA
oyrXpYHc2Ns0TXJMcmDlMTH+kg2tOOFgxdvgLHz+YU3uSe/1+gt4zcQpFeADJCUkaec+Zsg9jv/3
JHLnWUg2xg6qfsJZKJQy9RqsiAKEVuRt4i56qZkIdDvSPjEkbOiVYMdocOeNG+tp6DTIQthlKQhD
HEyA6HQsMZpUBGbVmSDMGJCcK5MmBk/gQk0aQQE91vpDsYxlqBWlfUykxvk0pgK8EP2wo+ZsxMuB
ufiz1qK3PzN9FhfkAgORJZugU6xeJk1fY7UU/Yt5DHqc636iAMGyb7zRowcajC5VNgN0v3T3gdTj
qJj9eMk2Iw58HXuTI/827MFg8ASkwvDkMZw4gWPlRCadCWglaWAJPEOAb7XZCQPtsyxq6PGdcdRw
IlM14gk3DWl5iHw9JLm8MgfESp8L46mJjRmZgEu1BYOsAzFYSDc4rqUHhiiQOwVY3VvEzeXiSCJ8
twKJ+VKBRd4A8rEOPXO68drSS331CXqT4M6f3vB1LxdiCld9PcEE3roWCzSjKvI9smxBPMZ9d2tH
DKc4gyS0ogLbvfVDXc81kMfYPSNv3FjpPnVs0GZkybJ3qxS0VFqmf41K++TKvBYdyXxhwlrxqEcT
cuzSbgopE2bujYMzzdXbOJQlUPB82a1rk1QuWOhVRIVVaMCx9ZB92ZqDfHzS0sU050cXMtYHGwdp
R8AMH1RizuwwnFlTGo4OsaYjgIirV6XnNCLPIbBm+fFDK09olwQ/nnEEEUOPtPAnUz48qNa0KY7S
Y75z7aKyVi85RmQgRx6QXiqW7JHRgQjGQd4xNVWR1JUFwjZcQu46H5MaPH7RwgdWhxoDeVlPUhGy
ELW+A2+Rc+RIarlwUpSQ9sboRAWCD1RLt+Rbu9SWQMX4JC6h2sC9QTCXaUNYYQNsM0GS79W0U2w1
Mx1cF2hRYdnDn33vLRcghTEFjOxlV6Xdf5Kx/OKmHG9Zp091LPCopFxY2DQT53F6n4Pjbayii6fh
F5CZ1fTFQBoXdhX06QvOla61RdoGgFZPQ868nUqMU3lyRTwtoMOQKXXKzc0RnNSThr+ldNzk1tkR
2NCu4aonkt3xU7DYdjFSKOVkkBhb0oRvswryN8XStwz5bNIo3e2S/wAXpnMgU26ZeJAjm7q4JJG1
UWFUi5AlYGS4oPy9UNGX3Wsj6u6QSdNIDy9yqF/he8j6W1O/PYoTyHfpRg4W58plJ0h2sFMpa+Oo
OSVUq1DtVZX8Q5KbOHccPvAvKWkXyVFuqutYN8OqYeqyeopTR9vdX+mmO0WD2/vEMdAh+l0+iDSE
IAOlX0Z3/gLov7NXJqpRQXpD1HX1zuI+NplBA2InJUQMNVARA+CePfZThcOf/EcPgqAvTIjxGd/Z
Z7LiQNWH3mcZg17Lqd/axSq2qdcWB/LqLsTABRLUsZsLaLnvf2JQowsSTBewvsWymBbI62IYzOXP
k5tBYUAuocmr4pi9YOWBpBSo6Fb5Nsk6PIJK2puNniriKml/b0KOTu7cRk8sQ0ZkKIMH1ykCqKfa
+UOTASXtRGntHSHkYuFkySm2VwVByFwki2RoC8UMqWXi7SBSD6LxIA3vxEr6LctqPNbIfeUAAaMi
RoKLjFQo6g9l023hBcKo+u0q960GX9tIOb4dZzXSQJjnIsXNxsn3bOcxEBezdupcVwMAAzWydVn6
pjXWALwh7DiPu0ZMzIoqEHv8s5s1t1oF4CEib6pqbDUGH7oE/8tJThvvJWROyQknQHTbzJjFsaoG
HQhnOR9VxWpkufNJj/NubyZjH5jJ3GwVJd8d/55yKE6+j0JED2hVjr3FdAQxYa/ZnzWDV5cpn0to
8KJZZon/3KTuvoEKFA8L/hcQ9M2rbs9ASlvx17QDfz9F9rOV4pxbg/K57AjhnXYLsuIF74zO+Wxm
eX+wrSzeFNkyP+VOckynGdwIgOyJh1TPAZpM02Y3V+A9FbIAeiubcVCBapfjdUZuiqbC6XmGtHHj
SwyZ27OrYxsV5HrGl8g1/3B7Bs4IW+y1yc5+sKxvNgDaN49+jY2A1hveWihmyyRYB9kbqKnixmbO
fihyOw7t2LLvg2/i3gcAn+ztUB9dY3Yi/PdTl/soRg0NTbyf13SRrka+Lr4PaGHLdQZO+JswE6N4
KL2hfElPq7ZOE4MCYEl+RCNrthMYXs68Huwny4B4s2l2yIjU8iYcRhCsFpJbFakq7DD3JZRUJd2q
LKhGxeJlcx+oNnVjhg0Y468eH3W7szVZ/JyDb+opLkV1biFAGDKntd7AcxRvI7fSDxpEJt66ufxq
itzAtoZWf4bCGm6/T55GyAfsc0lg6RUumDFljYoezEqbyWR85chcqTCJ7lIxXap+q3vU9mxygeF7
H+qGUVMvnBR7IsiTScT87KXnEZDRl0bM3csvCzXsvulfBpzDyhiyCBk4X3tRg8x+6aqY38bxM++L
z60uZnLVgTd7PvpPJBkr+NKcZ3d+NKRJ2SHAyzZR1VibEatsZA/E/kPN4gGyOYsDpnvLPPqYLQNC
DkJFOjSlpo8MB6wgkQU5zHq1eunAlbxOAXFp8mbI82p80NZIVelsaoqjYyReuC4YgHA5tv0MkrrM
LZavGgi8NyCEsJ/YZFhrYbHkBZnGkC14t/tQH3ywmiSkKGWfhsrf53MOxjLZXTmyMbHDOe3Nbe9V
zoHV2rchMlmyc6MuO3tlbZdfJod1IagUcS/UboqiCmc3qvL8AHGAFsmu+niaPMstAiMFqaEoono7
xQ5gY3YUB6DfAmnxpCXHqLMBOLZBKRblU/ImBojtmrHJN55sMjxqtnXFkHLkZslb1oC+yKuT8oGa
2oRHNeBerya0o18FpHA7SFikxufEQM4/aOA429QZYJ1difRjzt0k9OX+fzcZ/nIY5HmA3BLHDKTL
vC1VcWOOuUaRfw0lV0a7/lS1YrcMPMtKt7PsP2IvzNvS0OROwFYDRFeTbSNHYGLXVnN8TqAq44T3
VY8C/MKNz2u1BbDr6OLs/+NIZmlv/py6tflJi6cKvA8JoEtVjM3PRedaiKl4nW8Gl5khUjXNc6N/
mvsEjFiL6Tw5UPL6ITClxt5lu2DTQ2930GMZLgxKJSfkDi/7COvRZ72EpGAZL+JNy/lPHQCvvzCO
U7aAuLqbIYV0VQo5QUMiBmRLADypWjPLkf4GihJdpsKkOLU54B5BFCyblC0DpRErQC5aeiSbBfTU
iwexzb4xnhbsPxWYEeJ0PMF7vO5N7UTF2ibXTXu0gEAPVp/FHBbyHL82ihqwg3ZW8cpG3ZWjhvzy
0csT0BXsqgisl4Vu7HqpFci8bNyaCdSVF83mXz+wi4hHT26ct/ucQKmJhJfOS2SfwQ5nn6l546H2
Uu2GEhQ0FJZG1etsxchUeo8n+4c9f3UfsTFycwHbEJ96iBg7LlSgEz0A87dzic2a/gNDVsrX7Qa8
FDDa9rKHao5/ZFNmQZksd+KToVU7yoJuGj7u59Z8dAzvmhgNorvyTEW9NE4dUBy5yUhNqpEtmSCh
ir8F+lBeNNWo8LidhO7UVsmmmyowBwd+N2ebbMrSMxWt6K+1O1s0OckZ0nE4Om/rBuVdOPkLpgN9
bkcgV5fj3ASuPf0u+1YjI1aKD8yeDw2HEjN6pMfdSYcb+VTsEm8Sq0M9+kWT/Z1mE/QcgS96Qp6m
/1SWi/Egxyi18TRkHWZAkm0Bu+3dQ99H3YQdXbRBhLexerzQbmwUQ15TeHW4pFDUHWqI0QeDaNGR
/FzzioNrFm8UODNoDOMg4A8Fr50ItruM1QRykOfYGGucq0k8rwohfK6HvfcVyUtNZVu74P/LbhjK
9Ahu4jt8EhlW4FHXRN5p8u8RT4QlYpH7J8h1fiLl1TtTUTjDtXZvSzUb1A3IGFdx1e/B/96Xhtf5
CU9wJNDJ1l2sPfvFNo7qcX1q0P/w9cmwPiXo/30pHygGPVsooNsJjfsn9TigAAq9fbas9btHihtD
j6orcE4KBljsfVMS9lp1LIZcxMo6ks3PywwZDpS4Td+qxwHHqRz2E9qg894roT6pxL0yXW9DA5se
e2eBJhg5ksI5mNDDeyRTsjj+QxV1J+w68DykQSCWGjYmtNhMKYqJBGiop+detBcSlwjGeXnqajgP
5AX3GaRjBv7F00bruTS1T7EERBoWtAjm3ENeotdm2zoz43h80mwIg9BGJE/Ez7bFlhdtPPqQZLHB
vjPc2CiMNiKlfeixeaZMVHu3UxSZqJBjq3jVqWLYIEu7k+lwe0fn2XeH2nRsXc/ucvHd/d1JO/nU
MXfrDMkOazsQyP9+LK/iyOEjxzmgC8ZGmh6t3v2Kf8bnLK+tLaYS6c6RzRip26CIFU1I3j6x+kdj
Bl+wOxqfOWQLP8+QZpGRZJkc5xlirv4jdS7HOQ1nyHIeE2/Qn3sDGlJtgjfQqIstJbBmgAdfvCyG
pCDWrH049OBbjPRXSmftxwynaG0LvUaZCYvNsWxnl90pcxp9u2JKV/0+B7zwQZnYMwgNkdyO+7Mf
FCI1scTqIACq39rNsdBNeZ4fQaQtabXtUAik5XhDtCFjorvgL6XqmFkRSB8Q2UIYbq0tODLUtspz
MxAZwQ4/HUXnrboMSpxB6Ubc2WrH7zaNB0p6clRyYUQ1KnRaGKk2KTsAhHHbhbzuWDgbD4QOGzfr
Ku9oRSOgbjED376UxawkuL9JWWk/4JS22WEykActaWWS37EdbK1wPGJXlw6CMzANyK6inn1jR71q
bc6Dte1IvWIrxnHDnAPUi3VOfHZpqgeKNkz1VJv52LYJVh+ZKWCC6N9Z/wHYnXOKaeKo+jmy89qN
OkDS7S+AMNJdHEGOckcPHE5PmTR7MUrbOvkE/LxxWHrUhF3jlrvMN/k5GWLQAU9j90qFn6dfCpuX
D9TqZ8/b911khtRkMoxjN8owF/eFTBBATrZ9iyxEbUhxEAWF5ycIMOzIuRgO9jKBLQzGhDVHstFF
dWwTMz7vYuw4Ysc3sabLHPmOtbO5g3xTC7tyQ+5Z2KqGp0oqrdrEQwaZBx20XtJ242jHEcnCRjJf
qiYaIdyRdBuydUWM07LMC1zA1r9Bo/bZr/300zB1/KW0+CtyX+pveJ84+0ED31NeLhVmCib+a0W8
fdSmQf9SJwJTF/SuW3+GdC/INqiJFR4WCsmSnNdm0gVp6jVf82K2H6IJuVs0WmzNOOuP4+pATXkL
QMpDK9edl11sOcgylEXVCCQfcaTaQ/PNWR0aNg9wblIgEbp3cJYnQzLHMlmwRptZs6nraMJSNINR
jbP0RmDrU/LglgVbhyZnGVd8BxkqNxgHN3M3SFo3HketfJ0XYeD5IFs0lN331XGp0ze6EDloKAbd
zZmNT7U1btsozR7MBn9rQxYRUk5PU6G9kElAWhwalh4gjgPeJRsVRzVrrP/knTEfUzCtPo3YQ34C
jTd/ZMBQUICya4O/7EXSAy8jY9VAGYQ7Qy9KjJ0KJu/7zSXR9DghE/hgRqw7g37xWmAPXyKM3ttU
UzHGhM0/D8ICyqRiyYbDqdvx7uLIe2ejAeLWw58OKYDQTv41wEdxlm3zY91BXVEmf2i9bW9zLiGZ
tPWr2utGMQgQbSiO5xDplfzV1Ac6Wf+wUdyA2dZGy3j/QsE0luo7v19P2f77eBkwkSFOMJHmBW1o
h93IaJGglmObzTmeoh0JZxFh2yosRo7M0nZrmFQcUwpcHJq/qpfqSrXfnTSk4cWHqfObkzpNrCsB
4bBKxzb57yeMmDG1I/jIoMfWGOygvOuJI7WREH7bmTUcaUfkkf2AP2IHHOt144ZsTuz+DUXbvgVZ
YeY/iNRtIVDGI/D4SIKBTJIJUC1tdGgP4iEF0u9bOzmpKL0MTAF33ZSbhqLOZIuQwBRE0QBo0fs1
VLAjL66aJpEQUPtfL480JU3gKExF3fRSQ93dxkcXH7zJR+Y0A9D899tQwe4yGdAm/P3O75rqTg0/
f17yetyr8ShWfRvkIFtN3+K/unP5Z7DwZ6AeCxgwsHTrA4uDfnGQ60cznUBfSm2NDRaoO6WVipu2
QVFrrNaNeljOZh8yC4d+SFCPrh3WtiPHjjINVKlrNzK4k9MkO6qqi2Na105SclR2WUdfu8xWi3Xp
PLnbqMSP162WxzZb+GfT8OYQRIMufpNozjkS0xhroW4om3nB+gs0WlKQVWn8s5X62Ss24slHhRys
4wPErEDdBI5dMUvahrE2X6hYnOhNB+j4rEyZVN224+xJmzXzRTht+5yxv5XfxTwI89biWZm6QeuO
y+AP4D7SryMzcM/usOxCwpoch4LBBcY3pfB8HF7iDshheZ4TgHqAH8gG8YMW0o600+hDkXRGikyL
Pb8UWnMeXtVre6xS62xGFjbAwLDWBqpNxpRx8+wnkwZPsWnqpj/fmCiECkOOQLU1mIKWObb21/0i
w/fNIK6/2t3iY4JXY94BPAU0WCZ7AriyFkbgQJtti+W7d7Fyp25OHngxdqDUiJFVxYzytTDW3voC
/ksNQhcb0NWBVH6GyM8lwVv14g3M25aj5DTQtKtNeStRZjygwDhewOXgmoDEADbFAwrKgG1oNpbP
6wuQ6zTC6u2QFh+Y1uRsR5rDcg+fRY85hMXl7JVmtyBAaCVG1jEDJCqWW2NAutw6ZyZ/NKTJETON
x6aoo2djwKlj15RryxqX6Hnu8QhudYaEPBlBhWkAWWP4mGcrW+4z5Im2lhFSN8/1/GdXm/ITE9lf
ZKJYi+NnbzMtXFvyClSLh3zr8JL9+hVDd8kL1HuunMDHOw6YyNJrj95z7mTEoaHhWaDem/a7LZ0h
uMBz38axqm1DuLJ3IMiVVl1AbTM1UJ1s7eJXcoJBTfJwmS2hdcwMfGAId04xV88cyq1IoxrcHY5w
gVa0Gg4a/12VMeO7bYo2dFKj/+QIo98tc91ffHs0T03T6Hu96/UjELhz6Ez6nnA5KzinLe1wKU0d
2bDA6kBxsn8y6uUmIsUOeDjJCOrwHhH3Th4OC5isFZTDYSIGrksiPwgO4utRCtRPLnYUc0V+SKDI
TWRmRiCGteZHNQ5WMROktSnzGsQRLDQgTXX2xHIt7CkHfalqzy4bzwBqU5j5HnvTy8Rpu5aSRukE
tO52HCyoGqSpcRlsiGvq5XQiExUQMgBeQBaa5QKRRXENBAWPjcFPN7a1Ci7Pci8aAH5fsGj7g1bA
ZQ2xszKejy5+x/YD2X53xEWcDp8myRYmg8HqAY3LEX+zXkdymi2SLUQEINDqdsOReq6LcQPoTe5D
MeQm3xPgHKwi0wEIUBd6IGu26OhD77Mq/Qn5xouGJFFX5xcfOY5nYSS/2eJaXMgbDRHHQwIF1RZI
VCK7yBIbakLuEX9cFdgmX+a6qy/N5DbjxsfsKMhS6PBqknGnwGISEkcCQmRGrD9ElS0nS42+A6ua
AylqI31kruniXecVP5tuj/8b3Z9Igx6ggTnb+5oNKQYC3XaD6eYMOaQWzNtGs8+ApQISEKzc5I1r
EFkHM1KCD9CZ+pRSE9/g1U0xyMs2wNAVWxty+BDAOFyBDFiyAG4sabBcQCyOVBXehC0ubExNQcLA
hb22yZUDtFli4T5AAK4fdzGvMihoo4jwkwf1tNXXAbXHsY0cnI2U+nHUnYDcUVTg6KuTL/S1qnrO
T5ENehACGFatKy5FtL0CDSXm0OntCoAK6ZhzPHjdsr8FI/5yUPeV0mOKih78ha25T4BQcbwiOhsg
UNmxuMyCJPGBsiZjJ3EK9+1oAVCBPHmMzSDqQ03lUJ3vbOtYwrTmTWKzrllekXIlVWS6+tVP2M52
8/KUprN/sY2h7ZBEgKqxUuxKqYGGse2NByItjAej4SxbXR8YtBTNtF37xyamW2OP7EE5BBUlNqID
1x3rLW3mr7v368Y9bfav1X/4NCOK9vh2Tv8IkrM1o5hmnLbJ6tKZJ4knPigUhy+/K9XEUtQCwTq2
bMmBST6+aQIe202LKkVSe0WIyN516lhQnVtYeOdQwaULZgT7CnAjrQeQQf5p5VhcaMwA6O0WAEf+
XE9/TjnYhm/95Kkg64u9JBw70hPadXFkZM7Gt/WBvD617wB69Dxv7f4NK2ixV09p9Zy/s/m5EQqX
4zCswAlyzwS4GVqj2Ygu7qqAjFT8b9u6ZJVT3f9/YxiSa46C6BZy0Ryw/4elSaSNZ6WCcqepQt7/
gW0s+zls8sxYRVlIYEV1o9r/yob393W8VZtFqsOURYl938E+0van2iydI9BVNp49bJUDzFa/NlQ/
3DylvdV7jzW1kJ3qxnnnVbw4+nnjnV1ZtI7m3hQf2dIU2EBk4YE36N+C//t43Et3vHN7EEH/utgE
YZKpZO2foso/tVIIqZYF1VwGnk+qNT6DuLjF3FDZkFIO9aO7QL0A+pNH8ZHsVNB4BmkqURsyJ+0R
KoYnNRTVCnDR77qxGJFgDqr2nm1SeSRb2R3mazfMQB7eP6LLs21BHgpaq6TomJfYTL+Nl4Ok753U
QDcDr30AkUf2ZQIsl5MuBV6L4GHvQWfymypYKgXCmsJfrtph1CZRMF6/VVMJ+gipLrb2u6l+2I/8
1NleqtkOlbgYOKLGExSWkMA+b1IfKH4iHSe68ZU6vPMlMzkZqBDEOA7IIofMBNXJTN1A2aZtxeT8
JBORjpN9jVZx68hIH0zSnbL+Y0ynyB69GkfO6p5oTNVlki/dZ02eAGOJhrNfqsatWV2r1KYC+AII
kpAnAnvtmdrxpGvbakp/3sVVNQPjjDKW4BrdX1lJDNN6dsEQ8jQOqffYQ/1UNlrLB7Ee1bwy2gmO
pQM5DN/R3SArcPjnFhBeImMZQQvIGBa7x/8Tx2rA+l6D1ydu+IZuLmvcONmtH8nvgMIP6HbVDamP
RLWbT7x+RArPy4kBPopBKagEbPE69XZLbCBrPD9zaCxACj7tkbVs5XgnIgt79ehTPw0XslKkpSXF
eU7BuhqSEYI1AJJDXW7pkPAMeWRxLq1ohmoypnB+0uF/D03SnDga93UB4ffVqKZ4NPVry8kB/V3m
b+87Urv1/hj6erloddGGC1IcNynyvM6TPNvNPZtjR/29TTUqzLGD9o4PImTpVAV1W2TfO5tqVs5U
bSEQinTJ9zhoceOEyx0A7XV0zrdFpjslYL4tQKdu4b2BMKLizzQBRCLRABxCI0V6sC6ntPystSwI
wkFbG3M28HqS0Uuj/JxnDAQyo4199jQHvS4OLtbAjALJiG1DMLHM5jVwhKz2NpohUOiBIPYABeXn
m/QVIbPDFEnc7yHKTj10HHOIADnA/T7LN0s7lN+Xip/q2nT+A2zmV1YZ4is3cnvLLYedQWKuPyR8
1jezD4Jr5JJW61qrxhlyjYSpGXtkXXlU66/JGvWLga0Vvai6SxIztrGQNfe1SIq/GQAkfzctuOnB
7Ibv8UevCf5WjlW3yceBPw1TZWDiD27RbikTCB3Vm3jiUN37QBwMhNTiocX5dcgTQwrzYTGM7J5f
AmLUpWWOWN33jnehr6bUREgXoQE/vJK8iLqP9cLvA1CTRqH7oOYqSrbeggys5EWUex1B6pipsdR9
0K2qvhRCNhWivHefiy6Uyq9MOe6v9v6dqJHVeGvw+wempvLSoKD3N46Lg4Xi+6dSF1v/DC19tvcL
3fxt1FjqVm++LTWQ+rBghoaMUSfJTt8ZOWJgS5CJBgStNOWKQWMl0yC+jbW6+tY6Bx/1lWmD+t2R
g4CpBSd6DhByoE15WDgkTYH+RtKhJDFoOWv5jto2ZQb9HvMPN0XGvvdgyHHWLmRD/idSGGnM32OA
povOLgSNIGHir+khaz6IQM5RMX+aGBbeKkNkkeY+ati+dMYyuM8zKboSBHi5i50j6m9CJ1rXZ3BY
mK0/gTSgKTDFAYf2ej83H4yqVFBQWwLGQvcWZxkyoqhK7rHMP+nQr9lFBhL4bEmtzOSMnmp3Ni2z
B4ASZQyIZcf9YA8AnaGl4qgJoNh1KGr+X2wWJDk3HXaesMycrphkUNNqp2T+kywr5FiTThXRgUSl
v+kRF0DO5D0kBeK4KwHEf8c344w9udyMYWZQqBANvldTij91adfu/Sl58XgkZVWketRaJfeNVXAk
8uI9GWlbH1TFQcq3FmDfT0kDqo44LksrcOvme4N88yPZyEtFFLF64yDZdHPnyJZhOpTYkwpUMNU0
U+YoXa9ggN4485y2SV6mMl22xIeqxZBzC4ra/6ljN2tHtql3x/Mo2VapdmcD0TN6rP28BlLI02zh
SMKfsf/eCSCNZkDBt9R2bTPaLz0fk+1SQOro3n/f5v1Y7ZaexV+ipY+2rjG2B0s07XcwCENCZAZJ
RK035wqJYWHFzfY7FEIE8phM/bGDyPQn0KR+wsGi9+h67STmnSZqIKSxC+juq8Iqz5ntb3RslB+p
VYE7CEgb6ZhLJKgLm7l1sLqkUUgjeciGw44I8yJHnw5jPO7XJnm0qq3OGst/9aaON6NroIp1kR+H
MRerga5564Lw6W70QsMWD11tHZn8KV1zDaW7W2o8Hpc+LrfrReSYN8OvXdU9U9B6Z+tHlBdVn1B+
Hxmm18d1iMRMcb7eY4Ki8QH44ZVElMh+C8kn6ud+Ckh3Uu/IQwU5IGyHlU7pJuDVk2Skyt2XTho0
0MParTHk6bLoW9uZ7k7tAVONdnwBMsdjKurx7HrfMVZbwTd7x3U64yelXBSuet851AU+GjaCXlnQ
6PG00X3oSirxR3D7/9WaprYl+72GpIoj911f1aQaiVVSTQ66yAfAnV0pWapYsuFQG9ysyq36kc3X
s9dO1PHFy23rFQoHLaAFXbMXlH5Z2sbZLCtQIXd50Umsyhb/Tf0Tj4wXA2jxBz1pt8iQ1+ptP4Jh
yY8TrFiIT8FZ2tWdSBEeKkopiqPiNA40VQCsMoekWBcac7IY3R85+Cd9kHSd1mdB5i2vN00ISb1C
owKHWVr6TEzB3AJhYaBIg1dOYQgSw3rPL7y2oS909Cq/OiiKY6pZZf2DI8MNeXnIRx2RYfBryQaa
tGiTepnY3K3lbEt/LtiinZQdbCDmOUowD5Dd27TtdowDTROXOCI0aLfZlBvPrBTTqcteya6ToAJS
150MdKdAV5cxNC1EJHOmWK5tCqjxhJQpldTd9EC1NaUq6SThq3RTstVNntWafPV7b0rAot7kTdyi
DK/LVq3jzU4zoS/aLtMjCAqGZ0cWTKubDW/mcWtYSHoIYgbpPRBdASmRDc9UUHCUgguwN3h/VI7c
5RZg6YUlDwnRlwLj1APFgw7mGQcbIrQrIovJssCGnoGlj2zaNPdYAZt/+qnRnjwwSB+SFlhpgJJm
ANQG6JM25RJg/wMUl85QP6eQZ5HElp6tVRFIWDI94KDFgqQAIoqIg/JynNg+zcDDSrYpNuKtqQNE
bgK49ZC6g/vgQYdg60puhRm8qAt0P2ywEnX48/VZ1lyapEBTH5w6FOAJedCyPJjBAp4GSMS/1qRN
QCvsGX/rDItE0BwPpLkZi7LAwhRtVfiT07kgcYaR3AuSXAIWe+VG2T6M9lI8TkEp253mgmkboEDF
noGz9ws1MXsTe4M74FuUXqStTjdN8prz0n1pfqrBc5nBTDdRulEZLn3lrTeW4KvEXFjeI8Xc3VlJ
6c3U8cPPKQYIq0L6YlqXXGpaTysG4eGNCoLn54/WD2SrIqhDQf38+WP15V/915WDCx6gRfjHsRzc
R26a7qNFHHmQVggH2SQbeX0v6x6AtwjIrjpQ0wfTmNx113bkiO2em6CrKY2Dbaf/uQumMUWMQ4lc
gCFWXnqusfXjg+t7z+e0xXMIwm9WCYgktquSR5ztFnoQyaruIzu7qb8maZE82qZvCQCQgY5slvxI
Nh95D9cOmBdbodXO9oaMrr8MxkYNXWJ6FmJ2U4X0HdMCaf1WRNyA3YL7b3df/rqcIq8HL33dal2l
go0+qUGHra0RFNZI0uCkYReoBLlnaORAqk0HZXICCF4sC6pxY9B3FUvxn1V6jaERjypOB2NOWAyN
D0wAHNRDef2kPpmYcp7IrgYe837ZGVnJkR5lIrkYYogkiU3i2OsRiTy/XTkBqP0ed2O7qa69f41F
w2RLjWwM6ty314vUucAJ1TxPPQuHys0PXaOBnzfzyudBFlQDPdf3KM6KE7WQ2V09W0BcH1ibQuT+
PYwcYmq/azNedGM6lc9kavwUFNMydjGaz9HsxMf1Ka5SaKcO2Mu+ds2tehPQA50Ker5TiDEkllTQ
EOvLghzV+kIRMbKvlurqvhrlFShcXYCadBW81Z+WxnvKNQ0TLOaBhD8Sfh2s7QRyGA95Y7IlqDVo
QjW1c870DpFISwWFiXR7rE1AU2cOG2qSY+1ijiI/29Wwux2MrpOaOK6ek27Z34w2uxx5C/7fafOD
ZjI306qGZjo0/bFME7ksN/MfiqV27Eb4YfGfNyF2hk2oFjhQ5CcVg46d3KlxgtzD3m9NT/xMvhsS
WYgJGhjZUO8hqgfeuHc71cimm/GTjuNyHeBQ7+JnAwtTSSwby2Lk4JnJra4E9TWaJk5rbxydi+U5
2ajgkFp66lxRH5SDRqG+ylFpwAuv/e7Gp2hQMn4TUQ4BWdDCx5tB/D/Kvmw7blzJ9lfOOs/N1ZyH
Xt33IedZKcm25HrhUtkuEpxnEvj6uxGUhXS269xzX1CICZllSSSAiNi7sVGJhgHc9DZwWa3i2Or/
y9gDnu/YyoF8cXpEdTLJZNGRC1gA7SbdkFk5KtErPYQomWY0aF7Tr4UdtfOCyqCc5+Ao4N/BheOs
Ry8UBxrwbz/ialXKAPweckDigHB69ExMLWYK+cP56fBugqut1+1iaNDMeWOeg/p5aRlPq6ogWk6J
Nx9Pljn8/uPv/Hv6YhRKgxdugHZeHULJYenNzJcoxDkEki/zRnbMbNqCvu846/w7dwqnGJqRmWbK
YKcgSUM2GutiUwOMCZrOWhWEOnd0KtrmJ1XUlpRBtCxKVANzKoz7+zK22U6FcaNwmkNRj/i9Rl0c
haiCud8W0I20eOl4PcBFsyOAJ154hRcmalSGky7Zn4npmQaie6YZGULAyhyami/v9L/zpeWG2PRX
oMDRFn+75l3sx9cBKURxQhdpp/VA6Et9dsLN9jhtaGpPWXJqc+sE1qRu57JiZLLXlS31VvCVQDEk
WFNlDDfGFuk86e4hl5CsRiPKANgVJACmsoT2qJZzAvw+g0dkwXKjNvb2aBkLlLmGwHYZcb+GIj5r
5VVoHJjlu0dQbHzKTMs73Ty36KlEYWhTs5bqwUUzEOx553kWf74JVW4U2uq5hTIF+M4fSw/D+bPf
P1F9kdkDmUdcVODFoeFhuqxjrp0Lr7gdxjGxD65odkrv9HEoFiQ3zviIU0K1/11o02nGqmHCRXnP
L2uSMxBNLLVw9uHBGeoYFpanP2po0dmr0PljO7koq/vbRU8N+h9wEWkC0yZzTfOAjjvzMBloFETv
IKazKY96YOQ4VuutOY4aO6/O16bvtBbg0+BEZprdxPhTrwdHZZr90UG7iOo2DmowUBsW+iwiEJBH
ODAda2dYAz6mRPUihrrziwuJH0ZyVXqakRGIXus7Pa1BRrxIZuNduAY2s8Xk9w2qTL1FagXsGnd+
9FSAkf7kOvxBZ2X8NKtE2W251oJ3QHrQoLFJ4AABREUkBd/9mGtceWxYYJOGW5um1TUwxoUKSg0e
7sckxYHeatJ0CZy2am22PAcwzM9FzB5va7T5OHuKI4MRewvPLJPrMAw6niVpMQ6g7ZZFjyihPA2S
PEDDXdau0ItHknibVdaGrBaxCtR22y7HOGlxb/0zxNGGwT9b/rSx0Ki4nx3nmM5nxYo3Tr1pwwgs
FbnjXQ308F/LDu00oNBq16SbDfWY7zQH+2ClK20zAahCsleqKeg84Gs4aOScxIX0pDIB0QrqOavZ
R/JjPCBeGSNw9uRvhj5OGR4K3bSNcpCnLFSrgyktSJZNW3K8MTtc/yVG10SEdp8PbScXvuuqIKta
jT5mXpIsRo4j5k37hVyBfNSqP71LfEv61o6hT2B1+7VvQwberlh1C1+LWlQqfQCe4YoGpN54JhN0
mTIA+do6FyZuIX5FSCMRTdXPaDwK9ySVYsRdOSDsUIcIBP81KVOtELt2rmE3s94BDGyEfa9dXoLO
9Q+2hMpDBf0IsmlRz7rCAVHIAvVss59dJ8GBomj4jZ5UH+uSP6nUuqSbRfpEwCUCRemI27HyCN5F
/YGGANXkD/2G5kbYvWstcGAd/WC6KEcymkPcb4G3jWuMjxWEjHLHXuBtYpirO0OLTjU8hxK+VatT
hIZLvwrAo0dkuOtz0/krbpXxs9Aq1LuV/XggsdUB+5sP4/fY1uNnUgGNEmVwmnnrkeXiOxlB+BM9
tyYKZmgNioqb0jl+eJBbU8bXDt2iFUBABmDA7Z0MzyIa6tB8nykdG5oYmB0o0SFd++Fy51zWYbGp
WAkE2o/11KKisyVRNwOitYfaTopVSyk/FYtU+c3XE9P08l7rn7Go3wNoHu8KemHIIZEDGCEALUZK
8GDjXRNWKHIEr/wskcFBGRve+h+Bap1SvqPIQLqbxVq1LvKItbW8c6WgG6f5g3LvgTWglAM1r3XQ
0UZxiKufM6UzADGyaowevDzSRRkatw/yWUmWO/P/l06tSmHpEIX/1tIGmARGLUYRcQUQDoZ66JiF
X+zc7fbloOvr3GkvXVVXJ/CmnAgbx/PH6fohAcxxlghGJ47wnM5y1MmZbCzL/dwHC9ygozuYbB+A
ZI5UN+2zVWu9paCIrNMjw8kYRWZ4zkU6wKcqrdyTpN7I9DI27MFBKXqNkrWfb3b1ov8wkuou/G+X
1UOxx9+p1u3DKGi3tuDoCpKDMaA/SMiBxCSafkxxZqxJ0nHFMOtJJDcKIPHf0EV2VgNRRS7//kEW
ZApU66hPNx1sTwSQgUDwNKF2B5QhQZaFwPWxjXjFpa7TLfAjIU/hHWngbl9ugzb/rFSoZzTj1bwC
TZUpLdCQJKKer5Tuxn1suNFt6HNQtr6qLR930zog3lOGwpwZtoQwSBR2yQ1OyR3UifJRITQbgnBX
WF65Iw9S3YWSjmBP6juoFBXyW5+Ppcl69w2a3kXHrmW/EXyLZw3YWNKUhgLYUx5nJxLKyq8GdM+6
7mme9lbTrKYC3WEqgmb3yzDQVJY45yi3ew9jAk/B75aij6sd8VxK0r02qNIz7wckXUX0tUKzDtta
tkgBf4jBjHm8Mgc9WpW40DkHmTEB2dcv+QiaAQTm3vS1MVGKR94qjoxK98oK7L1IebMOyaHoORi8
sJNYlp5dH8aGae5LBjrdMg3EicV4dnCn6z8LC8lJJIrDH0D9w0kk+5Exv104cZB9qoRfbloAOKPC
Xu+20cQEsBO1DC08AIdag6cnA9J1bgL2qAPXODBw39zSBhQYyuXB6BA13nqWpXfoJKjTtctkladt
eEGdfHihGdMSNFuhgG1DurasHLBvVtiHFSUgBZXjbOkBdJU3/aWRC8wqWkFDPmYzy7QsH7FjpBVm
pVqH8TWY9cDfLL8HfRDjAEtfVU2wdfWWnUCV1oLCHM1qBhBHThN7uT+G0gkyRWshsk6TDQTcEUda
dQTtTV7gzBjzhddEaKOQOwvaC/Rlu02xiXkgFS6zxDbVPWepthcx0G2yogX9rdxKkIdag6LkGon0
IKnxC6ABy08xLMkvKJBBuyuAS3pmHEygmJCeSueoMI4G5furm/LAiTkFGBIaOPpgALYWWJ03KN3o
0e3MHIHO3snf6JpVA6zKmcZdBtyQbVE5O5cL40BDO4lgmmXdqlBd2LW+AQBWxoCk8OGl/Ml84zlP
yU4m5UmzwBor/6iUVo33CjCSIm8bme6OQixhuwu3Bqqvyv34vODdSckqsQVAI5R/kmXOGrW8SteZ
gfKOOU005OC5HppwBRBB3Gh4eXhRQ4VUwjnhr6ThRYH+Xz6hDt7sam1LytYFjdGiT0BZCfS4cBFG
+aUPi4MrQR1pQCLXvRHvdF2GV+y/dqEInnRAdlSr3i1Dov3xmUOYNXut8uaAv10+i9BY1EwlWIbk
jR/4ZOxDI78QiSZ2ZsVCWWhGZnIkkQYmg5VIVhS1IFg53sXpA26yB0f/Q3ncLdVwHTeE6ts47Ztj
4QqOKnRVV5VrmIuMo5pj7r6am67aqXa3pld/p3rdWTfb2wZFzo3owZhEvVwdYBNAEYR8ckXAKIPW
N7jqK2PADJW4YhjR+LkipZ3gN32D/BRYxCV1aqJlnrHxZFPp7EVRwKnzFjf+83p9zTepie30WAH3
AYjUOdrEkH3Kynq4xDI3RaJh6qDOxh5xTTqyKj9L755YawqwhP4MpRnPAWrSG9G8pDLSGuoD+8aN
UIlY5lswgbqnIc2KYNMkng9GVr4VadLXK3TiuKd56lapWNScWWtjcq3qMkqANR3k12HMJ9Rn4Fm1
MDrQUlMMLdmwDi3ofHi6+dH1iTD8tfoh3/xO3ZicgH11hUD1Uo332pJ+6PMid78UNzHzL1jpAILa
iHiwaiRaip0VgF1xefPD8V1vM4tkcd10OtEslDArJGZRjpdZmYGI5ENHLk2O49e8YsQAJVOzP8jD
AJ5ujz5yfJKKqDv0WXWhPmk5Xmd6sdclgk6Mp06XaN1h/j2h3wPAYaM1MoGlRRHa4ebXhMsQklN8
nXUMou0QvI1oZNS7aIlaGLblPGyXyAFD1pBO2APzCOzjJJusMWQG/2k0gjZaDsbYX4rQWUWWlTxa
TZs8jlGcPDYJ/pcq4zqypo+ABqlvAYaun8lGrro/voaTHh5mj37QOd7ZOt/RGjSgqB0J36CdNvNn
NThDrBsUS8wfpuEncQnjYGFWJhii0OuAm1OvQblcBC5CqfO6FgYp0ox0VY2LD27x450bGXUZ1WX2
tB1T/c+/XYMM6SjCBdP1i5PkPf4dNFTuWRMrV1o6gUvwTuZZ+t1nvThNbt1fW1GdTYllKqQ0NQ22
dmCHbENjtrlNrJ9S/IuCutLot2mGP+c+wC/s1vNFEzxkrYFStghkARoXsp3XPqFg3N9hnwvs91Ci
ftOAMh/9JMIk24QjeIJBCdEsrLqydgFViQAaOttagLNZaiQDtrt7yK0Xj03ArHZd3H0Osf0pL/1m
rehwp3pCD9I0PJDKMZl7ynCxSRLx6hbmZG+svsNZQvLq0uA6jocngosKAtPApoNn1aZHXd21kyVT
bNQ77LEhkg6FUdE1H7znPB7xwpd6UvU2OB8j1/hErrNKGkvUKywtbcBrsQ1SfyF8J3xIl+QwTFN8
1TSWnRPWrDvLLA9eX531Cr+3VpDdDmESNZsBoLCLO4Mh/YwAAL0MWF5rZSUDiaC/ebEsM9zRwv7k
dTerd/a5cXT9fK+WXwbUL2fLBYVjhuZznjIPnMyd9wiUpM2A3t8LSXouxEMIXlug0nTJkoURsrC9
9p383cbxHntjiLY46Mm8CMLJ0HUgha3Ssd8UuPpP8KcN5iSe6cmBQsCXgHOD6znrMBnw/rSt2jnQ
MPkxsF+FcIA/ixnpmsr/C1Ve09pUbuhTAna79FNhNLuLvRPJRS2jYv92KV/PfJzh8xTguEENqEVq
sVHDOA5LkCb0e5aW6J8mQ1A4drCjthwXN5vlgrQ2TcsWxdhmX3yJRtQrFy1DM5Ns3p67tWlKQ4Mr
xiREfou6uEmFI2J5xgG/XvXoQlnUaD4K+NaK0LiMtxerv3r9BCQoHTjErdCrr0Fe/QAijHEVeFJe
xzz8i9SG7rirqB/dvVNa2ddhHfh6vkc1C2onQCqzKptC0rTY1guA6c/OINKnoObGk9WVxy6srZc0
bRgoVgEz63hl/TkAKaJwM+PEM18/oaNSn2ek81JzPOrBN2Uzw6ZeB4FhgKKpLa5m9YKyaPDtyFrF
UGAwLaddTwKPM9LRgPPND0uMzrYCGNc+5gNYLuwIp04MaCABPYySp2KcXcBLBEP64fgbF6WiWWKw
+NzEw/vKtNKINnNRAcQEAAudHHqJpeAQ6gLJ89Qdm7+aRtJLUidvL+k5yFPFkK5ArlJyPl/n2AjA
0ygpKdeW2QD3VdjYrbQB2htM/MUA45271SUNgFcABGZyMaSfi/zLGidFc63JmkWAZeTGc1F3+rDO
ywNt2AELM+FSVeTbvJtu9/oxiAa3YtSnxbzRv9ne05Tch6pY6MH0qAGhAtyUwP7VvAD8xOa4JRBg
UjF0jW+qRLQrEsnQZum3Hhdfa97yeD1YZbvp08J4AcbdweRN/i0bB6TXhGc95nES7v/fHgCZKZe2
boitndrGkQbRxuY8+9e6XrBnJP3rm1Aj1L7Zmq8DDpe9d0392mCFY/wXcximL3wI7TW4pK1j5Bs/
5hbZIHTYYaxlF7IJoEKcpdyTGtD2hZ8h57jKmdBVcBItqM6huvMAcvatzhoZ6nWittj2sT4Bb0Sb
rhxwKNs2ctxFJ0UygG6juAKdgoRIq8sQFRjIqhZxkOyANv4JWcFn8wNNfHBKF6UeGnrcP3Q0i0cb
iT9TcwDj/hN6nGZ90S1LUDmdwZ0FYGivDoAjmbHrQKII44XVoHCdibg8TYAgPhVOVyIjEK9SqSI9
ypCKbHUzxTHLW+ggpVwFXQATuSZVqgG0yTUasDUMKASMAXTYS0jveSYf/TeiNNRZGK+81vZn57IR
ADUkb6cuE1QJ/LpEI0XS+boJyNpeLjm4dgAiOjm90da0lArQc6BqvIMUuSGwO+lub753/Fv4ZHVP
eHe1qO4EtRIb6FQL6+XvnMfGXPp9Vr+2CTITQWu8BJntjquSsXiTR+EIZKGKH+9oKJpUoHu1AGUx
eoacYDHL5ClqdIJvkPsR4NbV+cF0s+9BzsNnFOB3O53bxrb14/zzEJZfkijJv6Gv/jubwr93QIsB
0IYzZ1uEw3ZwevTg2EYSn9rBRJONnEWRn6K06EMmpd6AzzX1rH59Z5hYFwMeFgP5TbQiyUOK8wUq
h7dD2/a7IfYP/qjjbq4GU/Kc0p9lSuzP2XvK5mu13llLmiJZALwFms7VAfNUZoA6XdYUzGFDh/qO
0dBDbFE+AuZpb3TGrs9DbH+ifngGHiJwOUBKD1J5YE+2YgDJeWqvyehOtfUQWM6WjFEM/yK1wV2L
3/kD6YrA8PZl61u4OoHVxZbLrOL1zZk6THASFy4qTk544BogvvHjz/GwIW4BEvpyQ7wDPy26xHD/
KZDFFcBaKBg4F72iQ8MSqvswVp5hASYcWZgoAJgKtTlRg1OGq+NkPwxtui6FFS4M9ACBCA4kvtVC
eM+DQB7MQdvMwpH43CRyiRDe8xh5NmmlofuYKQP5BX0GUPF/HULrMzveN0U5oMIz4q+Jn+JCtikv
DKnXS+ujcAEwJYV9lAaAhCJlXoPucjaPOFQeMxhSMDtsqyBKFx6QZo9W9oPaXFXX64wcpNCGfrrd
gAuRkcIIf4hEXA4McjXLW1bYOp3vizV6wc8a3/8uPaRJW+3dJJ1UcIT82NlLDpRzAjngN9ElAEyV
OBkK0qJIurWjW/leqRTKRZCZsqWr5AN4b34JI10TOPpSDywbwHD1OMUSUaF5FBIm0uqrt7FHha+H
e+546UbtrZiI/s3gwgXrFH4flh/OdQGIShCONCq+MlP2GGbo8mLmfggArsy7vvzDtH7EvRf/yQXY
pk1We8ceBS/XXkftcGm18Z9jGH2NgbnwbOOufh881s3QozILvGN5lyRXExfGGZ40z6TShPGXU7Yg
W5GqDm1ZmxHJAhQUQtQApqz8yYP19o1/q+nhxglRFeaDR+k41rxde1P0Mg5ec2pTQ38SXlucWJ6+
lk7A82VvVc4yRFHK1ohi4ykG/sITchJkG20G2CjZaU+RNAAS/cVyg2lZ+vXOk91PIJI2jjRTos4j
dA3ahrO+MyhROY8sKw8xGJyoEhz3IByZ0k+J6YEY46fUFNVUovRE/llE1ZKwNKmkQ9V1JJG9cC2A
a6uKEuUWNdZiaDNdkg1wkDwAwVuI4GGQgwkgBUAfawdXwiaQfsL97zE0tSOplL6O9BAcbP24Il3A
XX0rQBQ6PaZ6YB7QL+atmZHpBx94bNfJDO1FJ9z8W+jG20Yv27Pf45E90yyA57hbhS5YYIksgbgU
fketQFblwgtDLLsU1WMKFSgiGCCSOxs/aVyuS9glU/NWfWuCX/eDrlShAindjBykZD9x3+MUQBDN
gJEr6wgHfe80TnKNgm4jEn14xtX48CwAxySRmcP9JHWuj4pzJ3XFYrZKHZu6rQ0i2QdS5SYK3bEf
mtYkZl3j4DHcVLsuxgV1G+pPNAxB023AGTeuurjU82Vh1JcKHY7noayNp962gDBtN+wmog7MfGkA
0WpHC+AgFT/KNbkjjGXr618jfzRXXmxpRxaO6dWZcncxok3iTy2Mka6z2y9anmDDICq2AyS98Tkp
uys5gAZQLGK9tq+FHfTHNhPRutD9+M8WjbZyBVqaTyxYTW0v8O/0p5Yxdp2fLVHw9rcSC97qrGNX
3sd4RiHOsLo/faA1bNoKbJqAcC1xEyU3RSTT4PJw8k8AVbmI3LG2pKv7jko4m3Ub2sVLNn4iju/I
isUhdi0GcJWAv3qely37wmtPExjlX2z/xos5Prx6xl/NGN1hyqurPpMaVbf8UNlxMnuJIn33ygOw
F3l6vpkMMYACmaFdvZ7i59C0zEvV84PuRVm8qiWyPY6edAidj62DnvOt3mdv6oh6f9AlFxGVNy50
dgWZNvZ3WnSKJeEF8jO4w8geSKgk+4VRgagVKVbg00kHZdCrFl1muOvYpl5meIswqRcJ2h55idIZ
Y1ir2uC78l+BPl60uE9f70qIKSBFlyY+KkHzGslengcApJwioEsD0Xhxt9aNuybiJS7Z3APFqbWR
iClWaIbDdjSrxoUT9ewKMDEf6eu+XnLXTt5Ad/TSirx6DnOwbBWGa6CcAfqUl9tk8J0vPkotdiYw
eTYZmLHfRL/0xaD/AeQ9Z9PpXrUDDZH1gluSFdnBCMjWGi6JD0PRpJ9Gv3ui9ewoB3jskOfnorHd
qzZq2O/IDzL1Fj3OkcOuaJ49FPkAkCeBxLVTVfw171p3DcRRtgvsVLx6tX40RVg91509PaAvGvnt
2Hp3483IdiT+6qZnzqPd5CvsATa4lHQ+9VNcXXBh0M8c9ixE/jQai2hPv6I23EAraqAIdyhXNrO0
Z7dovsSFcN4qD+TKgZ1ZD2M75mce4FFKBifOdl3TJS9+LYJtDkzzLQfQ7Es02WtySCqWogeyEicA
q7RXu0QCmfPUeUOV7xtDg/WzaSXtoXWRTie9i1ZEFOe8Rbnmriun8vadXWvPztR9CZFojwu8zScw
0T11tpiWlY+ydPZBcM/T9KiP4EAgVVfE/aXCAylJTPBoFA2S4QN+vssU9McpEvdYIAeB8c0CuCX7
dxag5cOuay/MzjatxKBmHfbVuc+PqEovz71UkZ5EGpIa7aCdN5VLpaOZ8uMia06TDu7eZuWH4XhQ
m0xQrXvlivabNHy4eMSt6hLbqtqdfvjgHm86lHb8V5S6uLb92IjTlpwRpw/tyWkPTmYl0mz2UTv4
KAvZcvCmeKUcKc52Q9BuzfkfUwOkgVegXzjy23ody44aW3bUJHLmSIOngXGKDKQjqzKMssGGdMqA
Io73iIh5stQzSXEqa+0ShX/UIGRaqbdMQHd4SLXGvzZtiu5WeadkTrjhGTXjNS3jYP07j9htthUa
YV8tzUUHM9OaVRja5hYcMPuxTQVIhodQW6V+7K1j4Gjm2BNXq9zz42tTp8bTUBZsz9sadSPkjVLI
GrU8fXmIelt/irRkusi1Il4gj1UV7caXl7XqOne+001Ma2NMuLkOP6xe3AHRSDlyp7i4PerdSOXb
Y7IsJlyIujZS9EySldLMxi9Ph4yRUoO4ARUdbZ7zVY/d9nJCB5FAtuRnGCLQQYcck6Q0BaUy2mnJ
OEzNe0QjLWQmg5uL1/fjA/btxgo/D/tCCEmoubFWsaOlKxyPf8ImESQSsi8NA4Ywuc2YSql09p00
W5HyJgLO3Amz2dkYWXJ5b4jO633Xmv0WJ3Bs3BJx9XM7+Ksb3zw/cmSR8bBGt/X0HWhPb45vaK8N
Gp+XeTdGnyJs80Av7ooHJ2M4RPSVg37vtD3ooHLYCbNCG0Te+OshLYeNU+dInqYG6EMkhwiArPx9
pYVrpSI9DZPtTd3iRu4GgZdoflYqQl6m2FhHWxgq3ia0lKPKPsp0dsE3zz73Wgq2KGd8nbSk3Xt2
4676qRlfdaA9AwY6EWcdvEOf/QmpVumWew5YiBIfNBFaPr2WfoAWRM1ucH+HTrd96JbhsgTqwjkp
USSrMzzs+tYAKhVqf/2sSPeh3qCtg1xo0JIIl/91ai1bt7WHLcUBX1M+3F19FY/mpbSDL3WM573f
461pyl7mTODZSqIhO52VSNZSOofSWZfOd7FkjdN0BcwWZHIrD/AP8xij6uXnfHTLj3kO9g5XN1EL
E/TGkQZLXv0qUelu40j7ETx/xv+yk1PS4MjD4/QYF5F1NqYB94d6FG8DAwAo2BVBSYMvIXAzFEd2
xqxQWiq5SCuQmmRI3oPK9zeR3ejh7hOd5nhZ/lySSjpyHL45qutB2+4A8ow+Rrmgm5itIxttP6MT
lksP6HnIKoC5I6vi4SGRw9gjmx9EwDAmAw3o+BkeihQo4nHl97u7CMaT1wSv/f1dQITUuF/gYKzW
oJk2NpuQ8fFEUpsgsblgXrpwcSVwUb6FaaBCCBU4HZOo+XLAHRkgerGfnUXShVkucXqlksw33tjA
dR7o6D/YsiI9KEAgidwhkWeRoTeD536ImxOp0H2drAIWAZ+mcb21ZSOZBFCe8oy8CB6mNFWD0etb
I9PKg1LRzJPP4FmX6LerkCGQ1rTYMdzhPAXhgL99rUFGWB7scH4Z9nmOvQzoNEHGEwTDykA755XO
fjou79du7IEdACSuz7YRFQ+5CPbx0INt9m4pvaqH/VCawaKb8OeRp6a7zdtwhxqg+Bkki/Gz3bm4
xgFfz7a2XZT7tzl7yDR/9uDRV3TCuRmwp8IQQH4VOMNAfhMCt0l3UTpf6uGJ5CLDz68PomFNogmG
VG1DZo5N8ApXu/WSRL+IEejJQBXtldM329aanSpJpGLGwDTx00vLcouXKYpT8k5PtqOHrhxextpc
rthGYM0qx+yVdRneFUNm2Rec+eyLE+R/oaCs3ZGk9PkwsT3+Gr7qRmtfTDmE4IU9R7WXfym9/kuK
pBfKgBYTcWOWvvW5wc7gNew0sTRNxh8BnBHgfy4Uxz5xRnAFFNqmQeQj2oxx3uWl9VpM7Zcpjmu5
ztBM7lehmc90pYB6hJfaHsMNSWpQzI6kq4LCnSki71zqLriPd1Gd2gNSlY5yLhJP42I+7jWJtiga
lJaQRR0BcUnnLUMQwUgajvbBtFEO6eBeTDGroTnVOIGaeJubgKzQmtzfzrQQHP3xEVhaV4BYHz65
PDXOSc5f9ZKF3RJvkMwtPhGbBKo7gPhSVmeKC4T1+2UGX3JJNUG299J23DEjFlvknprPZt+APzRF
3kBLfhip7T7PDu6A14iLKz7dSrZG0HwjnnePykOIFJ7Y3mkgy4cfqVoUh61E3jh4G9RlHYNyI7Gv
lhwKg/+wAcCzHz3LupI+7Et/VTGhrZSOl3hlBhZ+srg80MKFnof61UcfM4JGz4bG7oybhXwHOJsT
dhBghjaFt+4ECw6j6fgHmjW/EZUL+QGC8j1ChZVJu2hiS98rX29sXpC3rTc4jusotv31I5QffaIS
aXb3LSj2zm8CAdzCGppy6UqAxa5FFisvfHdjSxG8aeM8kJV0ygU/M+DdNBIRUDkyDrxMWoFC2k60
e/xgQUYy+WLHtYrv9cZBfUnQDes20EFkZ2MXY1lZ/KeXmLvei0Bdaweot/MN5xuok8HbNHnW5xrf
dBVkgXahlQAdyvfZkICqIiiGtYnit0sQZ/mOnvxuGCQo/haf6clPQ2nzauOUYbOaGRQ9WcoMmnKU
pDnxmC6n2FpYGiuv5G21RaoWMBLArWnAGXY0AFy5Hejv8D8dF3w8rwheg4YbwJOo8v4w+8y7pFpk
PIG6va+t+JmGCsfAtZPY5jpBOdMz9qDtQ1W8lUXmYjeKfc+qC4EqP8vcASj7BLimA3hDYQd24oKn
bvjgM6Y9cg/fwu8E+v7r8DHpzfDRL8G9W1jIypBIhkDkYpW1TrCmKLvxkgf0SOooyUPeNT6FgZcd
cRw+WaXTPrRT/z6UvpOtgzzdRH1pnLza56shSPy3aXxsxzr/FgDoHd+46C+BHYKGwcR3z2PUBhpe
Vm8mz8dj3g1wQA29xl2q8jXAiyGXTDVpNBQozAgEb/a1GK13A7ht87kSzhy5scGP44tem9hHmN4R
/R6y0CvrvKOLLzXsCxeo1CTb4B5Z8d5ol2WLSuRhQFunF/5RWSnuPISsIySaPpo1oFndA8fsHGXJ
dxArN5/rIWw2muA+rssrYOmNdbZyvWj8o8iGjZaE7nfp6thuPbuyoRSoEUucAzJbw2VMgEngAvj1
pZr0dBukvNhkwrReRIAbFCHK5ExW/DTzInC/qKBUd8qrEFWMRmQJuAfcuaBa9GY3HHEPdMqBqImK
/Q9dJ+H6ZvnWf55PQDA4xjk48Sy/cU4j/saWLBH5tzr97HHffDMFtuwlK6bTmBjTJQMm1rIGTP1G
T2PAFcucUCAhzZ2hxJcgOZTZIpqBXhQE4JMxLZXBp4ySkml2v0RVR3xjiPob/lViNKUDRkcNpAsk
CG7UZv4K7+B3KxkSnT3GQxfvDD/hSPv3DpI6QCQ59bwC5VSNqgPSYd/0bqCZIG+alhxvldxJwTg+
MACF1QXyl5I5HjmS5lFWos46W/LLKx22xsm+M1yks5QPmUs/1y5OEaGqKZyegdnEN9UYIrGZpslZ
q/0ajE0a+5K4yY9G9pxo5qfB1trvFXrQFqjF4s8g5OEbcyqKY5oir4za/s+mNrZnjsSf+mpZXMwq
9c1IVbn+PsC27fLPf/zn//nvb9N/RT/Ka5nxqCz+UfT5FT/erv2ffxq6/89/VLN+//1//olSRvDy
2IHn478WKMBtaf/29sSKSLr/R5w1TVF0pXXJUfm6JagdgtUxrGyjG+hxVCpC3lHijL7DwNOCZ/nG
Szs2A/KQxx3YzxAEAHg1bBPVfWF6clzgHDBkFpd4naYn3DHjx0xTkDikqAuDD4k0gOoiXfap/si4
bS9L5CvfwFG+xD+/+52DP2iRV1r1SUMOaqO3TnYwc949WHaKZ4IJ+Dei/tEc3O7jrBftZkY9knGy
jHYZZS+VPDPwYScTLiKXxTsix+PhWgSr+f2XRGmyqTRdB2dEhYJEkhspczd3xhWKpbVTiocbmi4f
C983H1kMKvSGew8kWTmbHoauX3oREgbLAZBuR7SNf1L+1pg6O/AsouWbXPI2zje5G5YrWoAGcAwl
K3Oa2k378Tk6CM0XZuxF+3lpVthPADnLTrS0btjsMgYMCFVB/Ez5haEuL9n/5ezLltvGuW6fiFUE
QXC4pebJ8hg7uWElnf44zwSnpz8Lm27TUXen/zo3LALYgBRHEoG914Cd7IVacakzuP2gdGH7fbH6
r08au/2kmQ4QqIZhwTOEudwyf/2k2fBjtvCVMC4oHcTtwfmqx2/crlZLZfOmILoUOv81BHkJ7aAW
CQ1rOrY+fKv87orfteLS6WkL7L3jnhO3f8jk0D5SlzTKYiNkIzfUpIF/mJT74wMF0KVRk2w1aVno
Y1JvdpUXulnq+aOR3ZcmlA+K1PlBaooZVEwh2TeFoQekZ3WgTmYEsCkfug7AzAzs+c3fJGTt+OLy
0jj2JChLUIycUBh0a0DTf2ubcfkAZ3ecFRPnp1naf6JiM74WASg8BvhoDxwCc9skkMG5gR4GvFla
cxdPXFw7fG5QQGXWSzDAvtgteueHtCBshg0MTF87x3P7nStM4wSIKsyBlnNwGicuvM5z/MELEQze
cjie262BfIOaGMH47fcfINf4++fHMi1Ht3RmA3dl3PxSxX7RVo3wu0vggnAacKDLvWqqgLcu0hWH
jTVqRFUGBzTbyUE5B9oJKnMlRPzTzFxTJ120CSYJ+Gmb/DVMg5qVXzC+gZbttLLJ7JoOT7GEfpfM
p2lFTVgOIV+tLhS9DOCP0F4pZBmgOJqxLBUq2Xi9FPk3vylw4AYK6qmPNFh7ORFE7i0L4D0AAle+
LoB9zN7Axin3AkfGVaMe/YtcL91RHzBOyc7SiqdF0PdfYz+FpL6x7fpu8uJRmVM3mX4uLdP50vA/
LVVzSuGLc8xtnBbb0R7eKKoOe/0MEJj7ReR/miqqGlGuCQQOgxRlADwHSR2sRVFYi7qXKJpEazHw
vM+//2QwU9x+NJCmsBhntmk78EJk6qPz6SFmQKxEhq4pL+bUOKtJqbrRJYwZ7Cws8DOXPrrLxmEF
+l98Fw4+JE4pjg3F5zipxODsesSPYRPDMzcKDr00G68o0+wJ33VK8VDqxpGZvYqM2NpRH3Ah+tnu
4m9z1mey6let5tqZYlsG+meK//41xdZ5VT3l5zmyDwN3Jeuaz+tIHpvnJm6/OgmKd6sxyt4cG4pl
tI4ujWlXGa0GhqVdr4vRbA4NpPpQVGfuYbS15AtMvHZFZYzfehl+7i8BzaN+t8w/96v4WE+mb346
ftVE89QK8w60h/YxC3r/3mHFaxQE1ZvV2AW8NY1mm8Io6o0H5uU9IR9zEyWL4GcBwtCFcr6qNQWB
f6GE8MeYmFrj5aNF6eCP1sc8yFd8WoXW/JgHpo9/oVYexPMrZAmKikGAAqpa6t8mpwj/3dujN/vx
Fijy4+1NTrMacgkwYmoLZXlolDbMihztqnV9BhcwUT4FI4PdW96WT7luvfcto8sdxWldw//ju2Dr
t18FHSQOB7A8yzVtZnDr169CnYpgTAJ3utNtIziRXaFVD2U4exzOJoYFSPRRhCrGPAyDtxME63M5
t8OOFeH61xh9Kv1mC+kDHCJIKVjHKfbQjm0wP/PoqUYDSTv80XLOD6jKwxVxjNhmxN5tqwVeFo/2
j1ydF43WLC9h1JkXl3G8F/AbwCIQ29lKQ4QyurOqQzGA+bwLOARgg8Yx1y1MOrYc8oEgVVextiJQ
B8S3wfwiBEdtpjDuHrOrlQLNMLcg2z/t6iCtzvDnru5aA5h8ypmqJGnB8SCDl3c7Z0k/InT8Jxar
NGwwakbvo4H49h8/W/rfnmj4SmHPzYGrdCHwbd/8bHWdNhSZ6Qx3YD/4q2FyzrZraE9G1TjnyTHL
VdkF7CtyvdyDQkZ5J3lSPlqG9kL9fqjFm6ng0wHFOOMt1I5mL9lXMOf7/RgZ/oaiLGR5rSq1N4Fs
2r2Zls01B7xzo/BMK2rG7tRcQ3WRCf88UIIAf5ETgFo1i1exOtj6MJjd5EEZ7Me45K99BPlfF5jW
vLHKF11CEllFjfWgwZINk3w5vbGgaaHAkQClrGN7v9Z47a4os1S4Dgqd2DmtG+acfab3X6XU/FVj
9/waOXV4gLEr/vxIGt8zVoGiXU3TtyKMDqU6YxW5OJtjvom1EOO90zy6Vph4hdOyIzWZO5rXIetQ
fwTta1U7WbADZ9SHc2KpHbTYRmE6Mt7G0o9/qBvI3ic/Itz0qkfdUM/HUK5PSwyGdixPqxMlZZcL
pWfxg26vYZBXrGiAY0f/H9sh01b75V9ObtyyAASEWxHH85XTye7TQ280EjsJQhHfaQC2ryrLMS/C
GPGVcjNxaTn7OSjeL3XRIPVTM4/17MRDfXPTT026hH3Xrm1ZaPO6/xTXsuQw6CBuFuqVl6n0CuMA
Lz47Ya83/fQe7NzpjnEZ7ASesUeuLjoeMTkItpZ9HLQBtzQ031IvtekOUk7Ocem7jaHllmG6A6d/
H0BEY5/24RO+Tsb2/fX+dalPb2JZ62bp21emQHp38+oUvrzvDDrumXrtpf9T3PIqyzJL36BFL1bX
Nlsf/3VHN0ngu0q3dIlhUXhEFlU/Ln10d9MHENsA4SK1BF0+tWmJuW1XEYQQW1R7/mmNf+qjlwHm
Hsmwm+EQWrBepdX5lrmAEbLC/xPQdqB+3OlLm9aQfTLL/mINk30E6wHWubYWPaHaDjliAPP+UA5l
aWv6ONiw75Ann75YTv/XJJULqMqh27alfUGqLIXkN0tz7OKbCTRT1MW0XAvvkl5cGP2ej2q0kMn7
aNaVEY0CkBU+0YRJhp/nU0SE+TpwL9veSaLtAPTi2TZ4uio6OFTUEQ7Lg5HA5ZJJ41lKDmRvWX1F
GibaJRzSKP1ol1+N3NpbA2PPNH10ACEUKmyZ7uLfTNMBFgn33Ef6dMazM01312Eb4N/6AWWfoe00
gq3wtrJzue7MIn3Tm+7ObgzrJ/BMOBkm/asJ/btNn5strBty55xxHm6yxkjf3KFdQqsYzlBt6Lw4
VWneuQ0On2YLeW3VSm2fQ89wwvnFGpm+Aves2lAcjdAFLG1Iv2DGTf+U4++pj/W0MXpQ3rQRR7QF
aUJ3C46ktwQSPxk2JQqLMsNUCMjSYR+8lX78Ppdm3GBQ1Fw8YeBzpYU7cuRNMg36BHTbAcXSekwE
m6aN4iP1FaULhjkNlPakHfDcsGCBNrkl8K1KuKMSFTvSnVBNulsGJMQPjh3JfNAtRZukzkFBUCyB
UMcyU1Zp6Y1uAx6TO3VbO2v/EGrXVbH+/TJ1EcwLqa2jlFZ7UnlML+NDkQJAmAGGmiuiIl0axUCs
idZI7QFpEs/wdWuTKJToEgiivnYIUN+e/8X0j48cbG4s/HDMlsSZ+oPMfzQWv4/QXwqwT7aKWwW+
7mRxytv0/VL5LgwcljYNj4bihFAnteGhZmywEYy8eeT/Z415Naupt7Gm8+TiZGWK6iz03jXXde9R
kuyPDPvTzchwMgUgckc8JYqo8F25Nxyo3lGEDp1qr6zzbA0AnjhD2fzQu508UIsurupfmuDsy2MV
1KCTgJBfmkEBGqY+bEYuq8ojSTErkuNpbtNtWIm83NItXTLAyfSq4FtotMviQH20Gt1FfqmYWWp1
AQ19VDOt9pw3yH3HDSCpDzSyvA7NQTW4Bo6+1+JV3bPiQGyGEUo9h8puQ/wKgh9Bff0W+RJ9vhc6
kqgU7igfEVCNP4cHTdesLD8tV3BncC3Dk133c2Icr4T9+o6UAKIJKp/UZIpQxBsz27RqFAkV/kKj
RpwWOxIKGDM/gwWI8Zu5SzDNdYRxLILU8WqoaZwS9TkzUfguPGzx8JmiXr2cciBQQPdfUTuFiAFo
02oCXWIj6zZ9IIDFUZHU1+dRkGypTYsu0fMUv+/Wv9/Yu7dnMJVUd4RtM6SrsC8TN/t62QOcH2R9
eiltMMZY2+H3hypQc1kK0mU7w2wnGCH8VZ/iboUquRjO2lSjAgH2yQqiWdazpgXJBdmNP4NYiGdz
dPyH1hrWNkutZ1ddQOuGJ8eYPVKAa1d/xLpVXebWANJ5J9viQKEofQLTGLJgS01mJOPGMPuv0ClJ
PagZ8geZS/5QN022G0INsFrVR5c2rNx1Uttys/Rp0k9WY2jbOyHEexwgvj8N6Yqj5DYSzYC07lI/
KO9oVtbk2UOB/x/1KtSDI0J1AWjztKzAuzQ4Lu8oESIERCHIj5MOKmjRNOIeVLteHeJiZMPz6fso
gd9r/PTVjaNoX3dRsatK3XhLfX1FAXDJNtaDAOtgwB7wkTs4utMALWk7K00LcUL2cj+1D7//JDB+
m5kymGHpumFy0zTBDdDVR+XTJr3qomCACZN2DgXU1BcSiUCVT6DWMxtWL/0LmeSmD/bc7dpxAlBY
wGLzwiyYPsm5LmSesIA5ge6a4zy6DJBmrJHBEoHmLgMcIBzm0YiI0hY00Oa+JeRyoQP5lMTASjXq
1gS6deuawejRsIbTT7KjW9hNH3wjCI54b91Rd5GTzQqtfCuhAbUqIpFvC9ndFUif/QxEfXOjhoa4
bH5OU3szNKBnUkO/xKAmknpcDNW+3lhuVV5JrtWh7G21pp65Qf31huH34/pLDxBrsdfoCrhQuO0q
V9T3TGld0SWfLHaOoXTUkpoVDoxQJkls40dVaPb+U5yaZgPkvOlYKFeTAzQyq2u26SOQoPh4WHRs
orKUrUfySKRrs1wUu3Pqy22n8AJ+WYdPooefHlLsgLmqFhwr9j42oPgmSwt0VDgzpymsDHtg+GuP
bumSq066c5wJohextDa3A9349PsPuMVvDqEGs/EDJyww1xjn4jaFYTUT1PxsgAHyoMDWFYT2l74w
38rYsJrVI1yo0ucImkjPMmfg0opYnFous+ckLoF2jCsBvRM0dQ2OFMBgZgA8WSBWSFcpYrbY7cSp
7gIOklQ7yi7RBbbsyTms4hNlnajmQv16WRxAZEiGBz2N/Z2IpNaWSkpnE2o/hxY/S/j1+x6IGOVd
oI9BXPxo0ih2Et/bjyJx8lfEXA+mCKgQP0R4GM0JIugCMaAzkeuilJLDc3bu3fR1oMNIxyWD61j3
Phq3AztLjFYuKDe//1/Akf9v/w0uvtOuwZjLoH/8t6yfxYWDNAm2cF1iTqAhQpl8WgVJ14TQRdQr
MHQCMfxRjXp8V+NZ/2Sk2QZarbD1AQTpSStDjnKY7JAWqpA+jti0KdzAeYxzcOaH3OawKGicx6TU
unOChDbkL7t8NblVDDdE19hTcK5DdhBKP/suqYZ8VXdjti7zwN9Ovm4/likXW0C1bf37FOX6gzl1
7RYCeHI/RT4qChDPaFC//BaGZYsz8oAje92Pb+CSeSnqZHP/Ep9i87n0/xpP6+Qy+dk7MNAgPqsO
r+GdiS3rShCXdWnTcJ5BsU90hg8f36E8BzEuYsxhKDVZuMRafyiKdEddNLiEGSl+NIH4RpwRgbzt
SCc5Fb3QgWbEhYNMcycL/bmsi+7Qp3G5EzlHqTAIptZzU705O3Q7tGm8k2P9fW7C4+mhmKpgO6aQ
9vc0bHWO+eTqR5RscGe66KT2p9tPofPtp4B5mlpgWWqeSiNhI2HwUgE1WVbsFEXyazeGfNvGLXSc
jFHDlUYAhmSnT+05XM2hu5pDpqHHD9dmbtL0eREYlEKWq/R+/9G3bh+wULQzhYO8iY0tl6kbNw9Y
QBs6JlLwHeohDycgJsHBg2taCZdfZr7EH3fFGL73LXf/GleYJv5vIr97yP1n1G7Sr1MGTp4bdcY2
mfrxm1O9FNaQfmWqO0IefquFvLp0SQ5F9yLw4bPmoOJTmu0Xs9MBzQIp0O/C6MhQqFnHiklo1M4P
JxJGckn1aryKCT+fq8CH5aWtBfUlyGBQ7TLJ731o0N910BRAChYv7RYlhKghTn8vQdT6NEAz4MX1
PmM0IWlKM4Cqzrygw8AE1Z95hg+f+29pHGMp5F1+/3/iuqrI8Dk1aRmcubpjo1YrmOVYN6XaVuhd
z61ivIwp0D0GjLixgY+c4kSXMUlLOFLhkrZADXl0OzK5GXL4KVGIlsnyZMHj6X3ep/YcrWZT5NJs
fL/dmr4WepnS34yQcN4UdlVc44EVV7prbVj1FaGfrm8GJmjfbcMSVUwaSNSOge4gYAigLMqhOPf9
tVSq1gtHPzrGfHhaVqcIFz6355xP209rqJkWCph3Mtst4bQMzan7fJVBOh0O2Qk7xfkw3FVlFiEd
VuBJZWXAbKm+1GhSw0PlqAKAG5C0jCE/VmQj/zmIyKtj04TpUv6k9531VgogZGBPMtwPPWgXDawA
NyzwT0hEN3xd18W3uO/B57bwC7T7hyZSP+MebqvYGQJ4stJGuE+FWcl2g2vo2F9aOtQ0FevbanuI
1sNicSe5AUEffNIAOrvOEVAOYTtZTrqXDT5iacLHrMmR066FHNndNMsPcP6HTQw2GDagHD+yfE1g
IuhPA8lAeCNqL8MzVCnl0tpqOJVJD5qYEwRMIYcKiRm3WDvEi5tnOXZ1KpG1/dpknbsygPG92Abg
W0iN1esumoYf0lgTVlmqAF0FwLHXP7A4cE6E+ITNpL0FUwMPxUEhuxYs6AwQneB7CiA7UtkKSEuX
T4Hhx/Bi4gadTKwTmyno8TBNW+UqERME4asWTrAEoJY5oUtdJGWs5hCQMfdGkF7dgduPaZ1HsKgB
qWHM8WAexrTaDFU/bcY+dh4pxJheOR7fXiTMPRdcPPmOqa2bAgSKCko+TyGysOe+bL5BQAtOonmH
nGweyXVcWRaq2yDsRSnE9yDJMB0Hq7unrtCFr5BXZnZ7NF32gJ++CQlGG6pxsXQfl1l0N0onhnZY
8nzTLxt4ioD+9/JpSYgNgOzROl/oRUsy0Krxg3OQaf5GffMi6n3BqKg76In5VYQB1KSaBrVDk1Xf
O8UeXMKAJE4Pjun/cCs32KUwLvCESjU2is8GNwXw5jQflVDNWt30UwT1JdGYrzoXGo42UeOoM1R0
u47BIlPNpeBPo/Nkq32fR8E0DTVcewWBvRxc4QgSCk3+gwcCZhKZ1F/asBvWyDdp136Qw27oYvgY
FzjDQlqs2sVIzd4PwdCszdYPvlROD+uvvGQ/UsvYQwQoCj1ZxV6S9tqfbs7fkj5y38Z8qFdWklV3
IEJCthEq04Vv1Ac58ldSjKbLQt0Y3WyrA6p1pv6u8aHsW0N0bKXlbb1ZmBvzsCnrg+2L1zluWU+t
ksvufRWRbMtqR8l2HU8gMEhtf27awnHvJmB7adCk/H1lfY6w6ty/CxJ5WBL22kcE9f26Rq1oMaVR
/hRwEkHuIjkB/wsoFNDOesLBvMvsdO4jGLTdDXCLh8GLZ3ajA5FMpVvZc2MDxkx61JyMnd02hXjl
POwr4Uo1nA3QzkqhEK7b2YU1yg47yYzoxGPkf8h9JKvh/xk31pnorIUPJ8Nei2JsR0GFpQsNxAZE
zMMAlYOp7wcB7h4+20tnQd8BI4dGvhJSndVTl3Nkr/uvvBnBX12Ue/8S6UWWyc2d12gQ9e7TvFmL
dcREpibO0YD2Zh6M5yD30kXhY5tAlbEK82epLnbFXsPYGC4c28/n1gSwStN7sGZ4mz/XLM2OOmsh
CaFi21SGj1UbAeKJQZrw63QtApUiCgDPN/p040N0aC+dYXyDWtI2lYP+7Eu9ucNToIUsF/qZCnNU
WK+aTS22kZvoz2BUrzKe9mdob0JAQNfGN+QAUqUq5+7DNJlXjNWKpeW/r0j99MIUpmUoA6fQgEV6
rHuOo1BRzMtXpongkiBb4Jl2UL4agV/vbNlZG2raFe9WfoziFTWdxL1ANcd4oDWKLFhT9yhiKDao
NYyPNaICx99as9ZVWmjg+yDzQDkIWUCxAw/9uWvpRyKOr5gPqjT1zXmJIUNdXYj0dW5OMICvrB76
y8g8Xkt+yHzR3eW1rcN+OBjunGQyjoEugdHRLCu9ji0+yyB3DjujQQlknRZ9DLJ2F2ywr4ArSyih
ydfZwZUuBjjO+7LRUq/KwsJfO9mIv6Sx75z+PcJtMhCt88T6DvW34DA3aS6s1dgaRUs8ZFV0F2Xh
vGisyf7Q4UeewpZ+ak7t/xIzNlG8g49lDe7GDsZL2I4EMCI/gMv63IF6d+drSXE3D7hxV646w0E2
HRjiT9blAtUzX5ZQPCRw8Y2d+WxdTkM08SOaWkZTnWrHd47uhkMR9hN9nb6e7714eDXXgb61LiSU
+/I6c9Ppe22t4ToHbddIvARNoa3r1gLYHdD1MfSixpSo7A1877BIXsZcoVI1AEYpocFj2a0sUL+3
CaFIc9bMMUviA8KD0w4JGNgJKAx9omD2N0L4hdOfIIZUHxble7prUUtVfI0j5HIfwCIbnwvwDx9j
mcC8C61OivG5F/HFT5P+Sl1WawQrfagDFL8w6AO2ssFWzdrQ6BTXwIq2+c9SJAXkbpLua9ON2GsL
PTgVhXS/dKJYtWLsvsaF5u5aoHe3FBY7wRm/ycFzYsn0gox9ModpbhOthrYrcbrzrackh6Zljg9w
qdv2MUlj+RhU7KUbdUg0gZv1qCNBdbF1+5ziR+cxVxetqvRN0Ylos/QZRvNoBEKcKSJ1wB7J4X8M
UMqpN3TxMth6++ywr9ToICn4FIIwQC2B/5MngF2gmh5aL1HI/EcUnNdzpNN0j/hFwjfbt55xCqwS
aHtE4CCUWoSjqVPkEDk3wPSmM2SiAywb4Cfs2tradB0zmGT4BXdecKp4WSQeiiDB04jExnobqt3+
nuQg4EjQYtPLKr5DxWbyoEJ5D9xz/iUuWIzyAsAzMCLWHkXbJh4VxBLfuudAfnwJoOY2R5RjGjxV
bfV/jlCv4gu44hmJXm5GUNc8KD/rMO1uYDPUtZABCod+K5IhAFsRD/E1QHzjpguH+N4MM1ATQye+
l4ehabUr9dKlyF2+0Q1sut8XUvFjDEfUqII4u2rNcbEvdhq0iD2Jb0+xGWPrayrT8EjLznFWXBx7
Zr3OEWWUci/rNVhJgI37/hb7uoPcqFoA0iLvb3Fua8dCRtp1WQ7Ycb6pBx3ATJqgWe2uUG/KSIdg
HXR2tdOK7pvN8KgqYV3+olp6VX1qJaHW3DWZYbyYYpjHGr/jL4XZ/NO8jzGoNhVeFGsHKWx85tr+
R+x2OAOoFgzrg73jg/tNzUEUXzIHpaJ63OQ+EnWjUo3qmgL66n5d7jpFRx7FiO+Rqz27hCetw+lH
0mT1uVWDcZC+LziP9uYmck0sVOr9Koco5M4q8TuSWOOsMrrojTpNjI1zGZ1JkZT6Kw4tB73Qww2J
kFLf1KXDSbP6ewpb+j+mp74GEmJW9ltn6BM40U/a134y3u+Wvpu7cgqDbxMU5OYZTt1c7aw5tVNp
wgt4NL6AqwNvCm14BKcVWZvh1a5T44t69N+Xof4kVQwEhvgpheaHZ1lxfklD1mwAOqsfC2M4Q0Lb
fIUdnX0YwwAnUqVtrE1OumY+6sfUROtsxYN8zOoONFzoc5t6VPor4kQN+Jf7L0HXAt4dOv5qZk/V
PE/2ow1RTaSowA7R24ul3livu6gRW+GjZZbaSyx31BuHtYCSiXalVgON73PIwe2nZqp3+r7ED/Ka
mm2QsQ3++MU8NRclKhxRqR9tUTt7zcIhE1o6BveArMSGooHIwwAhbxfs7mmAQA/MEalZ88G9Cw33
zyhxhz1+88C9gqnJsXMhq9XXTX/l4FtfY9A3d6UOy2qp+paBEf+FMB2HmunSR3dp1TdrBhHQ9c2A
o/f1anTadEsDyyg3O6XQjGQCvSQN0KuhcvfDTWR1oP7IsqeL407TRoxffVSQ8dm28zPdNXB4az26
DSRGQheFFc/0s2TFJneE0jU6aZguMQ3TbZcJJObyTltzvQDOBSLZjVOJPbWCfkyg6aR+u6nNB9s9
BVPgRWqARlOop/1Hhdmw3dsMG3dx2nV0IVzhgjd1k2GzHTc0+3KMLnpdDN7MZOnha4kNXr5deCtt
Acn9Su/viLYygm6pnLq+LQHZv0wKC2FtWwCUYSAQZGs/BXl30dlGrgSVr/CPpYfullAfyvaOR2Fu
+IfdlKtYQINqNMJr0NrBc+lAinYaoAgAd+vwGbUqHbL5IwDcanQyXf8JwHs1RB0Qf0VqQ2vMI4Xr
TpPiNy3GP1eFw2nDvata60ItmgUv4EvnTimQ9Jx5fRAHMDLAR170uX+soUT/0sDDdI0DcrRvVRNW
pGBcmxDWo2AGX/s9z0exouagA+kdWQO4iCq4bIzqOuXx/RzbAMMPk0oPPyBBv5IpnmKooT7Sy0ws
exGa399RaMfwncVjPznROlZoeQ0UW0CdmGBBrzRT8EgN1uOvTRplSjOFRrXa/hwMSvrn5j/NrQqo
FyQdbMp9HVt72P88BX0lTm5k1w9IiDUPqktkoTglOFU8UH+pG3OX2zbrvEwAsjZsqL1BtsO99gFM
0x21O0+ke53UJYwK2HAMzv8oYOnHWa2DTLmfbWlgXuRj/hIcNlDXGCZdrgm7IhxQHZI+/kbyndQF
yPtRa+riSgiWpBmB6EpFu13iAZf4Rq2qjtkDb0EqVHk4i3jrBDkmjrrfAciWQi4WDGGVfaOgvGXu
tsPZZyWLMLsKWaoPTjF+a6B1iD+fHK9QVMyubRoxL1e8ihZJ0XmAZkQQt/80A97tI+hCmYUcXKjv
SHcX6Q1sttxnYG+Nlzb/1PhrhMIqbU9hf80ZmugRGAMX/jrAqI2i568sHotjlSABREY8OBAUe4M3
IrnEk/5Gj3/aGYANvNUs3b9SKwcOekMXatKAiqAtAG0SAJlkyPLo4ZGadAeCPVhdtGn4WI5eATKC
78tRcIQP+tXx8bsh8E22wg7fypA5B9la6QpPDufZjqvpkvHhO7V4l0FD0tQnqPba/iHSxui50zod
GyxFolBNM8nKa4jNRV5KcLWSKbqkHDYAHPWYZy0wyvWYZf2uq7ToearhGxGDXOvRVJ5k+XkchzWk
6IpTEIK2UZU9HFC0uKTm6BvIsmh5nu1+X/9gVPX+pf5hWzZzURWHpIwBzuNNUYqXccmQvcBDOtDK
IzdwdHFK7afra1ut7yDAAs3UQYL7pXjMIJSbUBuYOKDkOBD/gZ+H76bmBt9ME58v1LbEl0aPkWnI
NfE0dtq0zsF1eSirLtiWTiPv4sGfIN9vxXh4V/IQVFNwZK7ZneAMEe+7QTdx+szldtS04h4IyWDD
67BdASsFZAG2myu7HrpXB7gq4GKM8odIgwt0UcfAK+Sj3pYRdAb7YFO5GdwVLIBKudpyMV+xEuzm
BSXvYp34Y/Ewtl2+japyumiFxvbhwBqUK3voq0wD25lBrEESCIUII8GuO215cLCEME7geLse82vj
iznY0d7mrYa9FZqDDsRZIgcBj1s0YXkPuiySZidqui7/YpaVcaVW7EgPaqPms1V3yVMdxlvqDnhd
3k0gxcwv0BfsCI9Rs/ohhAn5E681oGmIkjPqTDKBTIMiJkk3Fl5hTdWJiEDNR7MPkXZFkvHJ97MH
OWTDazr0wNfKCfhaO3LOBqyJNmDFJW8oDtwxJq2fSHA9APbQv/o4FWw6SL+eoWFhn60oZWuuKHh9
3e+MrMrvx0TP7jlwusB9jrDEtpAHAAs4u9dc6Kxy+KTsqEnBH3Exr+RO1/wIxl/xsNFy1PMMAece
apqQ0gD4GgC9ZZTweo5eQ79Hi5IzPXdCU1vxoAyfqCWxTV1a1hSsS7jonJxEN8GkS2Zp3sTE0w4H
YAfS231+HhpurYchy7/r7P8cEZdOB8ZO6f7TGrE+mf+BlODsFptnucAjoGTMLQZ0qGPf8KN0HyRp
rcLCNe+hKrkIK5D4QpSwZBM7sZy1GBoDggyzygINzxIMNIkxrufQvID2ArVpJk74EgpNH2INIJFH
qxYc3bXPA/3kqAsOlNOJmsCAgThMt9RJwwnwBGsrt6D5pQIt7iKGbpeJN+ssk11Tq6BpkgagqiOd
M4Ek7hHfUUYcPN8o6fbUhLZgfj8kIz+quIrirHTM7ymuRwZ5P3dSDLR2nmeeZGSCsu/06ojgj/8j
suDAm3plsKC9QD0WyJukn/vHCNUG6p+Y6B9UPJEOWcs+96t4o9W+hdiI760yZxetHtiF7pQM0CWU
G3cYs0/dcKidkEyN3O4QZvUdhQaaD8NDbt8DXvYwWNFgAyvYOtcM1dK1DQWENTXpUsom2wfaeIK/
e/6MUta0RnIqRWa8R9NAvS92fdcLK549cxz2IBchVpaKpQnA+L0gBWpdlulJ5aQ7ih/TUDtAs/R9
OguR/HCA5z7IuoNhhoRrBsTe1lkqm5MOVvaI4jh2UVEtWoi4mK8U1g2uNnpawvzR4ziFYiMM5X2a
TJdPQdimzotRH621xNGqTmW8Uj/T7eagBeZZ7wpWQtlaa07Lhcdl+6kpqKkPFZKGxnoJozuKnSPU
IjdTKeT2NSgmbAJnI/Ik9Lrc0EtvmdhSu9Fi9NLCNDRGITY1sFLA6VU+JonDQavXO69ydPnYqAvs
i4qVbk/Jnpo0UEi4Z7ThI01Sbg77kgvfm4ygm/vgUGIC9TAlB4rXBJTuRTOPORXYubHN7zh2o/Cf
aZrvicGPvjDrwHN0nBVzV/4MdCAwJewzvgSGGMDzirprVLnFfsImeIe3vQ8sHEmA01L03EL7poOl
NqmnQVH6/3MN33nO6mza5tjD4tiD0J472sqqLP8bVGM29OBwYEfSomBa9yV/gcLFeKfXzltndsaL
lUC5GvuIt2VscMVbpTvGi2aU4H7+FfkP81QkHs8AzjfhLrBNFHP+H2Xntd04roXpJ+JazOFWWZZl
W5JDuW64KnQz58ynnw+QT6nKfabPzA2XsAFQtiSSwN5/cKLpGCORCssCmT0Zu3VYolc2XSSeMTj0
EcsCJs9eTUzuAsVdV3VdrxUtczdg4py7Kq8G+CDwe1SUXV6bVvvWNqX/VxeVizAxzR8eCoOQ9Yvo
4hv2Y94PL6GLWuhiUjpWDOIQakZzF40UshefX8p+mADNXSL7r5OqoL3OvE3/bYx8GSEB8u8rPevz
08RRTdPWkSXwbM2Bjidweb/Be/vJthBXcpv7Fns4Q3fDu1zrosVVY0S2i3n8T7vKWFaXon+iTnSS
wiJGGo07ODuLWjeCK23JVSbnoa8dnChTSE0mvtfI9nvVUokGj7WjAj9n2ZrW5rYzQugmXCSJovCI
Btyf+XGEzlsyXLdSQAeKJ7RC2SjZRyOuqZ4IJ7FPSoiYHUybKTPKq6iDe9NIvIk8+Nj44VTX7JvY
VA///ln+I6XhkJ0HeGBotqPicqJ9ejLrqORoCPFl9x+6blqC/tP1GeYGXHq5l/kbaKCeu5hmVGfc
fvp4SslHF/WVO3tw4P0+StEl3w39+4QH2kJyUgM9STZT2ZAVE4JNjWegG8MW8GHy+vn1n5MyxHmW
QzgWu0FAQn0dVtygBMW+FApCMmY1Sn2NWQ0yQrIjMP4Y14m5t1hb6jVSYCHeaTC23HbjOOQjvSA7
g+0MHvJqdBcBn897lidgyAzXpdLaVuehml9lvMtSa0V2Mr+zmqx487pyOXS+/a414h8jp7mVTVWd
2cVa0ZsXqtVdBCZsJaeLt1MzLT33SRhe306Or1NcouTbZT7423//YnmQfEpWOaqNrKXnapYB4/kf
GkNJX9mmA+Pt3quHxeyZyw/NnViPHkeaUqFHXg7e/yXED295FeaRI8Q55DUkZ3LlxI9ihGwNFbhw
vucDy+niDi3yZKOD+PqCnPvOZh/0w1DxVrDdoDrFY82IohGaXvkXO1RPc1g1p6GMsFzQw5384UAJ
U7lqZ95RUJ47bCQw0DSTvWyiovbbJC2Id4WhKAtofO0m9gUi+89Do6EHsZBBzKOzndUOx/827har
1PwIONO0v1KEGhaR8LqJbdPYVfn8RbZuzEDNwQ0nFJ2sub7gCVE8yNBtmJw503mN+8ZpBCSycLsH
abfhzp3AwSr1A9U1414tjXFVQdX9PifXAQ1w52VoV/VD6CBe8G8DbL8q97PnrSKoEWq2+/df1T8w
ho6hoXNgSQK0aRrWp9tFTv6mnVwtPGC8Qz1tMUT9XdYl2mtrOgs3VrtnJynmix/rq7A01NdhwoxV
r/Lvflypr209eoAVcgjaYo6XocTjOkmN2SxjpyrzV7xDvLue0YJypVrziOUOc8XGU/V99fHX26m+
szJGzE5vIPWoGOeVh47y+hZLPd1+RJ1NRm649VTVfx8qO+TQZljKSm8/INJomb1ClhmiG1V2E3fH
vlQbtI/AJdiV+d723MPigf+FwpyMQn81H4KeXPSAF8cbUG5tN2voOsve9M9TlI52PUWnjfIUmjhx
ZKofp5Bz1MZRr6cIBDri9lckbv33rPrB/oaHQrLkSXdtQEESKHWDUIWenvJwMjEyF5irW4ceJv8j
EeOK38DveRiH57ILGt7wNFtXgQr/+Xi2q9C053Ju7sg3wQMRKdRObPgRHmBzL/KtzZ9N8KgfvVau
Gr8Nbmrzu6eiUhCXZr5uVTXdBL5nXTzFR+LfTN7gllkXZPKsC5Tvo2O1SEGKEDabH+NlZwJ89xi3
0Zts/Rqfs8x4uJ6wqgcsgib0ugu70/An8KOdJLLoqQJYazS+tpDMH2txkHGjzhsZl63BSssHr4+W
RuvmG2fQk0s1s51JYh2uFIgNQMn+39kEoVnFdsXvhflMljgXXUncdWL3pCY6R72jQNttM5wQxO0Q
trk9xe9GNp1zDAX/btKvYRFnf43chBeW0cSvKRpGq9RDdwRrt2Af2o7yhNXFl7ZUHOiPfrxRI9XZ
Fv3ofElhpCn5mDwHsa38j6/c+ExIcTVUgEzHtHRb9/6JB0/GwdTmnAqV27ukgSbl2GmwFNKwVddT
7ir4dhK7HfxOaLyZ0c9bSL5SSPmvdIgTq6GYXgd8jf7qPR/fXQr/C69sVm1s+z+nWvvqB234ro+s
UMAvm5c5wmSs6ZrksVZca9t3Y3oI2zI+TKGRkfwHMln8j3shacVPP3R43obq8AM0kEBi8fTph55Y
Rk9KtKgPJqzBe6gazq4D1bpvgyJ4GF1LrM619lnxyOQiHhB/VzGtq6qyIy9WxitqZsqPPIM2pDfg
CXVDUVdq11SPuV3Wu2lyXQx5nOoIp84E3dDNl5E75iLKdFKVM/kqeaawY/OAO/dfc5GFSAhY7usU
WOXK4CN+UvXB2ep93N+RjNPhvkXZxm466+wnGIP5AGK/uo72aGUWmjK68tS7fvi3l2bfw1C13rAZ
85fyFBG6/PUjV2KPvcM4bQsUp5Y3yzFFr/4l1ghXMjlYjiujDMCthd0ZfG13WdUhiIpxqM9gFK25
1k++mdRnm1v5PlHxSZV94Ti5D+lIFoyvsnwNqXQAkZ76b3wGj1UP7muheS++Fjn8TibK6I3b/0Rt
+Jtf8TthOx0tXepED2jlx8swi77eFo9F0wNA0JOvcikp145/hvIE7FmBnP82COtlUan8Fv98FRsJ
9MaxqCD/aLz6rXfNvg0sjF4PzVluI0ULwe/fWrJPbirzYl6bYqTcVP6a14gtpuiT82RfSev/bd6v
s/yaJ88ClcHbe50xrutomg6OpoyHMlfTxdyV+jUWQIbFXvU/Bznu1pSvZKxPEfQmr7sbMNipoBxw
viIdUzjEvb6+jpuqn67qTHvVGfOzA/FsG4VhQxaBZj97+TlB/mgZunO7k7FWxLgEFp6elU8yRH6o
PERm80O2uiCGCaBq6hbpHdIhAXYaInMlD7pMVsmXDSXGbUeemA2WyHOls3pUZbdsd1oIXH1qIrwU
RILrdg75Kkhgx6EcEW1NaGd7UuukE8ECH21ITgc0zq07qw6vfMCiT4Jp33aluiknNOQSz8ClyWnL
/WQUKKAEbnrs8vISmvg/pIYbXG4jZCwTIwAUX+R4eeC+81/PETvFA1mvl86Kou+G0ayceDS/YP9t
oZhhWruy1pKX0s9PckCIQ9pi1Eja57GDyJHSRisMdsPvldauoKmZX7JIt9nTQGtn8QEjMuj8DSm3
glUkTc0MoksG9sKtMyDoIsRd8WOE7JSxP0fIc0ymVawAn9cPtWpfwIyicKhFpBDjtn6KwdMszdFw
v+PORYoC4V+3gW8MT6fEfG38GFtOoXU/ttkuSutxOTmsyc203SlFoPxVmiZIUb96b702XI25NT02
cFP2VAGrne6VOOWJSYOY1EJuwweyPdsAnvlikuS5ULK9mtvWl95O/W1ijeGmJsmIqtP8dZoVB21z
uzy5ivkmw1DjFDCNWD9gLPXopcMyNSrnpMeKfWoLy7krC+tnjSRSjIBgDV4fLVHfjd19CAPtPcEp
RUeWJDPnvaaBTk4xp3hXa/1nkZbGk1L2DfmCnoyXGIb8urUy0KTawyyMmJzPSf/276t5zfycSXER
BrW4Nj3H0pEH/axm5Fs+PoW6Fh9arzeQ19MG4UQRpmvMzRClpGy1dsPR/WEnfrKozUZ/VVtE1wIt
GZ8ML4RVZ5jNwZ97DiQxtsKI+6k1U2wDZspseta8mB0FQpTj8yUkk+bF6ef+QP1ZXSSiWTlAcWtr
iBdeHrQvrdqND6y73+RUN2/zp8INjnKmYlrKyW89GJRM7NTQveTDz5ZqzqoJQ2dVjkYB04RDNwfl
oY8GEl+3tp5F8JpubcVq71U7GWpEBcNeW/ZCebCLxuyptfVsCxNAWcjY7aAn9Z3RxiW1JMbKw29j
MV1/qFLlHfcsbxHXERSfrNXDTZjE/oKqpTqxrJyU1dVCDmFw41Bxv5WucFKv6mYxIJvyMFNZOSiQ
y28hOeHTWDnMwl11ZY2pqiz8WnOfJs04NoVW3LusHRTM4nBIgo7gol8p2jYQgzX3jeljjuN3yq5S
EvxrOv7ORVCU2pGc/Eae7DqHzeEycIzpwVMD70l2oPIcLdQoNwBlnc0WPoEq0QkDGdzWHs5XtzoZ
y2HTrKwMMaHfgt0wQAm2FTIHAs8gcA5A969zbyEZr3xh6x07+v9SyRULtd93LC7rOBawqALrlJD/
IZI7wIgLjHaKD06WwYGuSCaTQs7Yp4YVIm15dO4EUbxQhN1zjqZN6M2rK+kZO3Vm/Pt1aX7eQcGs
1BCmUz0q2ioesJ8WlnFkWSUJMtRjHTW9n4A48FPlIF/dmllRCaOrkhSb6OVO0208t6wpr0/4KUAi
f6ixyJat28G1u1MWhdhVi1HyEENZXdYx5dsoM8g0D4pd7nI4R4uoxzklqTwKuKkQyKnbUd95CUTN
EqLmRnKtpA+qfHUjWJmm+p8hQsNf9v52ELEhNM7//rmJD+fTN+k5qNTaZDQ112I5+vmTaxp/hGfU
Vne5zfrX4l5qrX1bHY6NgImyOwkWstlmIEONGn1EwyZt3gpoaI618iKBC7qqYdgvUHUJj0XcUqg3
soOb1+FRhijAgeCWbTtTzmoyuqew9L3tpPf5urY65VVXJxQdsJLfy6biqMkiMSdY4KI3xeek9Nz6
uWrK+Yye9s4OXYVsqAq3peDOKJtu9EPFym9nhnW6jBsIEjZS0Y8FsIzJaaBL1Fb/zEW2jMJOOckB
QV82mLtU/UF2QgNGpi9tx43snbVEg6GVoSuRKwsIisUbvDx/U1Pc30jShOPb+bKLuZnLXvYOd1GZ
1ucgyc2LmTtryaXgdoZZpEiI4AZsHEIIkkv0KhTzB4XPn/FQ4nThYYo2SUJ+/RantX2W/CIDEZF1
76M+WHXGym7TUOCIXwPb0MFC5eFTWAwspiYjeC9yuCQTILg9wMTwXYH+r/dZ/Nb0kXYoa11byulk
DsJlkdURC7IufQGDusHvUGwMlWDXDz6X6wAgxRxwQpiVzN910ZCiII5I5lUiWmuSd3cqs7sr1h8t
smgR2268qBWv3EJOmQAVmCcVy9azOgX6k9KOX2UYy7J+Y0YpvDDBM+4z+2REQcSilVFhN34dxGQn
M/uNPFcXTlufpDN7LMG+alJzqQiz8VD4kevtyjT5MckG8p3pyhz6eiubSjPlR2CuL4lq41E0dsq3
YTDae19YnXeaurZs5D7nKWZ3LGQdqjIqHuxYO6PAxNXvu8qqp1x7SoQihOoVcv8z770hhy7UlP12
GnA8idzpQbGUHL32aDSRFxxe/dkan+RBwRbyqUjsHb5K7v11WBYZAOTbcFqnI/5HhRFZUcDiv3p1
2O9uch+jKOx17fehjv4qvDg5YayCqwjcl4U5Ns67qSJ5FZgwtlsjbS9u1DzhJOi8R76GQG7td/ts
jHp0Il/kaaK48LaKYY8b2QwMPn1Pc19awGSHxDHxw5hgroXcKBckDzyNTHDlbQYv/3FtBm0Z4jmJ
dEyxaINW22tdCCMvDSce0Zr2bHS9t4t8f17iqao9u02oHvXCe5ctc/TaS1i+KDEjZYTL7h5HDP1R
TrbM1FqkeTXfXYdnVo2lXr80KbKuVSzjz6WgSmiQUGpU648ypNrBeJ+rxTPpMBWlzEQL1nKCZ1fY
TTrmazBZ/YKsAe8S5NFjqc/UrFL0GmSHUwTG4wTd91FtjN87dDFDUTCj+jTj1lGLUyVC4qGJy7Xu
1WG3xwhqGyaOuwnKuHgoCvUfr+JfvaOd9nzYhZ0cJ2DXS5bw5Pj95hXmAQ5blY4cUlIHB3L2lMBI
a/IFJxo7pTL86Sh/Qeb2/wqpC/R98jHHKCDgU5kLWMTVJn6oDXMsV8UyzLzNSdrkRz81/t3gkx5u
Xco5sOqdveLWNhwwDFYbYZrSuiGCCfb4dhthloF9UiP/84jamvs1+Pi/6xFfolAfMPGwTKfddA1J
EUebLiD2tMcE0suxs2ucYTpLfW+ChjtPVw7HiV3RxfDnJ6XPEYL182lt4yWzCwea3gpnnfFdV4x4
72rAeeVkNl8nBFyDy6CMTwNIjE3aGB18I8++BBpfeeVYxk87PcqPKW0AqrFWsF4yL8QjbBjZw4Vq
e6AYtZrGaVfz62F/Rxa0F4cGizOMW60nGfK6qlgBw222MtMJCG06TA5aGNag/XA8J16boAcXV/5x
YexGW5ibjXCTVY10h0NucnelKvvobCAxsLM8FNkB6qMM9csK5NruglGgdYVzCG6WMJqMId207dzw
9wzx/ArXEviDgEkp/lnDZPVZypblxkXvpo9GVF/8oRbOaKpefS+bwahwLHLS+TXqivI1z+DvWJ0R
HmHWGW91gYx3YL72uTU+2D0aZDLsoLSCCFaSbQZjGPmrQ7xFDG5xdjlND1mu6StobvFKNk0Rk6/k
oTWnpyHxvL2aRsILR/SGbubf1UF0d43VUNr2FhzhneZbGqtf9tJRqD+31AqeO2XIqBB43UZtY0hX
NiLtYkCDFfjKgR19X8CWeerh9I5jzNNYqbrLkA3dGp4aG+XOH3ea7kRCYX+4h3yi4lXXFqeqUdBZ
xhfpFV3DjOc8Ru2zIOjFTY65HPAv18ziv4NUeVVQE3030zhdZmnB6msafUBTLBqipBxYDyrKDphK
/6w28F4HJbFWshfN/hzH+ShZyN5Eqbxz0JPYElN7cQgd46kPqHCgETXgL0sWt+O2dUxS65D2dXKe
hD2wqUBsrRrUBGTz2uHici4nyJg86DN6WdSAHmRrTHEhdLUhWlC3ROYPAAPJ/KB6TjUTHSIIpn45
6zsnL3CiFQRTU2v/Kqw3LbT8i5vb3jpDIeieRJR/x8YBn+xas07gLeulWRTN1zjv7vF/Mf/W4Ml0
dRb+GADpLxQzMO+0yP5hKa11cb4XLHEv8rUXDOkSyH+2d0RXH43DPmoLvA1EsxzUbql2yoiyDB5e
g6P3y7JkH3pbBMsFr1l3OLO5SOwFOfzmoIQmjvfyx6uI2ADkFIBBDKxWvrqN+7M3MmtzYYZ9s3Wq
xty1qfJ48/aRr6SPj7T1QVHe2NeOtQsybNOiugbDOdZwxhIj+6Pd+42zbgze28NudfaOLlTTozew
64auHRztZC6aVYQCzb62nSMi5z80P67fRmt+Nlq1uBR83oeEhdvqKgzEr0QduN3PrUYdNtPCFZaw
8X4AhrAE1BJ4/AyK8KvZQZh9GSv92+z4bXtBwRNXJ6/LELKhem8EU7ubS9dYoLUMer4zwGrhRGPg
AED3NVV7i0nzIDlHjpGncCNM0AJhRF7FNlB8gSr3KqrQhgWRwHCtcGfjQreq/cw8ZO0qE15Hpbij
deIG9qkpO26xcgTGmmv9vsHLHaHSQXnxAINLDSSrQYWxj4zgbgBTdov7E9qNt7gb5jv5kd3GexZS
KA235lBvHqWZReAjnOFWw16GpLXFr/hIAXYvQzpiSBtV5JRQDotJPrQBBjx6ctIs/VsfT9U7pn3p
uk6Dep/IrFOzGVJ0tVkTZ3euos6rUYxikxwvRlg/dY0gsFVrJeluLXnq0vgbmTDMNGo2F6oEto6t
sdCysD9IvLzslU2+FHQpxeBbbyoGT2KuITD4sjn4dbv0+T6WcmEaNw2GIElINUysU2fqLQe5MJXN
QgV5bu+vAmeYd6SLIs+8QxqQjKsLBFCiCiEI3EWswywOsikPZV6Vi3by5nUK3KBe3HrkQDklDXjk
xllhsjI0SrVmz4Xh7JsF8ueoeMrCAQ26sjOWjBKbAMPzaEZxDA02MM62TTFcYBT6qInvBAhoJUeh
nlKtyrh6wgYgG0/XpVKiusKea86PJWnyNdxF/RkAV7tQld770YXp0uZp9rcBPkstzfG97bDNHBsr
PlF2H7fQVjqMootveCVbJMoRYwZAhkXcdG+rU/S9iqZhRbVCiKlGJWYE/xnQlPdRPMTfZ7P5Y4Ce
nMfZ5q7ieTkiF0X+HCb9o/xVqgYCx/8lrvXIk/C7KQ6NzhclxstfvaY03Sp0edIUvjs3OpQyN7of
lOFA9hldXFHwkZUgETLSAnq+9ID61ZwFPCuxGu/hqkTXZV1+HP2MLQy11O/okS5UgeaDmNyCCuyK
S6cowxYmebf3yiDfTUFmw563ahvLvVYzrbvSzX9/suvpsMkbVT/cHvby2Z+wAcIiqHiVcSMw/vPY
h0qrL3mUp2t5ptxJK27A5rSQ9x937lne4Vi6vlWOPsXkjcj+NU425eDPMZaY6MrAdy4AP+3nSvnG
QrR5vGpSZCI2Ge5/jQ1Cb+UmahFXhbr1jUuf88vpXS/+3rJQBetm/7SmEYmccfYugd0mWzMRREpb
Nx8RL56Xllvurd4ynjJwPKt8qtonONA8Re0EiRX8Ru6A8ChsSafkUUlhJhRwQ54RAXJwf5rar22h
n+pILKE162NNkjfBoTP7+Hs38Z+F4eC8jHP6Ovom4lxj2m0lRD5skcdusBzYypWhbMpeuTa8NSWA
vom9j8H/X3NvZ5ZvdJsb/vlnyPflI3QfrgvPhqQh4L8GtR4BmwBagZulqY/5EerYJyTFFXIxktlZ
gsIeVxKV4YF9OUxmu2saxXqeNVJmVVeeZmuynhsbtZjc9cb7TnTGM5I/fTurO9nET4mb9FiOaznY
6wNzb/ol+n9irjZk3jFtuYOLVhvn7jn1x4WcKd9KWDQP8HM/vIdt59kT2/nAYicvX7mp/a3szfTO
6Ut2/ZZaK+ukUrylL7MAtpFMR8z1Nk2vWnfglqxlZjVw/8TKK3MMG9JuXhwVu4leB/6q3kUdhJSc
vU8Te3X99HjYn5ppsOEABdwMDcex70Kfd0j0Ob7kRRssB9eJ1kXplj2JTEam3tG0kVUog3GLDnfy
hCp7s8I6NH+lSlcIpYvqB447mwEQCkSSLlo5gFB/Ft6I5mKoJ29xpQQrC7/ap9Hpw60oWhwGzYgO
8pxuj693o3jOfe4ncKxtsk6j2+l7rSKTQ6V9vkBGqJDo4ILRsMkM9WI4Zd7sL61WOzhIdTyYFU5u
ul6WaNCR+5IubvKgmRisCjaYEpbVi5fY+7oP8pNkoQ8qIoUwrE6SaT5o5rWvy5xqE7VwOlCqDNap
bWWHOTD1k20b+UIW6WrP/Ql/yT8bTVDeOc5ANdlty2+KhtA05T+1gaCDqs7JKFrtekmhKME6VDTl
D182p0mlKR6/t6a8pFBAdFdq2FabIsY0WwAtpTNiFdkn30A28+aTyLMJBs4U3l/dGcVQEdJgFkH6
9T4mipCcSMqwfKy16KVTIPjZdj2ES70p4i17sj/aEXeJhdJTPVPibd5M5N/y6ePFr8jvL5RC9WKW
zMgAmPORFCwS+TpIMEUNHuSfK/8aGSIP/BDINaSvMUI0b/8jWn4kvNzAo+6HCtlcoQ9MJtNZYWBp
r9sAc7B50PDD0dN5RUrGGq6TTQE9beJ6PQf9cH1HeVIRquGkX0f9CsmJtw8ojKq1DIXia6oUFbRr
NS7ZbhlvPCKwPCQ7uJNNRKpeyOLZTz5OjxB4040MY/kXHVYplJnH1tbEX5ucZ4Bx54l76w4wkCss
OJOzPKQIuy472DmbWwzI/VMU5g6wX2blYVw8aiNpEC4DwM+hrixHCgnbrBrDi4c97iP6qSJNBsVC
5ny6Ij3BsOYHP5fNLhP8VUli7ZzxI3ajuRpxTXJqlEKRDUsdQ8GVYCZBS4mjfm/jJ5mGqsfMuoaz
Ma3f4XvLsBxNMs+VKQAVOnOkaT8bwXPuSiyM1bo5KIGSfYM+45Eqm0Yk1hq+O3bhx9LzwjuviLKd
GdnzY+Wo/cpEHfa1ERCqXrHsB11N/oaPZT5MiPKREPOdrWz2mY/5QqAo6l4f3Is5Ud2THfIw+2a6
ShP12S28+eTVyRIXsYSNJnrRsFEr7+66g9QGb9tblnvdMiI7GayumRD2MxsJnNUSx9vZWPIuZFMe
7HT+iN0g62Fef8QkZJecNz5jSRfuatW0wCdS9K88Kz7Lg6/GK8QB1cdrS0E0qwnNk2zhyZOc24EU
7Tig2nmLGTn6MRWXQUpVdBPFLda84gB9/eNVD+k+iKxjZILcQSSDTh3S3Nb1UOi/jU29iO6+pBCQ
i1NZZjwu0yEVK1khZ5bn6XgfQxEqhRra1BgD5vRN+S02q2AvNcyaomRcFubq2olA5slgkkz2prcq
bec5UbwzSxYt2qzWF7cv6suIb7tRoqmTsl26GBFbMJ9k3Vp2Vo6PsomqrGWnnAQAOVpajRHt5QhE
Gw20kMXq5dcpM9d/1Ufw7LZ4A0W8KV/PfVHlcIL1SF04iAWsqrCtnWVFivzgNEHX3htKmB7cHP9X
qqlE5UEG5SSjKCHfOX6eJDuQJOo+RS8+gwWZRps6ytp1ZGKkOpvUHhPL/6vMrDfLVEGSWqO9Uso4
eGgDFSWy3iHD5Sr92c1CgIYt+Qx7KJedoHyYk/Omt3nxVlXQA+Wk3NzZJEcnA1ZWg2XLUzxSi5AH
teO6K1QUO4nIPpNd5TpLUcBxSRr8NlRDStYvau3hdoowDbx16AxQ1MRYP7AASWsZZgaAmS9FjyCm
QICO6fhb61efhINOuvmTZRCr+o7Lp0l6/Rku84zM+BQfR3yY7malQCrNVIaTVUTdUsvq/Gum6feF
Gmh/q6AUIGZa31XYYAt4xwDlojTdzFVcYAnYd4egG4xN3AGkHGs3XHqmPnxrrHLnO/b8givom9O7
3bKoWXuRe7YuZhHHd6j2Ir0nmvLQJifXU/SzbNzGB6ViXnQxPtLITsje2fAuja5mR9DU67lJ/EdT
KOtZBYAJLQ1xhRNNKZ5XUb8ZMMR+lCE/BWTWxFlILUOYof2X3kr0Xo13xNmbuaeSXzTfUtK2mzoB
FJrV0xcvm/Wf+J3elWSz3wuALQsXCM3CoOy5q50e7cG8fkky33gKlCp5rgOMy0S4wf78oPj9sLTr
yHhzQ9tfkeuzeBzAdabWVLFUAYL8BrGArIJWD9xpc3cnHXes9EtRDs5breTaHRcTKE5hxFMNmMtn
rds8crc0T2Cg32yr/IIH+5tnJvOXwoaQ4NTTufOBVUDL/lnhJ/LFG50MAztY1n0RNos0M9rN3D9k
emif5d2VYi8aK2at72Qzc4IQw4LZXAxGaF2KwrYujM+HDTXt6pjorGHvmj7NVknTxAs9BYMr/0m1
hK2gAATbyo+gJCG6qLpcfbCsQX2N5gcZporpoz/EJCg8G4cH6DBtvPmeHfVTpfdwPhGmy59Ms5oW
DtugXQrzBtKMC/FdjBGciCWmltZVQD1SYhsyljpsb5B0Pgz30IUfgPZAH8v9tTBT2zW/CHAWKGpF
3+dYgcwUKMW59CjVZSZlLJlhDhaKnwffU4WrF/1x/Y5UZn2WEwOdeqOT59G+qd36fCajTzVK1KUA
0hg76PmgbGUVyqwGb9GyrtrZ1mydrHBjSZ6NWZJM8/vjNR9X0izMaTjK3exsd+aqnOcJ1mdWYFzE
Qb5is5wsIyMy1rdYBUT6t17LKUj8iBm3DjlYznVEr+yQBwoMH+Nuvbczq3a4N3qSKFExfHH1jivI
j3HnCUxgVHEdR5fGr4b7pDSXZq11CyUz6ysgPZtNc4HYItUJgU93ahe9PtEr712yeeuVg/8f5iK/
Cb7sVkUNubl3KYg1V+64QpRLlgMw6Y0sr8pxnesq+wEzR9kqoW1if9Oc4lw42ZZ5hlrz7I7Lq0ej
q6IqkmC1XM+W8ZAXlH3STsGVt8mc/7BdJPFl7CjxuQWVf2W0/HE/Fk4NbafoydKMcfIqkUxNNreY
t4NZlE2vK/j1lq170NCXvSKeGj3DkTBtp52u1ehut+V7qef4c+Ixu7BdrTzLojIS88YCrA5UQZHK
Qw/f3ngDS13Zy2WzjxpKKVLq0zH0bpVj3bmUWp8y5guRT3lwxavINuNd4xinaap8Ujceesql/dj5
mceGDbLPLV71etVvZNBXx2KT+Foyv4568djllY8UMwYFRsD9sfS1e52twMWtMSvEOhvVBdOkpBAo
FpwWPzpKtgiszmzrCLCUZITcGCRlU92J6/Pecqp8Z7p9tPiUIJY5ZBkrXPcL1a14e8st38aOrQWk
kOTlCmx3/ziEzkfC22c5/ljzbVyvN4clkrWx484hJ4C4v1XiulSX6suUlN2prdXy1AztqwyXJLRX
cCF2cTchl6e2RnZp3KB/8op0Y0ud4ThEu7qYHFvUWnnecVfc1nbUrrSOXSIisY7l7L9kCAS91EXM
Gof7cZR5I/aNmYGWN80241Y4wjA/apQ9ULZFzy8pquhYqsWy1EbovmqZBY+e7igPpT+9uMB59rcQ
QojBo+84/YoLdVjJYbJXdhjDzMJbG15MIDsgTcRgOWRA1Ui+jRwLciMgU8qBTYO16OzUgm5I8zqt
Ee1C9PwW/PVHypPm/PQ6BHbspHQPpa04hzltncNJvrwFZfO/xT4NMS1b56JE3evW4f469S326Xys
0Mcdu/r7qHf8BcrC5ofU8TXjlKpmhiKCh3Mf0snX2DXdJMeHkWFeu65Bye6Rc6jXr0MhlHydc8tY
3d6HVPe0QcBbXTT9qLGKGYIthAP7zC0SVk5Zdz9Aq5FZYl1pI0GiVjO+1T7apW2RG8eo0TKwk6wL
66oM3qCG7RRttoD9lelzpscrCXmas9Q/mtyCFrJZT4a3izNy0bI5/h/Gzms5bmTZ2k+ECHhz296x
aURJlG4Q0mgL3ns8/fmQrWFz5uzzx3+DQGVlgaTUjarMXLlW1SbbqvcIZhZ8VN5nE4me2L4kdeic
AoQWtwHkaGe5uCqE4oGTJZDrMzHYATQiYrzd3pzSlLS/3DrjVJ0hM/iz/DbtdtpOH4tgw+Zr0hL1
d+DktF2yoVFo3kmYJBOd3rw09F5fxBQmgQn0117fF7UDByB50GyGzxFQlIvsikFMEgPWtGytmEsN
6z7upF4l4zItKIghdnMleNlIgjisu2kv9nu+WHxhn8zW8uh/PV9qYm4dkwOnXL8nM6sRPVT1LqTd
mwRHYmnHWfF+j3U1Pd1sjQOVXqiksOODQZDLZM3XcNECjOsSKoRUrpY1Jusk89rtsPAo3Iy83KBU
WC561q5DUtBnGd0W3hx11NR6zf0hoyACFGJkfbBuc9IjDw2af6s6cK1tZjtRuI16e7StjanCSPxP
YIGACXJ28NOg1tBHUaP74JLrSnEoLO03MOdpjzS0v695aX+BheQUdE74U4WoZR3q1XBV/TG4GlM/
rr2kin5SFz/Q/p9/LbIiJmfjPdmaH3IGgigKGRfvyVAiKiyD9yqmqT+0hZe8isVJsisAgelRpgCD
d6t+yNSzTFoqUXWWoCQvs41l1zuEDuatzGoNcjkVPIhrma14QV3Q4AxXtwcbRyATpe88z+OobEc7
ay50uSBiFJhPZV+OZ0hb4DcCR3sZ3UVgUcZ9xePqpXDJdrhPlATYCnJ96l7GrkpUaxVGaUAHTO7O
gOlnVZPaP05uZ33J4SZfKXzIAbIwjPvukAfq+KLwH/OZ/yxOsJjrKJ4enbF4I1lofUm8xjt1MWg0
mQzDLN2XVWttZRh1XbkJIjU5uiFUckkcEy6qyS5BPWYrmJQWbpArfNrgW8CrBEtLnx9OX+q2WyQ4
qu5sRs13aZX/0AW/dM4TJSIOPdXnu90OhaZuma2yMNnOIK85ZzMUn6y3yqOhjuceZDjVmwjdwNtt
7yYThcKxPQAjO8qopVO5ON58OKWeb2lsY+7GXWAHzbPvJvG+LXsC+CYgmXkfg44wrr5nrJWlci7l
c7lkRhqfUIDd38vqYu9Sy18jFe1vZhIOjy2YZnMg9lpHQRecAhOtg6TT/We5uLpvbIumNDfRuy1M
ScH3Ta0exEUm2io8xf1MlX5xi+PCPnRZ+x84q9ChNtUXuSgBkTUKghkgCnfO1pPi70fKdleZ9SvL
Ozpa0q/uK9oUcBn8B3AZV4n2Mkw04Q5Ft40DPT5HsfZZzmT3lusP3dZi5L10cbK4OfzLz+osdwve
o1qphUf6RnfHalMrqb6+syoDwGOm0523G9C6CALw2abnPjqLokUdhcT5szmsrWUoNpl13fA3LYLF
8W4ncUf/T+ytxYHNlvKGOl5hMtOIU/PymitNehpqtSUEb5MXO4F2eSy7+ac6hZu8GP3/eNn02dNy
63HoJ2MtgZscDHWgZZvY7GEJUIGW3ieOIeXZp6nyLhqAExJUnnUw28G8orrmbSY37z+nFJxXI7xt
f2nwpAHchfME/sQ9VfbmZ6foiIt22fiqdBF6mDWNhWZsIQI/hDMcihy7YpgLBWlrlfxrwod1SyXA
ZwHlP7RtaxA8IxUCUObDUfdLNT+5qtGtXY2jVwcXc35Cwoq9dqCCro5vMgjZoS5DEzmrKiOVA3ul
3gIyH51zXvYtwUXud+usRQ5ejGNFh+VGXeZvt/VQOGe5iJE+i4NfRcpBTLenye0H7zEgIaZH84MN
0WS9+vAwKyusdTeG9UZfsrAQuPXrgJ1sK6lYscldlMXmRR/HdSu521vKtk7/0mMdrmirG7bO2Ezf
3C6AITfM/2J/CNZl6qZPoP+S83/xGJ00WOvJmD4tTZdnX5/ttV61+XWEcOGprlOFTc0IQE8xlIs6
wjGkJcaLHsXmzST2ufdXuuaRb363k3QfV3RIdAfxqIrkqieLXNpCTD8mD5Y6JDeCerHIxU1ne5F2
1nY2n0VvA4Gssad0U67mPB+9TZuN329BTwxJOF0xJScskzspgCjBfxnb/eRvbweSjhBuk7T+54nt
4La1oJdbZpvbLpN5MBuP3a9QRSW0h/BgpamcL4EaHfnqGifOR7WxkTidd9pRXWyaMgfa6p4V0HHm
zWWc7sH+LC7LCnlKZGSVccsjvD/5Hvb/80m3H2EodJHq/OiizBDcZdfXQebAtBemV2NA+RD6oua2
69PjdFKr3voSoq+yV/tO33t9Gn3tneTYTS7sUHr1bPi2fo2S7O2WnOwH/Rob8YdRzj44UdU7GF7Q
0+NbwUUem2GzVRH7XN20gZPSqC5T/njDPYyOtfajmWOl6KClvC9uY+SnEKDq3udvmAjL0v/4C2KC
hqfiydevrmHOqAfIVeJjCZfNMPf2UHm/iqnrEH6mPII2vQ71agToFM4KGnDlF7nbZCiQC7GhGwEX
1jtGw2ptYyU2+QXua52mg2tNlAJnFK5OLQpy+ySNhp3EiCDjv2ezCwCeP+wlKL3nbErBKN+QGYVO
mF0DPZB+hIq054FGwKWnD9CYNmv6FVTx87CMxDQpvwLXV15kwEsebNJclLf2hzRMzE1YZ8leWXhZ
aq2/uHNM+h7ezA8bBCSL1kM8jbf94b5xBB48cvbAW0w2iPtE27zEUKoO7DsvhZnaz6NrPqGoHr0x
Qh3Pn0iltF70ZhcWG3DeuJeFCfdrhlRdFL1VSqNdolanTras6aOWNoYoUA8yS0mfnZMn++XrrY7W
OoOZPDjNG5Kyyr6LXe3VMvpvQNmyv/iafB8AirzOtLgeEDKbUdzofuTLCUzz02I1tkTfciDrqMIk
jma+AAJzXruJRP9yarN8uraTyP0ma+BnM06DMze3U5teheHeaD33dmojswb9Z6mXR16/Ace/jl4r
2H/5UIMw6AbOBWNACrNdsApZlCdX+Lu/9MvITyF/1JMUbiolX85G1T4yi/BZJlOoYVdFUdcXGSak
w9cDMqsHeZDhKMMiH0YnWl4gv5uCCpHXoc5xexWMDtpX7y9XmtfUneJSTbq/RY0qrC8R//sgssyn
u90pXGqsjfUgJnlLN73hbNjji4dwrn5kcW7swR0UDxyDkoSYF62NUTe/ioe/TPi5VXWbkUBxw6nK
WYd9+sMnONjfJsRRLn1C2BvEzleoYmEPvT1BFgdh8SN00oaUcAacOcho9tfRVj5WPmB18K5L0Oab
+fNAmyRytUucOJrpcw1yh+M8JXXXoyjtVe4ZlvMAtPCiEXu7BTBQbpVxZEUXFPDccelEQvbuM+kZ
2uURe5fbp+faVedHdGK8vZdl2aFo0vrVc6Yf0N1lf4XG/FZPLerGoO4X4MAHB6GpqcrxzU/T/GXw
smQrQuco8PyRRZ/o6YQtfJFAp6MwnrL+QnNVgPrAL+oHZKLz8U3LlWrr+uBFTY3PT+GUyUbRUv2H
R2dAWWrxrwlamVXnldozyYHkaBcqVOy5UpJJUH7rXuc/Id1NjccJvgQwmX4CcpxerBbSdzXWYSEm
ak2Qw2ygzOT9NVjjiULgVWzQTqE0+35xuuESdRVypO8mcWs9pdl4BaTeMmFA00Mzxd42uwqRqTz5
K41+9ChN/NKq5Vs2+vEnBaX3fYCsxlGj/PGE6gSsYS4468ruH1DZKj/RcX/0lpdGjsDLUYdBYCND
0u41zI6+fpZh1f+I4376ksNx8OBzSw8ai2gyQPEEsZy9eEEF99U2eu0pTGwOEM781Y/LnqKN0sGU
wx0Vh/52B/HD10F1jZ3YLWHHv7t4qA6VK6WY+nMWDsm5i9A+DLLyUAlhNext1ooO8X+Mc9IKm6gH
etwNJm3+vaetBNMZGuF8tqwFDb/AQ+9DgYeKs8xWWWBwzok+S397jDBCzHGNkJam8mSY+qNfkHuX
SbmEf3vIyISN7Wgb6h+PMG27QzLGwI+C+aebVMPZsa3mRQl786pG1r5T0/ZFTEAB6l1V2u3mblsW
lZ296Zuv+iI30JvdN1I46RON/fZr1uSbbpEdSJUcAlEEcdZKaxpfTTrntno40iEZas4+LsZmxzez
gEmmDXeaCt/dTcIvoF0DrZHFumQmQCDjJILQchfTZ2AjBbKvY9TcRghLv0D/M+9R9B22MiyWV3KV
We1RhnYF3gEWt+l6c3anVUg2/JWuh+hl6pST5vfB15oI5MLry1p5/nzQqv4v30gUND3of+wmT90o
hefvpeGxVyJYtWS4tEPKcJw1YzXrKkpw57JKX+4HLrmD0BzVk8Gad3KAM0Wr8D4TkTqgNk4xJ63D
fNcVuXauss08B8MP2/fHLW+V9lTEMJB4afRbDmumAQWyGgXuM2K10RkxsHib9xzUaxRHXLIOaqx+
6axMuyqIvFIz84yvNiX5/eDm1O0ENFMmEM5Ng3+RIYvsvnR3kd/QKrBEZEqoGNcY9iMZ3YM0f1E7
LiyOTDfbUliLtZGuESqIPnTKRzuw2MsF3DEkGxPxhltzgO0p+Vq3g/DYVT9K+OL2JfJID4pa+zOq
QNySL2/Xfd2n2y4xlAex6YWBakxJ3e8Ax8DXP8PF++6jOMnWzrrhjGRmsHOdoKddrUMQySvJdMqt
SgoLGDaXfpn5b7aho+KQmtPLv3xLeYoY/exSVrULNB+9cIQmKItMKtn1LE4uto5yYayfkCimA9Kq
UFzrHesS60n+VObDqsqH6SqjVExKoW9tqww2Ymu9acki9WyFHXnbogmq8yiJ2vtYjEkw8zfJ7c0p
qo01b5cWGDxrAo2WnxXIwj/PEGOV7KpsGh/LzlFWZdFkHyqoup5UF0oyJwnLJQ4nkTZAxu54K9ns
Ef3M0Yq83DdvMd+HXdDlmwCuqvV94rbfhxAv/Q1u9sw82naVOv4bUB4tQPT75QY6v6HMBX+e1CUf
iGUhWF8zp27Wh/E2JcB2ipUzWBNUfUm0/XhglcNpn4CDrFM32srwfnHgIFGc3j+rMA44qyzJrZNa
xi9zmNQPCBIR66rjEuGOT57W/tImxz3edWRaBd2P1IFrV9zA6E9PSWM6yKL8WTkPdn80gXl5e61w
k2+BXZAwnKNimwQcYxw//JpnrrYHQmDv/cExvyh+ehLkYsYBbA3oASEee0yu04iwlhCSqEly5OA7
b5UwTvZu3LfnzpjVdTs541vYcNClKW84D4revyHWYCnFK5oc+1KPhidvpP91aa1NFDKr+QBuWPpx
Z097Goq8eFl0udiq05n3IaSvXxSv/QkhWbuH9aDei7jAxbS74bu9GPWqqfciLPBNjNmI9E7l01+r
DVb7QEe0QqccWAeokRoOvwB8wrGtP9uturuBHiCD3w9qZNyGVV6cna6OP9F/c6shZEQ9cG6ZJ6kY
xHblPzvXe3lhbMz+xBEjBjfNLrym8wA918Ktt+LfGOaIJr1IWUVUgBCzsE8zCd97gVTu7vGgFFJl
WC0pnhBOU8GI3X+kzkduA7hIBdVM5UMmFnyYvwDFxESaX3u0gnBzXyQQM3lQj7LCRhega+ISE1Xh
0CRfkNYOXmj5uO3d4TztYvCCj7Jt15XR7Z0g8Na3PX3Z7OP/w0NOAtVYpBcODZcb3DhHn7v0pqdu
0tOXKcmexWxTQdq3iNTthgLOi6V7fSMEHtNCtE2ri9EhjdPHgErEMi/EJkqD1oXYMjbv3NXUhyQY
vwRLs6brR9E2rzL9qALdfOv6h7mj1bNWwu5QwkW8k2Fh9ZcqyaNXfULMzMssupiX1R1oYHpe1Pra
cYp6WZ5aht/yus2QROcVvSuVujy0gcP5km6/veg1dk6vQm4KPZUMzbEon/UWjZ7SoXcbmNGLi4jH
VdQcW6s9D9JMAl+ogaQLGia2547HIiZItHS23lSf0m21DOHnmM56F9crmdUqNX4pCc5kUi51DK0O
kfujjPgggKeFOEufDe3Stel0Th3fuLpVScotrOi+KuLfYrL0GTSCLRNW9g310/A4oeuDvoPyGgRR
UX2mj7ta+/uyK6fvgK+r/dCZ3d5IjO67vw/YRb9Ty6r2swrdnVhJaAX9f2aIre3S8Zpd0UbOM928
kMH6dfAUp0V5sKICWKHKP39HrHGB2Ykj/JgEu6ZR6RdcJnq7GS5yB+CAngMZ324ruz6ljh4fbX0I
YJpfVt/XwGphZItCwRDGzrPaGb8EUeMkfr5y3QBSMrfOz7xng61gcCx3Z7hD8QPwtLaNLaM4NQBI
T70Fzza84dD5LgByKGBXbVTVP8dWH2lUSv3HyRzNo4/0x56uGeOT+Jbd1e/QkPRVCzWDJHMvWmYj
0ZkNa6Q7xosFb8XFWC72DLfzrnH9dgW0D2hOa4XNNfVQf9NCjje91Y89HBY0pqkemnXKnOoXzuw2
lAsKSACnOXPAR6hLJoxyas7WcvFr4xSRn9xHPtmvtevX8blQZs1F7oxbyw9buDDrpD40PQyt6Kie
yVFDbiO3lpd2bF5z3R4phX7I3hua050nTV/d0vjJopMYaiUZfbl9n75rJFKTJ4yUcUrPYhbMUJB5
ZngADvGWGVaFkMnfF6LcZlzJePIo26Y9FRur/+iCuHN9W1G1U7Z2Y86WH5bdn0UPVrbLqCN0Tgp/
WwwgGBI4gOBGhSCpmRRHAdl0kllOvSw/iKMY/QU+fIPoLN6q6uZHY8lUy6xchqHLDzX0MSuZ0EPr
WAP0Pk2q2l+H5eIGRkxGvfS2KQQe1/uE3PlhcUoaolWZDEMFScPFrVUV+2wpcDAsI7GLvww7jT1q
DiChkqFMuFXI1zKkza8G8fZIj/8X9CVg2mvq8FEuYs8tmqNL9IPAyv1zQlWLg5WUyBwvE+Isd0Zc
Zlcrv+Zotpm3SbE7U36g3xNxwtQ4/CuPKyFE2qlvKRWJg4zkco85umB6QwbP3Y8lGYRX04uy9S2T
gj7ss9s4ySaYreiqJGVwSVy/3JISm9/4mp/cxo9+aR0hE2DR4pUiKsKGcRMjCjDpz5036itxgQSU
LIw2/5CnkYit1+3sF/sicLQN7EvKZ22OUR5vuvhXFVprWqOp0LTAqNC7NX6YGSD4yjaUT3BOIDtQ
1NNDDm/NURk9tsbSyB5TtZgX+OIxCDnvxbnmnqUlpJ0EKhh9HHZuDQxlidXEmTa+j8O51sZVlVr9
CWosbR1Y9IkhG7eWbhWAh8Q3Vhe+2n4Q7QNgMCdeD9FJD6guTmNGOajrzpaNQK2xXOTO1frsnM4E
+XkyXKuu/2OXyboz0l2tUruQ4X1W1gcavAENtejdffb+lPcfWBNudpzLP9k2EjON03ZHNDCCb3UN
i0UyfM3Yxs9+19hrMVu8KzhDePUDHcHWK3CTvbVQwHgjijQAwUF1LavdNHpVWjV8aSq4LkwH/VRn
cbMKyBLcKXyUfIgkN+6Zkf8Pm7jk+qwcndKG0ZhUyi1PMnTP4RxrVNJoI7EaPtDFeKKiw5nbjjkz
cgZId/9KJuuFu07STnu42/MUkr2lOikn+MBSdhTvqtOcxF21cZPaORSh+9AnKSBz+lHpi6qXvqi8
g0/RSstxd/PULRsOuxEKDNgyp6fKbp9J5rRnae2SS57nyVZHu3dz7/mihpxdTEQ7ZNGt0atgqbks
Fdt9qYa4wyZOeAcQn/1ZJrN3v+Wntmp5KKGcOUtPXemHUNPGSfkgw/p9KI1HiZf8mZXhh9mlZ1jU
dO5rxVnN7OJBupTuzolWdttZnfjrFm1glyOx0odbbxEAtjYfBuEe3SaEwd2YEh2JB8L3xNTO98vc
hPrHIb8FCIF3n6wgZYT8+1+zTKhzH23ypnJoCFSpUTyH+uifTDqYN/CATN/jYHhQO4imm7iu9xKq
/ityleA3XJBMMisXu8nSbdt6sK69T/QSKt/H4iiL29qAIga0LUSVkA7Ui84asnX+gSDiWUZiF9E1
Gd49eqN9nkYwD6v7hPgps+4femt8/iDYJi7VhGBrmDpHskGvgla3F9w62x1fjCZpScQxJGOL/KxT
vcpILlAzUhqZEcqWVW3Rhg/LM+4e8gx4Qf48QzyWZ9x/yv0Z95+yPIPmFOc8leZ/1FwLXr3U/WwD
gnhAFS58jSoa7Kd+rnYyGYGVPSMTgi7SMis2BaRmQW3jRUweUe56TqP52C8eNex3ZMyA5cpsFRbN
U7WIHr4vpzdk31i0By5d2mm19a08/A1NBHUnJMy/qLFmUqRu1WuhTCVhlzcBMirnR76MVGK9TPsa
z/M3j5ThyYQKpPrZBDQZplS7DeerW5ikt1x/+l4ZVPHnKUFlHc7Tdo5hE5sHqHqwO4qPPW3Kswot
CB9pOAM0w893gglLY/o+DU1DOVcwZuTB/jGWedcevLVgy8w8eAlNJ96AZhmtlV9l42kqg2fTL/ji
9FHPK670n/gb1M+DkxIp17axTps6+ml7Fu/93v6qIKW6T4euOGSxFX4hkn0QhxZw/5pIGPkxJHcQ
7gmOTkuHist/00MXIlAGOZazTV2v/uLG89dhap1fnWEfY7NovjlKN238xVWzs/k8df4HV+EK/acr
W2Z06sh9FHwoL27RllvVL7W3gSaIRGvjX65jBHQdd/kr5HPD3vXn6EiXkfkMQgcmpMWlTNxVGjrj
j3y2Uo4/Q3jlIBiSK3przDxfU8cBrGf1xXelCb0zZN3jS6a65UNYKY8WO/+LmBTkGDalY0e7vxfk
WyB46qPMglyEWqYAfl70ak4EN1rKiuqrcZBp07Bz4o8ft6WKp4Ugq5CpkcmghVOloUa9g2U/OnSz
noEq0OLHpu55JyRpr17aBgbtxYb4Q2/eplUPHcjKy5ExbiKFdyEf4dDozX0PqegfnyhTVU57FR+p
+0L5MUoPNYeC0E4IMd3FVVXahckwHe0pgbZ80IjLl+xS0prlpsrtYav4C+owVzmvusDL/SrIH/0S
AcHYK9onGJ9Cvi5eh+ITw4lupidIcvQ9rK6Ar2X4PpGgda3QS4OS5+K22AM1gpc2o/Mkdl0aElU+
QJfcsU7ypJtf34BubHIXcH3feemumlz/pKmzf+pghaILfhnDm/4wpHXD6eTdFhnVH0fxFr8P0xWV
Q2UrU/dL4RuqtfaaJF++QCk9OREn+zJxVJSvdcs92YHeJ5eQTjKfD/melz3S86QwSESw0a8nPQag
qxjOg9xFmu3DwjR/uttTc6DvPOSN8dCiUrzK0mzc20luzJt4MWradFsiow8Tg+KGK8vzh73MyBOH
jkjILqhjkzyLIUZZZ8XYof8ejg83S5obw20MxCN3uodpmUvFW+bk0gNhZE7W3a3u3JXEi962dVMI
TxWLIitS8S+tUgUQA+2Mgo4kgHPQB/uBEtGlvIwVtf9U1qO9yMuoLyoMQ+didH40IcQfawKNCdxo
0+7jYSOZHMnfoBfq7g1UmVaS9ClFTw1GkMep7dqzuLRL7sfqWnef5aH6gc5VnrL4tmX6x5cm9jN/
i/cwtkmDApidnOSX0a1Bu1LJOcaNr76IabDoOGPXMeku5Ncd4Eh5MZGkSuwSKc7FFDgASlwgrav7
KsqwfzXmr7ydKeDoqf9cN+Gb107qN5Ib/sYabFjMpq54y+LPRR9o3/pG453a0JyE6KT2jSQHZItp
9ZqP5XzRIqNdy2rfKKiT0Ct3zdPucXRhYxhWN7QcuVo+mIHjngihlZW29LbQRvlnKDqL96HM3p1F
lNGJ0EBM65lmzHI29lnaqpSmOxDf9I79UMxmy07o/0eJJ8jN5/ytDAJIQ4aU6lvSW8cRlpR1MQOU
mIlVTv1o1Q9RQp9x0FvOq50WzSrRvfgXlAErxyzM33GsPTmDUn3LNU9bV8hc0VDlqHvHgxvfsRr6
8Z2gO7HzKccgNdt/3yXg9U59HSjH/7cfx6ViN0AzhVq3Vj/75Uh3389RQJ2tny6DsCzHB877Bif+
oLEMyKtgKgbzdboVvW7XpnUvHZLHH/BM1nv3k5b4l3JZcQ9ob3ioZSJlx9l5qbf8b/ll+Jm+xV2o
B9bvNERQlQr3Dwtu4nVvddVLW0T2Tg2t5kyzbH7JKyXbaeS2Ps2+a61UkwzTstwB+7yl4pTvVJum
j1+oqr/Y6FEUs2cd7dyfaOhjmEJwuUopBFw53dXQai/44qVKdr9oQ/cpaB3A94u9TE1/l3mmu3YC
UB4WUL7bofw+lOO+DKskjB6EduA+/DBLEfpBTv8y2xfq7z+9sI2jUO92Ms/f5q7pnZyUNpaD3KbL
eJhGOCjk1s9i949XAG/OKSkJlmJjfh4QI8lp2sY2WKF/ArRh74ph+OQMM+QNy8UcEw75cqua7h/j
fVpsg2J808tWR8jj72WtHdGlbwaILdacSk7wgKBb6s3teUxa+7FSUlrARyv7K3IIEtTKvHqO/hMY
rvbomgoUkC5NZzbNiTZgVozDQOgWJLa7q8dSfxSbXKw5uLo2MblVlXxv6lHRr7b9LF7tuytMxDQO
m/P3+2qZbC2H8mJlvxRdTYL0b9hX0qKhkift5QY3k+HikSHr3BaQ39CnBQJ0uUi0eQs8/TSnkNbH
O7HdXfKSytjqPoYamn4vOnm24lhBgk2JePKgBPPBRbppYZ50lU5DNy+y7ZD4NbTySby9q1WDHfEe
+3k+5WWunOEVoiEnRrHvYGqBSZslr9//ZCg4DYLhDv2yrFbDAt+Wy4fxh1uZcgq9OI0L7dMIbMcb
hk1h+vHPRUeiV4CmWC54SqQPKrpSk+aIIHK+HzVdezX7/pd4OA4dQZDFv+UgUrZ5WehkPvPu6mia
stZ0jvqKpQBMc9J8TY9beaG5vf5qJ4vCEx1axqCd4ox/CRn+b6+INoI3qFL/eEULlax4UZerLmCO
5Vli9gdLO6E2EkKoz6PvXlX3lNLGdkyiIX5RAFghdaCFP90cAI5NdZ0zajSfYBBpt33SWj/qz2qQ
RD8NI4EeWDfckzlv6ohon/Zb2uKcuKNfb+m8k0uktDRmp4q3vdvIsdGht3iLDYpecIniGPepv/WL
xNmPhf/5/+Q2z3sVqLdP/+Gd11zuIHINHm4M6VEFZ4z4xAuqqBuC+mxAmw65U2oMwITIT4c7Z8lP
AzMnP21KlloMoaSxoxIcO0KTzgYBWjjuJWOdLMnr2wJH12ipjXUdGHWV6xdIBPdK36kHrdYnILVL
uhyCKHLkHagzuJJqOBpryz7QXcb5Zpze2Iji4wy75DZQISj0qgStsDZPr/DBjtex8chRGP0+HKC/
F84QoQS52+5cJa3l//ETF3G++4lNnMU2ESSQ/VvAYnef+/Pvz4oHZAzLrNUpJsJfJI1h0kM2J1q8
aXNatGUoE7fmsUpX1Yfo593VrPxsNVpBtusmwl3avmL77CLEsfIVq93aQITPYpM7uajoZTU7uTUi
ja/f3T3Q86JeyZTmhWm3UKr9h2NKtQuXyrlcEqmUyy0kdCyfFk43EJ+vbBoVmq84fvCpGx+f+3K5
kyVy977utoQg4M+PcbLxr2Jk6yAK5PMrH2VIsZzTgj+Qj7iYbrPODXW7fPDpoHBOGY1Pt8/9bZ4v
VkMWHr0ax2ibc9+TAPh4O9rGcxl5+V6HM+gsPkaYFfpFbrXQzk7BGM0cNian9vhXCbNmVfd6eBmi
Fnad9zuXc7BCK93xX/ZYVtz97mtjj89tNSypxPen3P2UgJwjdCz/IKvIZ6hAFvIKNW26aBcrjrfT
G+WleCe0+MB1AV8U7gSC47qXHTLkG7H5d4dOh0DUmdz3rTdHGnQSAV52GnoZA4DXrRhd5Ci2f9jb
aV0v141Cm0Eb9PlBCpWwFVr70ECbRIZDMaUPJCJ/WnPWvwalH78SE8qUXJRK++oNs/kgI3lW5Cuv
qqsZ266Pla92VaxjkObf6ZqOd+Nkod8JHhMhCn1Ps6m1ipagM4xnML0x0SgvLfUqtn4JSRWQEBsU
kYdtJNHovESjGdFoAmEvKuVLsFt2Wgd4Fm9ZN70/2mMHR5LAOuqjZj7KhT/AXpV9zwdlsTlaZT7O
bWA9er65Nb0KDoJ33xSajXNrjue7Se6MlBSY03dIPi++QGRKhLOsfkMXHhBJEF/6Gh64aQMnz/gg
lzYOrEteaj0RsR6thA6eKnV/MAAmkxFAlq7PtGwT2+N0lGFsel/HLgueIiduvijFKVzU6Wo360De
OVX03XYjco0Z3MxTQjG3N3ow7V7HSc1sHfZbLlMd/x6i1DjJSOzl5K2T3CWKWxbBBuhcyThsG8tq
0RPT6V4JtQJas2W5LKBmPO4iHdpFWeG2PUXLJLQI/dM+rI51Dj/YCr1nxNKXy21s0E9uKXSQA6nM
043M3G6TOSw4YVfmzqrCXwnCkgQpiy3CaWeWuc6uBbcEIIAl+ypsr4FuVZsmhjztbrurHQg/rLhU
i8tsZ3zG3PElJHt2il26UIXSG1ziZ3Aq6aegmMNLhoghVI7wc7/bUwearf9ih2UrvIRtci3HAFY1
h2bdztW3QgZ7J4htpLIqY9PzNdTU2PcUEPDB/u4pq30O4RuaB1xyQSqxtPRkeuAm9XZt5nxvWAnG
Vjh66DagYpGaP8UmPD29kPzUPthec9Ivdl3pm7iczBMyAn8VgVf+CK3ydhP/ffM+tdygBVb9EItu
5d8t53vpDw/tglBM67p9WkaCZsz/MXqfy2jPXPv8Ox1vQAUjH38rsOOjQ7owexUxbLRTbL4JliFy
bTQ284OwLcY6lItAa7p66SD3U8D67+SKf5vFR7zFgXS/eI/DQP70fz9APJsRfIJT5L/rZObkatKC
6JplelD7EhUObZrOcmcaAbM3H9QmUmUt5iZPzEMxKLSr4K6zmExJitoqcnt/HvhhoTjdL/eni40G
O8hIs7fJb+tTBBvoRoppbaQDMqyg0O7QaPykq+WD2MMxU8AIJSEfEWpupuFcGh8ifKL//lrbI3X8
xZ4Efb0x5qo9QZSsvP0SoxHyG1Pk3sMMH9O4yMGWszRSFhZxyAJq+Vron8WcT7SEJLQ/3/5e+UVv
f5jc3v5Z7n/I7Z9Gg7h/7Rj/Q9mZLMetbOv5VU6csRFG39zw9aD6IlnFYiNS0gQhkRL6vkvg6f0h
wa3Slo93hCcQcmUmSKpQQOZaf8MfJAf1KDNttarJV9kQDe1qGsz6zogbV9sZXvVJGWt174ZRc5eW
7E5slPNZ5+9QQbGecEdG69zwnBXoGeuIS7f5NNYQ1HPHLteyt40gOHTlloS+7dVrBKkQAL8bERi/
0yzfXPt+Y61rQ0U1+FfHtZnmwdSscFaZDk6g3QT4GdvrMh+D2386dRHNB808xMUKnP90M3VbGbLn
uDyTl5BnlY7wKRqdSANNaHJ/8F+aaAeCTrmTlUZZgYyM3j6iJf7VNAe2WLKjN1xkJ4PS2C7BIokv
ZtliaAsat9qg0LvK402e4dM0IYVhrkKEm+/jSXznTw+OjUjT+2o+WHyV7jW1Rk/Bmi3n56bTWmC1
C3xMtglgPgoVDjXgMTZwBTb9tz8mU1awweSg95gA4F/JXnmZSnhr+RvIECmbI3oW6p3h6eGtUdiz
jYV26UWh+SvXNzed4ofnVjbTfErXZVKm+yLz1YuJCOIFCSkLLCM7v36eJyenueufkdP5CMm5Zdl+
S52hvJHD5MEl/7GFR6JtrjHqqctvAUpm5kx5L6Kp0er1jHwfz1WbGt2EtPwqoxiu/Ioatl58TVR0
fWW0K6N57KT3ygNW5vWqKRB4acSgfy37+tQ6AViGAuF+3GSzH30ECgEUqv+Sd3q5iWNXuY/s3sPr
rqtvwlp17hy9BneB88CTvJLZsKJM+7RqIhCzIKnDuWSSYFOzMxU3fWZ7k87WMNZ7W0zrvJusb4PC
SsHLYnHfzKK7Udx/bwUbxdrWUUQ1bVB8RlQ+pEWH+FGEwtVcEMR1BWm3eYRs/hohW3LSkBjqpsmj
S4MpyvJoKBX/xWyn7IGv3/AQJeHyaNBbvBHqSLV2cqMsSvvFzKr8IQIe+scolKss3I9wX8jilNXY
/CwPs+BRS/IGrRZaMmTMj3WKJ49d79e/xbMeBaxmwGxgmE0FxzGwh81gd+KEvrA4eRkarnlkk/BE
cXKLy5AIMdhzHrrAKJb9yXUD8tuGJM4sXJPkZmQ5zZLZrIWy9srDOX41wn2/1C55OxUC3VbKiJpJ
TwaZd+2sM2rWXYJIQjjtcVAV29zQrMMwa3XH4psmhPEauZNxY/daAQAKP7nQ5h3iJm1JAVFzHiIT
gM/sJ9cmFiiBQXk2bPAVBnmih0SflXxcUoBaFvgPKn/yonuaolDkT++ILnyMjL30YyTKQsBXTbKO
EnOCQ4Xbqu/NtNFJN5wW3sNCcdBeBrvJT3ipwYyQTIiF/6C9hH6U44KCQx6ieyeJKVDNr3HhVPcu
ewl/VboV7wnWW/sFoqB0gQXeas7bLVq1cazskfsEheHZ6Z1kL4HHx52K5MVjZKbaMbOHaQejLHsl
WXNnlxZ7TunUhaoBecGieM0gFN9B6FAfuRGKu75wXgNJiMeMxVojj9DsZa9tqdPjuzyVBxK2FQiq
xFn3TULpIlGrV9I0MCFr5S42AVyskmHK17j2TFtPSYpz73XOelD7WViDWm9OIucC2zE8a4YZreXa
L2mnjw6dasd5YO28NmszwhR21pMtKtT3c197olJTrpChdt7bgaR/kbbfFRh06z7KqEAGoXkstKnY
R6z1NrAyp42WD8OtqYpyIx8vZlI96IHhPMl4y/6GpA8F519xMJYnlMXqN9dM89ey6JX82DoUqRy1
zU+ApRFOm+X8yMTlJ1GDA5Nlg35cWQjHnAGK+LcKy1uJ4/oT7jV3Bi6s85kIc0V6RYNX3qAokaFw
tR1mbpXaUJI1cq/ECDWPD6JM7UNjNPCCkZ5DQ4Zaz1Ptl8h7DUI7O65tn0qD0qjSQv7FiHFvdUX3
ip1Fv6/RQJrvnebFMYC0FlN+AXcwrPoxLTZw202g6rb2qlVvzaSiVec11iELxEgVj6aBphIJY/eh
mEWkar+vVpqIAIPPs5sIYSILKswHaTeChAJFpTssWVbVyj/aC+mXx/dH+7fxuqF2Bz0bjLVoyxFB
yBgsBpD0Ta+jPed0RbBLnNrejRhuvhixRhmCN/FR9pJjSFBuz62T7HVi82D0SfmYDY6N0PZBDoJ0
5Vy0qrqXLcOORjDVIVW/+fpZX5NjTdHezeFFdJbTYdvgZU/qGwDV/qmfD2aOvKWOTtVeNvvanUBm
F19lS05xm+jVMdUAFzXGA2Hq9zEyi5uo8IwD7l9UQec6XGUU0CeSsFrLep2MyTrc4NlAFtCIv8YV
JdR2cwp0sWWUY2VvngC8ncfKUJ76YG6rkc0//+drkPOfqlyMGLOCZ8BjOF6adoQnFJUDASI/989W
2bzIEgQVSv/sKuWLLFe4oefJPlmtsOaRDiMl+ug/zJuvIkf6BcRVi/rYLlKzvVw+ykWjr6BY79hh
fCeXmaEfBnsvF2Ije1mVppfJeB10LIVnIWV5KJG1PvnasL8m/Gz0+GRoyffhBeFhZd7v/dpDwSYp
0kOqF6/+zExLQ3M49K2IQUHCW7NCIORNqNVkPmlCkN2aTdQ/52bUXywsJaroC4sf/4c7/EiAbrxn
Cm5L4WSVT9jhGbsIHPstGyCU3gJrdq5ImxffLt+8eJw2bmA3a2TBC+CruLfGumbvHSk6A378b23Z
n879XarzFa6gi/xFf53qvlhJQl4Vds0jHio8fcrxJEO1UiCvGOtPksAnD8FceSUNiS7szPNbDv+f
k8qQYqOQbFw1vPeKiV8ni51t3HTu0ZV6B3rntpsPhm4PiHvnxB67u6KtAK6MyicLDrXM/9qubR5R
1Rk3zciaBTOGaHqpQ9CBKYmhjZQ/kfJ0i/BeP26o0eK2bBvWHib9kz3reUWzQJc8gzflnNqKh39Y
tuP2jw45ZKDOgn+Ts5GtPMOlLhWIhKSjaW9D5Nm2kkAh/YU9c4fgSAPCB76FVmqHhnLhjYZh2ri6
QsRE7h+9oIxuJOhrkr3yVELJSAMA7hd/612uMPfIefJSgxOrWxPbV1b7Di8pVQHL71R9pt8Z/Zvg
5Y6IPJlPVhYs5g15OidKW61ACpBNRgNoU1s1AfTwrB/1zXIzybbwDH1TAOBW99f+5WYakv68CF5k
woN7oiHkEfStchtPmrrrEjN4VPEehYtrNF8Gw32MpWo0/39JYak/faf/oiJN/DkNc/jddRQ8pNjn
7cXgDAdh6W+T6J5aiaRq7AZzEZrL99CKdeu204enqFTWU6svOgILHlTw/7Xis+TZKvdZrhJHZ5xr
lw3XEksTLFtY7dQIjBuAL4PmeRBCfe02PD+NV4p1Op4ZeQekxDNeMcFVd5HRGDvZW7vYbJmhBWzE
6sBomyWaCp0XoRxnYjcw202b2hje2i3OsfLTl7G+juOVYQOTl01DdT6GyKY8yKvsgRIPB21SE3Vf
h/bXyRPFB+qVv0Qj/5WsqyQTmypFyAqN6jbYSzq4PFx7rjF5NkiKuDzVOgwSEDuGxhRpN/rgHOMQ
LpbjGj90Rb1LKjt4zxMgMDA4QZol3/tU0b/aVY7GQJ8nX+oAKvzUghrTGqBGMMbil8BHyk+Q2H4e
St1b210KVVNnuZGm7KimkMdiVoqz5lnZmQIY5dc6ML+lvbtPsxnNBxE/6mr1W++xLtezxn4EuCR2
Fb/wbTHyjLdrSsLS8qxVuuSo6OIg9chkSB6y2T3oaoq2jJ3NhOS4wTSyY58mB6lpJkOVMr6Eg9tD
nen6pxGqbJdgO+3N1o4QnpKtH/qgBOYmjPL4Pg37G58yAsJboKYpJSvkTjO7f0LPrz762lxUnq9U
kgVhn2jMLh9AXrVfQNcr5DWoHL1axWDwdqabf7nCXuXZb+MS7qsW8Y3phYyJMe/wPFQq61wJH+SW
LumRy4Ovxu0w7whlTEe4Unen8EGGuFGRGMx49cnOEUH1Owi2L0iq5s+Rk0+kneDN9xHvK1fHzXZk
zSL5UDnOLGswEtXR8NTsOQL/uheTkW0UdVB2emUX60IJvALeV6TdIbG786cguFliflo/5f1g3Dur
0jALhH8yCwsNm3LgvIazDe1nXhUD6EZjugyW9UOGqZZ5PKUd/WjkRfjcV9X+DxtiK9Jg2gQTHN65
bi0PyOH0ZxEm2OJaHyEZz8pA33W1ka758HsgarNFjUPO6E7KgC3uWq5a4zBDmm0tVcICK+Ipbuf5
qkPcgfo5zPqyqE/d5AQXnoLhpZ4PZhF5a9MCXCA7ZEz2RmDr1RndMY+Xl7ADlQeEAY7/j2skhfpd
FJ52lBNlp6EPn5DkMw5aDxOncHHwk3WZ5ZBZyGLMEhrykNiNA7DEOV5D8uxa+5HNwdJ/1v4jlOH8
sOzwtDCZ9nkg3NWCMNfEGF1yc2NjNNZs0YhBAHIe3TvN/sOy02ADA+46t56GJrCfovBz2/jDo4yk
+SBAVzTDQfYF5ZjfKKVLIjwAYbnsocA+T7sr5COPRm7/a1tCPX4Dh7RN/kLRKdhfh+gCu2Wsb9Kj
NMRDB9ICiv6EmC16NUERYMkXqneyL/cdsRnLqdnL3shFtT4KR+R2AY4/K5ZancdIW6bWo1avsmbG
QovAXKMjkVO8mT1ZbHIax8xNfoToYjRbUjkA8mPltPwfYpy5TSe0TetCs6k/A9RJwTxeyqCszzGs
9SucR8ZV/hI4aIz1UAX5bSyZkN/G+rM57nXsWIqfQLyBHyMxZRRnuNhir4xKwfKQlK7mZ29NIKpL
bcbdIzjKexmO6vhjlMQ96FP5+yhDv5fhkCqFj+jdJqwaA1kf4d3oPh6kLG8N8BNlsybjXX4NGvMu
SzDua/thY+hK/BYW7sSXIwqfs6Rzt3gRFut6RF0SNdv20Ua18Rh2XjNbTTSP8iB4ubLq6NU9nBG8
VmMXYiTK15d4RrN3tm0u9TY7ZiMem9N0kEU3WT+TNbgO4KpAv+sankw/wB+5f5WDrvEictKthnnV
5trRY7X9V1GzanwIcWXhbnxQFWsUkDBAHPBYWM60aDzjEPuYWsjlXuOyU2cfcutzm4fm7MAgY/IQ
u3BGO0f/yd62u88dkIqlDauLPNOrUPvplvRMssaDo3ytBLqgthJhtmE3xSsMOXflpGZ2J3uDydx5
2hg/dCmanNYmLfxkK1M00xC+W2HlHyX/Q3JKJtiXO8vxrPVyR7qBYp/gbSwT5JBU4LysIFuM2TFm
UrntOyd5FimFexoCDf2meHJP43xG4sH9vTc2X8g3BWtM6s3PKJFspN+Nz1p1E9TCvRNapd+7Ppl7
STcXCsaAtZZ8GlzcMPymtXYBEO213bfOERyduQ6Uxt/7AS9IXgvt3YCVsny3yndmFE2fEKXLT7Jl
zP7LmoBXKN+vxuzOzG8g++TBxfAKeJZ0NRkS0u+1Fe77vDMe2vlgu16OQbZqH4OJN+i6ycy7Brjv
aWl6ypEyoH+RY62Cl4dvDTs5vQDa+TCVYXBraeL7x/Bo9rMmbbnWupbtATmpcavVyEb743z1VPHV
tfwN5Gy76l9HQ8eAYi5RZiTI1k5bBttrdVLWJK/N6xDXSUh8yh6gNlQCZL3T1RptM06VPifZeqN6
DdPhgTUCGel6vMFEu/w5ae23thRoIFWmjyx/YiICVs5YBfw4I7vKKL9CKMlzo3yE4luty84BJeUV
d9o01DgNkua1WVRZ+2l0/qxoj0MRbZKAh6D8Tl0PcFee2SZWNzIkv6lOwP+m4b/LCAUeRAyDGlM/
ffKKlQzWjrIZPB8xLEPAuson3zv0aX0yZh1E5FyrfrWcLt0GppQ99wOqIPNwGORU6WIUs4PSCe+N
KaxXilLqewMBx/sBnT5zNY0oWsWGgnvcHFwGzmcG1d8bRc8ffhssTxsLoccpaU/XsY6rWIfGdT5J
SJOEMMVZ4K4Has7rXEKeEPiKb2W3PCywJolwus75DRZ1Hb4E5TXl8KxBvps/7BsOwu+23MdHZH1R
8BXv6rzLj9G4RKSJXMNZYB8iO5ZxyV/j3GqKDoYq3odf8sAtN8tJo3B+UiLj3QTSuJedsdQWlqdj
pKd3bauurmP/mO+EWF5ZZY5b2K8Lj3F41Gwo3I3TK/c4mMhn1JWf1oWVWJWWXx6uHQ2ri30JbmEl
Y53jTfdVcpL3egGbBDuv8dGnQmvdGLVCU+sea9ybi70d5trdv//1P//3/3oT/xX8KC5Fygs//1fe
ZZcC8frmv/9tW//+V7mEj+///W9L91y2M46l66hpuaapq/S/fXtEIYfR2v8AFC2KKMjTG7Dd2daK
Eih0Ll/yOTcqM+gyc27A0CVdrT8JnF4aPRXPOm/vI65h7hab9embPFCudLekKLRjnNfjs2fVyOvM
lFZNS1H4L8ez5oMPrweBNK4Zq99QP30UotMPejLZ8NkGaA036OeZNwja3ZYOeT3sy2dXAXzCV1jT
+zs7VxUdq788uEMdckdJmzIS7rhLhi4QPnYBFQxwLY96sBJzM0qRW1JxinAKK16TiohxrOCQjOij
AytL98AdkiUWjdHJVrj/5YiimuyzwPn4OgkEaXaQF0pTnOf/+dNw9b9/Goaqekizk62xXMvQ+Dz+
/mmkiUHaBdzFTZqA8xmtoL6kbl1TMNSaDW675VbG5AH/CO1UNvESQkcO1lYH/Fo3m3hDxRV9l7Qa
7uHT9MsBQ44crGjBexdgNeIuaTiAUu60/RgNTbRtm+od3d7Nh8xH6TbuWWlFsA5VssuIYkFvvLYp
NFDBmoLmvp7PZIdekR+QMTd3ACJ0Ld56MrjMLq1WRzFgn1qGDxWZDeOyxcxRzJiKjw2n0vKuTzXj
Y8OJXGAM6qi+kUPlpNFs2HSGnXEjX4FwKprj9ZJLjEumtWdfZEtesitEvJNN9PziexSLlj2rvK68
JFhpY/kx8pKervhovLHp1fkCHf75ozZU44/PWvMch68caWLDAjmu/vHNUxTXwGwsDw9RqWo3InXJ
2ze4Q+gpGsA4GLibNhzB8/gF6TrZHrvUhhvzpI+xde7MEsO8Bv/cNZJW9XZpe5HS3HkIuzlR99eY
uuFTEDF6uUZeOucQ9Peh1rKBTHriPY9e8hWbvOnNmLJnTJS8TyMiZTtD6frjVAX2A896nmFup74F
bQs3IGy++CGVwomM5C1WOj7CDw3GndMwvSE31w5j9Gb7trfO6i4/677AaZz7HYqNVUMphORn8tOS
oLFXnjUolynJU0TpkfYwvfQJadTgxoAMdy8Pak26IcyTBnHSyYVDC31LxmSv0KNu13VGsK77vp1t
D5kXFmQj8LU7LbFczMzLXtePwSD6TTIkEW//FI1rX2/JQ3Hrw09HDUcedHIKjc22VrYmZxAn2xK3
V8FrC+k8/JV5ei8XES5l5oZFxPZ6EatAAwMIQrxcOK2q6kgOLMNNMNZIDuJ0wONdo4wUa+U5S/El
GhK9xPakKs/lHGtho/Oac+0fYRvFh2W07DHb+NV3OmAhcu48Q06TTRi598oAkE+GlovIU61wjlrf
GhBVDC4sY/Iqnm68FHa0t/o4vu0nAAvi10G3CyQNUJQHS0wZ/Y8O2QyDFhZNBaxYNuWM6zjTVoxj
hm7tH/Frs0PpzPFwM/tP0wd7hDWWAYCUE5xOnzZhiGTtleal1s7GVcLsNkCOlkK5JIjNtLG5w587
rqGFVGadMpctpPpVKTLxrYsqa9U0pbjXzNQ81ZXbr2XHlE1nxOnzT441Vce4TRP05MrsG8KZsh+D
+G6llcZBRXTkTBKyPTvC4QD4fWuCyl9bc9MFEGEiQk9JWwU4sbMCkOUbOUet8nsDr+yj6bq6tpLD
rYgdOSin+XIysPT5VW0fTbu9LIPkNfAiyHewOd2VHN3D3z6wMSb7T0Y3fir7g6NjvFd2+l1Djhkl
f9d8SAwEhLRoacRk7U9Glx5lVzcPsnu+fBT6MtzPaMqYyf6L0iJsZNmUHeas6IyXRkpqm3EyppP9
wMV+yJfryYuWWsAybYbszD9djh1ikGpB+1AbkwUS2ZhOZYDwlA0EZCRrGSo6ag4dVDv8ZicsbOPK
uO991biXZ1VmTitbd8d9hCydDRSEbk8tds3omHdLzFHi9i5lAS87l9jQUKCAdAtsSP4A2dVYQodE
jPuDbP72U1KSIyKpb8T8g2U8mwZ4o/3sy+YB2JnjZTGSD+zD9yUGvPP0z68I3fX+eEXoqut6+LU5
lsepac3Lhd8WZzzvdYcklrHH+GNGfKW2lu5EY3blZ/8Yi2q4QYbLv5gKYqTtUGVvpqruK6yNPtcm
r5KqmH4fQapHfC4zTMzyWvN4HlBAr3qBBrvbwAWeWXlT2HZr2StFp2Xv1MEUtnLV+G2w56Doy1fr
4k5Ku2uiIeJN5EIBT8Zyfsa66MdUQn+I54MwAETFeHUfZCyM6pdoqPVb4drfE+icN0ga6w/LQVX2
OLDHZ9mSw+WZvI6WtHQwAsEd+8Iqt7zVZq13wwu7ejXFaEVXija/E1F9b0aV4HI6t4MUBs1/7EGl
0Zv03wfM4+WVp/nycpJsyjMZk82OtefW9wMsa379BJQyeM/+9sP+X9ey9OGBEoK6v15v+e3mCb//
8te/owjz5tAa2u3111qmXIfI3yvN4qOeAfGLPds/sU0yVkJzsi8uXnRr2DbDLYhE52X0QJKzsEdd
ZhQ7baamSJWl37SXFtUlnnAoBM9bvOsBWT9jPVpuxZ4fIovsuF5CeKhT7P7osfoG/80ucNYd/P6L
3RtvqFr4x1EvcX2DBFNjlKWra0eZXeAmMyUflbUrZP/6onU/kxMpD2Osih2KVQh39T+STnGWsDsk
+caubH+faYPRr6Yswck3FIp3Fw1Vsetn8odsxnNMni0j7bL071qNemFn1+atfLM0ToW4fKjtl/eM
5BtbnQ6MPNL1H/6oio+e+UUjx0SW0azrzkKyj3XX3mgd/FaNOH21XWffjYX5zfYcd43tYXDCSje4
VDFZ4RIX0m8+LNMB9Zun1hJYImCVt5VxvqVBN9TfLEywtmGVW8fUMJPnRMnwS5yC7VRTHmIbPBPT
E6zy1KBrwGgglbYEXb5Ztz2aNzKGs7p5bg2frdMYqd6KR2EDO5Og7K5iD4yJByx/ZS7/iKhL9mWt
+Leu0cQ3SVWQm+jVmkpfXu+AmCYPPPDLDbiP5lPRZQb2EHry1c6qFzBLmH2IdIPNn7gVIf6onaJo
ZzvXqZeLgqWcp+rnJZaxJV1FQ3+Mefrftl310VHPZ2aOiTzkRu4+OU4G5TwqSW9BhOtI1YXBOY7v
pENtgJK46lvhWY/huoGZVXayCYwRilJdRPuJ5/VZOteGvKmPfhz0ytOSmNc8swXS01wkWFIkSr1J
4ry5NZjyPMclcknG46a4/POjXnO9eWv320acNJhmqw6gPs1iM2DZf2z91KFI2aT3+k50FIp94H5H
rW0CKkIgimyK1t8Qsto0fZz+sK34R2K23afYDGFlVxmCfEWqnVzQ8hvFHYfPU5qfeSO+TxPLEfQE
281IOecVX45oi7pqdpBN02EfFVLcIO9JrxGamxznv6dSG7RHE0S9DIeNWd2Zg20iY8enWopsOjbj
10Dr7E+aK/pLFxmIdavlK8ar/tEYkImI54xvqJS4LaVqcpC9ZR+96spTh2Dck3RB1JT7Vgzho4y0
VYlqseDORkAuLyijLJ2qqLJDGIDx9vQ0AUz610GU4rXii713E1QNgtKNl04D7Ta+O7/asltOw3UE
4VojcLaVVVgrU/Omc+415rpxw+LTMGbZOpss94Wcgo52cjphQgIupMRy56vSDm8qQMLvRaY+dZip
vvPguA1VP/oJem2nqyJGD8EBDMe6LF7FAPKEmr20alqv8OsYXl0k6KCkdnDyC+URQaujDGOpEAJe
Vl5Uq7nr+34o9pY9oXLgZ9pxjuVTTyJURwBqZSVFwm5nr5Sa/4Z+OfnXdIofIJZ5hxgF54Pqkipy
K0NF16JDGlxDDjz7v4a6IotXtmaCc5/Hw074Y7wTQpeXl9YhEx30sP249N+GomZkPQed+xZNtXoX
Zt24VQG4fVJy42fhVfYPa3jB8SJ/LzoydnGqpk9QpvpVOUWfRGiQ/XJ078hSMHkuLFQZo8kAbmam
6XOPF80ZxPi9amLChV1oeGiUoLyUwOnWOsi7fSM6SBHKcDenrm5ly9HC0VqVZX9nZ62xp7b5JU0V
9QVw6jcLZ+4fNlZfbh2ab3ldsNGuu+jJjCt316mZcxMWuIFZNtCkfJ6E7dU3Z54EtHBViuFj0hD0
9iZt0ROWIIUEWUxk4PPT0oJVd/TCCa/VGfjw9xF6grFVpFSX0VA0Fqf9aQHf/Wou2LywLWGqgPNV
EfYGf17qSn8uIq18MClGaftO6TP4QJXDd0O1732kY297J7uTodToa0oQaTNuwYh466hTbLIcHOTg
3OEOTbMUkcwhbZzVoNTBjd7BoIbw/SA3uINb3KhWQPFkDikKBPGQh89182sG6Lg1LiXh6yRt9Mxt
HXTGRsbUNt0kwkDCvelOqulb9/p8kGeV3tp89xpjTZ5KOwgNhoR8EkRtwCZaODhAl3X45Oph9WBE
qGPOzwp5SO1U23geGVY5IXCr8sFHvOY6Ql4jKwpr22ew2Tzt2UW77qYSNpY3stm22X0vmvuGW7Rb
e+G2q6zkWfaZdvKpQ1vmLFtOjXQ+TmDH1teqSxeX/lYNKm2TDy3KuOgM8aIg035c2m3+xZoS9zKa
Sgyux5xu4976svRd58reFKOAx+t8GQOgNd6j77NSIfGMI2vioeBXjuEZP7ZJVO1bTNxupsmYXXio
TedYlb5OlfUib1CU1Nfqr0mZoVaPfgr6Hk2w+0rPsrNdKqhz++ajPGRuXGwmJWd5bnX1WevS5CV0
2ZJhQfDUiCp8AXvdjclLFirq06C1azaIyUsejO3DhPmdnKCCE7i3eU9A4ENgGBEtvO5LJAUnRI5k
syTXfFuXybtsiXnEYBUZKiRVcBtb1M3wUt61LihTgWr8A1nHeI2hovNmxUf57BI5qutGbfWP+aQr
eznU7uxwGVoUpfvmTYeuhUFv+s5TM0sVwtoPoca73V6ytHKgR4DwtW4RnZe912aGdtLvg+e56Eud
Uvbqt3XPhj2jbvLFMPxkzSMYz7eorJ/YM19kXNHEsK3dHDo2WN0vGLeilxpv1aJAkhO1qXU1hvU3
USgHjLn1nxW2gLhBWN+apFJWuaicR+HV484SsX7rzECxTuD/FwXpIfKt9CC3W6br9xuqNdlBbsYg
GA0bUY8fvSm16E1OSQBWuZ5sxhzfRti1xieRZ8lBEf3vTW9u1qqrfyqs9qP32pRzS3xlnoqSl+MQ
uqx6MiomdghDEGOKL1Ff7YNqGN/Bp/8Y/dR59r3Q3kVFQeGgrsG2dFQ4M8QSvsfDDzlST5GVnArq
BTnKRHuvYfVfm2V1Q9IOS/Euatfl3JSxADzucvbPsZKy+BSwZWWVYeO/DgJXRS822E/zqWvZ1XrI
BdbyjQgpoKbRSZ7JQwZsZ+uMrb5Rh1kGQkfRQs2Lz0OFSSJeof22LbXiswPWZBVXlICzrI5eDAON
4XlYgC7aTdr07rofky/sXFrlaahKbWehLc/2xRJf24hqgwIm6KyXaoHiDx1S6FsFB4lWnfLRAQWg
Wkmxb9lxnSE7PIuczmRmDyEJ+EcIpEcWZ+5Ztny4Rgc/6OO1bMqD0rQvLB1fRh7zqzrMfkpJZB6Q
5llyC+VhcENA5V10vMabKLkUDggKVTGVraI6+jNKVcUqVW3SjptRK/wfluVnq6g33WdV6cXWiHZm
VtgXr/dMpJBC5TN+PI9aNzg/PfFeYa32bttuuqr5v/qkCAeHM5cccGFY4qhjYwfdsLuxsjw7RUHo
sibNps9w4+4WtP1Qgi4rklccqqq1Ftk3RlgiIlGU+dvUF4d2BJXDG+xUmgMoFzMZLmOZ+l97TVNX
Pna6nwockDcj65FLJmA46K3+2qDnc5GHuq/whEiren2NybMJQ4UpA858jQur07Y5cNVN9Wu+7DWj
WxxmhntMrmNvBXvCm3nkK1b7+lpTShSJPC/9nqmDcYsW6PToR9DCFZOMm2FPjzKkCpS/LT3od7Ip
O6pIX3V4+V20eVgdN/bBMkmaNEbYIxfMcyjrgByWsXpR2Z/dej5wyxjI2vfwObTy/nskImujGK5z
G4qqvAwmarIDFK7v6mCfhG+rN3XaVDsz9vGokdqiyyn8tvhQj0hl/WHKIu1ZroqlS7eUMV1kSI00
SA6Bkt92yEBuc6B4JyWsnPWYosUwJeVcKvrVBn0KbMgB818B8VhlHjWKrrDjV7SVsSdNvcfcG9Wn
BnsH3n3xK2qZwcnpsTCSTSfRqNc2abPNxzx5xVecIjx0XtyxGKwbxlcMM/t72elY1MiFwuomDh9y
GF4rFSPUT3mjCnjASnFJWJztR6Hj35pr6Q1iHOoh7UucL2Lb2mrq2D5mU6jizpiJ114FqaqOTfmm
mPkhFg4J6TSlRFQOs9Ridq+PWvnNzlKxEmFkfooapdgMRe9cJsuDOTAM6t00ocI7BG545JPrTnHB
Ih4qvP0Qh7azFoZ3rLqqQR49bO6CTKVYMp9dD47vVDs0G6tV4/W4y2Hw1lLdifNNz35L3fesd5d2
2akFEMZ5kAxWaZFv6jnIjqG9a+r0OVBL/m981XlUQ89+7BE3i7KBjQzl/sfJMfrbxEp+ypY8tE1t
wdIC+CjHx3nUnn0jXcYrSuE8DhirQrMT0R7SNloUbilumrgaN2qlFje5avafreaQzJywxtKLoyfa
fNtL5ljxfyg7s+Y2lW7vfyKqmIdbNEu2bNmxY+eGys5OoIFmnj/9+dHOE+/9vKdO1XtDqQeQLCO6
11r/QXxHgrK4eaksN93kzPsIP6aQ2KF8Nyb2e70LM3CCdfkmcK5auxeE8PGLRafso6l3v+IhGh6H
RbN4KjV/k+Oq3t1eUt1s0+EUd235Pjg7QNn6W2E1yFfDQtqq7ibqZGgPnkHdXp9vZTa+Zb2Oe/jk
j3c+Atm7JRmMoyQUf4sivHAowr/w88KwMyMH7NaL8zZ6vtyaHhK8CCy4bzOiDX5cvtWDXl58iGwI
lNHdRjCXehvGisigF02Flu8iTDZeJxb71wp9sZu71LiQ00VqPb0zia1C1fSXKD0WSRl/nCBagfI7
S/9Rjap5LtWhAzmrDoz28iaSZLqkk8n9tR6yugiLuC8fKXt5N7fHNDJBX/1zQtWASvIq2IOffRE5
zP3sD3KbZ1SxNgbcI4Q8QSGqq6iJsNt/lSg/nlVL9Sd2sy1M/No62863VuKOxTaKyxHem4vUPVxm
Yzfn+RjarjkVWE9Fw51RkHXYo6J8NJxlwp2KvsWIZu3jpTonSiFKqRF1NfVqBHSaSiIY4U/9Yyyh
J89aMn6zHEkSui6Sazwa0WNh2DgHrwOe4CbzDA1SR5sMN7JKvywkub75suo3ZqRl941fabdGmH99
XGiV0NXlMy6deeIv16GA2OCleB3IZaI2BOLODNXLtOpeV4Dw6R99sSads+nHqMVwLno1k7vFAzrZ
Op5pb9VpsTX4+6CB26gkUA2M3YxWJg9KP/VPl+548YPTVu1N9etkT9Us1bU4rUF5HaIT4jcl2/HW
CM12gQ/h59Vzozv5xTIRbPY9IwXY5JSvhuag/qgmeySTYfF3Gy/pswqpWROpSjk8qlFZeTEaiXW2
S6yufJZJmj/Z9tPHVPDyf4l5/Io2YfXxztJq+qstsKFY31hdoSmr3x/m44KGkB8fRjXVoUybf3yg
Jo/bI4QMjLzXt1RX+veH6r3+Lu7i+yUJskek6PPHVLfZPJDOAvsNjelPf98aFKJlVO0/B3yK6VdR
Uvxbp6n+PNdT+PL+iifhkVibJlYNcJAJYmiCzpH3ZL2fSthKACcatp3kg8RRjcI0ix6wnoWu3l3K
YmzO1HGxrMKLdOegLWafZN1MuyRNyACDZd1GZSL2SgtNHSaqZ9saO4x/9OWBgX8AfqH7MnGBFGKi
0dhTs++spn11O/O59mLxty0McL6iILuCm4dku3MO/FQ8ApZmX73OGPmDqlL/YbRkpB2z6x8CkyQH
5VyxF66pvZap9dikI8L0jv/VISv5MmD9s3dl0+xNYT3WSCVDgq3wz8aP560QziMqtNHPxmr2WtFN
30cX/pzJluJm5HV0mHM5n9RJaYTpdm4uy1vOScqteOiqPeyt+R8nSUtEh3E9qUBT62EUOtTx9aQ/
7+TNqAZsu9nO35GAMnamlqHFZ/Jbr6HP4GaRyR9jjLzn/zljZgaSZP/7NeCH5z+Q8P24Bvzz7eLG
+X1Uv0+5Jh/VwYTl/VhDFN6W0JR30sh8nzWjTx6Yli49+301TyYy2HgITGUpldt+8rd22eWvWi5F
WGiG8TPNz7KwrV+O4X/tnDL66iw6ei82SGUDkN7R0OrhpM72/pwdrGfrem7+OTvwodPNpD14/OG7
3LteqHizRSXAbi9W/mjEznJVAyqNXU069yyuJgpKp/Wps0s8SrCdosCZT61AUTMz94nTZkfd6LJ3
339RIUszsYEpi5UmMnvZu/vP7n/NVnGMmp2OhhuObf3ex51jn3ieFnfderDLVag08NiTtuVK8w4I
mGIeH+zvsvzJSFvrQPXDOdRrhLoY5Q9P5wk+2IP5gqjkP1omrQw+IBgyIt11pmolTT/9KLTngFAE
3IhRvQSoDi3EEF/jODMxc5vLj2Y/5tmOYsF0VKPoSFEvH0Eeodn8bPbFYTAD96uwjPmMGBs17zwl
bzm5xmZcP68i8CvuvjroneiOnWEh42es4u+V5VKhW9ufTH+zKlo0eti9OnGfkj7MHRJcQQrRvURp
37GfVZc7z2XYlLK6ADZwnnU5YDjw7xNgP25H5VTvJA2SeW22rUtk3+1EX+7iKBlgciNXqu7rTj6P
Vu58Bzy7bDvscdESaocrNwArRiLfcfha4dsQ8khbQBu0gmmvUpYmOgs3XJjCdK5YMT9Hfd0UOxfy
18Gg/EMk1U+HvrOqt7ofvwBra26T1LWb70WPk11Vb2COKYJpmrNTs0zCo3CAdXdt7QyeIFoSl3G2
tmrQLRztpHs+aKf1ilmuUQCg0HNRo94t4GLn2linkyU8V9RIPw41m6ci/Gwbpft7pIE5HsLzlDuC
f+/8eV7RJj4ZoelqFgiOoqzsnlAIb54GIqBbIJ8idH+eVE8Om+hYeGW6UU01sCQxwgCFMI+qTx2K
cg8ZH2OaDP659Pt5M8q6jDcLKqcnDFGqEFS5uKnD6CPWMhb1Q+rHVUyWqB0fTJPNl2qiRl3ugf6V
G91una0lHLRKTGFPYVoF3b061GXR3y9rERKs1t+qK6qW7v4f87woFZeyBmi9zlVTcnI5pxRydFoa
/plIcUElOov8szr4f17994ianrhzvkFlFOGsdaLqU68+Zs+itw4x6r5WXIoLlDhxUa/+t+b/V1+Q
DkhTeE66/bweDHGophALNDmP9+pASmK8L1eIeQWmkuesv/scDP5MU32zjs1oDphFzVdnwq5Bflq9
1Mc6vZMIA6q56tTRif/g66mpW7vJagyAwrZ+F1tLtAWqgnG2gPbltkLvQ08MiPhppsFrNYH8YPwx
wa4pTf8WtCqi7p7ARj4JXctudvsUoyKeIeWny1Oku3po2qiap6z7FSaABzG31s7vveQNsWpq1U2A
MjaJ1K+Y2Lb8MN+a2EjvSnNNViaVeBtKsIE6AI2Takb9dJdraEz0QEJvY2Y8O7KTr60N8m8CIlpQ
l3EbgFaq6WCB64ZRr72hxmmcVJ83+uMDXDEmW9VJo8xxUS3VD+FMXi18QJXtpRB1clkmxLJVs298
f1vpvnNko2pRgtS/BECSH0s8DkpP3xpz7l/7oURKE+OjCIGJ9qnBsYT0ENSarUD81VwVcv9BipKu
pV9uWTN87QfNgUU6xk+LHkEF6IDF+/FTIfL4CXvPBAlw+bcaH9dJdZ/l+8GHVa1mqIEkvQbGrUq9
FzKW1aNvjvFrOT0rzoqJ1e611cuc7C4FzVnvyuOMLc5ONYM1EQEOwvkguKyX8FwdbgHEnx3ei+XW
7m3jTcumj90Teg/AKufh+9Ra9cYRS3mLplijzN5NJ2Fa4iH7cxJe1h8nlWAz1EkWaZ2Cnde6AKgV
Q6JuaAaJvKmWlYPB6SCpUQ9lTXF86LW6nYMsXE9QfUUj/nHCDLa4w/0wu+9t+dLF6Q+5yg82WTRs
XJCR97HdOzdSWX9XtTl/Q/oaG1EN9Y2htfVbn1g/1XyzM5pNbFHeWnDavNU+5udqINEx8aymdro3
RFWtJmoJ/JjIvk8KP9gbyl5sPRRTjEhxT51xdRb77FfN1inHAZGMotviRYbh9r/nCBC6aEONsLpd
6aPky/UkDpWn31SxyTf+mpfuVZ9s+daP7po3YqdcGyia+8Oon6TQ5DX2EoI8I41eZA910l/89men
s0G27V//Pttr7OTj7MS1/3n20MVNSNQxb1USBpuh8ipwr7jCqjM3GmaR26EfIJardEzdJe4OIM+P
Dh3CzVxH3gPyOdC0JXRvNkyU1K2Eddpsqy/B5FxnzPVAdZGOXZq7PAmM92Y9cekWCoGe9/vEpJ+H
xyAlbJ38oLyU+EhvGsVmT+aET4LUzkgK+vSx91NsirWvX/s+9od8wx9NNYjfcHCK7XTcucUOOLL3
6LoNsIoU78/PVu9vgZX7j9kk2xuabu2Nntnqv7ajqB6A4qYPxBYytOJmfiM1h6KJOxLorc0+wnSQ
zPuzmhaVVA1L20aIGDeRTYwgpoKoOZLvNrHm8U6VQax/N9Uo/kjj3ZQV8c60elYAab/OepW9UO9l
Zwla/JgVafKlKqwfykJcTsurVZu/J5iaC3lPWDvNidtbTS3rce6e3QZF9s+eIXn+kPNQ47TUUGv0
0cEaZy30hcd0l8SQGJLimK/fhKMPv/sqURVH1Yz+zFN9ptDJXtVXhLj9J9Hn57Gi+K1amORox2YS
LIEdcusbZ/Tfl0jKOzVqem2FTJZJOtcdZjgz7JwHfTZOqqk20qqZeIx+NtVo4e4/MC+WZT46iQmO
n7e5eA3I5hXLr7rUqyRotIuMuyOZ2m6VZ6l5VKfJsWKROQo3mr4ERvmtTxIkFXP/veiC5YuaoI+J
QEEGFghh3seE3Ijea3/8PUFdIRnNLFxdCO/+31mTVidHos7fl/F4Hwt11h9/LvM5QX2QVjbfTEtW
z0RW7r5pNachV7tEF7wZiMxMB7yGy/brojqzydxXhVOf/qtfDaq+j9NUO/LNw1KgkHropWHcDAm4
HKK1FlpT671XAdQuaeIsGwwYgbG1fBtJyf/fACFTD/z/ourYXhAYHgwdy4Ekorum/280KLitwnWN
yjmx1i3HBHOGZRMYsji3RB/zx8ucfwM1k7WXxOlwqmDVGGYf723MHXbGVAdf2iRaayMLCAHdtUnu
0Zd0RXnXTlURUpEKvkjcEckYOufewxJjI0OwXf4XNVMs4uIZGJua68S28wuUNqBtqkHE9RwqU759
VE1qJ9qOpJS2U5PFhLWLH/vvHpq+G2gN7hfHnQldOrLsqmk5lL3gPO3roaHEuM4w+LBdmeTYYNMS
RfaKR1R5VS3s0ZONMO303PcznERS5Wc7DqbTRGJrmyCne+xHUEpBWtZbviK0NDo0iWTDul0uafAx
asaBC+uvr05q8lJZG8PHdK1Er+zUd0v3MiC6vnVFJSk40wx0rLH5XDkkXtm9gM+I98nYI0y9jpp5
H+1LOdbEPTQ1S4sOU5xN29TQBYw8NDPJ+qX33npgr5zeL64enOeg36oWMmm/+9W0zz6CQ2B+GeGE
75U/+1Iv79XBFWX18eqzzzDMx0l43vGzi4QTHmbrQfUhFQmnh2cQCYx/DahRbY4EyhaiOZPGcE4f
fRHio0EMvHVxsmcBx/u+yOMI0DdM4r2VAo1Xnf8Y+WyPEOUDz41hs3He5+HjCpZcxZ/t/tGYzN+j
S+kjZxTjOmIuUn+a0VGq7fJJNTIedoc5seeNaurrhNytfxiYf1xUl6q7lU52c1YbFNVVoFSxhSRJ
0X3t67okeSyHaltxg5HtfHChS9zFyTg+kY4CFC/hk6imOmS2Cbqo8cQJ9dDxyXUJ6KTEUXk9QR2Q
1UJ2ibUc/Sf6IP+MT0JUP51pwUF87TKxhb7WuCaqlrrOhPDDzvPScqf6EJchRVw5wV6Wy72HwNG9
FFX/lDROc4d4xItqVb4OzAt7bPixCHOpPnVALOo0IANwVa0Ocu4lyJq/1HzVhZ0JuP3Ge7WykaKR
7rffBvtvbeytt0mLFzz/ANxK2NXc7SY859rXX3JvsraTYSbb3pffnKbUznjJFgevzKZNIfsKAbqk
3xiL8ShGdgqatZAt6xr9fTDEveHL4FngeYW7z/IdDHh7aGDA8SbjskPJZDhOU5sg3FBg/zh1Z3II
ON9M6VEvYvc+dqL0MLGpxmNp8K5NYL2UDVoMfkeIEfAhAqPNTy3eVbtghDE4NvJQu3Z7pxX3uJbI
NdwKBkwPDD7R6B6NPN1nVpUd09pJgZHnqHHEc1jNCzSUInFveoTrtaVr07lIBBVJ33itvan7jkQz
z5fK1q+VVjuAamL2QX4VH2yvMXbdlNsPoHI31WzGT+qASIJ+WgA5cPH/9IG0zHZN5TRAMP/TNwY4
yydaHp1wck8+zo1bixRDnj+qaTpQtjuq2w+fJ+m1NvLsiXp0kP9zUgb5cmMYXnpQfTOqY3dRElwG
G4xGaLVzfaYkivmNapcr8kK11cHVgMrGM67bKMrl4cfRxCzubCABcc60wdB3qm0OdnVWr6CcM3VZ
x1t1lur9fapeTWEkqf+olUgtUnEaoS2/HlTfZ/Oz77/mpWotU8MfLz/HPy/Bj9X7veB9vJRyQJgO
Qg3uqeep7X4fRIwFR7YeUs9J8lC11bDqVK8++z4HMtEgXvQ5/N+X+Dz790z0zg81zL5NVItwjB3/
piEf+izy4YRKxN/AB5cHfcAfxh5ic9sC8gGeLqPnJZdVqJHF+enYP6t4AvQwYjPLUzy58Ry0j1XQ
VjDBEvs2jBI3TNFlfxf+MbWM9GctpwGtq0g+a13VHkojt0+WlpsQNNHq8wH6fk9nb7vo2Kc5ARD1
GEGDrYM25MVaqvwFd6GTg7vEe5IPYu/HDai/EQs1TqBeHKfxi9Hzy+zb9K+OOuCLOcidZ0uLcmfe
vWdLtpt6W3sZ26U+Cs0Ju8kbLy4+LBdE+PNLY+9M2c2nIC/WkisZDxKVxdZym+DomMVJLKl16mOE
HsCQ1ZfKtd5W0IN6sKdr3tEnENxGL6ye80G6HcppmiHe04aCHV/oUyqqY4Ly2JW0KSYodo4j0zIf
impMD75ctrPWtbtaroXxqkPcCHDZwYpjnQIYiGnum+w0awjyeNBiETXwc7zQ0yetMfqjPbPDiVIS
/WCw3b8Q2z+mJcX4ZErGuz4Dism6spEalmDG7P1c4vRmB5pNDSHd2GP2kiNY8Z0Qa5fGfhuSls6v
ZRWP1whZyQ3aedr30tcukeiLVxdt4WOBjt9h8QjhB4BsQUNd3Rf9jwpMQjj5zXCDqumf8jmd9mlk
aK8gDq7g/+s7SNnFVkaFvcGxpLkAgM/f9HnHU9DYLJIbBt24YOskEHxrszy09VRccp9itleXD8SK
WDF3cb5pTcveGpSSHgbDDrYTGqSBW23H1rUOvbCDq2vqb+D+0KDokFSsMSs5pZTLNkls/u25U3ZG
YAwKmv3s8xjzsrI4Dyl4aq3SV0xdXJ1Ky/LRAhU1KaZKP7qaPNtjbWxatwoDkXfbwCzqbYlk8tVz
RX522dBB+wi1rg4D3QU3NvnR175G9LOTgfecngT7SmTCyPM3AZsTR5LuFUA/dd86zOn8YvV18Vyc
nFHchs7FYBtZG7wFwOck5J32btawlV80f9dIdmGz+YBBsXaOrJbqjpyA9q3EP4l4UhqkpD/15q5P
p5vppjCpbxquWOEsZ8HjPuvvILDEUXqKfvbpbOxb3ETP6lAHTb6dsc+bSz8NEcfpznWFxnstA+S7
iuzoaPa+sXPT3blZ3W+qwX3XmeCZWAGNyTM7oW5fm1N5VgczENXHK9XUKrc8B+tBNWMcbnmM/5n9
X8M5GTpq/mNoEVOem9UnkNBuLj7abVH+lTh/ebXDfZB4G/zpzHMpc/O82IlDiM7+Nodm2FVRCGD5
G25SWL3zFAEUjIUwZKJg2aiXoJ5fXDOp9kk1Wecxda2zN0PThDQygX87RZkIwjIZyJCMGIClUjsI
hxJ7GPhcoWyqTZr2rPoNGOLaR4gaB47ZQzYnQBZ6wzMeoBGPdyulTD3Jmzvq3N96qJtzdmoatzA2
Uy5fPelhabZ+AlhpbqBXp7l7qatiOgfxOJ219RDo27xO0F0sh+IcrQe11qhXqOAkkHhIYYZurBnb
cUT9TE/H/kwSCBO49dXgDD+qpvyCA4cb1nrGN1CvSyxZOecwsyJgHNdwm4/RfhHZFely7dys5o/q
EAlkRbTcJu2foe7XzidH8Iep/59h168OaN5dR5rlPM5LcWYD1Gv5cG7Nwj7ZDgAP15DEaB7VvMHq
i52t96ihICt6LgP5zSpbZ1fo6Uwxo+xwUamL19gImjO/Unh2fLH2pF3cFCPPfoYuFHgH9YclKJNt
ikqC/xDmchZ1t5ydDsUo0udoh/nVmXxFfWYv7x+8VLAhKfRztvrIyabqP76m3xfia1Kv8qIePl5l
6D2fOou4L0LGAzi+KTdx6YMh1Ztl37rOzSolmnlxgIi+lrRndfD1uj33GdQsLDvAVkLSCKuyDCGm
t2cpom+4Pd2aGjxgFdfdJjWNLSi0i9/0oR75F8OZzrGQT2kNCs0CB3Ia4uZcF6TlDc95b1wtuk+n
Ydl0aXErUznhamL8hWo8YufteJGUa1GDj5HFdAsftgfisi6QhEzvnuqsjbeuy46oqfJ2L5CV3sDT
pfJa24hpgZsEvPg6m5HcI/GSbhEHaHaxgyeFJsaYyA+WsFbxg7PzfRH53zONBLjjds9zWU3bqYp9
TgmiTWOaSeguXb5PiOwhcI3PiUd1dZoHUOhrAmwtrmaOi2G6h7gUuDp8UL2Vt5964bzqQ3SOuTOw
TtgjlwPairBqy48KLqDfOEewyPq+DTo2B47f7JIgYZGQN0CfeGTqI+zoeHKOEJAegnirNVUMu4Xf
hBEV0wG9IYu3nkxU4/h70mQh3zkZYcwTH+Ngk7+yZy9DlklGj3kWI8+aB9ohFvnjlDrd0Xe7OzfS
3EuWVKeUNessInHoZdrxVQ4eMgdYqOZYiYXYcclds5TLDpoIXmdafM2ErDZZ0+g7nq3uDltqYF5e
/oovpL5zU8hFqVbjajShaCCSfDcGJob1SC7uMj9+lTbsuZHCT+x105XF7oHfUHMpEqynveFuXVZD
SPfvOkp4W0FJZ1P4FtgRdt1bX/eoVhrGt8GHKt91TXIGuL1xGnfGFrlFo2YQ2c7ru34bxPW1ScSp
SCwQAoH9gEEsZKEysGHZ5ObGb4GS93l74PeJPnFb3syygqHQtDv+WcvR9aVzyN1hN41mCwvGbkKK
SNzU0r04ieD/qqXp02Jxy5nWaSF5uCeYuK67/7tWoJ2Wz1N5MqyB0GDQqVWyG8+WGeh+z0JPZWMz
VkgbOqhlXXJd/ErnXoLVX5WTBhSqyctiKmjjrKYjHwRUF8/TjMUvGB/ibPZCR1tQigD9fpf3j+2C
tZde8fd3c/a3U9XFzvA1615zcP0lA/MrsFO0s/LmhWDqsrQm2t0OpOXR1x/SFLGEKlgOphbc23lS
bjKjC86OAeS9MtCRyVJ/n6Fqfu2C+yk2YnSkE/HsFVNE+JM7R18bvC05JAfKT/eY2j6afsRnphsE
Z0Ogdp6siewgiu6hVGPEQYrsWteN9rA4+GUB7TXLej5reb8cIFd/K0vDDH22xY/j+FLmOV4OI27T
bPiMHfuocdM0zp2bJ84RQXtUXo3mxzSzXUGMI7qwGl3T3KmP8/SAbJ4TOlC1D43jpRc31ymPJ/de
MLTbgspwM1T+QzLhOmE1XXroRhBJFjn4MI0y775edJ76S+/CsLYNbL7YUY2D9LdxIM1N11tVaACA
209VEKKR5j3BODJAyZfbIZDeunA7kPi9elMP+C/FNUaWpLaQuAWzB/EKudHeWT9Uek2G4pGCCzqD
cdQiSYLiaxZwn0iX0qSWiZhSn+fu+uWMVhp/PsTipfaTjbbAz0cosghNn7ScYQ/bpQpe58xkiUYA
7hAv1R57zG8mdK9ttFCuFQao0LIS+UM5gTUED72J9anj/Qpg/oVTbcYEOALSn9lmJHWzmUdvOo/S
eDTjvtlLlucHGRSwKhwYQywCyWMcly+YWt4hd3ftSS9fUY6dMRej0FeN+8gfgpvtDId8Zv2pZW3t
XF1HSrQW8mHWZisMpn79e9iKFrU77xu9fAb43+58q+63pdZ/zwrZ7V2/wvFJgriwYrz9sgSJOMue
QAUSOfGPINiPFn0Eq1SieVeJEZo4XMPMf1lKW/sSpNojOOmLiar8PamPYW/qKQGQ245XI+n2flYZ
l2Rt9Z0Yr660xquuxc7ZxYUFvjMzRALamSfEJofxuUgNglJgXkWymFcJe23bIje0UU0e2udpTltM
R9oJ3PpSv8U2+Oquqtu3qhrHsLf6/m2CyR8GrjW8kdMdAE7G01vMmh3CY4QNSUQSCoRg3oxi7oE7
UNwMlqwH0DpYb23vQtbmhn6zMaVDMqTx3oBLtSECgv4b2w+iH5jN26kzEEC3yc1UoP3fiHe4o5rO
+Jq2C6BXy06+rjYCoRXJ4bVKEjT/0RN4aYQGsBPz06avX1yYxZtO75wvSV9YSG3E1RcheSrPLnUz
L4iK49S2KAChhfIEBY4I0LZjEBj3MIMFinUgtB0DWNnSeOZD4I71PjZhg8JGxJBHNPN9kAr7kObd
fFd6zXi0sYe+kGWvT53XGuceWD7KnlgL+4AH4Ff50VGbc/zx3DQ/zmNtnTvAlDsp3U2dOt4JHqG3
xWeBjwT7GJ2SNt91QieMFf0tn/VDGbfyEYR2c+yQhFv5Hw7aS8WXJsPUMV2qryV05y0gIX1T2viO
FfbFFfYdzmIGUZDxY2itV1C7vwpXI/HC5l8361PG/gEQsNxONWyKiUC8T/iBL8n4+zBk2rngs4TW
7AdbKqd3TpBMh8abX1EsHLdO5K7PvcneixGhlyqX9YXoJEwL6BWGZ0zHAoGxzYQOYOhb5rSZsf3d
eGsokTrWeLJH+WQH776nmy+FNv9MBiJzm/s10Y69FqcPTV4QTATeWwQ9Mawcp3/xY5hfsOIBDzX1
Po1J6WqNCexcswjG2+46iNHfx0Fhhp47Y5tK/nYw76DWo0G0ijGkfvZmgB/f1oE8OQG5dWvggSpk
kuwl0qFIcoqnmXJ7aOTJa+W1EA9Ca1zA2/TnSmjGMdHEjYVrO9rptDFmVIJMvfmF9LLhNiXYkO4X
CdmR1bwD5aYLETqx7ZzlYgy7pegLPNibS2J62aGMjDd6H2GNt0hndc+Opt3lXr53KvCTGpvAj6rN
uEaNeflCAoCQEklIEoI+KdBi3wy5OJj2u1lKa8/z8Us9FMXGlOl433PDU3a04i1C5Qevb7KLtACq
jtUIS9IdX6a8dg9xFHVY1wzf9LYkpWDL3eImPPumaLgXpAbcqEVxD9brjir9u3Q6+EBW/xJHswDh
EeYLPL++QaVBE6xMWlXtys7wdrnHwl/3aDAk+MJA2NlB6Ei+tP6+zjGPLPUhwN4GYafAvi5VT10X
hZc0CZbHkp20mw4/NBMJMsPPUKaMkNJxvWdp/jV5JM2ohbPjnPr3m5fk/t8BnLQUEwOQrBAnivgc
tUYG0WnC03tcghuaju65M+efzVxYh2xcvxDhNw+zh9rfphUkPdH1fYgDYe7HYmnPLV6FgOaQux3X
XIGs25FUESkK2Wy6zJ2aB93UucFFQNxRzYQcRYUrOIDq/sRGeDjMaliNNJCe8G1tU+arjo8L/GNM
XcWU+tkWcj643q+sjprT0GvUTRp/o0NDOVs42+POAzXNqHT3iEHOpoKdvqmQdjWS1D1Y8y6jiPWE
5s01R0N0I7oeGFeBNu1E+fEF6ioeOQOcpSLbjR3UcC0reFiCFiJ/c9AK1/sRp9T+sShlISiXrbuU
5PAjnDYEMs86Sagway3i/Gq8VEm37Yf+kfJaFWJqCQfVAGDqWv2tX6QFPKSyIZJ1uyQ+JTE6OVaO
a+yc2TUyFKs/pMzkbgYThIxa8lTmrFdomml4A8+B2yFB5Fjo8TXRNoqSL71Efdb0zt0wGC99/kUH
lYPyQtxc+3L8aVPzPQxLnR5rPaF8ZrC+LUCb8DfbQdW0NuUEzEHT5msUIPFTNe2LiBoqc9GvaCyK
L3o0fCe+6xEgb/dzHK2K1vwWqyq7uli5nDDJjTeB6+6Q9HknDkf7WvbLrvcigt3W/4ZbaH5cNLxt
rHSgdGRFSyhrLw6x3uG+al4z242Jn9qfzYj9lJcuX5wq22fFW10m9veo7u7dpsbOAt1bOX+NpSxD
NMextpzLJxyz+r0nvCdryr+WBS7won3PJuMl6rufRc4+tY+/62L+5YumYEcR9FQO4pi6nNAvvoHy
kSNObd0fdLdfvtcCXbYIg18zH3BArcOyI5WiFUa9N2qr26VOAQ9f/N3hskbhquzuxwF1SqnnKWDB
Gi3PYNwZom23mnmmjiAznJqlE/1qV2yW40EkQPZZfxx6Mm/cucLDDDkHg4rqLxxkdh8DkI1g8Txi
6+ib3o3WtnJmP+zl8i3ni8FunnikfyxrK9hPskoeo8l2QMxdy8DdCgLnN6+dTo47RqENce6A/vGL
5kvxsNJID2mksUR1wZF0dHBg4f2uIWpT6lZ8KqKofIqb7Ad6j1PoG3jdm5Z2+cvjAcH2wSvPMaW+
EGl+7JSDId/4Ew/4/+HsvLbcRrI1/URYC97c0nsyjTJTusGSqiR47/H080UwW6yq7nOmZy4KhdgR
gSQpEojY+zc7Vt3JPknMy+Cy8ipIqS0LLCtJKeSAY1WDnwQmEZVR5qsIHTRu/2yoIvA3m5mUy0rV
TSTcCnO8yDOjJd3qwEhThwJeiV/3UHjq6An/8n3QlM7Otm1lWcSlcjEK3qqD34yFLQ1f4dS4VNFk
nSlL5QsWSMqbNwGYs9JkFusl5c2YVejqgZ3udKsJb0pcxBBNQxuZYi/VrsCiG/IqHmntIJ7rtT21
/CWsytsXkARoeafdqQ18ajzJ3CJtUYBE+rTByhKg7X14Vnvuwuacpic3tqHwQGVdFs7sn+Hsr1o7
RPO2GuKfKkQxVushuT8N6VGcziITQmGF+0E4UZAif6HgORFbCwnWqYOsPk4JbCbJaC48tzp2OFst
JLJHjUlUPwbLXtlkQbm0YuzfUhK5ojDcYz0U1NkqUsNhk42+d7W14vMw+OgdgFp5hHVDw/RxBjnW
zrN0dP8cWisY38cTtBUU09Hl7nRKhWQKuUHCR4fvMH00yPFTWnOvUw0vsZ6QhRBhOcp2WULgj3Yf
5bLNus6N5T7rVn+WYYSkLo5H5S+BI4cVZP0ktWa6AX3XNEmOrD7Zdzq1ipcWKFnZKZVrZEiMIF2E
g5BsimsYib6Hsh/yqLacmzzo2c8KU7IriuM8Q1T+TUAMRIfHgMxBY3Fm27VmyQVIxUzdcRuOWoCQ
g5hCYRWfMUQm5JS8nMuVHScUkuz4g1XV9FK2U31QSbvcpV01/1yjav7NCadmU6EzvNesYMIjtj/z
3Zu/h5M6kBZSzXOuNe3VaQdnITsgkXy4ZXPuRgAdk4erRNok1CcBOG8VL37vey/czrFKkWgEMenn
Yf5mRPWHNP+LI1B8s9l/LXSWWjCIu1Pqv3Pjg4+DqsDStjsYmbHeJ5QD2k2ams5F9gZFV5+ttDkn
ut8lkIn8ZKt5Ks5WQp/BRPL/AorntVftlQI887kSyKkCCWvZkrwC0ZrqRH+WDITfIz8xVvbKdJNp
FbfGFXVp1LiEq8XdxmK2WtzhMiS6Jl3Ld59B0f8P64t4tKO98BOUDuSgde3j3aEcP7NmSwr9RXbA
PyzIMcKWOt4Ny4s5gg5+N+iuBtc53XWyNSdfhk1tHD9lg//VRK8ajx3b2TT1znFc7+bjULAx9Flb
eqIpD9DUksNUZD8foSBCphfe+BIlDlNBqYWxOPuunbrMAGv+a+bYqOHCzTtrTyXdv6lk/m+zS6YO
f+lyI8fJDpT9XPbCpGG+xwYkkDLMxqcki/TzMPftKiODutLDOr5qmhZf5dkYGUjhu1O1+EfHZM/5
KbHSjYwPc9Kb9yENe/AqB04kL9LWfWcu/H5GdFMNItJrXP5xUGy1XZXwRxZdN/6UCvT5OFvr0u0b
5BeFXP2kj4sKBs5Z9lahv7QdpX8t5kZ9crv4EolRCfn+Q9DXAGNA7LKL86Z1AT9/Uw3I20tzszYn
dRpZCms+4XWGUQSO9aYVnWWTz+ekd2r3JFsTj0d7eNPSXnuqgI3IYNPWxTlu0BKQ/mpsiIa90YTB
qhtj9S2c8p4kHxU207X/0D3sSbKmr/gHBb+C0FT2moRTBn4GNXC9xCxrCI2PogCvK8eq7kw2qYvc
jRxrGdnn1F6YosipbC0/p/a9dZ8aj0X26rSWTQnZcTb3sWRNIMLXFCFF0bhyOu0Va4Lk6rnjtRAt
r4y01zlbozgf3RtZrn7hFpVeZBeHZomAXr2Xk/UOSNU0tOpa9kZ5mBzgNCqLsIOJF5AivDpGcxmq
If3IMi0E/tu6/CCC9gScsV5P89i/l3zTXCQ9/vz7UNvVP4f2qlv9Y+gwdRc0WKtkF4Ul8LkuqG7g
6GzgQsWfqvBsseYpWLMHnvZDBxGs+4WYXPC17JG/ylnTrOQgOdnHRPoGx9W+WWb6l8nwTKe9HFaz
D7XwSnnMltfUYYAv5GyrJmPXV4my9EdAag2qpjst8r2bGyrdcvCpL1ezvrXJdP8cdePizUX0tUbd
QXBrmquK2d4C73jqKMK1RO0HkiPzoC9lc8qU6NnCBlS2uI9YL30yjBhgzfC4A4USbuyk81uSXqGc
NUglGtXODNQU1qqOwrMMQjOB1YVlxsLALeM+cKpNrNuGlmc4JMdF0OXRqR687FUZUnXdxq2yls28
0eArB6Bg9HjMXhGjcV9c6A+iIQeYJVk66n2nKW+ag6XixAPrZv5oAxbeTW3qB/mAtqE4N237zpOk
AojX6jeV3X2uzcoFwL7xJe7jN55WCsxdWqIP01rlEuFrua8wDF8FibXgP/9nNc9f9VHzWdobPtn9
3uQJlqqHqZnDLd505rM1YdaRKl3zh8FNRsubW9lIy9Z4vJnOKuCumyxyfRUOlCYpNJOuze4nCqqA
mPNQCvm3MSrWZZuy9XB0cgZ11zek3hvBcsMcUt2pVZmtJi8vj/c/ZdpCFxE/G4MkkfQoms3gB6y5
4CxDOaq4a9IlYPzED1m3pcS0PcPCZoIgMD2j1oMZaShEw9tvkSZo8VmTn7ykDW6oyeKcVITNj7Fz
EVIJ07fC6twtBXZra7de+ZZn+ZmcZvOjcYAB5KbiXpu0rk4tG+RVZXrdMe+hAkiiDBZa/a7R0ue+
y8iQO+Wvwcp3hV5Xv1TyZX8/EWNkZORkcKCLKwEyeA4OtasMAfE9kocTuiPTqiqRwGtVagoJELGF
/BpMfWyv4iHs9rL592HQzz6Hjc2HHnnvQ2sN4VodEwyqlBlVsHEgV6KwAxaqCRLFL8+cNnBWpqYi
OYOkw4rqQb1HON7D3DTXn/5xxsv7jBn5UB5dL0xvgRJsZvZdz02m619EqzHU4hlqiQ69XMdbtQNg
E7LOUTBrNp1XFj0W8uQgbArBvgjr6ZSF4G4Mvq/n1vWVnTTT0XR8riMEIDc86sCodJBtz6SENtJ0
J1JR1E0U1UjOuRpilYPA47Ro4Zdtm4n7DsoPMJ/yso0AWYDpA67RqjtlGNnqhC4ldlSZsxPCUfGC
srRdThMaku4E/I0zeWBfM27sErUR83fs0Ts2cBpVtmRbGStxRb5fwBh7+2xEJyysdZRJBlQhoiB6
zuZyOrb2zqxassX1QLEavHO/4OeJK7au+zgS5NYBeA0sD0Ly0DfIaAIviS+1OU+Hx1h5ps7zuJrE
0142gTJ5u84psBooXP8pN5qNNrAB7EQrouJ9wXKRQiAteYCwUu4Nm0TYIwa2KkfWkIOcJTtcUjYL
Nc8qNEmYi/RDenX6fO0OBTmu3rjyctXnGZmtfYueL9mrQs2WTdex56oHBYXTSntOTWR+EOTZtbI3
hCG+znQFP0O2sdlSXC/Rw/6aAN9OFQcprM45gam9KuPswFvInadUU+AFJxEgBNGUHSMWtUz047WV
dm28VELfw7UPtn2ATThFTNNHrsQcT3K0J65lP6VscO+XjPLIWMKaSDZQRJWidS6D2fOrsZL/ucXa
B/ACuRT57IiUKToVBe5920RxwlVTIJrRsCZcOSNKDSsHkRrqiliLZbpf3Q9j1i55yvbHR3ygAtCv
ylLYUnpGwUfD4LaYKGg85vlm7WzLTP/2CMmz+2XitW1uwroObq3+87E/kxHMzO/bs64JgluW/Uql
auicY2dh2QEmz6A3lHata2j9WOGgrKQzBuqJe3KO/g5Tv5m8vY7DadJWm8acEPIWzSTyseCJtOpS
anrwPrkbrDCMdwPWzAlB73o7tYh6SOkuHtiv9xvB3VY6sMYWfXj3S1bo9unua2dZ075PR7SOhdU5
iAN++2SrVpoZRC8zqetVHAzZNhLc3qg2oxtOHutIknltodUCK+mz16ji+ObzDZVj0xTVm94zur8w
HIFb9RstgKQhGY6NoDnKM3mQ9/Y6+5oFk7NWyHUfRs3Qz23qKvCsENLMsvCb5C21YHVYp/V/JENP
ZiDy7eeYvNkWibhj28T+KuDu/mIiFLkfA6BqiaBAj4K41hrLHJjgi4yQx8+XNrvfPQq4h6gIjDcS
ekMwjT9iY0Qclfd3bnLEfGqK9ZTlBF2EdaETTH8Z0LezcjYDqkVqPbXPDboTy9wyyZsGQZ/ss0sH
Hfk6uyabR1AIfyQklOF+hN9QVSzX5Jz6I2SKcKWMGPX6iAWxOtHql5BF/c6bbUq7k2Z/mTrruZzH
5OS27MFjfWiuutP1QllM3ZrC/V0e/lOHjGUWKotUyO2Nm3voaxpquwjVSWyTacqYPJMHZZrVUxqY
KkDznLs9xay3WODRHftf9rSJqi2VMopu0tN27Lv2EDmgueQIGXMwe1haAlauOP7XwDSmb36fXuom
HF6VIIuOsNbGFYTD+Rt6xPe4KwAiSaN8xl3Gt2K8LeKZiMeop+4zp0XKwgviBSAw51Iirvtmpu+Q
Zoz3cIgsFAIQZHVSBX6o3uM1jTrf1hJNdfSe1DLI5zdyHvYKe27oaNL8Ua+CF6wSvRTtoJrMedvB
UNyDpvEAxihjG1DVde0TpLiZrF6JYK2lfy/wEH+um8z5S7zN1Hs8Upk/9ODS7dzG0MTzlnhDqV9d
Bet2sbrWhxasYzB8y4wKcRi9GG5mp/a7ya6VHYb2mI45Fn/dQCUmsePmCsLLPmSudUHleMAhb0S2
1ED4QMYovLGANpoSpQs1wYLBLJU/Db5Z7atjtNazPrBI67r2zi4FmKEeJ1WJl3J7mmZ+vannzuSz
Yh9K6Q/luTzNTrLpZO5Gs2rvjFX8i8Zv8dSUXrySvuRIOrByoiSbJ5SUEFCk0FQMwRe1cJ7cpIp+
qPoo3ApG66qlRfTJFIPhNe0CvTXWbIIw5XHwEFuqqVku0IRR9prqxs/yUHsnSzWAT9VF8tx5fnm0
tf6H7JIhy2lFqQPKibTODnWEc3A6DbnDjNlNxqQbN6SaH5pWuXBPkFzxEoR4o3Eim4HKynB2KUWU
Ks6299hcwBUIo+hQqPCeg0Sznh5nc1a6q3AsraeAJewKW4H5EE/ZJdKsDNEUD8Ft3YlXkLPzW6wn
nwcPSkCpBPZFxoUk7VL3ah/BLlakUZxoT1OPaEGYGtXGNz3j3RPAeHHHeYxIg/FzhFHU5ntSFPcR
OkWWRdGoxz7LQVtLxrj9lyM76WGjeVkClLlTT5j+NI5K1srHuX02pmAfdP3XeraMC8qa5iXOSzpw
ev6JdEy3q6IWmwe3/4k+TH9usGdsbUMp1qmi9EuXXRRqBToylsKksdUwJNEytA/jGsaYYxg3/LnN
my4Ok495YlzyWG4jnHDQKwI40+k1jAzGyUPUVv4md03EYMQMGfOV0YS5nh9S0wcGiRwF20ufVO/W
FZqEZJ94tYqjLLJJ9U8yJiUKpWxh2YztmtT0tJQxHZ8VM7PN6kfSt9/dCFc9JeLzSLE4CNAOQ+Ar
81eyqVCxJhllcm+3QgRqZ6U4NDpm5zXCcEsIDjhZNtjlXCMfP3Rp8EnBgqJA1bu7e3c9IvGOFF8G
Pxsute6t5RpBifvm6RF7ZG0LMa7pBaxUpm1xufhsP9YWcl5f1rj5qJp7k/cuzVMu1jQ7Z1PcyQpv
MOFSlvye5N1sssKr7JVjw7A0d63fojsLTAF8CgXY0qtPoQkXWB4y0UxA4C0RwhxWj47Rzpr7EK0f
53XfoQ4w6EOHNNa07nyvfgoThRLC/ZYZVhG144a1tIGp0wF4ev46F4a9gUPprAyxH6esUJ2nuvna
iY18Iw5ZNS+spilR8GN8qOE1ACppG+udAnsH3H+IMMFtntPPMxmLRWwUsXiwis0IBPGPqgET3Hhj
eLAqL3zBRrQ6AUD/mlVj+OJY7WWwVByuh4F7Jo7E01ml0NAPSsBXzQcBCqt4U4mtvea4NlIrIT4B
f29KUVgo/s56Gqlrei18i15JFlQn+qdOKA2zm0JsCZGdlWzGcMVfkAyg0pEisCao8p/O6iaoC69N
5w5HX35UFpi3FYUqrH/Fg1g+kvGjoZu6/0+Wns6CPNv3SJvda6WEyRcATndxBMsuMRmcsEfzhL92
R+FvbSka1U6hlYD/xX1Sq3X/T5OmINeOfS3eYIXgi1xbBkCJ9rIphV/xN/lsyt5w+lszwQjnPjjR
FZBRQfyW1Wa1Kl00E9Hinz7solmkUT2/qYrlwE8Cd6KMUbYxtTnYZwq7S6806udiJEGjeSivmjgi
/yjYYvKIwX+zhBOqmMjmWcWzN7Ey8ESHB3lVwRNHvsQZvecLPgwf8hUW/axenBkSORSFL+iB/7Nv
YmRYj/ghRg7FTKuh+lJCSjTLHKq+XMwPYQDIfe7VvdTgkmN6HLf/Y8wVhRw5JOztdtsP4BzD1Rxp
qDFn1ZUch3u1RBVKniURSew8Bpv3jw4c1s8d4iTHR7wAaXY0p3iXoZkhc6kyg2oZzQHFXcoKIm0b
JyDLUPkedjJRG+tutwPHYyzlhEnptGs2GYc5T8oDit7DUksT5NHtINxbSmu95L6u7dm3oC9Hwfml
KGzrBaXTUs0qpIGI8Nz+EQPcC9Al+BHZGHdhIBMOCISqUe6dKXCn5zQeqpWTU0dp5fe/1fmMxVrW
LqvoTGUT2S5acikr422i3uMyNMqf699jcpic9fsacuwAsup+IWR01uBwbqBrQe5G+R8D2/DFaLU1
hc8hOPLdnNeZiXGGGNG7xvWeE6u1dg0rbTzLQ1TU4zkQB9kk972NLeDnIxjQhQmIHBHEQ9lkIFKG
qX7qxf3QByUXDtPNFIJ7MkzEzZzp1oruf0WMyt0izkCaGJoTKyQMjZb3/ItalsbOgZa5kOkZmYWR
h9HyoerE3cGfvHdtmMJjaZLQyyPvbkchq4C6k658iuMX+fiQhwiaVGo1nyH56Pk98b5dFc1Gbw6t
XgNMy5TxNtbVdNObAnogmIqNjNmDNt2gHUC/SVq2c2LcvWzrgKwxkIC76PWPccI7IgpZsFeqhs9I
VBzYV0VrmYMSca3LP+OJk0ZrGNbzt7+Pl/GMVf4NjFy8SEL11Kah+TIGvXZWJnDzMuttKyYKfZ6T
nhCA07+oLCzvSfOaGjZiN+NGZsHniryXgsVdmwOnbCsUz1Z9cwCsFV7uLasVeUEbTXFFrIXcKn2+
36obtf2C6rH6hGQmPquPMzLhCJtX6xFXSjKS07CcR039iNL8qxbr8S+7/6p2qYB4AJPL09j4Pugg
ONLRsl+brlBWBbYqF0UBqzfOXiyQBgb11KACm94DJHFhuv7izSTs1wo7OTfzDFSt16y30Iv9DTYW
kOJlExeVlde5zV72moOD1nLm6ueqLKw3gX0vs9p77t1Qf+0xTpSTQKpm1yywvsk58J/mg1r23dKC
t3HxQrQancy/sJWtVv2AW26j+wDmZVBtUXCPk/oqW/KAlh9pNDHDNcZjFffK4RE3x0ynIA1OogYr
bwEb30TCab6KLO8qzwLcZ6KJTd8jbrWGs8MbNF7IGPBQ76qJg7xI5dbUMoLoRnp6qlgGCuyJkqa7
h9Rwph6TyVWPo6tVW/T8P+raRahrGsz6FCsplIpe6epTF3j37mSgKLmSMTOGsLsJQHOspqkvkQ9Z
DbpqHjrFJxEZ92pyvJ+m4nToveQoz+TBGoA0L+/tYJz5BYtB9yjuBJpTmwd/tnm5s3esRG1fPkOA
wWGmFD39e+T+yCl/9dEUP03YVYZLBsuWfKr8X6YrFOt3UdJi0NDU4dVLEaSNZyq3slkrWkhSkQ5I
NOUhNsHlmLMV7CiLLOYMIft8HnAAvs8tkgbQkD5vH9NkR6qiS2mH2RI71REgujre5MEIyT4PKES1
4j7xiFtdsKf44ZwCRSA+ggCFyMdUOVhOdeLkTc6axK1Inv2e6lDBQUItQSdSTnVbbdoX/OJY1nkG
KXHFoWoQx/t7U9GKq49zj2xZrWY+88oRlPLUgCJraT4X4oBrQleySpejXKBzOCCE+lL2yVEg+F6g
CLgn2VLRoD+qegeEUcyWsxJr+pXBkCT1YO4HKbNXO3DzWmSMpHwSKcn0Bf0o2ScjmFVAA/r/GZ/2
gw/DNhp3DoCdtT0M1kYXfmy2706QWsq/Nh+9crDsVcVgVwx+9D7masLLTXF18EiVYW2sudW//GPu
o/n4u2EAUrrSnW0sstVVqrIHbLVFI9PRzuTkm7aFalkM5pQBzfdPjde4Z1fIKZixZR2wFksWhkxW
l14VL5HfmXYD6rtPpvPDMPJ8p7lUpKRipDZ9Q+NI+eiS4K/hKPzeYTb48Rgt1SiD8Ps/Rsvw2H+H
eeHfR5uha6zRMOQbLXSeY7d4h6PzXJWeUCeKqi8B/AAZtrtEPyP7Wi3arizfwYY728n3GqyHuuJd
yUJ7eb9G9s2pcXg2EbWKkdLg296aMC2s1owv2HXgGDFo1hdzZtWK2H3x00pfpMpnrulf+iCsP6oo
Id9dDslNIQO7q0kI753fs7Xfs+1yzH+640ueFuYvMTtGjOwjDkgzzqWT3DJoa7uhdz5nBxo0R78t
XzRrwC/HD8EwOv741dEwYTJ19WcDa49bLXr5I6ZRs1Z7f3In+6agG/rRjhgdDSpAn8GiiNGQ6Lpo
Zq5sUUH3Dq0JJsuJjXkbmkZ7VdlmrZo2SV+T6d0DZraItTb+ExWBBaBX5bsTKcFKZD0vea+bR0wM
u3VShsWH6bZHt/GBG2JWhUbV+IqkTbmt8MKGvYydSAyaAChkEu9tYNbU7MrwGCfYkQikU6pFzg1M
sH4bDxH+c2ggeS1hvXwNnbk43mPI8vbLueHHInvvM010TYoB8ZBEzqtG2EV2gJ6lcnaVyPwWeNov
eYKf2v0ETMovTVWNb+Lkvx4jps9i1t+u8+/Tf49Rp2zdG2HwbPlOj7pa+KHFA3tmNCpfG3ZZSHjH
z7JlJ7CEYsfOD6Ye569kkFk2QBdbuf7YnwGcJysjwaJJeDIWbt+9+A4kTXFHiCnbvfzuo9h875NY
PNmnMU+2fs9DfgN8yhgVRyurkm3uk0ICTWF+sefmIjdlc+mHyxJniWtCeeVcIFO2DNAi/KGiPkJu
pnlDsmwxC/ZhWozgLQqSr7E4Az37eSZjsleOQ/bgf+l9XIWkDuSlcGr3E6RxNDm0r73nkDDVo3pn
RoP2tTGeqlhtP8JQMff+xF+Wo6qpe8erPSIvofeXIIWGKOMUbhpULGv9pOOY/drCzxo8L0Ipqtae
vQHTbbvompul1wqyg7mKtYFafg1KDVUQ/J2aolfWyPTOa68r652sMVPv2A81idYeV4Fr1VfZvRQd
Aq27D5MVazGMZbbxMtvY59QIntyHzR7i0ImbLVUlNAQMs9gWaD3/z2f/+zg31dSj6ftLpzGKLbmM
//5KjYp9e4hIEbKBzbXBV2TZoLa2KdoGa60UhuKimfCzkBCLIMz6rXz/etjelF6pntMh7W6IK/5w
Nbc9GRV1TkNttBNc3R+ywCOLOIFq70PNgDIoaj6lYLYaIEw2styDeGO3CAFbbaEqANU01Xwjy2wS
rSrPQF8XF2g+Nn4Y3V97pVu9HKc15nrqURcWVlqeZpE1VqxkPMu2o5ADUOGJbVKnICGKf9UOO+fg
LA+FPwdnUiVLNfBQpPkdH0hw7zSjprIRNadZLEYruS4t4l2vaPZRhuRBa/u+xfpcDVZOgZ2j4wA1
xaStfjE1PjPSGOjtVXp507qwhV5SOz8UyC+94tt/9tOLnuvP8nOFPUxuzIun+8ccWdqV7Vz3XPRA
iiAL/FHp+rzI7U7QwMBLe5tHDb6JdeFDpP2ShXdZtFdh/esLX62TZWUXYGbLfxXxH2MwFcajuvBO
slSPkV+z8tXE3lp+/0XvHONtrmt9DcYRP9WSW9EQNQaFdV35AIZ2xNky+665SIeWMHeQecyWVmE1
V3eInOm1fbWqAVWU0GchbNpqsG2QHF1KyUApHihjaZWPy34KN9D8u5M6zYV1TvoKEqks76CKAOWN
HcHOmLOaJb1n3ORh8OvuOpt/ZCMc/XscXdS3XB9dePSFeR+lilWnUQApe8SaNnZ3BcXuovolNe9U
feDrbiRWuAvDpoRJiUCeIQ6yW3ZEAk6uwrFalkhlbqWvV9Pp2k43gL9PAmkqY6XX83iMNMo0EqoK
/viWOZ51kkMiLNuug4N0iJiAoxDQcwkkQp2uvd6399NcA9kwh3h+q6J93SZes8E3dtrPTb7GZahH
snFmo9JqpwxSxKlGnPk0pXBJtc57xTFr2MJmHJuFjMkhtoRXZLUf7cbOeZlkkkZXHP3gGhOyH0LJ
2rMS42DZw7UXaZlKxwon1hJkYpaj44VL+UmIT8xHaPYuGihD8rMSca9CfOwR+j3+n/EI9KJNOniJ
Jwafut838yXxBdWOF/G7JV7DOCrxAh+gATUooDjaTWZs4oj67Ihdu2Zj8fmvFlWAZh0VIjvPkuVq
2+gRKF2GL5RoZlnaHgGWHO/vXPUnCBehv5ea3Zij3e6whUzvzzIH02lwAkJSYbu7kajn41matU6/
+wQMiP5WA+Mk8zP8UyGl39ehsAYqznbYQrSUp2M8JyvX6EHyiR6n7IuzPHscZAzgseqRRhODVDjP
m88feRN6X2Xwfk0UVVC3dvEwkMF/XE42PfEn1M5chiRMj49hU1fV+wj6Q7TVhCdsrKmHwdZHfS8M
KtZ5oVPpvuVoX5GP/f3/gQeBaE+f///d76L/hjgOr0ffkap270j1PgMlGWW5t7oD0UkKOLs+0Bqy
HKzx5EBk972z15rrO5w9EB0BEJyJssc5lis4bzaFlLKG8RXquktcMO0VkBp9+G7r6bdId4ZNp7f9
sR2T/ghbs/KRistK6EElrjHDrKGDi36wPHscFJ/Cqu1Mu0foPw2TMQBAPbiwKb4jkSSSSC98bu0A
ZJey+Tjk+dTybIjWj5CELqHc4F/SpoAKU8dIQYFf6gLT3iNpAcrB518hNj1raVYQ6uzJt5yV3lK/
a71fd0PfcK7DtZsp6irrRkyKkK5TjdG+9mraPs9GoR7UfE4WslPGvMSEvOK64VY2q0n9wMPKpT49
e91wx6jqgb+2fGg2lqHmmA6hWyDTcF0ImCxDJfycGzgDBm55CoehIjGmgFE2cLPzg8lfWLZjbeUD
OUARelfNyfvjQf14Hv+98xGvhnrjU/g69JAz7wwRA9G2s45Xxid/hJTaWfZKe3LS3H/t7UTzMVf2
omH0Mgdl+13HIgP6JJxzufxi9U3aLJieRwXxyiCK/4wnjGrrfhiPwcjW4dQPcXKxcBNcslLcewX2
n2rjQyyNxq+dgN+6umPgewgBImj8dqfG7XzDfGsmfRqq38Qkf+iPmkYGWuZXB9+Zz2OowDIWWZDf
qdnQTX+MPkpJMiQPQSyW0tmMqY1RDpfEG1ZRib8qFcpPWspAWcWy8BuRa4NRVzCBaNziYjjNfZh8
l8EQB0gFz/82TClH7VIJwKWPLqUzPslHTjwmwtDM/1O25CEh5bruSqGILMwqZazGZXXhqHp2+HS8
NNeliX2MD0X9nkqWbyIO8/cszvRDKLNDGQJL69klgf14n3FkKKfCRPVPfCRmPXkrX3HclXyGw4C7
ApHAfJCf/P2BnXvQi1zyrxs5Qj61CzMKd6BwjPtjXsYGjUVhjcDjY0Wgt26JNqKmU32utWTe9siV
XMBnUM8SBuJ+DCwrmXpvm1buT/lg6PppV1NmP8rWfR3QxuNfYnIZAPuzXg4mm4qnGmIhBIiFYdYu
nkKDvZ9snmg8a/t3t8A8WgAC/tMIPOz6d4grfxnRNEJH1GpR6hLLmihW3FOhqXsjSljSyLeZz/Gu
SdHgfrzNMgOn5HVAOh8xuDHh1nJ87GDE0ifhWbef3RjesNL+GIa8/qJPZNhhmlMO6Zr6Su0WjB/W
D2TRpgX8rPHPqXH5htkt7CYMXEm/ufaOj3R8avkHuw8Rjplq7v0hLz3ouig6uHATDDtYFEn0kekI
OuJl1x5qfpAHuwqajYODKNJ8Wf/ah/14zPDkWlTx3L/WaG8/zwEWqEXkt0s/bU+N1k7Xxko8yPnq
tLJNvm1BbKZPNRy3Q6cBTsljtYJp2e5knQgZ+s8RrRjR/Hcjki6r0DHo/nINby7btYpT3BLMRbJ1
tThd5jYcF8Cyfn1V4q/d5MCISyZosX4Ym7t7bwebemVWySbTC9J4rWm8KyiFLuPAjk66l5rvJsWn
bCq6LxPQ9CvZtD/kqCIova1ldEziLfDWpiMOiSzpigAfAXlq9wpfe2ye4LgIbwG0MzZ9JLjpQmxc
LRRv1QUlwi+i+cAvSxXyVLM8BK4Sc/noqDsgzhZJs5XveNnKG2AIp6mxd6zBA9ANigSycx6wbsQM
B5KyEATBDAfLRSQHc/OLoXX9Ho0MVO6doHwfcpA3xZROuzDvync1BhenRYZ6kb2hBX1zHt7gLbrX
3rQ/OjfCpwbzg4Va4RNqK6H33fL1g2lleKlmw9fJS9NfjTZ/YDJnfcxt1LHyNNvnkA3MBiBteHZz
zd67uaruon4YoJAY6UqFZRDjc7mRblnSJEtPc+6qIob2AWvEPGg+24Oo6cmBMmZjN3GfJ2O+PaAn
oevdRkIl2hRMit5aLKQd1z/N0eyfpkoPVtBplSVCEXbPbjdTTrI701ETR3p0OanuN5TgnOvjUFt1
srIHLFxkzO3YWYFfCE8Yw2vHxzhUzOdjHreIzTE/Te1wUfju3OhLP0aVJFD7+NzZ5boiK3NF9Mi6
yrNhqJMtu1hXiMx9xrxS7w91bP05RdZSR0L6C9kMXETmyESvyhs/ugmJVLO31L0phNk9VAQR/nr5
BO+ISrGsH8vCshHrW34KwU22LC1SV3jFeBtZVK5HEOOZEv+SJWksHL9THXPOmjjIM7VVP/zMa3ch
+b92yw493KmN9yNy2s8RrVpNG6S62Ht6zbBL2EKyYBwgWdjFRDV70LYRmMzzvYm2PHnboqhXckxe
Os3Nrlucdf4Pa+e13DisreknYhVzuFXODnLsG1a7A3POfPr5CLktt3ef2XOq5oZFAAuULEsksNYf
EqyzU9fiCYxAXe+byWs6JAaCB2O/L6POfMp7VDSjKnmFRDtsxg4xH13FUIPyUz+DrlNtRo2pQ+VB
2kSGtLy0yVTyNXJV7ay7yuugG+pTn46PVqViud6Ge36A3msUueoiAhxyNPrY2o9uqlK9QWVLdjTd
wYPULCSwZH1TLHofS+as1nZNWmqAsKD1HrhNREuv0Sh7ixhdLc0DzJluza1whCYgI4ek6gFE7+yB
deN79uKaryDlHKHvB1j64MoPg4FymBUuUdhqt2bM72g9WnIAUiLCtkbPrOOlEzoEpuLErCIoQrMc
a5+jMPHo+InqWvkM7CA4RQ2Zc9GdyxDHlNZqV6IpJvlKVc6NtrfnYvOUWoVkO7Oe/8mKbFuzHWPl
HHOLP8clH0ymI4cyAXS/mYV2HnCH/NRfTc/pv+NHdsKLuHUu/QNqRWG6ViMXcr/Y5cbTHjj9OKD+
PW19xRHmBoQXzDZW8NOQ2zXbxwbKys5Fc2whXkqp3W1njd0jCpXFp/4p3qcmMmGnq2NasmnXXP3O
sGz/nOvDVtzZa92BOtdYgEap4T+jH92y52SXYeZxdPcOskIrHhSRYsRws3CQqQMA1ZJuoaYTVxS0
OsCyF8yfGBYHM04NgPKJWry5ueVuC7QPFlaSdGtnEjgYfXzKh9IAFxpZ8KdyO76L8JestQbq39QV
KwVFMtY+Il5Gq1kt811MouDw9Rkj2gizKSSAStQ2XSlcyWolzbugVE/ohyK5qISkpQ0NgInUdBvo
tNg696Vxjo26v3dtflU0Rojzu0hWf6SW7h2DJqvmQ4nDoGheDxHF/6No4m+LpgfYxjXKTh1EAZtP
wmBrviqoJG2pyTxbfRDzQynCtTnB5lLJT29lx2IjM2GAM0l9a8xGRhcfyIcAiV4PZVyD2Cit79cu
cYZBTn9Ee6M/mlqMiqGuXyJQAjn7uomfW55sa6UaXntYcQugxfaxalq2mQpq+kEqJ0+uLr9gImf+
pGJFYcM/qFL1rGhSdV/0ZU1p0fudeWG8F10Zlm43dZ+uxilAdJmGK6/CSEoWqd9oSNZ11dLr8whX
CcObCzxsPsq4zoWDucWjqjoEiBzYMy39KSEWrpSKdcfWw9oWgdWsxr7ClzHO9wK5DpysmZlTcQAJ
N+6wnn+K0gqSqKc9lrKKaB4tjYr9pYW80w/NR6qndwcEtwTgp2I3O+vlcO/7qno/BMB87VSdcMWg
1VDD3JYIaAEsphn0TbBQYjvYiR/ANMkYDNQqdBu94c4HuDc6ZrZnQ3W4OAST9eKd+v4BWZ7kphEZ
vk5ZIRU56drx6YlPSLXcYa45Ur++fqxG3gNRtsdb0YXYj7fzIuQOhyosSN2C2klxHgE5bRTLbrDy
V6kaXx1Jq+/8UlFvLJ4EM9GPdiL64K5f7+rQTF+q9mh1efFq2Q+tise1H0fDS6zx1iVIIkfovu4j
8liXfiMq9C01BjQaQmvRZ3J5SnvwsU/ituIhTiHQD1KQWWzTkL8ABSF6BDIiVBRnNQ6hP/8ykOYo
LLWlXG7EgOq43sY1XH2noq/We8WjqN8Y8dwfaIh9MSPoXRaPSFKOJ0UB7jJlvk39TvFsfKr46WXr
TsOlpFIK5bYqinhS001+lVg9JJ7+W5a6R5Nv3kuP3gqyk2p866DVtKk1XdviERCeuhjbF0w6pJs+
RZPKQBnjSGG1OuRd8cj2EFFWSffdxViVxrLFFu9eHBSyCmYUmsckbRDJtF1/YweGGh1BcihrPbHv
oGvIN+IbGcbmHV8/mVwr38FpTLSAvDn3ozIuvS5ZlQZ3/sGSsBzuWVsqUWruUtShVqrup4+Qln52
bmL+nEI7vUrmmR+ZxRsGP9G2JRV2ypTwyShy79LC9TU7if5+GjRK/8mlXrgV/REwYmVmRj9LTX8u
ncEiFcNB4xkKi3I67QAtDp7M58wDVAzacduMAJzkYqHimbrI0KpZXeBIFxqeFZVPuKkXi8BhCST+
kVY9fG5eR0VBT8OOb9723kFNI/7cv75BqHRrC8C7qAb9PZCq+al1vHJ/7a9Su9xP13CGMlsVI6Z2
bWNox346JGUuoWwaUrCI4ZB86rvEVFay8QbpVQyIQyRmiFNkIdJ5Glr5sinb9wsGa8zJQQX5mjG+
WY2hb9xJ4chvKxQmp59j4FuYQzkyrJXK9h9lf1iLftL3FK3w8FqJJkpduzCNygc8COKjmF5a3tNF
QMDJvaPcqb71OvjO2QGilOO9vI/cPNuzRfeQLrJlgL5tAxSBlXoAepXxmvRBPhOnn9qXCZ/GHFtW
Z5qWZxskNe0bS6pvxfcy8hv7BsjbrYIJ46EPuwTxPsTskiTPj1WfshMqy7ldGMYDzprVXW6NKIRD
0RgKT96ZpNTmmi3nzy6KwMsai4e1mNT8VhvABeNeYJhD1TFuiwgypNtS4m0G4/ZjzHMz89LiCuxI
FP/U5VBH61KKdsinayQelB0ocAOd2967D5PkFAseWmGNW80Fquw0Y3VrFyg76COedi8SmqcVioIn
dzT629BMWm7h/qukR8Ot6Lr0R826Ykt49CmoXfr5U8MFd3vyQQiAHC81Gr9Ld0rrbjD2kl6MMYqX
YRpmBwdB1CMK9flCp9j83dARyPUToAQ1vDlH452yG7E3PA6VtWZIuEYkNspquhr8tG1pw+rK3V6W
QbWlOUsWc+6uTv1zPaD+t1Rb1Jc0vc43n7aqAbnZXt+PNRujXd6rMEGN1DhoIWLUihyexC2KGl14
kLPhWdyiRFcmK5CgyLVe7mSKGRbHrqkOZahuSLBpr/UYNCSuKu9kZ065ZzYGOxAenzA/fBUbgY/Q
AvQsKurBe2jlut6q1yL/Ca35a6jTFtZh1KJfYkWEQbV3WRZZunSChW9trislsVwaTAV6yhDBrv9g
rOTSQ+G50Y3gsAjWSmlp5dIanAyULryWPFVOklTbm9JVgcxZXoFUM4ZMS7+ywM3lndTukD76NnT8
V32/ac+Dq4ZnG/hgYraADPz2PD1b5/EY2GvRdCIZZ8HB+y5aYk6VVU9DOIRHMclJ3BqxuSRcUM6U
sY8Z5SV5ae9Yj3BcyFrg3jmVXMVBDIgz0nb+wUwSGF2DM8xcI1R/tktvWmfpYYHoX6vZd7kOh9V2
AFGNMpZ0ccyySO/SeBmVoNRxFXqAIeT9+OsEMw9f9LDTuJzYeWE9G3Gyzhu82bnbGHeRXQMPxGt9
2bm1/1bC421qHBQM6v4GS4qdaiCu2uj9LzEuJproY83zSo1vEOrdWqwN7y2va87KJJ0qfv8jz8Ic
W5iZZFbZczNOkK8GsQIxmsXIm5p1wg2gD4LHTNaXdQoeCRIezDN/XbZ45Gpd7byq/qVbRoZ1LUfx
ezfRo+Ri1OYqHTJoj9V052Cv0DzQEAoIohHoKGnCkmhDVYwIPvqfhueWSFPiVXR34ZkbTQaQzoSQ
g03qNztGcCFih3OyVG5lAAAB6aK1+WBX9W8EkofvhuKSgemfK8yUNiPVw2PWgVZfD/Q1PI4ikucP
A9gkGJN+dhQoNdFEtzk7CpTaWCIuJkbZm6qrJoyShW5g39SpcrO38JQ9J6F0W/Ca0kNQNpemEln9
NxGWOW/yCAZmzNGYnZKv/KteqfAqD0HQYrWoNuHGL2XEG92635i60t918IHEjkIcYicyFmph5Kty
4tciHD2Q5X2PKHWTjccUkZpDjlIj+xDfKh7Qe07vNB1tkkoLqiPrrfDBtJEansRCcFjRV1UT1+tq
BEvim8bKZtUDUaVtDmFSIl/XmhVaQ1NCOVOVExg2/xzp7AFcF3muixHvUEkLr8QURowG06gnMSo8
fGPN9s5j5S3HwoxuB7NKt5FLzvuJSn208WPEYjQZt4ILJDVD7I+aBW1L0JZEG/nUP+2x1RfNiEoz
XHAbACRcXC+X0DpNUHYSTQGBNLA7wmfgLHoSJ0fQcooPp3hDwRbiGi9C7Pqf8VqSRrPAxw60nCxc
W0tTF1JajSQsnKFdXTDUWdQFpEWnGq8SSIcxTocDboFif5vKTrzJqWzNg2m7q9VWCi/DOogdsNjz
WumIK0kR34p4A7NAFiy6uTGRtt1TUH5FYGnCEMvFQ1jgZetkIGiRaKzwYByicpnKyjg3K9Zyl7eg
JuYIDYNVisgwouMEYw4BAO54C48t/B2mQOWdjQjJqY2tCdrG+5bc4NIUgyJMREiJsShhSq9LrYS7
Py0s+xJDCifRtWUQOORmPtaX4oxfUbp3HR0uO+vOy5LzMm2otmo0mlT4qgD5MT7NevCgDY9Vv9JR
RKecTd+nQ9ahApY61SXkOjD0KFzN+P5rBz3W39yEWreoiWSGV19gEE2gIN4/DYiav5VCGIXDSafl
Bt0lWlRLxLAzFU/FgKNgsvUrs+MCp2Msb25QANHXnQH1QfzDaux1T2EW3MJ3sVC3tPIVSoLG5V8n
geycJ/6Qb7uo924HHxORbhh++rKEzPq0hg9Q9NcWapog1vwchGCl3sAkDjAt2OT7fEEWoUwR+Use
4MIiFcMVNcXL8DU5IKKLZJTnNjJjl+3B4EvlvuWxKV72044BVxZWBAHiN+Kt2PoM65QQW3lEge20
kFa6ibAcuqrTFtvqf4B7YrOLuadiwFH2CvMJxRlv2cdVuO0QIVyGk+6OgGTFse0dwdwuuiJHgUE0
JalciIgYsL9tJ5N2bKCfxKEr2t8p6YvNtUsGG3XyBj/cQq18Ef1posAhMMvJ0Nc72kXiH8UZ4l7j
Uk8Qjrr2iQFdNYJ5nufDKk69ZK8G7cv1O10lyNYhBPcSTD+EAJ1ySKqCkw1hhl+v1Np7lC0j6ukZ
RSAX7d2e3fwvE3HxrHd/BQaUPLmzo8dOS42lmmnVQVaAila6M2KzjiaAog0IWthmeMGMOchGHcew
fBKAMgEjc3FPS1LUPCDK9rO4yc1VekYA3wfrmzU3SRe86XowLdX9eItSRrsQzRqkziL1cnsjmpYr
/bTsIbgRrfQ8OgZehCItMrYIQ9UmwjyJpmJ+NukmjVmmoS93q2ldVM6LSTspUdpgJ5SVKCOm88ZX
V/IEHRNsBcFoEGeXQ2Hgoi0FD6L/GiapbrnU0qKE4JVVJzztl5dCxpdm7JWbTneSeZtU3pkbSjin
ZDB8QzrvOFR+Bem182cWsKlfo9b/jvlpPGOcnkF0lQIKPLW1Rty03mmRo+OfhlOamkvJyuzKX3GT
OvHWTEidRkb5vVWHvvs+AoxHIQp25ISuYBn5frg2s2AgUSzaqTvgKsIO419xok9tligoeEdxnzKn
mxWUc5UbYG7PxI3pegMTo6LpOZ66xAziPeQ6UBmohyj6jVcM2dKFKrtAiTa9cJ7FWRjcSIGV31y7
uQ19DpVG4v+ENkZcfAqt4+AWDOgJU9ThLmoledXZRnqQxm7Y+XLt8tzGEqGpM3VBibd9bNuumY2s
yN5qbvEXcpFrKDPNTHMUbvsfNv5yz2VX6POmtHELICmIp0Nhzn3wBW8SwhxxRxKyBHy4coPW3aqZ
qt+zKWZPPUXAZ/qBSn53jpy82TruiAC02mgvjU5tZAoYQhineHTkJ3Tw1KNlci8DTi4dbG6aR2kC
Gl0PTf3aVENyuPaIs0+hsLoW+I7182sfWaqFRU3wNiirfNU4gFUMMx3PLd6Otw4ancCZx3MnW8M5
r4yWnafS70TTzCV/q7K2ARXo18Vca58UtSvvxaA+7UX6mGy3aLJq4wY3Gm+XULdGp1OCfyQGS4s1
WZ14ewC9mFeS8Doh4YWwcxDW6APjXw03laT31BqVgMMUEo5dsxmj6KfovxzELAxzsvk4RjqrKjnd
ZWCmZmbGFtBWneam4Re5gGHTPiNmDQrJM37H0dyQ5PQ3KuSIx7jjk+PoKomgUj8B08PXPZTb5SX9
NZKOTN1FNDlZOV1hI8wO2jZ0nOGFgjyi8Thz7sMmGF7scJlMUYOF5folaurWyZT8HSUFhfT5Wh9R
Y4uUt7jWn1csA3/hJvAcpWFhJ0jnjn2o3zdZGK7RS4ZyMDVHwEL3LUx1HGHHY9C2tKwBYzXFzGd4
1sAWl/AwxwNXVbfeNOx7XXtS2non5l9mZBUmPnDsVjFKlswYFl2LB86FR91noF7yFtOcqO/J4Yfk
eybp9wxLd7EEBrqPPg1K3GI4noZ9138fJuMDi3KabQ8Y3YRqcddi5aogdFdDq+woSX6pBYD33Ztm
bWy/PNqvtQBsRvZ5qhpbsV4QYUUodbseRZ1/lS0iRbsdW1PelLiBdTMRAuwFFwWxYf8YFgNqmGXY
fEwVETGKUOVl8kBC+M8MfFdRYmdnjlZttB89dLovp6KdT53irHnFdVLaiXNd8uNLrymlxF+jxPCX
GNH0pBZyWxy9JolTXv60rk1/aSGq4NQH39MP//qTpyyFHLfpZZL4Q675CjGhS1J0oK0BJcjcm9yZ
ZBtUgpdtm0D19wCi3g/YczCK7IPnr669pV0o+NZOoZcAMTQpxiQWhp9abqyrCQg1b8b0SdYzE5R2
bd0NUcDBRW2cxeKlEfC9DW1jdwl3ey/dIlONpv0UH04HudJIXdWBuhAzxIDnSencml6mLaR24+bS
ZJwDbmFyPFCrvZXWWMTYrYs0tK3VYHym3sSMPJxaJGf5dcQQ8ZAsqAF1Czeq8ps60gowIWHyo6T0
n4a5+q0DcrUcw8SGjkDp1AFavM00dVbITniHpakGyAh7qdX7+l7qviNfED27UZtv28nCREjcyPjM
W16fzArKHKu0s1wwNWVibdQh3o15Sy1UsY3lEES4z/XYmuUl9naZafKFtcTCr274JnY2sg880LXZ
ZCIyJRJYuEaYRELLJncQuiqrs2IpcgdihMZ15E/YnzlwAEmBRKlG+aqduKF1PxPYXUGnLgb4ol2A
ELmrT/CM/iNGDAsmtqmm/zEPCRKsw7Xq7JLSezA960UdyuSHM2TovRfVQ9JSvwBD5ayzKvNmRgZi
j7pXsAOjhx1cPdjPQ2rw3CFHkKKPMbNNo7v77xGNkTxWZVhjcdlUNxcNnx7+UtuCCrEVHxCzkP6Z
+hDVlQ5f4uSpL8Wofe3LFZt70PurVMm9gy/12YFFtbVso1J60DR4JNifu78MnLwV7ZfW26h0KoX8
EE9zBn/0DmjxZAe30y2g0q77AFvifU5z+DJHvI7T4TkZ2sGTwg3+CEZVWaLfgcHnVARoeociALq5
GrlO2mOX/vL7iL3Z1HIRGBlmYh6b+fQwZJjHfMSK/kuI7nYnVEC3jt1uFKUxf0aq8ZohBITmpuKv
qkIu9o3W+XgDgNKgVqu/TqFFOo4zN05+U5lzKpyXrbZeo+w6LHlaYzehoKTDXbE8h6XxPVVs/y3H
XX7W9Up+h9Vut/dQZ1yIdFyg3FIaML6FlfYahK0ObkkZNrKLsEwwPRRxPctJY+CkgERT+JA65A+l
sNp6sqVDSaX8xhMLKfhKsYqF6RcsRc1Bf6obsNAgv1EmzDx0FeMhQVwR3GG0iFSy5mMgof/LQN0Y
0WFybJuPdm7sfUU/V5ob3HfQ/W5I4+Pegor/a+dj2FO4Q7MVTTN/dVXyZF6RookeIzXJHcV/9TuS
mrahVccgtLUHfHLWoh+NOu6DkcMmerrY9CI2KKgZounmpsxady8Oph27iELr781iCGH4NCrmWh8h
JaiNYGH3/azjnS+H3G3OFbeOXd3jJCea6qi2LOTwivEi6QRmpT0rWZ5gQYeZjhjELoiknGHOxaCY
FLWqh6WYlG1dvWEHoxc9X6URgzyrte6loou20Cv8tV9E1ZNZsgUp0uqxtdVuV03udZN+YT4dbNMN
dtwwYh4VtnknBlJZAiPuoGehuGoVzv1JpBDRF399aSe28jPKGmvnCjnDaR7izXO9DuUbcRUUz9RT
F2arTmqyVQtNdoeb1M86iJIfOA48+W6WPuptoaxrkztHGI7uudSyfwUUfdJs0pbMpGJFq1jHFhaa
36/AdcFPOmAh9daFyR9rb0EH9r3xAvWxq7Bh9RK+ECHPrXVepyrSH314QF4drojWVXcjZHPAaqr6
jE7KT8QKulM+VXzE/dhvm6UWOs1FT9QYOtQTuuYu7B/R1A+w+lEzkNWx/dya5lb8UTBR2AnHyCG3
Kc4irM7SgzyhEGzYSZnsa7eilRaGs7UDE3H8aRAwR32PQEM/73NfXl/7MAv8OsvQ1GomJogwozfx
A2L98j/OalNKOhCCqwlOSgH5OuPSnl6jHJo9dwv3ADjSP3eZM64MB8aM3MUsGPG84sdk8dVjPwAi
JJRXPrkUFrATJKRnlEyed1cpy46E5LPRsu/w5Q6npMY5+DaiVu2kJDXGMkUxLY5wtOQGoRGmxX7/
KUz0i7AmQfKB6u3wUgCQFWGeEr1frf+4mjVdTTSnsBy8+WwEXnx0dfbwsahA8sB4NikYrXoLES3w
eGwFJH+y4bW9GwX7gkdXjeei34jaaj8gKDSPfFb5dT0oC3XIs60Y7fljCtQq782h1+9MtwcWw8XU
kLorpC9vKZr5SD1cskt3L5pe+xvP2gL8Cm/I9YwFImjmrAxRYx69JHxBTQ1pB718GhBWOyHKXSMV
WAQvZY94bdpmwxo5ieBFtaNXRdLbWyu1qRfl0VZ010oxbJMeJxcxqfB6uIS52+/F6N/XlsOMJfv0
mlVifL42MvuvjVW3t1Gddf+6tjq9g3aceIof127SF7kjx6Zph9HSfBRaOMhy/X6m5dxHLE0SImb+
KelTPBtFICIY7iLWIoT9pmgEVhkRs3s7rrZB09zBvA1OulI3ykJMgRM0kzpfP3R6YWwQcn0KUP1E
5lOKKR8il9TKpYG3UJ2nGynL2f27tbIQMYZj2Ef10GDEnuw1xX7FMwu5h2m6OEQfZ/poxgsyL2mi
96t0kl7ybdYureXfWXqn3OmxdGb3jC6SXyGTkOOSJCCd1Na+RInJIkpG3R4dVEufx9yzdnZR/kw7
I/w+neR/TnRSBaJHnIx+81OcKH9OpuD/Vcx/ewlxQdClRz5TlogSWlhSlw8bFgD9S5b2mzitg4cm
mSpQSpDPRL8IczWEBkwWTy88XDa+G4cP4NT+I8yZribC5Lb5FFa0EpsmH1np69U+XnQYUKvv/76a
7cj1UryoQZlrkUvYF/sBRmTRAL9BFLJE09Br6SDKXDG3l8uokFu4jgohh0Ey/7/OFW9DvJC4MnVx
6XB93eubvL6uGO0+3sYQ1O0aXqE1jwwbzITjHI2w029kydRvxFlY4YXiRnqPUcs00DaBNSscVZ6l
Y92vRaAqOquyWMRmWR2vk/9fLzq9mpfF+s31wnUaYWQrXvPjwpe+/81FxfwYYN3l3X66qAKSWLb8
z+/W11Ac8DTp8hFcYr/++R+fi7iobcr9Wrzx69/8f7vwp9dPXTNZas1CCOC3fvTc5KGMbSHye5KN
hy7ZTn8tmpDhAHwkJc6V3STHl9fuXR5QH5mU+EREpvqfpmP3+R/T7SL9PL0ys7m42Md0HEjGWR5W
8tFrSGKaE8g50r4n4xD8oErKNhZFajQjbeiEGDiuc7eNzh5l53+ERmb1Htqb8HFE6KAUv6Kum+tW
ED9qma4v4xHqB16s9h7gH/BT3Ooexin3VpZDx45kVnOz/5WhB0VPkqxrlkczZSprjNNBy1t3rnY6
5mJTHcQoWzSKUAPUcXo9izDRb3kGNjuSSsm0xa6lQZV1L86uBw0PBGqO9nvIdeBLsGi6tpbPEwss
IFXg7hi5JYwHz3lDYbhCGOVPMwTOnYFftfD7a6VxmVFRQEMkBjEUpMNkB9ntWDwaZxclMaByOHDr
k5gbApLxPUl5yMi/0UgMH6AA1w+l9CS23aKRS09iQ56hUvv3SDR8Cvs6R6AB+P795xyx0NR1rXqQ
q2dxaTP17JUjWejeD0//m4n/fE/4g6lzv8fJU5abbC6eThgWSHNk/fWdeIYh5smCrH0GhpYcHHvg
2zmxFfxc/xylKEc4te0z25f3KHks3+J6TEHByQEClr2ydWTXOIed+0JByX9rZCBbo9bZKJ1CZh9G
xPuE+G2Y/eplO/vWTxPhYyrbCvGDs+3bL2IcJMvniaFXoIczXbFNf4uJHSjYVaA9VaPR7qrIxcwc
bSVwMwrEKoNHZu8+iW+wFDg/69yLnigRFEvV7qIjuyUsOv8xp+ifhDXFx5x2mlP7aXTsiyzZW7U2
rtRsU+mSumLRUeAmZBv7Nmn1ST4BOfeS35hPVe01lpFygYLizZxylueZO32fXnL0BF6wmdfnrdwk
d9oYRusxwgdZSybxVbC8/hmTT2c56pMvZN9HN5XVKxTBu/BHrm8FkksK4nAehP1wy7Lf2Tboyq4S
7J0ezdx5ERGKod5kGkjNvPkupYN2G01MtzHHkA0rAIq3tER/5mcYE4w8VnO5Zpku4TO50mPFnYth
cTBljep9It2VIiQMn3sTY29AEeFRqzJzW7SevKHUMZwMR4+XthVWD9WALY4Pau87wkPHrJz2ZxH7
eF2Xf+fZ8GS1Ufg6DEo5j0H233sa/806sTEradpyJX7b4pCaeY/QLD91K3szgrQ+5CiwbWUWEDOP
pER9HgZU/50bqSWV94Y8aYZKPRzNmdC1DcNmHSj2uLcE0xc1vHxlNaGED+aonygrKyi1Bt4+LAFH
Dk39WHpAJCNL7TchimZnzVZ+IZCR3XpRNMwztZ1DbaW89/dZpg8oAHlRg2fsdPb3KMtF+thEvo/+
HZfJFbcnG7/UadbXWJ9ZoZj/9zW/vuL/FOflh8Ty5OINgHUM0UWX73maI7JXdT3qxjRNI2lu+gyf
+xg70LlbjO0yYE297KqINl5p64pN4I0I7goPzS6ZxGJZRMo9Ql3JWkNodZlTY0EY8TvJPWeZRVq7
9RM/f1RH4wjDpvpu2BEC88hWHU34iLf4PTUzMRAn3GyH3mzuUnxRD7mJ9bm4kmTlW1DgFXrkubGp
C71dVbGlfdP1RV0A4kMzplj3Js8cSHyPZGCRUIiLnwISn/qKtc4SY1wKxohZef60v4sPAj8/TapA
TGU+VT1ko0ZWY5czLy/hR4f09aLPA8v6aTSyKuo2tgLOTu2XcmlXQH7AreNIsB1H1zwbBkVs2Mgo
zlRuccabDGOc4ldqRuYPxZOORVFxhy90fmKtBkphAOIaxg5LCU/GUyrc91oOCsQ1nTl+kOXJGD0w
+ySwlo2pFa+57q/TJLR+jKoEZcLKx3trRLWYfZSyDpWyeMDL+5cxhu6t5SfIHIewOlTVeKu8kryz
U9oPrqfGy66o8pMqe/FWtSVv25l9w87UDJZGqgaPRq5hI8tH8kMaXew6Oyra05WqOB3fxd8DDDhQ
Vauiuaq1Jomq3j9l/oAOpt6b3w22vja3zCeq5M3GGHvsEL3KevEpR+kbJzkK6G3X59qDYx6FWrBo
AGMTIyOCatPIp7DkKAC6/fvIX3NUyJgwxLgjRj3aKLnRLCm1qK+k1ReCndGVhT8vsPC8/e8RY5Cl
e5D1pV8jHDXDHxazkBTDaA+rzI7PBEGMlc2lXwa4EKuog9ekpHoNlDHpLxFx0e3lws+fC8zsV6TY
GlZsvXIvaVL8HpGZd3Wa24/YjzfrqCZrqpS6e7a99MflRZrxtfbH7kGhmLupACmuEUa35sbEHgTk
d5toln/vWXF1V2vdA7Xb/EVWkBIjOcHTdGoq8PVmXRo5p8T2jYeSBK/oz9TC2naSUsMgMfIXVAso
IbFGO4hR5yVDz++lUQCDFDIu8b7tZC+NIeTq6n4r5kAnW6mdVDywTcxvJBtNYWytk8dM6XVIkxmy
2Xc8RZcZHpb4n3I2qh1nfmp+6gujCjv2HKm4a6EO3+t8kWQDt4qP0pgofImm2Wf+oWkeFKhJh0Id
SeKlyUPT5xBWpi7AzDV1l+n0GnJtijNbwsm6gde2+DIQy1mHtjom2xjdwgtJi7zfI2Ld76vI6/eG
Ddvw0hmUybxQVHsrBq4hYsYlToxYYsp1/BoOctRG0sHrFp+uLU6dOHJmKC4Oi6BQjD03FWMvzq6H
a1/kh48kbqkjGmVazv4Vcu2rKvdPTG14l3lD3/+s4W++lFhyFfgafsviRL7J9btQ6sHX5Jq+TZHC
vMC0xibBgD5K8AcD4nUt5Yoz0TdFmKCuDqKeK/rF4d074M/odeBr2di5fWdtGq4Wb8kJaRele1wu
seSpbXlx7WvgD0F6l76rH4L4YrBSVk4vRRdlfdEDXyjihlzV27GdBITJ3K4qGxVraFJtvKakVcwu
7WDws5Nildmp/xgRfbDRPQWXQjU7iTmhjv3kpdOH5bsMGzTWcZe5cavGf7GtLlzKNVIXfdN0uLFF
kIfBMD0brnErUOvwfW8QUHoPraMOZw6fhLYFR/QfoaUimXP2uvBmJ0OTUO2qG8M3jLkV4hZ/FXq+
6DuT8iJXwMA1+MuAuECcheO8aocI8X3QigLn0wENm48duFu4gSATRecVrmioVT83vQIg5T8AjqLv
eoXrVQVcqLOGfs8ecaHncbNOe4Cnim2m9/B80vsI2i3+bZLJsyzJ7u2oTe/L8a0yPedWNIrOMXZF
gqWFZajI66sU14HO+/ayyxspmlPJP5uJ1h3E5QLAnSfocCvREhe4vmoM3H1ZtJDOrwr+Qtr/2nSy
CePn6OH8Ku0vRitUKJPEbXa+UzqwbQVjvWyNH3hvxNva08yZk8bKSmj7Nti7XDR/Da/S18gq5bOr
6K84u8Q1R0PuokvotVsH2zqjPCUedj0g1Xk0KBhpT8ZmoumUdbUVD0m9G99Hr81gCq5S2dha6rT0
c0ssUPz+F7int1iro5cgsZT5MCb6naPUE26VdIBb2vVOdfEC9rEaRJPK1PFFa/JHXA672fh/KDuP
JbmRJEw/EcygxTV1pSgtSF5g7CYbWms8/X7w5DDZHO7Y7gWGiPBAlkACEe6/mMbir6nGYFODSbwq
a8oGaYSfj0DZe2ABTtO/pnPZbfUuQ0qkCXpA6xQfoOlTo1pGNXhwj51S89Vl8DqBpHjnN9N1ulYF
AwVKmJxZGGaPugKXpsorlJztERpfgbNlnfsHcDnzWprA47SLbmmfpdVh9f3SumQyiAwSTXstjB49
Y1V/uEYnwGdzv5+O0TKod2G1rZvR3EZUBERCwcIlYV06bX2UJpYQT4bqBU8YBWVvsTPzHkN3oerj
+dIVVE7GYS4+chyl994c9tue98fZGOp/8hAIlRyMwm3vxoxtY4/KwK0//RkhfTKKcCm2mqrvb+u5
4rn0c4YM/Na8TQNER3IeRv/mtzgJuX2QY4O8WWWj9tmHCrC//Sy3D79dVC51bTagS/IGme7lR/7f
H2Etv20Hkw1J0w4/O9AgjVLbr9mU2+vOmLRD3ygWiRW13unY32xV2KuvQaTodznPgrU04eq7F0W3
P0kLd0b7OenVlcxsl+lqAIo+cKsnCVB8H8SSaU/naLbQDyz5a1TKVF+ArG8x7MNoccrCx245JACu
NrMZahtpyoCE6HO/M12wercJoQb1mlIr5LblItfDiAxa3eYtJihxfpA+uVLxnw/UnXDbX10MxqQ9
IzIVra/lUs/FjI2q0ri9tkuPtxDrau9wq582qnYGEY6g2VJNJbOQPSEjcI3PFfTmqlh/keKsBAQN
+nmk6ZEptXTlHorRmr1xfRZgK7rJi6Q32Y9jW7lX8W4Z1dse7UQ5vcbI6c9AgcbWMvk6sIBpgwR/
DWcOzE0/mnG5A3WAckMbHA0jwDS3KYPp1JlzVO7kFOjudAoVDRI94mMk1BAk3UH13BeuC71rUngm
oLhi2VjMFwiZVPGqgFYbIVQChL1v0ce89Y0IN95Gb2f/L3H9H+Yu1xsCEBhikRwkOmqrbNuCstA+
/3ZWNIn+eVTNbDVX+n+NjkvfvIz+7zgZJWHxI+63z7h97u9xERpsBUL8S65SdEBGq91gaxBRZydf
ifd6soHVjXbl0mzyBvZP52BuH3ZZvV6CnVwPn0RV5BYsl4Oi/CNYRvX2Cwuu7rHUzDsdX+/3uB7G
e5gbf5fu1LxHeN+dVHtCk2gZjHDBu1M1N4XsyWhqJw4lec3ZymjuWdj2ZTZiAEtwN84LJiAsjywp
6/c8VkB4qmPAY3sZjdtnE03eR2kNTQ7F2xpfQs9p38DrSG+Rt/aTj2pON7kePFqkbBSjjnZKHnVn
CrTZCWMzHJIoVD6rUcGexmiNL+jsnBxjMP8xun6bo037FyR6rJ3IO72YVhdtm+B5EcvDwjzIz7mG
BsnS0hVEVMAXwD+WdjzpLRXdKd5em4uCipwNo+Icm8jYX7NLgTJMm3YaEIwbNJh7aEfjqdfdm9GM
TOeMrmO0dkPjxXMSG4SaVoU70gcsQ2Wt5SvzP5mqeUfWOu2KfWZyEgcSSy2KXT3M9VaaQav0WIUO
/8w4bUBpsk5a5pcv4l0yTw82BO2vtsfSIapK+y3OjHHTeIb1EJatCd9Ts45K0QVnKwSr3+pmAS2r
ctdt4YwfVep/H5DP/dYExdr1FmsGzRn2ftnar8PAktp1J3g3U3EneRQv1R8RsB2fUC4tX+ZcP4Qd
8gSz6w7QHIDNSi5GJuU4Eyc1sNt6HVYpzu1lA8O71Z1LNwXu5dYs3GrlJ3Z7nivFnME1ElfFQbBN
LGNY12E+bJNCdVcYltVnP1C/GVGAc984Y3rvsx8+23I62XqJcXJabVOHn6MenQsAHz5tOSvqoJ+X
PzDvGi9ooFPTaaspL5ywgVbuceMinuCsfdf+YrfVeAyb2X8qqJzcD40J2qpSnqQr7D3nMEOdWJmB
4j/JgJN23kYPGvbbS58cysquVokPDG6krhMvhombrIrrhwDp7XWmcpfXE4nMoPze4FG76uzeftMS
rLarqk3uDbQi7+LGYgMXkp/dhO5cfXJL581y3fyfvgb8fqfEUDZRGZzRr1BH8qloiZUWdnmaFYdP
jR9jSUU2AekpgMWgxW6hThoofE1j5ZAlfYgX6X9CuaqhuOlrZM7TKin8YRcV+DH1Y52pUOyiNUok
LzYWbRiYqPVWr7Tp0lJjQeqss/aAZg3euom19n1SvZBen+BRmf8oCA/7kdJ+SxdKSpKX1b6ptG6D
P1nFPh5XWqd2a0iwWN5L+ibT7GfV4be9RQTIrPwSYZnuc8s/6y0fdJZu+ILsf+EJURWA78EuEd1H
fBtIC3/kmmMgQVQpmzZM8YQaM+u16yO+V4vGIzKpxoXb45wt+o/S1RiKtkFCfR1qXrCFEjk+G0U9
PYeKQtrBsS7SBbqyO7lG+40bscjQtELdyXa9Zi+xEoIKu9byWpdGEE/VwdDR+JemHBRwqyg0Yiwv
k7y+jh8cbBluEXkNZ9Ws4vD6c+id+xEvAAlgpT1oYDu9tzSlum9gJ657K4r+CnzlTkUb4h0ahL0v
ekvf8+oLPlIXSOsSIDMHH3Bwq44rj2/8/1RNRbfIWs+2X20kTg6/iK+SVjXOern3W1vZgdvEmTiP
fnEaLfGyQSiw6I4iU90g0HWAAKmuhVHU4KfzHMO3yAIKQD0wPpSckFFB2gWAPs7ke31plriTbn2e
JzzSkFW5jYp2gIyiYkO69mewNJOsKfYkQ7HkdYuLq876t+UkB20rJ0GQBS95YpN7W0VsOGxrU3Sz
+26YNrV1zB4usxvVZ1A68baPmvhzAx5iUGDXjzHu6Y5G7bPVfWMPCsU+lHWePNs9ZncSwq4Uj/bZ
ec111jaGobubiNrDh+E5xmYKrOkgzamFzNNBxLxI0zPbLc9d9aXQ9erFMxv+S5ryPuP9eInxfV9J
0zf75iCXrA3+vD90bCPDHc42hAWwgGr3ZKdZe8oGF+fGDlV5RQcLqytfLGRGtvGgRGQyq/zFNLy/
SgQZPqX4NaBt3X2KcbWn1KS2j8Ny6KwaCUa3PN36zbzOWTvHOtQKYuXQj5H7kBS7W4+cjWmMXGIF
x/M2kFISOepz+Snv9GnDH7td64HmzPkqrTXsT+oAOD8e7Vh5hGa0L5DyHqYduFRrJUrACKVMp8Ap
3qQ1aXHz9O+uerGRUYb5GiWtf0/UY9Ls65+TlMWJcCpH9T6LfzhaI6v3nE+6fyciszfNWdeb/U2V
IREkA01R4uyX2sDpUif8PbjMbP0+m7/GIQl3Qz1dBQHkZQZArs42LEkTpGp2iTv8g6eafdJdzzrV
y1lTg1hd/XIqQ9Ew2Cef6uChMJuLdAUKkFFrYDUTJir2vlGX3aEOgHBMTDOwedWo72T17RfpmNsu
QJMSW7phzFh44N02hhuzLouVic3qKWHzjirEv86wtv7RB8Dmv0ZvMwI/RbJRnUDn/iFuKB/72owo
PRLwv0PlA29xv/048oGBYX1C2GA8Fn6jXORQecgXaUo7Yb8KrOQ2cG2GIyvGpABg+XPGb3G8TvG4
1C+3bozGnXWN0xlPiKqOFeAFZUWhdqpOchYHc4nn4dK+nt7GMUNo10ZsGdc5MuCmJIhXciqHSY/c
Q1Roh3aevYeyN+t7mAyrEI5mtk1xPdxN0YA382KHJyFyFo6IfSLBahxuA03SXef2y5Vu/XKR0qnz
9W8DWV+DjVouIgNy9apPyVqgaO3M6ufKwSoxzprykNRhuRUjxTlRinUTR+pJhOk8K9uESmq/GiYM
+j9MkijfAf7Ct/f/OimwavOptN3v1FGwKXA91Euo5oxYkH+JYVdsPNupLro6GucaXRu+eaH22Ri9
nTp38bew5sHRR/gAaIiDHxLVQVAcPsdzaSQgSTWnQSckm++6AcuWYXlE1k1mPuTouK9GfV5kjPpL
F9jpu6qXPjBwT99bbT+9W559koA2yMJ1mkXdQxVO9lnVi4xFdlL9hVzRKudDv1BmV7YTFJc7bRiD
Fx6X32WmtVAJrWpWn9u+wLl1bC30q5P+i4lsj0SQ7KrRumQQpjc6QUX4Go/W1QEj16LxoOlYv1QL
iG7WcdvSXThY9qCGr11iHqRfwiYDHytrgeqprgbqrsN9xredQK72W5hIGmvL1f4dpqfZJxanmEKz
e3lIJoTl1GrsNziJQb+QpPKtU5LKkou+DRgA2hHzI2d9S1J7MSbSWQUZ3lRRveWrMu0Lqzb2VRra
H1FnbEn3z18VH/WmDsLWWVWU8skKs2IVNpP6lSoQggQFCrmdbqJhDCJuIzOmDnd3vpOfKE5WqNsc
I8fyUTCx9TdIFd61KTJet+ZVGcpg1+VZnn/Vwh6buDn2w0uDu9eqi93s0U6n/HFO0LMG0/2WpPV0
vPUbuCQeJJZ/K/px47/irn2dbvyIGbJqgkJmRFt/tMDdq1BxCt4951szxnRPml7k8KZdDsmYNU/c
3GszrbMHiNTOEwt2666coEhZaQdLKyVzvLO8vNoEbdrF67kAMojzQ7m/tpVK/6oM+GEiHuE8seBy
njIseMcqDB/lgrDNq3tkk/YypvEk2hZB5e8Lrd2rRTn/s5yMqXU96f9z8t9D0qP2xnYeh+gX9/Us
HIs79nVf5YaYxQ3hZ5/cPRiK4t7NZ/wSJ8FD63ALecX/Qz/QFCAfnlNfixdSe4h0f3kVa49Sk7hu
v6W0kUKsuPP1+dHuKXGv6kWnYVbGYRf0hbbuh2xaqQ6GRqkVpm9hXKLMBoxdDJFr5GKuhsi2rm7H
0D/aR9mvVFhVbnrbUS9+p7UXDEnYmkZd+Hd9h/xdu/rx8ihgIRxiADzFyouy7AT0Z6lMRi06JEtn
kPTZSQ5YOv84k+Yvw79Mv4XbWjjvzAZIXDgpFxSqeYlhB6lcZo+0S5CXyk5GXBtLg42ziMAGGZwF
ibmGy3jhG9qFyrk0rj2GuwoQRHn0UahCUse5FwJCCBD1ZFvd3zdOQo1684a/VbeTiDkYy6PbZfd6
iUYSevnoVixlDFTQ/tNcyG9ZNP9oCtru1hSE3C/BP+fmi+GUmps5aqdRSqYT6lBawWgsi3lKN1rk
F1gE8B3c4YWnr5KK0k8LJs2+M6e8PFMIToDEz4G3Q8Lir2tTX0bQd0rtO3Tf0Bzw873jVs4uCiLr
zZl9KkBgMDK9e+tr13mLvdDegSYy7uB+p08R/71VvOA5cviNHiiCr0HboIPTatlFg76IItM4bgJ0
jb+0Y7Omx/67nFpc630tf6qGTL9zjdHZzaU13g0tlJCqy7/YJA6+2W1xGGzf/lwriFM4kJ3QGlXL
U9ORCkM403v7GQrQ6RrameafQw2/vF41tH6ENktoN6g/rlra4y9XTUlVsQcB6VDM49lBzOfACuAZ
UVUv30RLnwzIYVTL8Yxq63jObGOrNSNMmaVLDxLolb+fTsniehll40Ym/+la14kuu9YDdjhr1O2w
ne9Xkxuki9Gg8Zbib8KWsUvO/eJafBsVg2MZLTsjObOJ+BE8+mW86R3U7pYvmgLyEeBYamYnf/k2
SmduDuPKKdkE3voS+XLKsBxk5Ld5v8SAl+9X+NmH3Z1b6sa+XGBTCQSavZvVLB47U32+HkzAenY7
n6WFF4RyaozkyxWUNfVAADtdm/YyinJ+8YzIpFxMetI8Q8i0ypQ14h1qBgIxfav/fbWKq10hXber
yQXKboKYHq9jwX8VbKx3rfvkJkO9r4uqfUxrtCuiyB3fJwNurhdWxt9x1W5bKQLaob2xrSr4pvkY
sdalbr2rYZEizq6qj3nuZHsrUftTaXjliTJBvW8dG+bHWGBgyFbjQQ5VOjk4z/b59tYXlE74UHiK
u7djxJN/G+Bu0nm+so3+eRGZIE3NS19C2/bvpCX97RQeCiA1xyyxn0JoKc26q4KDHgHuGSvEQOY2
NdkFedUBNnL06ulKfDc7drmW0c53qid9btmw1/FrpEzRqz8pn7LILgCGEh9P/PAYndU7Gewsdzzp
JT930pkNRmghAM2uf7kOgl6G4+Or8E2Z2pl6sNdtKs7SdHoUhFHoe5JWHUafk0W4PaJitfPTdH6a
yDtsEMdFW5yU8cpGJOELa+VXNHjm747mrYEpwSnKwmilpYP/T9rVD2WZ6V/nyqxWBYI47zim6eDP
/emZtee49dTauMeCw0bOHJW92p3n48A6+zB4vnMJlk+ODThOfRKyP1Qochp96dwjmW7uK8PsMLQj
5Wv2gCbN1jIvWWHGO2zf+6c+jNON23TaW5sk6O27XfXFKea3oJm7736ZI8Mb8LO247fEU6Jgpajm
/aSV9lf0UVnY6En4EYN7WJexpj/LJxcZiFdFy/RNR27M2JSszJHw4AWpNt2pbr3w0eopHitD4lMw
N4LPZlTYZGbgqOdl2wPfnw8WTsmfM6VQ0YEp0FpZwnKkwVTVqp77Ou8eoAezyFz6wWg5m0yP1Ttn
mTVa3NWa/dEupDZDC8ErpZ2xFt7aVCB4NWmDfipCO/9k4zK80Nwcry9OWl8aayHBSVQPERE6Ul58
sjDw/RlFzcxYC5vtFiXXcrMrgw5sYQF+nij0KNV92I0p9yRwkLxSrXURW/xvluW2HPpl1WRPZOtu
AxIcLDNuA5MsxaSz/MNlYtjBJ/j8j7KbsK3EWQ0O3hhACZP3AjkR6fc727lrbH9ANRzLEEQdWwx7
g/7V9Nivekb2DKO4fx2yELKrqmonGXR0wKOBa2k7gQKg1NbfoXWJRMUytTaz9sG084sMBoWiHFDI
0dYs75xr3is3/W7v1868lTTYmPJQT31tupNmrejfqz6x7qVlpMVKacKMhZzqPM0QdiXBNlRdeC5D
E8m1wqa6XzkWy6+8Das3LX7zqb4FqyGcHloU675oeEev26bWnjWIA7vGLIezhhTgEWVedc8v2D4a
7RxvapYHH0YffHOyLP/kkN7CIYdMEhrua5I5c9OvXF1tN30MI8oOpmilFF6HCl6U7SgvFWcHAaAT
CVtnV+NF8TzjvkMFrVQQ5S2Pnm6a/zh6jKSh2/7FRa2V15XK1pltFW506e6ykrS27FgoSmAzMRbZ
oWpi8yy7ExmQOAfFnWtcIZuXac4PoW7B6Vt2MbLvqUeMv/PQvWt7DElEZcwREbKal8Luj51dHbur
a5DE3yKHmhvEU/L2mEMIfOjQLPy37YVeIN6AeCrZ3cUKw0BS7hjHw+cI+9SD27O16yoDucA6jl7m
eTr3kVfeS1etGT8iQnMRxogq9dyY049RI/SCQ6/b5skJIwv3pkR7z7qiP9SWQWq/NNT3fKrUbYRb
zV5Gu5B8umOY/VFGs6j8B3WI9l4GSzxvgtgIXowEWd1I+X69QtFk7DGKl2tL4yWOlgSfplKPc2os
2pED6Y+Kl6VrSWPfmpLGdjQ+TUYljf1LU5Lcf5ibxXz/JMn9S3CosrReLpUso/JBOTbe+5AfxclC
+5QrlCekOpfhIrAFv5scpKSnxdnXpHG8B1WtojenZtWxaOy7XsnWL4yDHaAi86OPnROA2IGiy1g+
q+Pi3TQaH35U4rIVuPnGovbz4bhOgjC/6d+1dXTE1hSqoWrcObbVPMMKb5/TPIx3/pxocFfpk4Nt
Bp/VSPVO0lItG4FlJqU5X8K86B4V15++vLZ6On4JlQGhQ8Oo91OWnma7wD8dxxDUrVrr1cYLaFVZ
o/edtxFqZ1M65CurDJzXCI7dNsnn9Iy6dXJe1AzdaX6YUqfbZiUQlUEs8aRdhkgEXTelZeyn+yQN
y7Vt5084kXf3InI4FBghTy3PYmlasdfe5Z6SrkVkL8fW88m39W0Z84ZHabF8SryFemxiuun+dLi8
eV3OC9BCE3BGMBva1rUcFK1unXJKHotUsZzmrAyvQbdrOCo+AiYG2oh3FtsxLo0PnQfj2i/U+STN
KC02SApZr0OJArnal5+tKDE/XNUoD17gHabJfaEqeYwXnohYG8lZNE/7MO7qy60/UwGeeEZd/+KK
VJqqv/NrBc7aMl8OMCrMcx8XRzfDii2MlxTOol9JRcfcOKFt7ERUzuyQ6mwm7+/MdeFqoT2HFQi0
RCkN3WJlqjpTsFtiZVC6QhTlAtc2Hjyjmh6v2I5kar2zJBHMzLP389w0q+u/OLS1H20Z7gwgfKgy
fRPVeGhm6ZbqTHXV/E4dCLyr2o5fal7/x0Z3aIZZGp01bNVkRhVZ3kNd1BDuGrM+9J9qL1dg+Az+
EwUW7cSb59NQuP4TqDH/qUdecwf31VpLn8QCDkKNs7DzvfTJAb29t8BrQwQLuNAUqsaT/yUMEN+9
Sq6jKZOsw67in1JrAwsCzorJHfbxcoY6zY8z6buNguWJEaNMnJPfsvFq5rrdkvF3HmtsDB4dXCKo
a/c6C3r6qKkzUKnRJaiKO+lCBKRVeHHh0d3p6v01Yok1Sph2rjU3d7e+0qxHzMJ5GmPsh7MqZOi4
vmSGVWHyoNbIJSxtimf6sWcj+0ufxFQSUwXxq6ujeCl9dVU04+oaGRSuubld1zJw3a6QQlI7tsam
kioP3siOsR2q7G8fQ76kU63PZZ7hPPWHCGXATmSI7GtEo3IHhCw6n7ou/uxFuvJe2Xi2eXGODDes
puOkB8Dh9a54qQxorl6BYYSHvEg2Od+rSmefNtyttNJ0r5YEohRv1Cw9ldqFhyP3lXR6aqytLMua
IYQhPy/3lAxcZ19vudtMGZfI2+xGd3uEh/z6XQ+yTYWs0kequdFd42M43HnxIg8lsqVsY0roeiGi
Ni2A1c0Um/kZfDUZYzQiV01eIWcqnb+MSzx2U6RUqmBv2vpwJyHX6MYCEp9YIWhKpz3JwRzhs6xm
OzbLlXRkKqLKtrGYWEunLQHXsOt5UEztyRyS7vTrmEyO2IaUhR7c/RofFR0qZ6BE2tNQs/FdVI42
AtlOgOWgkI60lwOeW0Dd0i8g7qZX9xmQltNv/RKhmWgGLTNl8Da9HbHGUCzvW+B12slIMJGSsz81
pU8pHUq5clomnreJQ24QmaekAw5Dk//Im7c/jbxNTi2QvOuZ9DXLwG30T32a7mC1UYy732JVdE50
clhjZZMhVttDMoOqZm2ZP3TmYBx0Vo1ny+3dM+qEhb8rWxBLGS5fa6u1QpQv7WG6w3HTIhOQT9H3
zFVjxPf0T0Kn5F23xsou+9uaFywYX6ZnAN2wGM15ONb17F7gorkbbC1yvkdmvik9K36eW+yH/LlS
d3PDinxdFsGz0hgzP0KK+SEGJw9VCdd0iZWDFgz2AbyytZImDszuJuwB96NwyTN4rB9AYhhvlTW8
sDmvH/Rl0bOMSUvGYFj+0vo5JpHLPLNyLn0/pgAwjeFy4yzc+A2IwnwPZnWEV0OEHG56ddJcItoa
Hj5JRX+X6G5wlzrNPY8f/a1WVYxzgvq+XpJO0Vzmjz/HysSJz9gDQLsgSWvpOBJ3qlNQ3WtRX5XO
3MmVi14n5X4kbwlLhuZtwJK8rooLm9XkaNgzeO2S0yYK2FHfiX7ToG/KyGq/dvM4bUPbqY8e1h3P
yqB+l3EvWwSeg9x+CmBunvAkjLblANkHFwtz7aBCeBpdF03xuHmQA9aRzYP0sz05XZW5ZOBnn0Tc
JlQKnCwkTjBIQbA1x/j0U6Why+NVdssNStNx7LskUoGxBZn2WKK7MYQYG7ZqoO+dePRQhiYKte9l
29Rxi+kxxGj1C5k0hEnyVj/JpW3kuQ/d2M0baymQFr1xAgRinirTw1li6fLQ7zq6uo+QDV1y6Jb6
aB2oPZ5HCqX8n7FkkNW1yTZ7BYq12MaBAgQzihZLstb6PGfGa5Za0z919c6GjvJdNVsH1qnWX0OY
UdNtp/Z9HIIlFea6j4bJa2Io+uxcNGF9LB2gPxRhtXu5dtlH0Xqyw3x8Gp2wfUBm0z8EGMxsB56I
X8iYr6mqah/cI/6hVBy2ero1flHoj4s6uSDN9qlrMbpqloOcycHplVWXuspRDLCkazQ7FcVRKmNT
raY7+e1DhMg9VnEX+eXlb1f61XAXRcPf0oWfkIrqhJVq6zKJlK10ysG0pnFlR9mbARTwoW6Cjeuk
6SVatJSlC6sEgGiTf0Ch0nQ2vTU8QvxkQ8DW0wEaHA17RQP1R8q2xl1xF42DhUmxSpYma4fPHrUq
/CU/oQsSHRvTR3M6U/rPjRF+08ZBeVTVGtWKumN1v4SjlJlunCmITiiym++2Pa3Rzh4+k78x9zP6
TTuZXoTNUa/V7tWsFOMMiapay3RkbHmmYf91KToletF9jGeXy8oPpeTujHa6rXOLYQ22aC2vcUXD
m2tRcJIDzNIZ+8hnMVUa41w5JFGCi8LPgD9Nmp3rJInyYwVHDzf/MUku5Dgz5eaeFb3uxR8Kjo6n
Ju6rZxZx39Mia752nYOjeaepDzh2uBePm37dsDP6Gif9c6o21Ssc8eRYVlG/lQnW/LfiA1wGAhbs
o17LDoDnm4+8S3cyzwqjcaOiM3EKW7jmMxqOB3GlRMPapkQQW5S+/mVXWa0cdFkep7ipzteSMX6c
+DouL191OcSOf/IAwh6lFaiuc25QxArzmLWOlzvbaQjwgVqatayus9T+2nmqdid9PMK8B1fX04uZ
tlvpmpZlEttZNtmzgaOXggCU/JBykPSB3U3PTqIoR/lpr79BEBSHBNFAA6GANDTfhDJTBH7w8LNV
z0X4EFX2m5BtpIW3wLU1ZHMokTPoD/ziqhyNV71RqPwW+oSeSGF+knRVV1cg2CkwnSWX5ceetvFM
ZD9l1KKGe2ixML9mukpsHe7tEjjyQpKRA7nHNnOSl6ybg5NdhP2qBRVE6k1hF9UXKPSVpJVkQJoA
IaqXxOkupjHxEp/V+sUe65BaKKwQGZSwZF8ilI2IHVewg6LdzB7+WBLuFPF07zXj+XY9+cgipnyn
oDc7RGH2aCRkuYfcnBHLTrxXLbHyuzjGnU6aixz3GR1rMvPLqDlW7mOjlwdpycEz946FZ540qJXe
I0s9P0jLsp0Ww6ya1dUy2dKnaOO3HSDJpSkfPI17y/zUuzky3bOaqPu+wDdjwb0Doqxjde9ALd+a
Y1yvsf41WW4VNoI4jXLkq031AmJSgQBahuNN1yDf0MISU6oGZmpfZRiDeMVpWPB1vMAffdVxHx2t
zd9rON9pobwXkwU/crQ+SavP5uJoWL2+lmbXhYtjKtm3a+xywWisz8jq9fd9OJf3uYItJuJezba1
YyCOcY6lYGiMCOxz8Mqw21lYWSG3Fk2PVhtNF50iH/UjVjoQAMhtAF7hIUAT+t+PpqSKulr5r6YZ
aT+Cf5srwTLa57GFoZtZb9naZhf0dNNL41vpxa1r8zypG+mWnttYtwRIH/d9stMwbV/J6G/XuMUB
cMvQG+713W9xg9qAxleGfRYqTs9a2Y5nKHxTs281iiRS9r/mX26dv4BP9NBu9lT45+UB2oVsiZEt
EEZH2Tk+3iHbwfLDyzBnLUZ1P1r5qNbSqlQvQVhj3JZIt14gdLkbx7HmT0M+n62l3Jrm2ktXNdFH
7nrD1q21+Fwo2bRpXPN7v1ivubo5bLE3h2O0NMXYKI7r5yZ3rLN0GVDdLkFo3MuY54bYAYnbTlN0
H40C1rXDB212PPW9gMp/oeCcrjp9UN/LKiNzpmjmWka7xrCW+yrc2UGtvVeqgaFp4ygHGS3Dmbfw
7M7ncbnUrCUPgZd5jzKYJQcv7d23nx/XwyrkkX7MXC9AF3EoP7rvnj4o7+nk9w9klL6ai2j/bGHK
GKttt5GmMpkarOkSxHurFR9ON3x3LMW5o5ytbMsxtTdOMVB6nM0cQehOs1nuTWW/CpG3ZdOJHyHO
imRjg8De6N2dQV4PqH8GkWjABONkRR10oSAe2Zssp47XYrrSkknzPI0CWal/iDnr1bwVTGu9he1u
k8RYPk+GRqTcWSAqJf6r9qKO3VnnveQW3Am3R7tIg/Uv2QM5lcNE9uDEynslLUNF72Ivp4lS/TWB
LrxeRbp+yU5Q3ALGc9Uttnn4bFo8dJ/U0TWfugwz5ExX9V2ZNuDG7SYnz+8lzt21nTnpsWtn7SLR
fVc2MArWQQ3Kee2UE2JmhXO5huYtcJiypY4ssXJA8qrYeVZeYMrJp9mZ+xfqJV9HryVRE+KLjnLP
JfbSjuVfyGtRDTL9oHWJ+yghgWsE24gfES9fy3kMlsNCaDkMtYkv6nIVGejc2V8sKLe3LunXQham
W5/K1Ec7xdUOzkDIr1PNTzh0DistQOs3zNOjRGRxVe34PgZHAA7zU6Ji4EJuPf//iQgz2AlRxobb
cjXuXdXZpI4GsOV6nMwourMU7eUXtMv1lG/CvsiN4HRFuwiMJbV7JKRM+GRKseOxn77aBmg0C+mn
721Eirvwv7eFhUJ6k3dvrE2B9/jk7hEr0051bRW7oIizV57ZPybZiMO2pv/dq2GvlZmK6Ti7q21Q
mfN5KLUfk3TFyk4WTJIrUx85rXKXkaC+cfR/5/FrC/1f+P74a2b1KkGen2+gcuapVm/8sLTeux5K
tGkowXcdqWT+yOTJAVCcq7J2v7ieoqwmLyhf8p63BSAc1OlSH4l9dwgO2KA6D3Il+EB4jwSteowB
KB/LUPtaDlP9JOzmdOlCUOXaJVbeErV0SUtCpUvvsKZquJWla8ryv/IR90kYIjtJVOWS7OotRd/m
3N/UnVjAXTvnJPoSp61zd8t9DSW/aZunu8Crj4Xt6wMAQDsC8nnV5sBbLTlgZrzX0n7++n8YO6/d
yJElDT8RAXpzW05VKpVsj9rcEGPO0HvPp9+PQU1TpzGLXQxAMDMjU9J0FZkZ8RveuxHO6/38EGWm
/uwM0FxlIEqiEKK/n7y6TURuqVYNpC+Ykfo4nUMs/ZYNqJvlEJnP9WRHX1tOChoaVLu2KWLMz43+
uZ77i7BO+4V6WuDMQxr7TXrsqnpLKeU9Cg91StAJgU5d38tgNSAEUGWmc5KJUedEZ/zWAYsuhFie
vu7VzFBck7nIceRHx4uxVYvdP5tIiS5r2von5T9trU/963uwMfS1b8XTCcySJ8af7TR/yRWITE4b
hje5RJHyraoK627rYhsV3qZEQ/AkL0DOoAcApkItPHTKN7u4wlBOVtdm98liKCf9vVP8x/Z5nA2z
qx7nQvMOKKzEr3LJWh52SRLH986S3ZG+1DhbTdC+SGMKtPQaDtaf25zJHH5zoHeEfyeoJOwGMelS
Su2rBtHwLdJTKgTQaxBEK9nAmVYJ4LHjMWWq4Rs8VAMz26Qj87eMplMFmcSwUZOg7NmK3S17uQzI
ZeGisjKiTuv01l+p8VAthkBj1Qe71urM31QnGo6gBJwH1YXLoxdBd8rCFrBl5D+iGacf0rieTvrY
wT/q6uTJnoGSLS25FGli7LqOCoc0HSP27mE4ljtpyizN1p+VJnFu0tVbYXfnVi54+2URpY1qbNcu
k9/Nr7Nm12+uWpG+KfVjF+jTnbhO5q717GfK8JLOSUWlcT6L66TfJuO91lKwkmaVwtWrF+na/3OS
m8LVm5Yy0TYpp+rMq0rX9hU6+7jkgn8Q92kU0KLLoKc5IPgab2qvad4gbdszSji/xg5NH11mVBL3
AU4Jb11oSWwcm6SBPJsnIeKtykEFtVflz0AU3WOM/uIJNkXPwxevlMTFMOTOWbxTUgMv8bS2L7/y
jaRN/TE7KdA8d3bYUmn8NYjf+r5oyIf6mfXPstvPUmvMOg13VJXsWCvABBzO6ecV725kv/VzaD+X
A/KkvpGcpNtyi/ia+eG4Fxh8OsX+wW4gO/ycpNY6ZqI5BnXaHP86SaLcFNUsmRSZlbZP1X68hg4A
em1E8BXbE1L5ZfJWL/y8LM+Ms0Gp9aWHccyeihBkF3Yahc0/PHUw9g1mwk+FHvH81ov8ZMCweu97
77dBCZq/eDeTu+umr96IwW9SN/q1jAxMasE/HWL8in5ffjBVue7slLzQnSyBw+SV2dHS1PF96hOM
ByqA2vqYI5FnY/GSNWp/L6NzjwKQGQX+TUYrNbhvPN19kUH7rpzGFpnvOnllL36RELNqkscwRmvL
WZafs0a7z32ObDJFfnjYqfq+MvOz6abGj9JHTn0xpXSt7j8JheXfCjdHxcV3jPtOwX8qhnB7+Bk6
TK3zl0+oQ9bkX0OdXP206s/QeOg+VlX6YdHJsz+tmqP9q+tJ+YqRRXHS21y5IyuJhzWoVT2Mynew
VMYVW3UDo8Gh+p4lHVndMEwf0cTJ3vgQP0n8Nj0cCEON/l+n1/b4Md0wrVSmy7K+58C1SqCEN8Uh
b8cPjRERDvGMzsXIM32TVqP7pgGShZCoMmBtdMNVBlp7hqQ0Fi0e1BPfwF7aH4E48qGa8PZpssz5
ucIvP1LHlfQQgIZbfxczg/o3U/HfxeNMNT0yW9T1fr1NxmLYYUVrHmQ805TgKnezrn/cbX2fZsuw
56Ip8PG+Ajd7qNx8ekz8wMOGWTtKa7tYQOQfYeOWx9Q2Jp5QxIIV5jskt04Fe9Kawgufp+nx07TY
R9jDHcg0A5WS97A/olHjoTRxkqYMCGodQ/rPA+t7OW84m3gpDKNP51XpdCPTP23LyhLusvb/Y0CC
I55yo5cp10z3q5uSskMqQ/1eWnLJ1YLy6jIol2YKemzSVPPwy0BuqtVN+hIWPiOp/IZMFPXYtoBp
s5PJfYHVyuTGqC0uVa/tstW/BrugzLW1txiYp0hLh3G9TlbqqjnB1EY6ZrGild0E8kmLic+yschy
/pVqIyThIRsQ6cwVJ4OvUzfYXmupv87s/SK5N4f+BNm2oUyHL4yYw6wWMD7UrFDNwnun6jP9QYZX
M5l1vC6jxw6KNe5hqR4C9c9jDp4RphkGmc0rQC3P3vsdvTJUIVFSxrg9dF3lAwdZwiVQJ1d5KcZ6
Z41Da58ku24qDWqfSB2cJOMOOnrqdk4TqcCel8T7FpT2NkFh7hQ49ta/p5WSIFNjYFYWe5yG51b/
bWuKtLU0Mw8So75wWrZRkbbemqu/axSCWs/JoyCpWeTuK9TW9N19te2hedcyp3uN2+quNOPmnTx8
jHW2920dU+3lFzFV/gwGZ/QTLik1ERJXzGwCA3TCOLJLWkbLkYyLog/9nYyWicuzz5nYOiyjuYEJ
UBj63YOMwiZ5Rz6xR2CMwUWCXn6x2Ci8y1wrw4col9Rgo65BbjPyk+PaXIS5PjS6lhGnND9GykgD
Bcpf+tH5q5DXNiKFX1ntXxeSkZks5371zFJimPe4Wpv6757qvky2DRSmdsuDMaErKU04SeZz1lju
OUaJZmcsTRlQU7WD2/+nNLZQrFDfga8699I1zhbmiTYeMxYZvjPQXv9qD65/1a0SAUUjHoBHkASD
mD5ihLz0ofp5Ua3yL9Rf9gLkUZVcuXK4Q/xlAfCkM+KdTs/hDoke42tuj3+UlmY8tWpb/rZMGqq2
2dtjW75ZpXrw3bH4vQKrvNcQdls2D8DyqBCfdM6kX9TYDXfY9riLAgchk92RM8XNBf/f5hWmDqdK
RCkjmOXHohr6cz9hON8gkNSFZfq17pX4Gsd2eJB+mZ7AoMmdWEe8uVkUl8MxQIbaQm4N21vEzJx0
fvc9237sK/0+VguNG8B+/qAlZy1KoLdL+vbnqA+q7A2t3uQ8L6MSHFhjw9ZjpMULOYxjKE7vSj3A
/+dm7WEobJaezzEDQOljnyo4kWTK+EyyJqUE4mvAoyGPcK6H9ZXM8bcuVMdnt/Izf1eDTo8NPb5J
n1VRugD+cu3Jyx0d31DZwPxTZVyLZSYqn2xuL1t/zBPjBlESI2DKkFu/43eHCSzRjCV70CHXlSVm
cmoDTu9pPlaov6jzrlkgLf8Ssdgovvj4WGwRmokSuJ6GGsK+WXXra7QPfhJDhfCZ+IV/RNtIX9ml
GzvUioM/1aidLkIilX4q9xOwmDx8jM3ir6jX5985uEKgKqvi2Qh65SGIFWdPHWv+3R+Gy5iUI/rL
GLwYRuqdasupv7v6uJMAJcTOuozq8EqqRX3VgvipkzMbSBsQ2lXVvWl+9btIFUBmb9jiK9lLGVMG
80206NpFw2BQXhMn1H/oZuAdy370LkiZ360+9qlB/Zyy07BHciL9nnVA+EWZmWyhWZre31adfesz
s/nWtAhIZGR3XpDYSMC0WbDc9c6+xip2MZ3n2avCczkmaLwWM9qLlJzf8lGvD4qV2KdwOY+aSIs9
V6qoNle3NB7aY2dZZzjMXbj3Rn++OciIQFGE+wfd5l+bbqufBl4zvyWARREk9uc7ADDJjxwpqQQT
btKjKVtrND+lmw9jSN3nxy/Ry2eUCuubAgF1P2T1k2qF+J+PfucB7eChvrZNk7MYZlj9eQNgxEFx
1HGCe5KuZrSC27JApsbKLlF09c6b9Ow5WNw+gax9cTu+sqnW5GtXovf92R1QiPPHnIok384E6ASq
OsuLPiYFiBONcpTmNiDNCAU4NLI87TSUTfgUs7nZYVsE9VinUGBkQJmk6Va4ZCuJPj3gRWF8zcy/
ZrIN716uHW07sBrEgCINuXfok+OUADnBXudOmpbaf/TlS5+/hESNetTJ9R2Gxfm2HRQf7hX6Am5i
mW/Sh6xorTTuq/TUg8uDtOCUaBXhs9b34QNcsPreBm6GZEQ5/bDs+L6Nh/CuManyvTcDChK6iu8r
IIbpDiHbCA1YXd3PRtx/D+vkOc0C8+8xjvZ66Pl/+mOHPlcTml8qpRyPvg3TxHDMaJ83LR6dZvkY
qzYuY5Qmkl3gG83Vc8L+LWhN6zxUarH3S5DR+wH46ADa/iXN7P4N6qdx8CwHxl8IG2UI0QlZlvLx
Et8NPlzIjTwQ2YF7xI1m2AsxQAZWpsFkO8fAGfk28Q6/Zd64R0md11aTQbqE+O5fP7Vr1aesYCd3
0icXq/Twykr4gOil/+TNFo/TzirvQ2v+EVjJ9Oz0JQ9cd9BOIWmnm0SsYTUnljjNXaxmiRvsSL+L
TRXPYj3or06PSvXyeZSPoXw8Y5N9TKInDgn8fz6aYM66a9bkTxKx9buxpu5ikL3rJ1sGBtNKrpN+
9iLtnrx6cKv0xX4yW9RpRxB4lGP1briQ57+XPrkky+i/hQzUCh9ApLNVjCnXq8XjymHRkI96AKe3
67vwDwg62qmM9HJRxAl+Q3bew9+IBG2MWPOXflrYQbn9Hi4tqpHpqwstScYkXh//NNHCfmvCQfni
TOlTjq7/kww5DVIHuY46s4SrJvV2e8g9AP+spWrQWO1FlE9GJzsLz27mlAdlJBP5ISgyT3WIclKO
YYOCF8shVvvgUEE1vqH4b6wXBFPwt1Pc7BEfiukiA36jGrctzg0BzRqVer/GbnODtrhrc+sqBVS1
VEkDOT4PnqUi64zxXZ21oDJUx+GRawK7pnuMWv02932xk+aMNvM56rAZkGY6AtZUxjwHpJFpj5YN
tsav2mIn+3u2ucjTpOQBJxvi89rcNvif2p/OB+st3CBcg3XrimVU8iAXM42mZueOFYWgtkXwTNoy
NPNGotLZu+axih3zztNSyHK4/l3FbiuMYCyB9ol30hwceICIljuX/t6dxxlj78R8jPMyMHYFjioA
lXjfSGcQM1Jzmn8EWlHcVtPskdQOZ6DSdzBxc17CRUp4WmoJchdLLUHa66301qIPDG5/vFvm6JTq
Dh9M5TgMQVjwvMsx+XyvUQ65c/zSO6ZLExfm9OBPWXWZ+BK/YxCfL3Wq+SbNvsGLDrTUa+kiCuE1
eIIukya7rp6CKPwhQdDs0UJffkCIKNylAOl88oADYTtS5Te9QTl2HzW1BROg+yrIOmWwykMf+d25
h3WG6ov/0dxGi1rvzoBDg32eVLwMJq+2z7Kxi/QHNFX0p3VbNwxasOcLWN/JHu5jI+f0Z6vuup1M
6JftoAwwNbYSg6/TsvsDBxDsyzmpYZFVBTI17L7PPoncnSM7Rpen0tM0XXO75kHWN1RjcS/HKbA7
WNmU3ImZuakPLvkR8AiG2JlT/8B/oQiOjpoGTO2j88JfxiB0+RHyW+R/11Bon9cfYhRkyx0LS3P5
NeUX3matvyjGoDws/+R7Wa5/h0QFvW1RgA3N9S+X6ZTGorNnNS+p2V1iiEi8sBcZPFHEE8k7/Bh2
CZS3hwKe/T/6eEsgh3vlECnusDfAspwjpzPIppYKomBRGkBBM5Ty0iy4yK0p/1x555jrqOAkt6aM
bsE2r9Cvru/+6LzKQaOjOfmWib2GYSWncpj9P8Axsp8DRgSRHP5QbZvNI8q00UWv3PhSdEP1qIcu
XgWx6X0JWgeoNO51F91PwULbMMfNxI1vAh31bTXhCZcmN0GLyqg05wV7ETiMbsFWoL5AnMT2u7Ge
EGyvXzgm/pBTT0umAtBGkF3soay+D/Y9dTzebSiADgfpKvHe3Bl2bF90JXWPWuf0xR38LkxwM8re
HNon5vhwB6ca3xr5YMmnIB0OSNbGHx8DnG1cCk/5/OljrIAC5lDGNK0OjqFawD0HfZ+FB6tyknMy
gYXnNa4jq8X+BemweeChWemgaVBLQhCve6hN/QbaoT1FIPTX04wapUAByaVDMfUr/7y247yLHsGK
k9AFZbn2yUS4Sddo+j1bBCxEymIyuq9TB6hUWkCqm5csqL7mY1xdVzkMpwaJtjR9RUsviMOpAHYQ
mgHc3bqHTCnVnSAGfgUPgDxCj8ftjPnoDqiQRnV1bsMCVLhfY0uS6Yp67FGwe00aX311IOxqbo93
yNIaSp5giqGj5FcAF9m3Yd3teFIrl4AiyGuUm87jsl6OFf3BGQYcPQ54JwBwSxz1mcMBnDGt/yIX
KLCnPla9Z2k5pqXvlNhV76UZTKp1NNvKP0ozr6vufjZmvsNeOHzRm6Y5xUNj3uuYwj2x/w32Y0im
G2hYAsaZPrkAWNSPRaQOe03T4qcmtnFbYZs5XPqo+yp9W3CgKN1jVvM2t2ze6UPyBKx6vF8nkR/Q
HhJs7wRV1I+jeV9YSrCyxgQeJM0VZNTYn0eb/252S7NEM3mfG075kPhaMr9Tz9SOKNzxrld8civo
7ixqRr5zKhfNpe3SLQJNCRibE4CynncXo4paU+KXW3NQ7Zv1+KlHumWWrKlO8HW0geIGZGbwQFni
36LQ9m5YVOk4mFTUxWVEOlNFIahOkMKAFHY1yrlV+ToR3kbhcABCpAC76b3bto6MmipbV97I6JAR
+2kpua38ttqFDhliacrcqWzOtmI0d+bkwahzGmQhqSPYZptdGsv2D/VitOQP4HcGFBbudbPlzDaN
0fqsXx/gadvt+YfqHuWbLxc18Qa+FuV4Wt9jkRd0PF6p3kZh/vVDRp9jkHUrTS3bg8nNz90CUpIL
pEqSP/NLmnfta1I5BWL7OvzsJSChYvdQdb1LSXQOL9VkKa9W2yZLLij7M1D05xl837tV5PFdgXB2
mnvunRK1zS3mHHycUtsEh2HZi3JK/7vddPfrc1qP8UTOwuavBicW2LusEbbq4lNvNE9dypdrSFRq
D7aC7b2DKlaVxFgVq1gHp14HPtRyoZDVqXufUZC46wZffYGL1+Ld6mU/BiO6yQmqRcOiMMmLWDq4
MDCD39WhbY5KEvC3Odl0c3VvOAfmXD/MwHPmrj5NbWawJwYtvhRM1jtpysAvfaVvK2hf8Q+0DVRK
7fMvv6wg8ygq096W3dYeSn6sb6bnbVCW0dRBvXeav8sAY+NscTzuFnfjuffau2wa0MH9r/4+GNlP
SkjhZ4vcYPbFiYPoZvZpf5nJULMlpMQifXIpOA/e5C6NPQPLweG7tD7FbSHKQDU1USu0UX5ZZlvL
CjznYOt9Qd6OH7wN/NLUptbYd45SHrYBNRiivZlk5oGqhA8SIEJHHR8hNC90VAt0z7yXAbmosBQQ
wperdFhLoNzxhCmuFXLZ7mTv4Wn3e0vlAF1gPw5QYFHR2TQ65O5/F+qQYWT/PqQ/tnnbFFLf0b4M
waTaVbk3Cz7rQYNm6ELnC0j+vpjOJVYSNF9nqHqRZeZXLfZ/l5b0h7qqnnTk/Q7SJ5c5S9s9MJEJ
ICvrSF8Gb1CWxpIv2DkuIIXpZFm+ew+LoL76JaVgfeYwwLHOfBSfKw8wD5YiyXCyZIS0ffQw6yqA
1WtnYXdSxY9mSQpgxRfn6t/j2LGbXVj2qa4PMKD9dkUma74znzMdExYZpZRbPOqess6MFw5/1N+0
yDIOfVm4B/y6+kfbtvpH1C6HRzM2/+O4Vn6WLnPpXweXsLQ8lrYWrJHbxJ4Nzlkdy2+ygubz304m
+ZT+DnY2J4dtDaV7xzqFHf1yhtpPSolAiIFlcW6hF5I3/lmbNDAghdqQfjXcvWG8yEayL8w9B+Dk
TY4MPh9Kafm94u5MLTD5XzzqbbUP0ByG7DKM3npLHR+NLeldb5tY14+qV6NovEVRZmyubD2ns9Eb
xX6DoXe53p9ybBX2RgbIYRvQc8yVwrK6tWH31mvw7aSsOLQONJsJzqoa6qt02tavVYb3oETa2i/F
QCkk/uyXrrYeUXgtgbRtpdqefa8DVQc3sMx/3PqnnmoKUJ3xuPVJiI5GDeAe5fvW77kkiHAu0fhe
LfhYdOZ1ZNPy5Lvt4ZOc1e54KzXHvJqzYhz9dJxRKU3fTbKIfy2hC9jnU+jgJ9YViOZHKBpk72Vh
2BIagKw+8c0o+3cM9+JKKx4EayaINPg0d6NT2bf/7jIVtgiCPJN+S/XWqK3r58QNpLZ0ycQ5xU4l
rPvyOI3AUXeTMlaXUVUfNwsUgMbjTRTEpM9L7OrSWROfZurE6yy5lUtVRfVl9IfHetEU2/oT7DGu
8AAPSq2n6s4v+vBx5tR1aI2y+9zpLiOuYobnqE//WqMR2llclBdhLr+Fz02EB4ToMYxSBEVlwnJp
vfSbxjb4vPXHftafyiUrMHZBcZvbEnSTUuynhvT6Qfq8JF5MP4Eq7BurilAFIHDtzGpeOLtiQtRU
ZVKg52lyJ+NyGQKQ7hBv0FOHl3vbBj5mm5V3zgcf6k2wT6IguZFvTm5lH45Ufn+2YxeTMQgSxa71
yuQmA6MVwlCQ277LFzktGFrrxHoJmvIkbw/68i1CuuDip3CC1iVduVWa5e/8rx+L7kOdFfV9TyH6
Oqlzdu2mMLtKU+6kjy0KelD/FoN3BvlzowX3zALRaBAnt9sKuqu5yLubOcUuG8HyedCuat90j0UK
x3HI0uSPBnip2/jRX1bu2Wj4qOULdZLmQiI3v7P1Qv8SOelfEmHn/rXUs+QbUuQo0bAHkpzHuOhV
IYuDTxdnav2/m+rSBIXxMeoZ7kewYdf9BaVQne9w5OrxUQN1fu8ihnVX5uUAPC+lyhYZwQ91cG6W
RUo6apW9jd7Yn22ijfiH5+WXCsPy49Sl3oM+VQAF1vUaoy73vQpQ1U2X01SMhq5I7UofB6oKHYfl
pDkuMUpFe9XlXQKbGpSA9OUSI3NIH2GVvoqtWpQn96nXhMqBmqS+AxGonPTl9BP5FWej5W5C//CY
+JH7EWggN3pW9elPNvkfIRKnFo1+i/oMGKDVmzvpk0vMaTVr+/wqrWjWoZ82qX1sW2h1I5iqhy6K
2G8U7QU7GExdfnZJhAxiTJJRFn/N2POcMs8yD/NInmFvdih/mtr4Ui6sm7HpFsMEMJVQx39AP9L3
kRNUz1WLl+agInzgdw22JVHk7IM0cr+TQkVkL/D/A1rvECTTQz4rNU7dEFPDoh5vXV+hYCgs1hit
rqjMm+VL90+fBMpFGfR3mbsxXte56zIZQijLyupc8mmDXbYXHIYgNoak+sB/Sh8nBofdO/w50Bwb
pGNryp36OeoTsmMLQ/tuW0d+RpQgkxoN+nz0pGg2gue/cGKxOW3wB3dquE9IAl6ltf0doGznezjN
f0bmQ6TrxXtT9dGzmTdfs9gtvibkyy8BgJkDCNviq92MCkjcHIL00uysJt7pnEsepemENzZHMeU1
R9mhyYoUnhVZd6LVpE0WlhG1/cozXHnyy+xv6e5hM57Gn1HIEn2K0ob4U5TdkgWOPG/6xgvwBib5
Y63OCP4W/ad1LX1UT6XhY1ZUGdmXAmPWg5mF8V3rVRkKZH54H2WFC6Cc0b6rnBcPE0YZDJau1G3f
XYccTln9pwVmcVck+XDXwQT/0phzsOsX5fJpDNGcibVvkNXL4zxX4UOhBRGQsZb/UfY4/Q5tYQ1F
KgDF0CQ3X6beBAbaNT4btWUz5sZ9uquWuhdsTcDUIeK5U4pPq5ujFFz8HaCziLNq/1IkYXgcB+/j
bv55t41ud0gUDS8jqPbj/yOumEBB8Bq+8zOz1L+6Y7ynKjSBZQT7rSIBsY/RM/rea9nripP3qrvZ
Gfu/86H5USuYsemh74KrCNznEr13fLOhkWINEKFbyDqFolY7M1tselvMOXZ1D4z3qbPf1iJzzwnZ
MrsW1dCkeei8rvkNeaETO3uMOwezu+vNWj+5wOO+L6CltvKCLxHa1De79il2Lf1qOvNWn6oKOG0x
XAxsU17mKX/Qi8p6N9xIfUCRfREYNsi7T8VwRtcUdPDSxOYT1otSGHcSPFUDVVobxxYZDcrxNe/D
7lkGTf3U8Q//3vQFdlVu+AVZafXB7Ce3YCfQX8be4UWUe+qDbZhzR4kctO9c10rVHgrIS9NfQTLW
x0BVz0Wd66fWgM2XelhqQQDTdlHiZF9szRpfqzzbyaBI40CD+d0KyLBKl+aBO6zngBO4GZz6sqm+
ZRzd3LqffoDDZSvh69aV3Ejz1IwTxy3XD04GRJPjSsAZU5LMJFPfNi0RoeeUVk/J/ae+CImxU44Q
4v1nwRAJtPps2Cd9amCfY4GUWy4yz0999jAUVi1O6diYHoqhsb4YtqZcBystMaWwrC953czPyAWe
paVEdGE+XUTd/CY9ahZ/UXECBTTOkK4hluLYYXEva2k96cga38CTNOUntWEE3QkrOyqKcW6rx4ly
8WbSlODpmXHgAjtXZOl8gu5WPwCjchFOW9SB8M5d6sXL+OjWqIQvnRIUK3BkTurSlk69iz9i1jlb
ZJ7aJHrm5A5vveSa9nrfUvHmdg74PAIK1C56X8ZnU8lpyohcvNwyvbNm6s5ZpTgfVt18heOBwbjc
QkmG2af1+GjHWX35dfhT5Ho7RI7C63GadmvbH4z5ilbDpOzl1q+wv8DE65JbP20vjSEvwkOR1oDd
Gh1FvaXkRZW1DFcjTWnLZY2U27qHuGY2c7wToo30oXnqNiekC/4hRASwuFcMWqfE89mdkh+CFPtF
OERv1EkGV2zZNvpzYIOfbYNh5k7nNM5/rFaSsrDEeYqOqUvW8jlAzQp8ENt+tUP/k/yZkhzdJuW7
03Q3Y9TMJ7UNrCeYajnJp/JxjdCdJDhh+T7ttxBXq8ynbSnUDvbALA7WnHGkH/Xo3iTHsPMmpf/i
DE76HBfzRQalqxuLo+vZzUsVz/0XL7CRifEgVsngNGTjsUC/4NSN6vDY6xDPTHuRD/OS8CilbvxT
i0egryQTljsrfQjGCNrPPhhz50lcVnoPWMxQTh5CYeiDif1K4JXoLOqefl5DZGDnZd1w/2EDMTmh
dukxMxbVsTghoV4EibuXpmEn4yEugnodVfv02bcH7aWIFP3FLBfujfOPvrMfIvKwSDGafYjM0aLv
LM1+bieM+CCGDpD90dlGCjrMjyIFvYZO0F8A4k/f3BCpTkOzfHKRhP2y4hKGB9L0bROWLjVEgIzY
5vuGyno2KNXNtAzrDVuvBJI11SOhWfQdwpioxKyDwcKmsN3hvezK+iYBEg8GEADtQstAwsB89Obh
hiSz9SZd2kTixNPCXVOwdLjgLPhuT89QCU009VDR8RckhlxMVXMuXRL9Z+uSO/SODo3Z+TdpyRol
P2lvOQv7YllNBnDfcy5Wo/wlXRL2c7oxkZhffzCiyIVW1iuMGeEnG/1COKECSF5xyBuaWS2T6mHS
v35CJm8A52SBOiNog4K+X2d369wN65xkFGBLPhhApMj6JvlDpM3atSg9FEnSJS2seddk6ZJx8QL1
ihkcvLQZVN3qZNV/8MrQrmuxzHfrL780OwMS6TpaDfmXznCSSzoa+kvTwcIpFzC81BbLik9X40T/
1azh7UipUYJlVEqN9RIsc1Ej9F9VDQtkwG0ALCioodoQRT+WFArMi9i8qc2oTYfJbnN2x0HFCZ4R
BbH7abfOyRp/jwquJmmXdU7GzmofZjUiwJcyKt4kg5T0HQSdNIlPK696a0suSmLkLrenes+pK/oI
lLZMlOEtcwWNGsCbpI7slOxs6VIMWuWHRI7IVy33wdfc/B6xqFMigkWDp74ulN6zIbJEpoW72joP
LbYLwL17Se1IMidtWgN+ZNmdt3RPFY8ffaEVc+zU7OXT1YXdWTGXdvNzvNNs2tsav7ZXnmOGiJgd
esaptNggla377nf4zMolJBv+qCiu8zjp4VNjavU91nTooGbA3x4njFaOrkZ+WoKlT+6aguRqNN5t
0+VuXbdBvIWjYn1KKpKKIFb4YfKjUSd7773uKRtUcwgPTVkaGNVZQUnCLy2u/GsVV7nbLpXvhR/D
v8TUds1I0GvJfb+ILC4rbCFGhEma3qQP8m7aXlBd67ypalBcPjkjy+gyYJDEuXyArBfg9s8BnOH+
mbEtpQCKkBnyXkR3oDjXOsDBodB8XMmTCN/lLv1trtCIIo/26HRo8c+pqr9iRbfX+lDDGC6/LBna
LxJZNeQHkzl7kRZInK/ZWNbrPAxF0AlHRuYqgxhADSjroNkoq3ZW6BzcHlEBGVUqBOy9BRclTd1E
HToxUdwt5BeKKgSv9JrT4dKUX7eeUV0O3RnNpyh/gO8E0gg5tvja+QZUg8yf/+lwm/EPH1rh6VOQ
5qvxdW2vkZ7PG3ePFVpMjkut9o6emw9VO5oPZooxX0QRp1hamqLxZ4Gf/udWYnTw9+hGt9FRmtvk
qSmjfrd1enG1B2wQXKVrHd2iFRWon+JpfPzvnIkkpYf92kPoqD3icX6/3m19ZlPDZ3JSjKLjHK+3
/zVQJpv9lQIfDkbLSgNCI5dJaSbU+juEpSzrEpLkn5CFSPBlsOxhvfwc9TVeY9SoGIglECToFUb6
Aw8IozkhFtrAainCN9f+Qy9i7UXguaXW5ScV5uZBxuTilX+qS4A00Ib9CJD4QOt/s0Oyve1h4Yjv
tr+6xYvlYHYZvnDL/w5Qtogeb/8rJNBd/jK5m3V3p6NvcL/1rzO2tjYEhzrIktfBdrXp7E19dWnz
+aVXFu6b0TymU519SzOcASMt8B4cJ2gf3Laoj8WMl2WJEFmPNs7ewHf8VrqW9dpP9hsCzs53Sq0B
mJjZvQzw/b9iULVr5tn5nhXdeJdRKQF3QJgNrs7LMbvpMk27hyONSf0SFhXaj8JCfRK9WxKZOkpH
Eg+VM0ZpMRlu2OccJgsMeO9H15Va8+m2G71wXyqI5UjnCq0D3xx/Dl172QCNx2RQlbNhYiQ4wEM4
GUvRXFHbv11V95+0sHZeyRHdXK+rXxoHtdNb4EY+TJrMfpgz0A3AvWDIT2P81kS5uzM8tThijDjn
9yrewqcVndD7E9Wv0fiq6rsJYuXX2ElilIpwsyXhanw12so9dSBVSV3TDAZj2Nka7kBDbFFS4+V+
nGJj4d2T0g07F+upGCEw7OVcjNyDXVLy/2vySC8g6LVrqrrmx5nBse+M+Mlz0uAcU7q510LXuoLf
S+58sOILy6Q+IL7p/IZAR4visq3ADcutA8Roi71IT/a00sh+IeGCI5jcyiVu9Iozkh8dtr7/Ie27
muzUtW5/EVWABILXlXPq5PYL1d22QSQBAhF+/TfQ8t5497FP7XvPC4WkiVYkaM4R9DGc+WRWll4z
D2AUfWkTyz4pXIkmtKzea80gWrTwkMTa/i8YrbJK+9RCpFp3TZBZo4/5L7HQBqbbEviDjdafCwUc
k/2oP0yCdT0fle1oA5edHlLzcK1XrrnQ47wMAImM2I9PGne6mQ5xtsz6Cg6sExxEgz98KOrNgfFu
lrqpN/eYvonECA18q11JFRI5AJNErj0PRvhGWgIsHWMNrQVK9SZ/SfPAvEwdDqArfakMZDQgh6oV
TyHwMMyjwOzvx9FRExVAR3dlR6oBpwZN3ZfRtNwnzHjQXfpQ8A2/ZjSGLFEWAjUeecZzCxn61dA3
cqWbjQ2cdamgwKCbnrSeSBbwi275Nwgu0+ckKJtLZjUPldMYz7Hs/J2eD2IpUCuLIKqftNdBKvNj
3BEivO90/9HzX2LCVtZfOHJogxdCgz8un10AAJcEdPlD6rT5wUs48GEAYz1JL/pofcj4E3CXoQRe
vjc5yuIDCULYGinQCcPB3gSygQKwMOScQpv5rcA/OyqT5juvgq+Vlzcn0gB13XtYhMeenb0FYHzD
3Ik4Z8PFKsrkDKARGAG+maH7FAA/D4UrBT0KbzTfqdL8red00QFK9uKiurhxgJFdl1B7eKXORU9Y
GSZb0iFvt1Dr7p7iCOS28YUKk4RQP6kaeCCW3dX1Acn2IRH1mITdtnaJu4kiV876tMNSVjZA+zQG
XeqfU/8n9K+LRfcqjxt6vP/W43/F4W0DobzO3kx9VZSES9qjCm/q6aq/p3eGAYWegG/v/kNTrTFu
wfLyBmutK4dT/73MOI62PRKtejRs6BmwK7GQoVkc+zTqlnEq6CMTsPMz7Tj8liHDiAsS/THI9BIW
fvNKbGrOczw8XVGrAPIZp8iucWkyT4hln6kTZLNIUe8xBLpnGftDdsjKjB8gdmMsPZPZj8IrUQUu
S/Y9XEDGKHuC2snJH5OGwZhNHGroVnEkF5denSKHGHiZdR+BojraTEc2oxjKGDQdiDyRApeypOtR
1mcqzfW+m2zrzgRrCWW3qdZWDAVKWVOcHplidBMGsH8V86YKnx7JUZCbAfDw2nZ1ONfgCw3DyHAK
LXovj3COOmDX5aKAXziU53Y6RqM5ysQERtNNLrqr41IeeyTl4JjHYKaC+80Gt58QfhBFsjaoVZ5y
YebqmxEb9leS2WoJS8UIbKyeXPSmAG/zaGf5uoKE3L1L96es35V4wjvwUU1bd7kURsrwnoB02Xi4
Hij9pF7rKXEpg3kIeGhhFzBvVnjtEhnx+giBq+zSj7r+bR/IlUKudd7wLrtMA/+M1YMmATgwgDnL
XIdZKgdd0UiGA0QWR86I+02M6jmtQQuIyhlqnUdKbYnsykviIemeQnnwZjLrQbWVv6t8aeczVvog
NciOBUuzNv/a1QH3Xh1wj62RDEWBNFYL3amDyiConDmswMU2hexLHSWA71mlExwK7wG8Kv8IdzT/
2IXwyl2QUVy1t3DTz1kBt4iqK9vNQMovOtBHcRoQjHGCrvL2YVVzGO+NcWnf8qVD8CXpmAFESty/
8m5nOLm5qkBpHR9S2tdccWiDxtlHBzksaILn2YVBDwJ+pKF+jLlHaPCcy6xfIwpggmcEMPiIKf6F
M9qMitr+Eda97bPnQ5MB3bjRQzvcgr6dV/v8S6CcflH6XbPVo45NtvhvlQ9N2piXhsZfhOD8C1y6
rHXBPFC3HRgx/hRktPi+ZTI8V6WdHLyq8xYUK+E3BaydFmQyQHXDqjgCzxPXj6X2xqsaDrhuzE74
0PBVisOXpgUW1hoZyKaTfBqrjZqd/ttx8OZoVxaexeEAyMQpouG5DrmH/F0nTq6diZPu13v/HAwz
PwIsaAwZByCb423r8ajp0FZm1qbr0leWQ4mmtQrIuQMd4Y+YiIjEsLUa9yCaCmaejPzFpwEdzFvR
rGGFlMymI6ZZxs93SLLvUw/+EMpCkjm9DVVdbKGgJhZFFYgtnBshkpkkwzmSub0eZBHvi17V+8Qs
mnUHX3BoHkIE18QneTJjWGx7vWrfijg/woZklJN9LmGuEc4qJzkXuRm+wZjOnrlAwD8qCn4LsMlY
E1czZQfW+b6Rpn2Gr1y/MOyGLj4NJECAg1KBfAo3fOKCXDZGe/GStMDv3ftCFZCDBxVWKJzaZ2YO
sClIjIpv9Cvpzp5kH8DjFHOApwFBM3jSnAK8rzqnp3tXGngQ5JBpsYh5OMCOBU0IwvcQi4YOHB6P
0x7wsBFMY9nBB6DgNq71Y6sVWM1NNzxYSXyQBFgm3aUPmG6EMU1fvDAp1zptHxH7B7dgNqxbSADi
uVjvTpvP4lpxLn9W7lh9q0YZIAfWkyLl7lvmmsh6GE57pZ7nrHuoq27doWEnAGAl1oBe9aWtjSvc
oQJYZQd0GwIMlctWfRjQzh4XQOWj7cMAUcGE6mD6yt7BXgoMkzSor0iyQ40BoomvYZZDFpCSHzFc
ACC+fUurzj622n5CcWv2qSnLKF/7pp0howBB9Rjp+U09XtL1dTkeTSmlRZ/0BX66rE+xemCKhdrT
k25N/To24fCR9Di8l45WAPkkqAPAlyaLhjkrQaPSTWYN/CBZ+F23erDAHsBev9Wx2R9VkKsH4mTx
moEeDmV5DCo3725xeB/zwIWaD4B8ro2UuGcYgy0mfdxAOmBM9q4/R43fTMELGR39qsTclV1V3wb1
3DtRfUqGEGLDNOAbpG3hUxzZAM2NfdOAiweeWVVWP/vqca/MCd9EcPyeTcG4WXhB0h00dKkRjgsX
n/DrHfH0Cc6kgU1yCPHLRcEd/9Rr/BQSEEs8T+YzXXU33MQAG3NIZr3IGZR4HwsAEx4c1PUewxY2
pv4Qm3sd2tHEB1nBsEa6j72EVayz1D+Ka6pn5g5qp1t6AwCMtQlcfKrpJ+6NlS/7EAoCDu4e218A
icChgkVrAcx1Ry1GCZSzZmSEKWoso8U6Fm+RoWQw4miHXUkzc+5BDHINXQh4BzEoCmdW1V3A6K5v
ZkH5rmYhzqrERNPv6bkIoIbBawCuJmCcPlMHfR47tSxXqG60sC/5+7y+P77qIX2kY0GyOnFAFRyL
xubQ/Oicuj3oCjFka6tl7FFxLzBXiUj2oNeClDXWmysB8Ssr2IvUTa4oAS0auKEBFcTSYJHlESBL
f2NjJ5Rs2t86YTtHDZlFYilaK60zhkdZYoHMlY6WJJrsmx3soB4edIeRmsm88SRkbsfxgHM834zh
NtSdQHkfC9HjbYmNm7L2cmhcLtOkc460F7hn6S69SeHhPPbrRggf5zt0oPJxNhVhv582gypAHItJ
txdVI0pQB9F22wqi3YXY6TjdNR2h9/zORCWpOLWS8H3DohI4UIiPN0BMwRImj75EefYV4LAW3/NP
+hRl1a2jWfsaeSMDLwiTW1f1/UpZEcTl64bva19t6pLSGUzOITY0blKQZk6GYsGq4oV1H9B9elQ4
Xn9q4DzE4cm80F217yAzhkr8WlA/34AaBIstR1ZXEVA4HbeoW99LJ7qdVMVf7bhq851usxIIqnk2
xuu2HFlKJVVwGpFhuepNlFCoo4JX6RUQ84QeY5yqnY8KwtdOjrokkMu+dGKw4GMHQ2WDDvzyz4O6
UflxPChDTu/rMB7k/+agDurcsEqIayiTIgNe2YZ9QqZuXhbwPzHtHGn7GItIiDCERxCXsCYcN42f
ArDthslm6gsBT4RgUdUudJ+ewAFFa6scsLrLcT2p+6x8tBhlKCJIWCiASIuN3tObMCOwbHRL3DEs
8+eA1YUm4Ax/NZFTHJWH29HpBcfqAR0yzVI4WTqrKYCdU9+nWQrZQlikqMHz/2viaRIWth5otIep
R88zvdeyMpItJ8PlU3/SYvE/FHG8LcdflLojKAVcl/vv7QXdr02CxUzbVs1Jxzb295606RWgRLUr
QICd3f0yAxeadZwqBu4k/DZdu6suxOjmd//LFpzCVUslW0wGmqBy7SCUWJywmDZvWMtsiUid7R0i
ocETdwRGuRCQIrojK6q2QqrAtzaDxaExlfnWLLZqG1aydX+aNkNL+pNgy9IX/KRD9ZjuHoAVWscl
yCJTPIf1oQ3AOabjfgZ8zHj8NKxn6KKVnm7q1nvCqn6d7tOLTVMClX/BORHv7pWl2PPZ1uDk9qk6
pWtRAIPeUh0wVrem8lSTUGMZRn42n8pZ0+i9WjW1dWmMj9GkCYylfiE9yqo5RL+Di+EG727aWrt7
rW2UH0UJ/EN36ZKe3oxdtYQB071CBwGNe3MCdIM2bDDrkoV5eB4MFj3RFqtTVPrZnluCPyUVjJ0J
GDJbPcrioVyGcUVXuglndtR+OstZ6GBrQCHbYJWY69EWBDJAsPB3DcepVNUawF04KCejVUap9VA4
X/XQfTI4qvgD7jm6VVJ50+8qtYBmR4LypcO/CySeMvpGSWsCrTE24WHLD/dd2DNhF8qFB70HLUp+
gBhIjTw2AJPCebci4u5AJ/65IWPTGZoyBwAXnaZvuJB69Yqf7bYKq//c1aH3o/QEv21Pr6RjLEBT
5pB9VkhC/PUWmH5h3WasN2EFWc1qIwgPiUTN2qdddJiafOwrhj4BGdDuLspqvfWnEBQdUzm7x+gp
9DGsIzHcWGANMk6tD9GDn6bWfdOAjkOm6D0hHllN/QWStfL+LotMDSvPyqAhCiTNLoYR4k7v/a75
v/R9mvm/TxX96W2kMgqS2fQG//s0SdbifvK7mD++G98uwDrt+4s+6v5y92lAA/jHS/869rvpPr/V
X+N/GdOH3l/hl1796vdXhIsYmL264z/e079/3V9fXU+jD5VJAz+Dae5pZOr7/K5+nel/eP0sBejh
8w/0S/uXl/1lV7+t37cre8D1igUllqQ83xXjRu+1jpN9bv4uRMeNeLKd3vvjsVPIFPfp1f441b84
9tNU0zudXu2P03869l+82v/7VH/8XhrDuEKgG6Ln41f/x3c7DfzP79aAm0oCpsI/ful/8aH/+J3C
3Q8ZsH/7nUzTTN/J7479//w+/jjVH1/tt9/H9C6nb/6PU/8xZBr49HVPU7nQJONJCFGXBrZ33qzH
A8Spx+p57rQS3qPAlVuAHaIzGtExqgHdPhGZv9SBum8abVUMrsM4Og3cZwCSFSPEAeJ2nAZizT8n
1M0QSj1zSO3BTWIo4Fghq0VJOvNohHl3SERoQH6C9a8eCtx1zu0nHwbDgM+Z5KzGjc9d7xCnDMr3
aOkNB40di/6sX+dhPKoqScO9HxH2ALMltLHu0TpQH4IcBKqSothNE7hGG54h5fxpXp8MUFBL4QMa
dH74LKXlzvJ2aPZlS6JnlIBL1JNz9xB3ZfTsev0H1JrhKTS28hhiDqAdnnULOHgoB4JQpFsFGZCB
gmaQnjVMH8zW5zMBfYJVUZWj0RTEsHa/7NIgrOx5B/jQz1417epYpD8kxORiCMZw4AoBDneg0wyV
iYXnBsY6+BJ6DXnOYOaMulDxoMwkfOlqz9tFUQwf+IpAyCjA8pp0Wb3So7Lo1JwnhrXTo3bHnzoU
1C5u4AJ/gaKmNZZDBSReZxnQ7W8gtn1AfMm6RWYMFfWIj14IefvG8m6O0gRfZxU8sALStWcGBdsz
TBh2XOV075uFzZfEgLQApGZOU0QBYZiTtN50j4sAF3LOyt/XNQxRx3kKNeoII9W9gaWHf0Ri8jkA
DAKuUmb7GEAYyBD8kSHzAJO7A5INbEVhen52fQrsXg0dvQEJGRYJ9wlGZzbEGtsMBoFoui7S0ZCJ
AqhobJaRF6wBO7cXkJZ3nlwHNpkwaAl+jkJXcj2ESQ5SEIJJBx3dDCjcpQ7Oe3BlIKHk/Bzth3IV
q46vdHA+gD5gQaFlpYMppWQJFQP7PgoYarO0fBVCEtbEzKaVLlNIgKx1sBClv6C9aa31RyBIasFP
yQg3eubU9uUCy2a50cdSAmy2UA7ZuAZcu5wyQsYfbxe+TSo/FMgnvPguXFs8LDOHPDEefMOBReLY
HdHiGNMONdthiF9IK/nGScp0qUcjE1bzBtTnt3oUEnrfwLYJTlQU7dGvg5OpunjBPCuAAbhRPTYg
a2480kJ4Z2wKUlunPPMuRtdXj6Sp5KPqs3kYi+QWV8YzBdRsD5rasKYiEXNV0w5OdC1syVXe7hLf
zWE5ln1ACzC51YCJr7MRPJ/aBVh7vG/jFTD+0FnxHetFJdBGGuysOuhmQyhsG3BLpKOHTtCLRwEu
acEA8C6kIR4dM4FiKEQQdmkCZhbOl2BVis4F9I+c+rSi0CKy6ZUA47tVLsSVdF8EivGVmaFalSE0
unWf3ogMelR14iMhNB6r4+wSWXkUx1MI2WIqPWBX/lkqZR64H0ejw9ltIC2kLSywLhK2sxuOv3Pg
dkgu+wJbBrX/vd7oIY5T996szeytl7AliwBM4gPME524jB4A0cbqj8nmOe0ESh8wvfwqGvEKmSUI
9fQOHHikqJd1SPsVKgslWDO7aWMnUsK/euysA/lzJECeepY00I/riKhOofrWRCo5wtX9tav8bO1W
UE4beECBALUXEWR4LM8+wPBxuMROt+CNm27SXlZrJurwiqW/M7eNgl5Eap5y8E4XEXDZa5W6u4pK
0GyBk5iTRA6bxhO7lNbs6lYOuxoJ4Mz2gLyv7rMEhRQmLjkzGfXx1bLYOobO4DHDF9y1abCFhqQB
OTxsKhqWa4OF2QwqCsaROa5adXEjZ0Bd1TX0tsFRue8KgSpzoVSyrKEMcmhGtove0zEecsTL2syT
uYqQT7IAeshbes5ybl50D1IMo6FJxICGQ4AeqHyzgwgh1KV1H2VWgvJcDvOKsSLe0Y8ctpCnyfbe
reErxoF5Weg+vclzP78Q9gRf9eTsoYx1yck8h0n4o5fQxxhyCKcyraundoSBOiCkHQ0ZVk/Q0gPT
GxwgSAZhcR6IUFx9qxJXLDvWfWy4Rw+SBsACQE4RJ91tFIC8FWywF6wwjUU0VgOHosu3SQgMBo14
M8r9zgAlrJZB5blzLwzbvVfHu7TsvGvj+R3YEpG9DCRPX5WRfKlLo71GfYWvEsKlqIJW2cwyDFSM
ctJDkbJ/o23QrB2AZW6oAUfUXKhwcL97hnuBfQ/kN7KxYlgRyNjbtNumHlIQtI7zB90HbNdR2SXU
EAvcA9NE5BvCy+Fg9gZdoywS+xGwHJlDLk0lxALaiPyZyVbO4FQngdyRR8VaMqs8u0UhpGcHvTEl
PAKnpt6jgmUbZKUf8rKBDLruU85Y+HNJt0iJw1Y9XMnmIFT3h96D13fo23CEZFb6BZ5Mcz8x8jkE
bdkmKV3rCd5j8aIlENQIqeFcg9SYwyRq2Cl3/IYquMEtSyPNZkYTP/XRmKVGedeuuu6H09dvxG3s
FxH6wNvVKd9AtiVfuQAMu90ZVqjdOcLz15bWdQdD9chaiCIhcxfq9UeSVcGulxCsH+wDhHwhhuIV
D9ykS2VI4BZ69ytVJD04AzKVQQjbISaK/NiBpLhsVTu8GDXsHKw17iS2Mctz4l/YInE696L3wYr1
L6VjXYTRucDRohUGFWJi6s+AKKbrqa+vWLEMLWkt9FF6wIoHc9NZULec+qCQVyxAe3wtTKyUCwCz
noI0/Z7yxvru+NVsEI1E+bP1Z6Ci5LeGQ+S08014vdvIxAllgMKX+HBSzfPXHOadhR/Ti0I15OKl
7HvvWflr3Vjh0qaq3dJKoXpQ1LicBQKEXpXfaubQx6rxgK0C+o0prz7VeKyA6DbQdE7LwTdParHQ
o3kAN/NoKO210dbp0S47Z6YA3ZQUEpuu2llWLS8pBIQeBwHWpsudDtgk5m2itgyXHhAhi86s3XMH
Hcm1OcQCLsW+C5c2kIzqTm6sVoo1K0V2jUAthJhbHn5kobsrc9W8JGmFXF5G262ZZ/3Na3F51BEm
769O2PpPZlTD9AWkog23ivAR0sDvqQ9ZPZap/gTL+XiZyibeW450r7XH8LQJEbv3TLbffdqym4In
DJ4mIUJemW75lhcrBoe0mQUnw0fS9sfQb60vlpNbi34gzhH/erGHdFK+8nIO4HwEybxQwOqqEN08
kyx5z0HpGZUV5MWLocbBumpfpLVAMj9uVoWy5M2NSAGxqZq99pF7GWQEokDmHi03i38MjnwH88t+
GZgXLlqUfi6xDf95Jg1zDcU2CGhw6DRGKL4YTQIyO7EAPyPVCarlxQ9FRnl6ExJqvQOVqiJ7sMzK
/e4kzpIxYr0Jvy3ncIzKrqYbxxvTYeW2EHa6bIommdcB/qh249DNyEC68Koh89rKJaykOoAjAE7D
Ix8UatPqFb8lX/DQr+GBXVXbRmE2YA1BEqicEif9NYHE2CPYjwzyBxyCcGUtlha0IM626AOo+Qvv
EObgOWb45XY5iPG44JZAmbbhBdrVgKtbWC3FcLc+l4nTr3wO+fgwcKt1GVThkdlFtoHBu7/3RRJv
3SjydmXBf7guZGPMzjiMWFeoKdgQfi/KrW7pfr1px4gprInctyQhaj11TWFRqJqln3S4yUrmPGZ2
Pi+HrL3lYwvek28ksvtj6zQwsorsak4AA9vqptebe5Tz3gebZid4uxUXeKCE80bIbK2bqdEUl9QG
vtWlSLGPEbpLD6KiD8yg0QQAJaQlMMYQJMp5qBZl39azRBLv0HLVPin60DWx/AEC3hw3JIBJ+Ksl
PK3CBfkIVPAuQ1y/560FbJRPvjVQz2ZZDa3r2Dlnsr+INvJ3YXtyQMyfm7F7E14Ic0HUBb25grn8
CHsDXjkbe++7uFX08ywcihW8TputQwAvEJ1XPtvMh+4FATJXN/0uV8tOYs0c2aybMTxVXG2QLK4e
iHUzZTn9duoTQ/LedIzthj5or7o/odHVcSsBdgZu0vO2Y5sUCoNHPQjv3W+Q680Arc0hPN9K9ZxC
GGTXQelwDodjiRV8/NSqFC7tQf8UMJEvvEh+1dBIKJxZEGsyYCOh23oDgBo6iyhcFxGBKT1CdL/G
WsK20dtafnMszSbaEwNobSPAtRdPNd3MsVV7YkVu3ILePeOczl5FA+Vf2N0A7jI2/cZfBngqFfRg
uBnH01Tc9duBhzdYWeSHyP8usjjeq5jmh86pLlZcyGMeWgwepxa46pb5ZFZ+em5E9Vi4kAxpveIy
tMUXxXrrKBxhHUF+dZaxYVTzJozia5CQW1Ga1r4dW3oT9yk+n6d2Gm7lwc4MVtwjjqtIm51j2TCk
dQR4CynD7wlLYubgjK+T9lLBtv7dKjw+C2H8cc6D5kvDibvq86bDfyClL30q4afY+/vA4fmyLIMd
pUm3SbBy2AvHYWtZw0CuS5ALYKgfFZnHFqHKNn7tX2Mh/B+A+CjTAeUwbMG5ALnyo/MIVtaAAb24
YALOFWpMaxevA2QINHGtgDbvNHdfjAoSXZDan+WFgFRuCL8Q22qGNxaYZ4kL5M3zA0hLObjDzqDu
C4hnX4ZzJQZwdwWSiqPSxNLwXAmIRg8nOmJW+1AEKIvy0v8yEDji2qtccPXDUO0yx/oznBnijaZn
8LSdvd60HXf38KnGhSgur10LCfOhbqO5DXbJR5KRRRL09mvoFkcXOvNYe0HoHpz/YD2knvsCGAwI
2Kp6cwuGlboFy9yy6cmtL6t3EEeDDZ7lrE0k5CwNFP8Gh4t2pngRrrjN8X02pXrouupryiuASIG0
fAgG24D+FKx/ca3ZghMTbOA1JU4wYi2WwMVAQkzGF2KW0Aewo/6FZIAo+kT6r01ZfauB+3nPYnXl
AwOPqczsk8lhX+OX3Dgpt84gxZZ+E0ntvBLOKyy2A3+XwEfgwqLo0YMmMRz6rOcqcq0z4H3PulW2
pcTDR1rPCluMFcXqPGGJuAkxVC7zeNVneGo2e7hTZZH5WNDOm5ncr/cNzDsWdR44cKkRwSqXoHAI
GNktoPjVrcYy7VaMJU7/Wwfr5CtULwOHsJMIXX+WIJe18nOGhxZcquV56nTGZhA17gJl0WLmQtIP
9mNQ0QNxCu7TDaR7FeBrZtl+BXLUfQPm4r4z9vw9JNjg/DPGTDr3jSEYejTdHJ4N+amzu2iG800A
O+KyS1bSj7YJylfTjKNlaMtuq62sQNJ3KyiZzaiK6AIfARkeAnQUjK5VsI1gTXCuOhCEIN4XvUdY
FYq+9J9c3y1Be6fZuuSe/5L5YNzLir8jgUbn8NVSxwrMjapaaMVhLUOs97QKsUFa95CL50/dUyge
nubQSIPEveIzPxr9POwQKRrVy2U3mpZ7GeP4a6bptk/M7GJnZX5JuAO33aR80xFY4Y7U98gDWhH0
xHwVkhD8DBgHXYLStpC8HMp1lPv9Q1BWsK4fZcs6uAraWS/e8aAJkiiy5+0gXnofCS6fceTdWFi8
JHYWL4KwoFs9Ss3m2ZA1lp88jZ/T9qp7A7ssT4kHjeGgEcB9QHKj3vo1UGtg0eYLlRGQU0YNTdAw
6AdQnXgQxE/aG7hxGYGRrvFGxU1vKkLXvYqtk27lNpcrWEhv0gh2YL7j4q8I872vdrgxjKh+Gxwb
8DNiWVsnCvzHIlFniJ3Xb0CvdXOQW9qj14fsMPQZX4RenbwyEa40sNm2wLGyABSCix9hOLsgT/vP
iMHBX7TlwtmBfPhkG9zegztJFoLI6D01XkAIaL8Syo0lCKjuFvKO+bLijTOrQJ/EYi135go21g8C
MojXHrKw1Kidh4bVeKQn8o0IB4BAuyqXmZGD5IxPOesJiD5FahZ4FvCg16VJvjKRq1JGOwsKCafB
9+Vz4UZ7QFK6K5bq9XNGz3mYl08MSc4HnGEgVaDXtZPgPAT9Q5HjWwjdVC3ssCthOm9mxay2DLFW
Xuns4c2cg/8JCyiwUW56Y/mQqpAxZLLwbKiSuQeq5iIsu3TlDjDH1DFl6wHXaELnazys7a3mMk4S
Kdi3w8MSFgx/87EcE4DIwWtCfEXgaOkNUHXxLkj817slR+OeDREL0JEjfOWGw194EsAqA4KtL7ov
t+Fp/WlPj+bC/TXOEOD5CC+f2b3xhWvXRlLRveG38RlwTAe5yyReRmBSrMgoWjC0cXQcY4HQiOeF
3SYrR7M9pmcWTQ5hKR7AuKTeXA8Ypo1UAR7ljG4BdJ666T2GzO59z/9773ejUEw+Mn2KqNDEoyOb
udAm/JblSNqZQeI+QLc7W/cFFnCFS+F4O0AUgw1cvI+xYJxTrAtHhw4DFBjSUGDMCQHiunGHM+SH
W1xXoWrUOpCxouNA9c8BfYTNzXOs4ueI1QAV8Zg8cWiHrXVTZrb9hPWOvS4FqungCy4GuFfvDGBo
L0YdFXNRWPG39LtTEPrhgD0BN3ksO+qB2zsOZN7KY8R8DpLhZoSQayJB+5QPuFzImiroujRyGWTe
Ey9NVoAhGcHS3DBJcszzODqRtJBn/DbN1qjCr8oM0NJd4ybEUmHLPf5Vd2VRWWwiCncB/C9xYobF
B+wK+DGxON3buWiQq7y0btMduabagpLWHeF5gzbQIzsI+boZTrZ1BOMsCLkhl16BUTu3aiwQV7h4
DLseaEk1Eka4DRFoWvjlA7O4WtshHIIykPcv8Qiq83rQi1qjzyFagIs3aIL2U2Ertmhzaq21E1oP
yeKFyeDLrb3O9Gg3BptjcDUGSwmIvJ10/OyLQF5kaG86JiF0MiqeZl0AL9g0vfIKcqb4x46eVSXb
6UGgngHHlagc6NG69fPdIAuobI2H+gpVHCjUzmWgyFOmjHRVpzKFYwd+dQgvZqshrIqlcNIZXDJx
vfIbZw+uJRwyx6a+hplGuIIWd3vRXVmo5CKJPPxJ2ag9I0ANMq1YXk1FF7jZ2adJSW/sCsOUnArm
t5ckTOamC2YpUjX5Y4dntWtMYH2rUcckDZ6N2jOPdMQdU/wBF4Uk0Vo3O5cnO32o0UF5Lge7dhaB
QYRs8ZAcTEKhLjy1M1IPC+BxIH8wDk8DnGQFCCOQ0TYZvDpkHPd7Bwm0J8fCRRiayMhdkAwGqCh4
FqyIvg3hD4sJ43sK8iDJDVjE1TUwsSSsjqTn4T5lQGI5MioeMpGgSDq44TfZ/qhlAd27v46h2ZAt
4eldHc1KkC1PrirwqyuWdcUcvjByfb/S67blAxFXj8M+ZR0eS4ZuQWSfLUzq8pVGoOoNinaQV5Lm
zz6NLdVxLVBXq2H8OXRcILC0tIl0cIKhdjo3DGBB86AWjyEF/lTv8b/3plGjRVWCxiZSq+DS1W3j
nQtH+Hh6CtV7ShmSCdJ+jmvwp4aGCzxCu9VTUwVIuSOgYzDSg0ZgeO2SViAzBF+83uEEt72VDqCB
3UMZLjd2lD32o602WOAocJAtvAyze0N3ozYRb4igKDKNUVNoTak3i3mRrvUAdPLh2pfCF7MgDOYh
xk0/r+ovGj+ntycKtNTxe9X9uotLdrt/9brpIEIP0tES3A9qtg/AakgIO+hnIe7TaBf4lj/XTZvJ
/2PsvJYjVbat/URE4M0tUFZSqeS61+oboi3ee57+/0h6d+nX6X3i3GSQSUJRkHbOOcYody1EBkex
CNImNKT1GQyoOGv3v3I9VN6U2lmuc2+85Jk0nAonBvmdjbCOgSoosbajGRz8Oco7GcdLo92JcpHc
qolsnqQQILVF7d1OQAmZHbR4yVxBhBv2wfCAg9PdBFFFmeDEZa6M8X9DdSzKbifsCGObScS8dyvD
aCufxiT5WsLrqTiu3NmPeod1RYSiiwh1EbAeA9Q7oxd5EUXipCgXRyPQCuh7gIG8o3/+c4Wokqtl
pLm32vVaW9xLG4p9s8LXBO/iFGT1WYMu+kbpKMpToc8F9xrx36DZiPskUBbj7g/4BZbDhEbrodfD
6bPeL4fNLEnIuRfGqfFQ9I1+sbSeqPZKQcfICu8Xosg+ydGSHJ0FYKA+OHsWSPJd3Jf2sZhH+U4a
wv9xxBbaPv6tXmiE952Yq2eopqYnFt9w9pT3UgkfkliQWKtfIjDm4CQWJGZc6ccwUFpPnB0lC/Y5
Z3pEfMuGy4y5guUkoPg1K6YOIIQ9e0yyYmKZimTw2haZBS2L4hWCQvi/hOwyXG7JvfgJI5alfeYw
toizmlNn11jOD3oV6o8GzrCNAXXWH6KuVe5/E6CSlYhxuBcn1QwK8BmOtQOWgva5dzrAVZkTwaZG
Fgan7rlMn3DsNU+iJO26dT6H3V6ck/IcolrHhGouQxU40/9t8eGXu0FdNyF2Hp4E6L8wF2mvxEUP
IhUHiZUGMIl3uva5jCNY0OLhtZY1AObG8LkLau2zNa4Eg5mW7MKeWk3T9VgUR63+tk3pmNZlKA7i
PnjaigtNe8xrdf5Ss031g9yp75Ye+euoTq5yadzVv3lcs5W/wFic4qIEvXSordncJziBv9joQI5o
TJtTpe3z+X5TN0wG1GF6iM2SJjfuHRCqfpkkzlupw3rU8wAohL8KYiWUovCF6MmWW8+JnGp02tuf
moJk6Zb7zzlVMXQkYiAREgpM2mxO3pQjpFnrJgKUfWld+gZSq5VpXCQjq9XfNUBwIlEJ/0/f6lsN
cdHtHuICS4K+58895lTXrpOK91ABLgBgKD1LiaK8NnG77AJpKvYYQBTYIub6RGhI64mzZjWll2EI
3qKUujL6iK+KtROnRPWuqR7lwcoet9oK3DQaXM1nOfDCaOUlQm/R7awpO1rCvlAbQGOVXm73xgrA
09akXtmsx8ie7lhQeSJXrxTW29F6UlTDjjfdAaL/XWMtT+u4d+MCKdw5rmyvjmrY6GWk9gaLgIHZ
br5CK7c8GGEhH+fRee3nTH4QRRZohck3osSBai8xGG9moCv1sBoMqifUYWagipUs5w+iAyxzKd2z
wnoS7V8UwfgGd6mK3+fWaf5yEW6RrQ+JWg6Sl7tAnrqdWmCa9f63C6JgaZ9vv3L75T8XWWk5HNua
AWjIi+qsgwQ9t+ZQnUVWk1Ukp4u49XAn6Ig1TywQ27nYmbQ830A9bVdFMIlgqPVK4JX5bqQHular
DUd1mlQLY2S8XCTn55bT9Dm/t8fhJGOE24dqzuOvM7qYvcXkb8RK7tZ5w8v+c2Iax/4yMGCIGnoG
gVJsOsm+x7d1naYp3NPYFG+R8Wo0cx5dxYlZM66otMZ3yuzElzLH7z7M8dVuE+nkyBAixhrL42kt
a/HmK07ueAMMPF6ttqV9hlsB31tedvtQhk/WT7RAfshXCElcJncWiwioHLTCNUL26n4m19p9K0P7
C1otGBDjG/8tGZrudcDHvhlm+I8rCHzwIVhYcNP6IhIJAcrtqOvUgxWCMVRne/JAYjeXuTCwqEQB
EJm4gijSYjvnA95qLl2IZg5gJEisB2nxo6mpX9S2RuY5kKs3SdUSL9T15nNpsBNkods9pFkceVGH
MENC2BuhHz0NWZ+RfLeh98RwhDMp+DIjGOSPulJ9kirUFOr2e2AEy1XrdPlgQ5SxJ6TNdu1F7x9S
x3pJTQDE7VRVhwITkV+0qReF5QxmkiTNlWkvx4ieizKEp6bnPJheszKR8Ukhs1oDxI2lhFhDuWva
R9b2VZhYxQ75h34X21Lq15LGbjOIky2JGmc/WUNwPwdonxsO+lwyLOpnkWQEEMPXmZcPIbg/X+7z
CSYew/lUYwpxlbTJH9SwCD4lSn6AaDUE2cgQHDiRL2qFOpaVAbSjq5WIP4bKVJ6Gci63szqAHVSY
konlA/doUsV2rXGq3VzNVM9S8uIcQlZ/hm/q99GtTJxIyhWcLU5bKqF0xDBRXSSi5u3CW9mtijiC
Wr8gJNGad706fJm1ycTUFnOXsjb//0O8UDyKHRNdu6zR0yIvqoojUSbNHUDfNyDH3UF14urs1NNw
MrvqVQscdX97/DiNJq+Z4aXqSoIQJ+lOV1eJL8IXzuMa6K+toeDmYvwoFbMieCMyXMcIJY/BoltH
jO5ctzZGvls+aU0oKYoiP42EOmDmRUGwkfFhC3iAuOm4qEn7j7LeGk8cXuOOGJRzpcyXFo8+4aX1
rtGjHtK1PjlaCeu6pCT2wzOWAsyAGVYgf5EWKLYvIl6deMUi2SoFncon2Y5Fsah/q8q+0DxOEqph
6VDkx3aNU54VI8+P4gWWDK0dsEo+wNjj9EXUdH3tcEQUqFoVWn2dtYcx7vERrOW31y8+pijbPtHt
9O3MrUwc3RLxXW7ZD/X6WOabd5EZHHVoGdCwwJ3PB75Vk0SrEPmeqKJ5e+iMyM/Zw7NTw0qTDcSw
8sS35Pbsoizse/v3hSIv3syttjj6cMmH7Ls/frtOGRoeHjlCdq7p9Jromr3sRAvoLDVbvAFcvw+t
BlaozpiynfhcGLuL8+1D37Ki7PZFb1lJqghIu31wcebjdY7t+EUFZCoO1ZK4GrmScbF2JfQfJA0+
OtpzLrWLJwoYibrfh3pOaDPKLK/zgFlwKs8GY/e5wX1P41wPRYLybP0+n8dQQvcddKTi+9xe17tu
vh1ub7dozN3gBDtL/T7bLPaHkFl7TZL1fWjr7/wt+7cycYU4IS67ZUUZFrHft5JHnMOyNP4aUud+
66miT4qkXwcCcWQJ0I7Ii478tzp/K4NKgs9yO/PxF8QZcdvtF+ac2MCmTjwi7bACrX/79k1FJxYf
9kPZLSuOPlz2t7L/eqvb7T9cFjlWjckmHNx4HSNjGc3J34drflhbkBgz352p2FRncFtwas5zDsWl
Ir/dRNzpz+Uz4Raouf0pFEfqUC+Hts+O4uY1jKH+ou0k6C63/iy6qRi6bpPCh7JbT77V+1tZqazI
DdEURcXbbUTZLXu7jWjSt6w42nr8rfDDT91u87dfGhQVxsDwLdM62JjX2XQb/T4eimvfFW4z8cdS
UeFdLXF4qxTF9bBsA/koxth3vyVqfbwrK6/iNATfb4OGsQaF3bLpOrCI0UWUiaw4+r/WE9eKy1I9
85dEbY/bsHp79G1YF8/3Pw7F94jFSC4OQ0KdCOD5ensRYqoRbbtXUP7RBsDvchjSmMUQluFQ6+7E
ICHyOWGLawDlnyGuRmmk795uQ6u411+H23WivnU0UeVDvVsfEyeS0JHwb8/yNsl/6Mcfrg1yCSuW
fN4e3iy+z5VcntbF++JBHgKj3YjjQl2yvY6hhWNU7P+zWHu3PIjEAkM8yC0RT22FCari2s7EubEX
L+M28ovshzJVvEWi18TirI0ieSf6bCEObcKjjzrWr4M06V9mAtsXT6y2UBGSgPutvV5UD5z+dYxg
VY1b+90adHt68R3bQZF+LzUzsQDdvqlYgIrDrTHfvnSLLK8U9OZRNBrI+jJfWooZ8tA/b0T84+1T
isJ3+T+fkXg+rVmm060xbW3sz5pX3F787K21iiNRJs7+LSvK/narTG11aFN8fd3bi4cTVbu0/Cck
GpY9Q+1vw61Ws8ODWMAhipctXDrMLvQpP/t1dSdGInGEasT7bBnl+c7MlV+hptbntMcKSWRefQ5g
1DwGMZaGh6G2Yd+J8MEo0gJnwlAf301prIqZ3W6zpJgapzJJF28sS0Cu+BFcog++316MOBJJaxD9
rxXdvlUf+wT0/m2Olghk3hOpeBEVpclQfHR72QcBp+bW66ycEVV4bIE6wchFrDFCCXFsPtetA5R8
qg9izFmajKVMCYJ8N/DKROsVPdsxeiajxTTZ5/fhvxKsdUhwVrnbt63hiypKC7c/NIhMwFuiN/x+
Nym+eJMiYS0Ed4Z1Ek8pvsw2VM0I5MKaZ7+IsjqJHRcTy9U05h8RqJoT1334MNko5fjEf4gunpXR
TkmGjgdxPHlSz6KbNE5/THtMRMsy3bFQyrHKqahvlt+YMdId5kbY5NfPfXs+ibjnHSQXX9FDeiO4
Q9q1SEYsXocMxSmRMdehCZa5UNn+OzmOtjPauT6z0NN3NIB/xMO/29VtC+t3pVtXE8vtW/seW7te
QyWwLPxZs93eomKleEa67ii61/bK1r2laNviJh/GoK1/i8IPl1QSbtuogh6RvfiM2BOSN2JhGhT7
UocdGnUsfIeISzHIg/5y89Hu9/NUPemDjh2IKFFg+0djzJ9wnLkKXDZ5GNybSerlS/dk5tcydqyd
+NUUSs/V4+hCl74PK/bdtCAay9q5oJVyDaNCuE89SmXL9iTTT3rUaNsmddvFbisL0RFFP78tDj6U
aWK3IOpshx/Oi+x/X2Bs14hmgPt2L6dlcGjjcQ+KzNq2S/919WFqDbzbRXvYBlqN15j903SRcbi1
1cLUPWKGxqMowqPOfCLGlO1QlIq8OBKJGUpUClGwYP047nV1gXwDPR+9NXa3gWNbBovW+2fJrZZm
c0qbqUSfFuvHHzuEaCZTYoZuj7Q3qJnsXQe8jaKiU27rGWeRkyNjCuZFw3PyaDqKFkkAzAzUQPUg
mggOipLtRfcTXxxPm6sOsX0UTa9bhq2C+O0Mo5tflM2yLRXFk3343b+VRb2zumbj+25gZvaqyZT3
RHE9bsNZMw57uCuv4rHF3cw2LA9599ucIu5oTa2MCSn6okaFsuwsacGbnx0WeJLF+XczvHjubaLc
eo+Y1bbuJP6hobTxeXkxG93vGqk83iwf+aCpfr8ohftuQSyrKGBWul5szfpdE3x3KB5eT4vSDzut
N90WFrhjmVtMEsQc7LOEVijmeLH/bVVsahLe7LCK9+Auu1MyvNRLbB6yVt9rhcXaVLQmq80igDcd
1Ondt6BZNUjqWoVtft1Zix4hfhiZygXHD8F4t+YnGtbHJtqO/XNeBj7ytMeliVbk3X+sVu/e4PZG
18lfHIm3KBPo7bZTh37un2FL78vZL+uYYe/PSoFopPOg558Z6bEFwbC2LomMwoyPEwEF6EcyCos9
6HYoFnqTHpm4G9Z7vDtcggojQR3ECPnFRx1GS1/UFi04Cmterch3kMivqLdtiSN+792gc+v1Dcs9
P59CdXtJ4tW0Udz5VaFCby129QaGhLlOTwNoucXTE3XaqziwRXfV8u7F0BMCYba5f8SEgDbFl3dL
rpnwtV3aw/6FzXk2PQdHMKZeteVlmCiCrf/w96vqv3ZLA0OuWIOKZileM091juDeXxUFnP5we/+O
giMpWee7W9m2lu3W/wU5orrZQAql/mHA573LsLOdivxRNAnRGiRnXujWozcugISO6LcQDcSIJH7Z
nKx4F1kwPb7rNeJwS0rDzdTaOuZri8Ei5+xq1G9OFfTF6wJWauSDpgAGmmbM7sjO69ve37By0JSR
zKpsHeTE5xBHagMrI4T1f0bS7aHEua3RKKm87MShKBSJ+GriSMOX7QU/7S63nqq+9PGA/4tKkrpt
6uxYLwhXk6qRoFA9QH1r/I/Nzuo76dBaVa96I1SU4s1sKzsxHuk1getHcbgZKsXH3w4nuw3Phv6t
C7LxdNvroXjAQkw3a/fDJnDuAkhZlwwWTWV5Af+Z78JsdjMzJ+wOk1Ik/9Kj1wmH53E+GOt3hNqH
IALRTsSwtX1iizhcN73r9dX8INaAqx01W5NiTRZI8HZxmH0SRSLR67sBNYCTqF5EV8fhkbN1FTyt
PdLsGsQm8jd5+TpE91PzqAIB9ZNiP1T649BpRLZIuFUti9iIVpk8xQTmwmIhzOqjTjw4tJuRqzc0
HhNH347NVu9KjYJ2JtGEj5ptpo/9omkneFav4arEFSfFcgik+AfBbKZfSIPkOzVswCGBSRjzrRZX
e1i+wp1qeJ3e/M5WFc4suIg0Lw4NH1x+dk56OzpqmiYdzCDOgdfiqCgXW3vqq6ZivoxxoK5ZlHY+
x6rR7NUldhEJDa7L/LpoaOUVxP1d84xwJ9nJLdR4cL8N0swNCcxz9jGQxZd0/tUSN32thsq8Gh1t
RcqaHuh2DFOzHTufWiCsPlG3MiOc5G56oHUY0KRmcKhSCBSzm+/Rqb4r2Dy0MuQqKiwAsSTrxCkY
FztZHB7Uj50p2i29dpTCJvlS6Z8XLZIPyP6afjpKz0oawhEngZvRWr8oKu2zGf07gBxq1/UwCkpI
BaxOTWRtcfz/asf8AP0lWO+h+aUhKyd5icLSlkhLn4DPxYfSLPTqLKn9Zd4rqbqcZTv5FPcToKYc
SST43GW3Scpxb+p6cj8oKFevmj6FZNJXS/NShKFbzQyOvWlD5m8k3UFBGtHPkkpDuDgsTsWivPI8
2nkirODsBLge6X9lMIDAzEVKKJwELshwEFhr+D0BRhTJmBGYXC/q4JnrHcRtLFHb7n4sBUgFJNuz
N6f8OlUAc2ZntN7itv5kqB340S7JH7txIkIyWuyLOc6Fp8dGu7tN8Ns2ChL81F9AP3g95KpWXxUX
uNy8MeQloPx7p66fVFsJK0Irynwxb/d64Hi5qc2e2TvTJYuUwAugi/TtNStr8hV0QkWIj3qScrTg
UT3E3RWr8w6RH9VrU2BZQBd6ookrZa8WcEguyDbUh8LJ3MzuFfQy0/6YVwMU9PGU+mGfmr61NMBM
5dhFwTe83JIe7NXZKXKC1Pi6tY7PjP3pijl7mANDQYYHLrdBap4QggDH10waMmUe7N2xpzpG5Ha2
+eT0RXKHdyVwCcslkloawCNYbYpt+ynolAR0x5RAh3jpRqJtt2TWTdRiy2uSqQZKW/GnbsgQzu4q
w63t/JRaKSIAoYUuKgolhNVL0cWuwu5p0ZvuqU2a3TBASidyWjEp9/monfKqSe/TNcksaPGb+bqU
wHl0ZyIWN/xJbEjxtCzpsSmt6Tylyu6nAacoAWX2KVEH7Q5C/PoI2b47TXXpAQmOEGA2mIPw3Oxn
mwZlQ47h60E1uVK9GBejGQ6mlbenZiwJKmPiuxNHt6QKYpBCWroze7RTx2lybcgqrwG5LpB1v7GM
Ej5e+7VELIhIhuziGGXjNTbsusaSOkelllsfCkKgjUYeniNt8MLKlr6npXO2UR6doezo5C74DsF9
SghCA2amnDv9kCTJQStLULpGb/+TpPGLUqKhKS3hgGpdi1PPgmtgRMICguVKdrs6gkp8JcGXiso4
osGHqwomP68rixBn3QwBYVyhVmlK4TnrQ68oli9NpwRulgEuiEaoS2v9RTea6hU8LKB0BxBqxWfM
ezPcWUGguVXffxmCEjWjLP0iNclONqcaCo4Ys0Dax/xt575K+q96XMYwZgQoywS0JdPE5x4X5mmq
IRamiZanNFdbZIqc5yjvHud+7o49ID9vROLgHpTbcz3ghJYkx03w819MRZbcvCcqFlTvSgvAOI3V
RPYMhGC7VLK81KQ41nB8NiByu5+dknsKGz7QaYSLJYF96NZ1QAuVMK6FFSJBEMTRroHAOcS7wIqH
mKfeIQmZyppfhZHrJFB+Kr0FaGhtjMSB9q4Kaa9H6L3jLnX4XKv9fHDyrnHNklgWFS3ctLAMnOK8
PqXI34ipz6GWR/nO8Ls87VCFmp4wtU66ZT60egBTYQugB07t2FVVY/IMneCzNn+wtKT6FEnddwU4
211AXn9j+cuzosFX83frgMGs6SS4Z1tpJEocrFSohsEuLVzcAm4h6cZOaEEv2n80ogeQir06waDQ
tN6Q6uwC08rvxwGDaV4yZKel5fUSsG8JQMCQ1aqry4pxVULzs+Poxllqa+OK2vivQU7avWXq6Bqm
nlbH+rHJsSYk8Y8RRmbkMfLPZj02R2O+5rqt7HUUSDzcX3RTIp5dEEfauVIX1evka1ZVncdwaN9n
vfItHmbYIPqE4LWgzXZlUyZv5hKw38D9jx1DwSGmaNW9YqJfnSn2iTBWbBbaHJ4t0Fj3siLVSMjD
dKwMwJUWYC05ZiFVeZ5XOpu+by5TWSvPxRQ2Z0Jzf6UQRJSGNwG/OvSmdFHyr3Vjym8Q686nKC9r
31Sk8ZAqGB+NbjAfrDUp9P6p6eu7MojUU9tEoDpSdSamT/5WVaEFjEfRdn2Bsx3STlduUhzlBMnd
GS00EIaUELrZxF6N5r2XaRC1amXhePRlELmG+TUyzG9lEGb71CmUnaPY415LuuNiVqVnDHoEFm+c
CPboat/OJ+eUN9WhbViVNYD42IkdJWjd71msBl6iztfMnDoUsdMevXDF2ckJDCnArLt7i554rCXz
rRvq+smMJMxCk+pnwGx20oi619Kpn1PEW5nZZmIndSLdtCZtd7SD5jx2ZnoMC22nYhmVQkPdOZn6
Uk7DcqciCuVmxiQ/ZSF+1qBU74sGgQdjkUZaGKJ3WTVGZ0v9AR2xdOmMLGDfKMO9kcoTs8DwGdgs
mN7YPhNajgbCnySxq6Vh6Unh7MCZxH0AlS+vRfwpGOfB1dpE3udBqN0bM6qs7Tzmnp0+yFHrXJfh
qdKJyW2BORBci9UG0Ql/qPlCy6T1e5YUWTF3ENpraKShLbwHeoXPzkB1aojsF5u1aylhEI1b6GVU
7S0bEGzvh9E+rbKXPvEEEo04O5WafJEaq/GzWqpcA6Ucvk54jGVvauh2CwJovlJpd4YcGTvCejzw
/ch+NlZ8KPF69W05AU1Qfo3OqO+zvpfOiEPNvhLbUIm26zCbqLmbO18IkPBavcBTgt69nw/oB8s1
I+JUNie0QkA3odHF6uiYoiTmZUb5orTJ7OdYZi2n/pYoOjRCgFRcpxoeJPTCGi0AK2zWnzNdxgld
ZPdN1doPSN7ZKFul3T5q4cZBt4twSnmsiHva1SFhbnOYP9hTA8C60cfqPI/am9FEA0+iT0D9zeqy
EGN8imaLEHojb18UxWxeUta9cq4mj6JoYL0GPTfyx+LkUKXjc2BA8hMNMDU4ieSFrT1houJKI5+X
B0lpnvWpb16IfdJ2zhyyonIAaYRKke7LSkLTBBmKeuqDEyMaP0yk/BqPL9314yRf2iQgqN+uoafi
8/misijTFN+cNIdgUFBoECU/aZ3UnGyjwuvbZbxyo+0g4KiTyO/C5ttkFvBrT05+MevBkt1JDpHC
KJPnd2Xi0Mqy5axF5VnkxGV0cjSazPkeWS1cF8M4HAA6yM+m3E3Pli+ORWKELTy6I6a7W1mtmP/0
YZDcO8RwPdexPEE/Or7dKoxDF/pZAwHXrczs9z+QSid4fCAG3pbl4Kw66U+IGMJnAqHC5x5V7H0K
Htu/lWlNDXitJXCvULOYSLDGPoyB3V7EFUupLRfWWgeRE0nXjliVZ1Wnvdrhs2nbvmoV8XVooONQ
TS09qWBcnssg0x56c34UOZG0Bty2NaiDo8jKRTJfpoWHXOurah2+dD2gBRSYrYMoA03QPwJhOLCK
X2tQba5RUgKDW241aiVvrq2Ogtl2D2oQgN37+ojWtyjLCqn2i1wKdnX/q5J66xlAqPXs9MO0s/O4
RewdvRki8if0daToSVSJc5h5CyZsT+5UYsyJv71vC5a5JpFuz2o74sxB/8wVlbdkHFcS8SI4ViGY
67LXXkYVvWUWAYNnrdnJyuOXKjnIo6m9pKxnXuSlCT2kMPqTqDCyiToli4R491pfVIE9JQ0cNrzh
pJ9yU42fpcopzsoM/UGWNvFzsibVGlra6HmJpYqsSOyIHWpNWOUZi1iVIisDlQaA+0HWS4+AQv21
QrzFyzWVFWNTaK8s5sadoaAAKs7ygpzjCq33SmfRXsPULB/Kqfou6iJxND0HdbSdS8cfMq9lXqIa
SW8zvS+65FcKYwMA6SY6N4HVPuLiUl+mJMp3EUDWDOETL5mr/qU1xvRRstjwrzmROOWqmhlU41YW
hLoGgJW9R6CiR2avSaeWe7DfyXW7CnGkHQP0vBMnZWR5rzU677db9k5husSTKidRhqrXfI5Wdn9x
gSgLBgD+EQiurYaNe6BApnInspMeV09TANptfcoC6czHXIqPau8kngl93qlXdPml6giJlzU2Zo2d
Ki+YvJSXyaFtDVr3JIrM2ERofTHzg7ggmMzhftCmbyyKlBdRlCXOg17RMUTOVi2TACZp2IlsbPKy
5HrY1WVyrNVGeXD0dnzWxwmmj0r9l8lxfBbJYicowxidsk6Yv8sqx/aWUomvW425tPErEGev4Qs4
JBYEdFGPRLWiBNFPbXgQjCnlLH8DmK194gXYvqQX6UWvDSj+IkU5AMPunqQOlbmyU50vcx2d9GWp
fqFcfZ4KKX4YneR7sHIxOyyz7601MWsrcGtQxY+aht+krsv2pa+Sf+dK4rWF2kIrL6DiqE1fcuLI
L4AmX1JXmAiiBhaPScnrvSzpjasbuXS0G6+Y1Es9KJDJNbFztF76Pt850hfiFPVH5BYbHLQAzSdT
KT+1unOib4Z7K5Bq14LYYSiUZ8uGoKL73mZIOo2wdEEObWH+iOynYoD8RXe0Cmro0DnKn4uWwOFQ
9mdEk1/46/tGMeNryfi4pOozAZ6zD/jWYevoTA/GUiu7dDZgClkSz4609MuQjuZ+bBLMDWWB+9Ww
dqgqK4g4YnPtpki/08CKak38c+xV+RxW1ne7Te+W0ol36rKAoFHr7HNoHmRbZW2HWFaJFdhzklr+
JGeWtI+S2MLnm6ePXSz9APEIm0wdw/RnEWMZfadvqJ/KYLrqff2mK/n8WraZhJZi/a2acvmUriIQ
7CdR2URF8qRYHZRlUKOxGO1VN0nT5FoAGSNmWw6+OuM5ME2oHoYs3xIF4eBamuAVi6vFFcvpTGsK
5DFwF8bT8jrq8BpaiL+mU5Fc0NxJWCGaxU7plHZ/hGQ0/mFB7uHJVWw+FpBkrA5gk2Vb9UObo+lT
O1vPqWGEP5Q8+VQYNvJSOfxfQEvwPOh1dKfUU3C2hiY7NvpUXaBqL/GgQMPJOjR8UXKj8GICgP91
LOnNGqrllwLxjLUqHxVBhtsZbgLU3Wd3TKrsza5n3V/iqD3CJKC4BlsDBFnrtjlDPcjSLJQRJUkr
NAWjYLj2Q9+9doHZvc4rRMzMh2eRy9SCLWkkL3ciO6lKtavUqt+L7Ih42CkDIeD2XdG/puY6oYEf
vd2tLqR9qlrGVdRXYstEotao4Orjpww9zffRmEw7kXXAj96hr8HecT0bNUz9hjHDXUROJOiMXWx9
xIS2FlG/AyMAQb3Imt0IJI+Ydl9kkcJZ7kMs+L/vZuX6OoOJc+L5jMr6vJiF+iCePRjNxB9wvm81
5rxhF+7MWCnWnyqZLy6ZUbyJXDfMoR/paeaGcxA9DiirPRK0kLp50hVYHSgTSTIEiq/MISEfjSn5
M2h6dA3l8BFxYDj3YVB9lGSpOFu1fv1QLrIRSFRjWOb7ocNI4IqycOhYqRDYvhfXj/h+iLF3kl0/
1M5lnmr50EzYHVvNokGLQpGgLecOMh37VoSB0LmUBNR73ZRY2w3EWXFCAxh/yrLhH1TpL3JTDWys
1FLDgx6Zly6aX2dbXk7vymYwSnt2tBAOrFUKtTEvShtxiUVwg8W6+37LsjtBqSgfo+M6/eAEag2P
sI6a3dd6jdaWwwV7vsiIBPIfTkJJgsDc3OFwEXlxSp3n/C4GkaTmqnnR12S7FcHFuTuqinUQhT38
fODT22Gf1NlygelWPYNWQ+KUnChSG/UYDsZynaL5BMSyhmdn1N+A7LMO6uUth5zfgVVf8NRFjv6W
Gsm+XszyWdRslHy3ZNOy5eK59tt4cbZcRSQualXli6iJErjbLM38EgeV8darbBz13tnOZc0PNWBz
ujiGfQcdUPVW5creiiblKRvt8k0Ci92nSfsozkFBCkcZ2tkPTVblez3F3aDbzXOJ1u9guLFKnKJm
2sR2SmmLGwAHdRZafjxUL8mCql0bLdozMe3sGBJ5NX3OzRGqisKD75/2T9PL2Nwd1QG7yjwooavZ
CB1pVVmfnH5mCtRk8woCSbk3pvZBW/HT6WyH53GCu1NklbJUoZUxWawZhHkkiAtOENV4MCvafkTo
6CGFxuwgzV+apIm/h6z/PHjK2qsDs6ALnj+FhNCqDnSgT3YLp2ApJcWuUpbeK/IV3FIUdxV4cdiW
4AZJXmqlN77TPk5sqoy3QcemEIKPjbJU+kyAPzg/tEqXqS9ibMqzm1xs1dZDd0AhsrFV+WcqSQ9O
oDXfcyf5pxY0ZDO6WW2OXB+GVe2IMNZ3xEuejVCNYR2uU2IElPQx1ALtwalo2GtRsibiyJYT7QAQ
JHEDkF6wKgUvILhcaWqdA2rWy+tUdtfBqcuvCb5EEDG54mqQK3lWJnWw6Sndvao2lr9oFqTFVj0T
NSjFWOebz5bpPObBwczThogYkhhRKbBJfllIEqJbWuFFQ/6SzYBdygr58Uzv971iV7ucsc8Lh3H8
f5yd15LdRpauX0XB64MeIGEyMTGai+1teZIibxAkRcF7j6c/H1BsFVnSoWZOR0cKmQA2a28k0qz1
m4Oe+XJdOJFAOCSvdtWAaW2fecHbrIuNgyOg7ztjF2OWUe6TtA23jnksir56QliKOaZFtBKJ1ful
1rjeu1YbmhtHOsnbMUQWCjYShO25GmtBu7aMYTwOIxHIxmf07BP9vRd35j6b0vatQMxjW5uODTay
dx5jJHUJdsw75gqMenefhiJ5EoMf7n3ZJVsnqXdvfvmP//6vL8N/+l9ztFlHP89+ydoZG5Q19a9v
TOvNL8Vz8/H3X9/YrOItmKjSxFxSGroU8/kvnx7CzOdq4/+QZ4ZrEQXhoZXj+0R3TouUaTnpil9Q
DN6KySXHNHeuD36QXeZrRJh/8O2Jea0ojXufgX+Tp5P+fLS05VbqAaPgbIDfHk8S19HlOsQK0QSG
6/ystjPOGjsF+rdszez0sOjrLAWLBxYdaf2wXFErZ7V88f/44ZvXyy/xJS9G5jwYtD9W/3v/Nb/5
lH6t/2u+68+rXl30lKf8/6eXXMMvVV7nfzSvr/rhc/nXv/11m0/Npx8qyFeFzXjffq3Gh6+8/82/
n+B85f/05C9fl095Gouvv775Qui9mT/ND/PszbdT8xN3ze86yPzx387NP8Svb/bV169Z8in7/fUt
Xz/Vza9vYPf9y6LHCFfpri110xBvfum/Lqek+Bcjk24oKIlSCMd23vwC5qgJfn2jzH/Z0pS6tBUh
U8fSOVVDl+WU7f4L1WlDzbqiyjKl/ebfX/1b531+Zn/fmV33x87MzOa4uj5/EMFwYTivOnPuNKOr
2xFKRNOHBNuv81iYxRmKE/sxDTRlVpZZsVoal0IfQ1Otl8Mga4vzyz1LWz/f/XL1clQ4eHrXTX/J
uq445Prgw9XKRtQIUdM4Px/WvAvnKBsxEvTLcftc1Qr9LDUioYyrnP7u8PmmxEGwsLdnAG1ZRjsn
QVhOzWq3S2Hb+OY+11MECxGTIpuBKsp4Rk9Xz0/GrIarhXi48y70m+WesjHHHDNsQxxF4Bxef06T
9Tb/2OB8cMCdMF6H+Wbk7113s55y6LCmJqN+WmpLIRrShCRI5rNF0TZgSJFk1ubF93zh4oNVVIoT
yzV2Ge7apiXmWIwkFwXy/Hp31X3cMNspKj56VoTCRAjQwlfOWTIFb+DA5x8RkfkoIXE/NKqr9oPm
IXAUd+lZ6yN1SsDLhWl6XlpiYBin77r734yHdOa/9CFp2dKg++gG0eXXA6LE0LlmP2lcnRiYUWp6
zSmei7oVJinhQDSngoX/aTmzVJcjIlDjxkWwb8VbUJyWQsBYPSWxT1B7qX93uNTdvHBIYYbNNvUJ
gtrxjmE5uV2KtjeS2xx1OaQR1bEXtjqppo3tdRSSnvXl3rUJcGc+Wjn+iN1r2h7VoNsfwS2vjNDQ
f6vGPj7UiW6D6XOyt46YdlHffhqb2NpDpYa5mioPDZxUXWzVqQtQRHV5qS5tIBtstArE+6X2cvLl
Ws0WRPq9EG3XqILXkI6QutvxJNC/Pum2x0v3UjfaPgXcOJ9/PrVc5dWITHdF8+9Lzfn8y03L0XfX
NJhcHdkawJFyrNu67tJrUqsNb71122Qxqk2tg9d1NCnCfb0i8IfY9SoZSAqOU//VAQ1z3xRsr0nJ
IPQ2OM75pUjBDH1XlZL1SziCl1su6SeT9H0A+9qxuskmadt8zNgD8bJ23qmJLI+8G4Ug2rH2JPhn
hxzJFjZ9fB+MCVOe3473ttWqDZqh2vOM9sOE9v1U7uo/9lxTWq4rdd0WwhCmAAjy41QOS7xHFpQV
jVkXibbBID5bj33QnYI5O6gjRIDkgZOuotyaTk6fmqgw6ls56O21KzJzUznDnhAL03uAbdcg1bWS
qYl0WTyeXTPUV7gJdPs2hRJsT2qrdU6yMgePsF/U9GASM7KYM/7CyeO38eAiCCr8r77j9fuhyN1L
Uuof+qhNsIWT3UOk6mKVjyhEylo9GJgkD8hlSobcCxKi1qEmB4705bnzK3xF3PHByjRxawtN4Z2c
/RZEpXkrMuOtO9TDqZaAHwwLRwV9SC5J0ABVny2Ki4BQX+c7HxexgGd9gVlkwAPitE581J1Fjvx+
Vnva+6DDGkBgI32aJXl/s2qEO9tOPhLGqO6mePywNIO5MNBXKdV2uaky8STWazFc01HL3iPYnjq9
9r4lx70zDfPQFTZB8nKatStXiamJD0ki5RYnw2jz84FLMId+v5ADu2Wjq2sxOZumZRr6PDd+t5CT
Kqnz2hubHZ666a5XcjyPfxZOBnVlilxSnAKiASSmaJ2HfbV1ZlEHMUhspVG6dDR5filEIHl0g/ul
AMly9nCqh27rvWvikZ83ITgweZp/o0zDv6ksYPs//0LLZP3dypQvJHWhDIZgabqOOa8nvv9CTWKS
xOuDdlexdVl55KauSxGEPklEn7QyHc3ZLW1D3Po4mDhbNIizR5Qv8LMJWvxHyyF9NLuArEQRHvTa
TR/bSPWgGrr4qMpoXBPSdTchwPor3rngSNxRXslcUUW92jZMYNagPIxVO6udJd3vUziqm5DV8M1y
1Hqhhnwcu82luhQZGNi1JCW6nZZbg2jCCrcHX6f1GI73X2orImlAruVuAid45pH4973b5jtvzoQS
bC0fLXR4EbLP0RXuiFabeXrJUeONN8vhUnSuFWGiirTTS5sjbBvd/Ayfk58/DSn/0r0UoleuRaDM
IUsqXz0NT0R93JvsPyZHd29l8hCNaXxJYzd6LgoXODsytGyj/dq/7xrQJ7IgHDh/OX1MEK2a0KJ0
NMshRVrXJtSr0UBfYpMF0nsnekuhcoUARl06vNBe2G+DwjvrEQIJejoTVhQ6tyZ2OmO00QYXhBeA
jj3WFfIpivxxHzTBtHFVaRz8GtJa4ZM1zAspD4HRfG58zQQxM7cthV0poEpte1lqGs6uGxT/SU/7
ZNT9qEbyORbimmhFtwXLEK1DZB4uExYBw4TuCfgRj9BUT/bXsMZrlrKJTUmRktPPV47VmxtEH8JL
X3btA7iCbUawnlxkDKU9bcS2QnlmBdgn33UjwfOcHPY0ryzA+Dadvo+BME24o9Mnk1H78PMH+Tev
FQs+os0AyliI2+78oL8bJ4AdWr2b19XOV+U+Sif3DKaEcEw9KPe81Ju0qvaMM09lFxWHPo7OSHRU
s4OHLE/y5TAQUXVaGguFo7oVV1jLR0F5ymfg23K0FLXmyp2npqsfOCyFnk/MPA6XBfRoFfsAk3dw
pijOj1bibSelBsQV0+5SNogwgIm+LMVgyPTS5yQyUbU9J7hIhsL5PIDmbRBZrTq0qHV2/GjNXZaq
UwGAHQHkGSo9vxSTZzbgo621x3CXrzwTnL9LTF7O0MZSGMBhGg9DHh54j2fzpUiMiQQoMK6fPwn5
er5WDukgwYStGOcUak8/PgmLTDHAN8yJw4GwSutPqAPaXrYp2kDf2Jry7z1TdbjG2uIQuk591bCk
9m2HlE7RJTdajbdS7Qfl1pnYmCGZSGMVJAkaLJWzifrOXhMPgf5uk8HVYxXeNm5dr2rG3LcJYKLi
wvoO3SrAXrPSpbPrFO5bzVzI1Chu9PK4eJoDg8uv6YQDdSZkifZlsjGY1Z8E6OsnU4YnghD+KmhJ
CzQlqYK8NrVTi8Qv1AwdS4fVAptYWoG4spRwwnMwC9BZ4IswzjYuRWh/06RzCVqdImN4XwkCFs9C
NEPD1gBAIyPCfNfLxX/eD00IDfIMBNhoN/ldGunXnz+rv6yteFa2zu6V54VyvGmy7/3+rSHy2UYC
G4adhhQQyFi8rY3R6p/afPKPWokG2DRXI9+/4ql6WGYQhgqx1UYfFAtUvTawrdOgAvskzBL8FjPT
aXA/SEu5n6sCZSIj1h6dJNQOyxpyKdIg0E6DmVq70EG+iv2a+2DalnsGJf050MNjPcKwNScURYbC
3Swbyzgzd6wUq3c2j4UFTbNJNG06OHi5g3HU6i3WTxhfy9n9+s8iixGnXL3Ul2u8JjwSKZz24bx+
HOaV5DQXS/WlDTdKSbD1z2teTidN/EeAifUxGJD3jQbmNKdB6CfB/mBdp6SvhWVgnt4YXY4lwsaI
6QYyjLNNTrB9q4JIPzY4baELipRglePopaBIrUuHlZ6BuP9R6hlO4830W2In2ZqFiUTxSBkPTjyT
X7KPP+8FhvM3r6xky+hKohXSEe6rbtBWYzJCjWh3aYSEpQwBiDcSJ/VtCQgqtfUaeBQJrNGElxYZ
U8Dev522UVd+WdbIuQqrXaTCp9ox+pMBVpRhL8KNoB4f8ogkwgwbDt02OGE6Vc2j6FKEIm93sow/
BLIZbpqCnzAejPaaudNVJVPK2DU/yV4nONusWwssZkjQcIUh1nSJ0/xbsVRTs7/rpik9BDjsYOKR
1ijVVXeBFoZIq2VocvZJ8jAYEEViHUeUUTOBXBluvE0m8blx9WFrVNBopugywHNsit49QllDSM8S
26mWBx4EsQZGMNIMzsmZ9xNNb/gnfzIQrK3UGpmX7mSmxAJQ19+LtpgAlmGahhJfigu5226HLqxm
QtsTmNz8DDEa6BNB8ctz+2S0e4M8ElTwqNq04bw4m/uHEWrESipoq3EzpMDVq/ritoCzMlOv905e
4v6hi9nGABeIBqgmeg3FcDUyX1w6gqtl3iLZ7lUBCqHdMfVd70SguN51AftHNbOr+AMzngxEG8Md
HVzaQIMw652t2G+KVSWb6hzPddTPzGPVhNvcljUKd9pHMLIFvgbUKmTINoUG68KHqLrWWP3sNZ7y
uQdwQFoZOcx1VFePRag3VyIU1eOE7OXeTiLkRKce8T/VP+oxbIDBLx9xN0vXTVBPR9fsRpzRvA2y
bmg3zkXIPuW0VN0emXu0g6+jmXwaKoHZWyzJL2KP2PkQDqYAMFsVTRdixeOFZb08o8M4BSBCVoaf
CpYIFHmEN/fP3yjzb5aVrrQdlziL5Th44/04rkY1WmZZ0Nc7hbzYyuiDEasFazjpefntaGmb+hl3
Fvbuto1Pju9GM2jgwjDtbm4nf37P4mk6ZITlz8pBsoa54FnJMlM3vq+0k6mX4jyRUzwggXgq5m1+
MQYJfnbZkz2xSDBsdpCzpV1SyWk9acVBKBeN51w1O7Kh9B2P5ds/fHubb/fjFod535b8j4JVtfrx
2xNs09C4QQHZqcf6S2FNDyMxmpM+F9UcZFqqPoZRXWse49q/1EO51Uc0zECejytDKqwXGgv5V5G4
12Desw+yc69LFX/y4KxJc9cJ3TyDutgIov27XJLgH5qs2paRHW0tPZqeQjk8Bu3kHsLJDi8xG43V
hAnfptBBRKr1P3xt4+++trKJEZOHEzz8H782WvV+2nWgPFGywEZ6svpHD73rSySrr5bVkbcHiOTI
eB9ZM1sPvOBpKeR8NGkQ3HXxnrxPf7Xm7WuQ6J8Nj9WT8qfxlHmdgQ+TUJgZtRAlBl5ZFgWnZl5H
GnGSXTBj+hQZYYR4NDqS+lz4BWupn39L668bcqWkZNEg0ZewbGd++N8ttCX0RU/wN8AAMrS9mVjh
jT0X5djJfV8y688w4DEOMBDoGKaWquGrVZorJJzzSl/Tv/0zdLlx3WI20wvk+SLf1JCUNfiVLERj
XVTVV3mNXuxSAHY/21ahWIPRVLRInSK3Cuw3KdP3PRjlENeyG7N1xcqrYIxjg4WrDBuxmwl/kXDH
puNTk4nxXVArCCodULo49IFiFfzTFfKxN0G5Ir5p/sNm3/ybLuEy2dMhyNHrpBd+/LFyM/EtTfXN
DhxggFefXzwXwkvgDhB42mWt6k4gletV5ZI8pVnkhFKKzHfO+mDpKzXrxsMr8TaD2SkAM7G642QD
Kv/iD4G3D02jRKnQr+6iSgyroeKpWHa+LvT2NxX9tox9LfbvWxObnTUkm3/oEPPi4NXb7trkTeYI
jU7PfxWfA+lCPFIVjCfE8fbCbAsbweeyXxNahl03WxkuReSTsmXvX+xe2hDiNda6TRLZ79PkbA6u
saX7sdRoq/pqG4T2SsJxXejtyxRjzAjZyNCpBCLZbngtBkRwmnDaeeFQXGQGZ6IXg7FN8rK7waKh
xHViVqr2e4g+DtZCg2xhzDpuARuwacmFO+Jt4CeHHEFF3/Iw5vHs/4/3xXX4kS2b6JXOD/SqC8Rx
mw0jbh/4QlbAP0aBqKMRA3CHaNBL43bSyv4cuwNkg5l2ZQ+NODRe+j6GDqmvzLRFJBTk8CYrJ0QY
IIYTskpRNE06+xSqeFNryrpPC5k+2cOXPCrk49C8FfOUY8yzzdSBqW5D420d+8NZUwGiEIZ29IJ6
W44JOcxM4cIWdAaU+OFDVNpbBQT5i2Vkuz5X1lcUPW5KETkfCwnvtoH16iuJC+Y/BPqsV91IEBGz
iO4KF81t07bVq0mjG3TpDbaZXA1B1sXp/Xpvx9656qwtY6YFejX66PfF+Bjj3Hsoej9Bvsmbob7a
pu/NT+VsBW13GSi2ej6ccPA6TF77+3MbnlcyrAxQ4fdwiapH3czszQh8jP2ywSZh2QJMOCGhglCa
xjYT3fwu2Q9llTRXkzftXRD7v9VJepNZaAjgFNj4e0wd/WuYAjaGmnRdauQhfv6C2a8WE8svw66Q
9B/EPtZGr14wc8RDYVBJcp0hHR5TxgX6KyHajDFgKWNpFJeu0orLc3059DvzfRzH1d43ixjmd9iv
pWYVK2tE76WM2s9xiMXSMOq/DzjZPQ1afUYqGoOEyXTv4q5cJ+6onVKt0E6IoLDpXQ4Hkxl/vRzW
nu6yCZ6vej787gIz63qkSAeWcxNYB9VUNxiDYn8n+sZYDSKy11Non9u67Hauku0tGrWOjfK2/zbz
AfxitRWDoKtXA+SkS1DE2rfDxYjLKBDvRRctXBWweI8//7lf74mFpTN3K2GbRAZtfvFXHdFD0ENA
Q5kzf73FhC1Qf/mzKHTtW3XIceVcvdSXa7ql8dXlz1cujYSDCYsYqKf/+YnL0auPGdvcfP5Ha/7Y
7/+VooIspjcmalEzqKRu4go4ZMl6p+30etW3dnzpjYL0mZGm3amu0rWN6Ha8Wc5Eo+KMjfzgt4sG
nCmPErmE57bl7rmwyCR8u+flDECPEN6PcxssHyOXj5mv1iLNBZ5ahLNt8ETSVuAWDuRvOi11Z25c
qrySYkcWD/uaZmKQSpADspszyzdNgP/F/UUmoX1UxpRt8MUU75ejpY391DslQFN14XjbIihUNpF7
qfLeOuizM8tc0+Zc33JUhwg//EO/mF+z7+a5uV8ocqiGK5x5pnu9SR5QJUWwiXBDD5p9gyWOuAN3
Y8AUquODhKUEJJU2YzLgUsHnXevZhLYxaxcEBl2sCVO7LG7QvpSXgE1aPNcaz46N5xO5lQeXmtQ1
e5fipo8Ftt+5/0c6c3PaOf60HIENdu01nha8mj+e6ZbIVMTqB4ev6Wikfp+RSkj1TSBkv3JVr6x1
VdXqVI2OPDkkDE4Qv7moy9+7OEOf4jlqqjmFe0alnSyViPTNUn0pqjma+lJdjkgRu+cqPE4tcvIs
Ou0Cek7pKPxn1XBJcjPjT5oPmxHrph1L0tsBiiVDuOkHJ3s+k+l1vC8M62M1eBGSNeV7G8Oyc4zO
JR6HvoN0+p/1YSy/nXlpi8DUraXtgq4lxKyPRpqvZyaFW3gpFhnIl3eD1+1wce1hD4ljgW8vxNYS
etHPO4l8PYvZbPYs0xEKl0b4etarBR9MO2C9nimPrYMax7hJ2qDakmpz93ndp+D8zdZcDUq7DEXs
r+t8umlM6b5j8w8NaSQ3uFQjiVkqrOlx+3w2K7NZ1YLApYsXSuhO1SavwAZOZXBiRM1ulprWYrZu
uMW7pTbEOSgju/C3osAVeWlbCiAs25H84A1Y1TYgN7CpqtS9S0F+/L9qizNISXrvfnY71Qf3TicZ
0I2T+y71gevL4DPOcD7w6T47k2ww7g0iWqvF5krp/e9J32gPmHI+BVl4cdjtX/Gg2LuTPdwtBSzJ
EYey6YP0cIJ4aQfSiyVqD5fN0aCI//xZkTt+9UYD9VGG7RIElWQtWaj/uDRrTG2qhG5MRxjISA+7
gmwUi5t6tRwiesUhs3x2QQbc2xbIOa8wFswuS9vry1UkgCOWqsguCCKT/vCDgCXxj5+53Ll8RmeV
klw/eNlphpuw6TEP8M4vxoJGWdqWIu1DnESXQycI60tgkWMKi/TycsnSbr7ct9Sf75g/FZG054uz
OXSkpR22WYW5jchW3aRsigxiAy7Dbce7tlSXM0Ss4uuY/LFUysKsb+q5WKpa4lpHCKJ3Jq6+z00v
J7FA9Xbp0MOn/fOGl/vBCBnoIMFrW84uJ5bPXKqjAE5rS6AHy4kc5dwV+h/dKcfXATJDpQ5T0Xfv
x1B9yLvCvYVbLt/62R9LqxRtdQXx37PJ56KQpPe+mFrSD3O1sho42HGGAXpnqVPaC3knBtjuUwXQ
ugPDoK0g5EgUEvNkk8+nl2sK2I9s3YPTkkhVbB4nQNs4qmq9uH2uvkqxTg267qGPcRBk4K2Xufpl
KdR8JHu8gDZ22xIVSxUmEIQdM6DEsB288prpeXWdWNkg4ZPipQJhA4jnfGYpmhzQxmo5HEbDQcRF
fnxuG01ZHTAH9VcJiiL3YpS7yQjEE64BxlNnhxs1Q/CXWuGUEWKHeoun3ey2oJXpBky8f1iqqDfW
e6OpdSQ7OCvaD17ZJ7cWYhykjdmokBVWrLssEDRTa6yIImZ3na7NjQ0k9Pma1Kizu+XEd9e14Y2W
uoRk4cBB+Wz7lTO7WAOLSQ5YVwbbpep2pDvhhtmHpWqY/JSpbVnXpUpkaWPoXX90e/IGyTw9LEW5
jOeo7YdnLXhCb5QZIxT9gwmAcnoXJgx4RNLbY1ga9hl2B2r4YWvLVY9AyYaQ5OcomOpDl8nqtu37
bwUQ6RjTr9tXzRJR7KEUN8OPVw/Fe1Gy7VjuT/oeXlfTnF4cHCPjhBE5vj1Wj3v2Yuq4nPRJ72wq
YqhrouBkRpfTSP7Sy7jFIkh8Xa771jRfM0bafVAxStn4kE220z8XvkMVaQVcqHlvRWgeSvrDMZyQ
3DuayrXPEVNSsEkM9DdEMd1VbT2uamjnD0uhDzXmKlU/HZeq11vlLbalu7ps9HTteUazbUvsJHMb
PP568J1dSbzhaMkOOH78FDaW9zVrm682TKt3ENorMDhVePUiIztHlRp3ws6nx1zBKI2ztekl9e1S
dA27DsMxW6IGpEmXNh4eO5G5eDmxtC1nlxNWDirw5Y48g0Dourj3fRJuDb+zdvAHSJPARlumF6xA
wkjtyQ+e+iz4BNKBVdgY5De6rPIbF7BErWMbb+VmgTTDvH+c26Yyd845JgTmZrl4bmvn65baON+6
3B/EcE5/PjuJV7s+cCJgPl0d1JPLH0Na5sfJaSoyvahskAmdL9xVMqZyJ+vRXuM7cIvNUP9YeOV9
EMekBCyRH+EfBSfN1H9nz98ymiPRVDaDdbFqpR37fJjlwIKbIEyCm4KBHwLxHxBO7EtWt90BULLC
twnPxSnp9a0zpNqNsqdq9/PvtMQGv1tCL9/JMIG+EDkUNuvpH78TXTGsxFTA0vdrC+ElBUHOSNkb
2OalznHNyFE0HcCeXJoan4Z2ZsIthZsMSAPZwREwbrBuU224Y9ge76o6FFcN6GA0K4+M7uWlUK29
ZRxo16Izzrp76c24PUeBP1wQ54ByuRyOejFc+rmY+mofDSEODS5JwdY2rxgs+ZfeTjdpHyUg+doS
Waj2aoPWOCCl257rpJabViDt4FRWzku0ywp0ZYxcllsX5Mcqz8zubNS82l7Tz191WNXz/lHzZLpB
Y0I7BqkZ3OA+svXikjc6MLAgEcBIn4uqDb4Y+hD/Q9cy50D068cgQDqwjVWK/7x6DC1g1kIjALSL
+bmGTZwCX6wqzbst8EA8dl/EBFVIVtoNlCDthoCNd9JadQHPYZ6Ddrh2oBCPE+Hfo7THz1MurMtS
DH8eoUVfrUq9lFsbN5HT5IPw0dro0s9FVI1PWWZGVz0d22soKxSCMmPP40UTIS/v/6HT/c23BfEK
CUASsQbB/WpJbqWBbJGiq3YQug20e+GutDh8sVtU8c4/jxj5upGb/jH6wf2Y7e3ULC9R2cP2oido
k2Yeo6o9BFUwABw89lqe3qBo2+1gZOdHdkpbr8tRf0uddg8hAbBJP7yXUcIgUWIUCHCxWk9d5+5d
E3EgWHMEYzo9JtdNIUynWZtlMmKFpbGznIu2s9ydzOWTG5JdW4rcH4urKsrrOI1IqJrYKZt9M96a
47hLuyp+8AtieL3qsPStUV8GArjJ5xya4/bNxsmmd4bINFyj8oLUq+iOCHGAp3VyjG0KqL1ZCXAr
9qLiH3qa9df4NwAUc/7RwW0ya8/bpe+SBQUiYKRBPJxfenEAkxac9cnuDwFo8zF3EyQLDcCZTkSO
DE53I1V3G5omLBa1w6cofY/nZ7kpsY5mMSk/FSZhERIeq0zv9Ks2AVxGPU/terh9rl2CUfbGra/p
IwaAd3ro4drauEdzNCJkIdp05bR6eyLuhyRkbh5sbcCsp1lJ03bZELF4N5OUn0azUFpzskM3BF/+
912RUU9KJi2DH+V1CEE0cVcURVrtLAcUpV3/llVp+ym2oFJrYoxPia4uGB5Gt4aXGGtnUGqvXBU9
OnXXXqraxXk3O5QwxYD6lsFBpsvO2HEutUt+eUISDKi9virRWX5rT5hZx6nrbwYd791s/NwATDws
geGILoeYzX4MR/MkIf24AKod8sZQrHIXQy8zTu7GvjXIrObBIwD3el/W0baokx6BbwFydM439KP5
0etZCCz4j24GgZRDjA3coF3DAgEeFifaNjBgl7mlJjaaMMZ93oMcSysb7oIc1UPleOphQjIK/Akp
JHHuxrG65mFS/EP8xn4Vv5knH9uwDINd+TzuvQ7Eu7DZAZpo5U4EBVDfIX2QfvV7OtgJ1nwFo3WA
p5TVq+pqGaF+hNpzrqBZHWppWyvwDuEdUl5PaRld2FnsixJ+XsKm8oCQQn8IY6jVuSp/sxs73jCf
obVHNB2W0mPGS9pl1uc0tzGW9fU7dqThZlRJu2cOel+1iTx1iYxYFEKYXvtlsHNx8CNt6gOnUQCP
/ZK5P/1sDfGwWvL/MjbqC7bULopq3WPgB8bFBTQgI0vskXyKz0sBwxFhd2kiByOAK/y8Ly8/16tJ
RAJqNBURGiUZqH58tYEgt2UKl2w3NQ4JViCgWwj0q7bFmUSLycuFpfZ1UOWHvDdQGbMifuFONjuw
Ut0eG/irwA0tjC2G5LwUwCLe+UkEDHvq7jFXj3HtK7VHCxVavGi2NRmQjVdV3m8pibZVPiEcpKHE
ahpDwGxNTw+bwbkt4/ramJ1/rXyDp9oVX8IqOv/8i9vz7PjDFweM7hqwy0CNWlJ/vTDjbcoR0aUf
OZO9M7KxPQ99aR7LNrlCcQ93DdbOaxaEyEiNvXMxodYw5Skd0HqISN/QJKg8FQhrIBA5KGtf6kV6
aHzzrol7fdWPLoSYPhmurHKdA/a04PC9YDcg7XJbZlVxQ9BuFwGXY2cc2ruxLcOjznjagP0rodII
OBTu+IV/ULwfJrGpBrgJ/Dpf6kre62GqrfiyCRaYYbcNtD57TO2VmLkJmUKp00ollAeU7CY0QEUZ
4Bick4QcKhNVwCg6or7WgcXIn6oZ99WmvXVqSraeP/+N1V8QBGRLHbm8ro7N0PMqMiPGqY46zUl2
vkv+G+2ia0G24YpAXrn1+qpYL1VWJjNFmejzdTJxlxT3S7MOI5idzHzDUqBjlqwB7PXb5zZFkrFg
9YgDSpTdZ0KXa0+z252ZdBn8VtoIVOqbniziFrCEd20N2AGoToxyE+VNc3TabLqLXZGtWXfqXyxU
WvMW6ErZWXduYnYb5EODlU1ydqU3OlyjnujqctQO022sHNRX/mwXpiey5+tGp/5DdFZ/OzKFrLI8
TR8DMou7JtVcaPZ+cw3sINlm9tS9y/z2c97UMbKCkQru2EIwf4XVSBgV+zPNjOS7setaVjHAH6rU
k+8m1SEZ24n62gVDfslH+52qdBPoZRatEw25w2xySKDPdrIKKTZ0OgzS7F1+jRXan3ueUrGLsLRl
494Ew4pFrPEPg4rxV+CMBDPqGNLWZ5KS+ToLaBVZoZlOGuIEaQVXXNV2XYPShNmmFWZamtyNzOsf
nPItWvLVJ9dJJ4B/lXcsEmt60kLvrjbN6pNVTwiewQG+inS6KQZArl4UuFszr90HBAKztYGa8Afg
N09j5cO7TkqedILahoqnG78z7I8E0TC/1oX/5DcJW1nNLbAgbjZAN4rHAI1SKw3Lm6UGTzVH1bhJ
Nm6fEzxwGe/bDjUojRDONsb5cV20en6DiK1+oFcj5oKfmREW/hNACPPtXGO7FF+NmtBWqYVPnRF/
VoOjLs+1fmbTxh4/ynxSGzr3rCOStlqqvQJDUabw6bPRvHPJiSJ0pj7ZbdDd+nC4WN2qolqZFeIT
aaE5Jx1U2mWcC5s4xdYNUIkw+1G/JC6QAVxVcehrxU5BobqvzZ5EoLS7j1qonRv69R+t5m2w7lSf
TXLGq0aRb47wcECIWo6XxgOpYXltuP+/lJ1Zd9u4soV/EdfiPLxqlmXJ8mznhStxujmP4Pzr70co
bSXpnHvufQgWUShAsiKRQNWuvR1z+H06UHJTTg/j1vtmihp2isxPqcm3Id5yIvK4SR6cawQmgHwJ
NAK8PNjrRAtu+skbDtzTnW3sDaQviTmsLWHq9/zW4TARbfmcWhBIZe1YvFPW8RGq8fhBImDP1yEP
UZg8NIpoIv5QUL5QOPzl29WDGLX6lsDDt0yE1B0OXjTccNiH93O+Sj6vhkCo/2U3otn/Ot9THwoo
QOUcjNyz93umILfDqXNM1Seo4vfIgFr5YogMZ5slwj+ZlFXA4xsl48Zml8SXBWjEKqUahwjRg3Tp
bUQMq8p9EhUwqGtTzV1UJsQNVTOLqz2cPOjg0Eu4+Mqurkcwt0of2b9692VMMkATDXzwzLsOqKVH
KVpAeQa8QuNBVlHJxozan7tXW6oE+k3ZPnXA2FA8DCL+Byz9a+rr8a4uo2TTxSO7hLI5u7ruP0DC
VJ9sU6gLabfAvyyNTBuJ2wXDqRx5yAXox9qboh6/9x3Ev1qukynmO/URGlD5y0O4bPrWRtJdXmbz
3qkUulin8xl9GChhjAR7qxlp1ZBKX2YEn1bwm9TWTYL6MOyVAeCIvqASajQ5PMA/Z4tN7gpt4Qfj
S6F7+W2nps0DOujKcTAbEnRD8yBNjda767GBrzcuNX3bjaZ3G/TGDmVv/YtPzfQyUSuNsGkidoLw
wh72M+2uixOo1VVuNKTnv4Z5JnYwrr2gbWtzMlRLaOfMkgo2m+dz2kQDapkRRRtRkn1k9ZPbFubX
pqnUld83wa6bdWVjowDfwvaUvKbR8/NqKNarCdW6RiMOslEVEv+Q6A7lwnB0cdDmRo44eTMfNud+
l4Y3fRQWOzmg1ZO/aDPwE7xPb1mGhgJts22UpxAi9Ntq1QFH8zaNwWMXWtYKWFUGJ9BCdbS+XpRz
NdblUgv7fB+3hKqzmBE7AeElh3/ykZdpEvkIbQ7AwwYzqNbSaA2x/l9+lf9+/LiaoUNJqLqGY9ts
bH/d1PKsjHQRqN7asmCD18Kao9jUCXNhD7Cl57oLiBU8jiQTIIGaUUGX5+eeqKWOenhaQa1u9a5/
kE2ijMkWEgo2DDPdvyJF++SlIRWcSn0AvjQr5EmjvBrgiO8mC4Zr9CY4lYH1nZvCym/5hINHCM4Q
IvAt/UUla7eyrW44a6IP/gvmRLPmqMjPu1yKAbg9UaFGrI494++5McUiJFJHEH0PKflrsBLlaxGU
hwSCEvj7KCD0IxDgmV3A3hmNUNdC3SuGvHzNGzvYuoCxNmEXwjSRFNHanIO9ZPtfoyCAMJ3aamvx
afNAwO/DOdYrTfF8ldvpa+SlCnGD7jImzZ9z5Dr9HDiWpk+7M691df2020aPWIwMORti3KUK4hUU
rTfIKTaQp6pZ8eAi0/ngdfqwQhsw4fFHVw5YznDuSB/ecsLMH/hPa07JpMJJR096QSgCpjO3kJP9
XGgKebolWZDtpYufJ08qHANEF5OKaCRNF0Du2sxNm3TBMpsjjXJAcDo/wI8Ssq+fHSGwm0g2FevQ
VMNH00V6AZodbS+P5rASGrdUFbzACEfSexgztK3Jhu+lM5zPyoaqKRhLRGPAJB8p90AM/HurTbwV
zCtUI8y2uNX9e2RQK6qdKoufJF050LdIKCVZfSdnoeiSnArT3DlOxQmiy8qVLGFo4am9LQcKlTWb
HPJnVw42M4g9dQmqzR6BFeMR/9MtOAjeSzdpcif9DqS4uB/IE9eOBo2dvAEPrLHSCojjLHiB+TrO
d+3LkKCC7TIkjTXY92IrjVSfPSH6+SWN2bKdvBZAgdXeB5Ot5Tcd8ML/8pMxfj8XgnMmocxBmCp6
7iEzh8QvsS7LiMDt6N2m5Vi8sfhbDs5nE07KsYVI7iabi/U4N8FG5QR3opmmZZam9kM2OQBm7TBZ
FLYBNrQZIL9LohclJJU8oKEhKM/resLh4Jf1+aYNQw1Sq6Dqbj00YFbKHAjze5/Tn6W9wkfwPRmc
O78xop1rd8O9bILgaz+V5bmcAGXkfFv/y8ENOkF3/jt/unOYbGccgHxEWjRObiQxfv0ciA4NRu9l
8ZYCyEUylYC1J+0b9F3W/aXRem0bmBzi0GhNIKTzNWWVmNAFuF6bxkuzhw+/CMxsdxknivwi+lo/
XJeo2Zv3hefcSRP8+lRDEPHZaWVxFwvNhAJVF3fW3Aji6ndZVt1lgzBvCitoLqZPe5SjTI6uOlTO
v9pGRMjbLtL2kRb6d2g7oMyiIjxtmhWExHP3OjAqCWSAnUJBh+7d6Ulh7YOye1Q7g9zD3HRGoB9E
n6PmLS9NGAaqxTC2Z9hLp620JSpZhvisdH7wPobGuE58RONlt0DlROF5+sJfXd3muiCmzA7y3dNH
uKg5090G5hC9dEW80msRvutDOe7KAWVAOX2ouEPb39UxbB4VvWkeAVuuOl0fzqFBz7WVYc1WVQWD
j4ceZM05tMq1HJSmvNODZQnV0l7anHTgUUDVEDy9TLg0WXjf9JlzlC9gjUq2NTwBbmX28G2zepxW
td+phMQTRFosPaq2crEojI3j2FuU0+LJqXptl7V5di3lywT+A3SZaj1C0tpvAmBJq14E9qM9mPVd
qg2QipKzgPM4+vonXznV0Otvk6s5hJi6OZiQ6S/QZD2oUxt/JzvybHpj9BJYqHdB5Eh83IFckALV
Yik9+Bs7rTc/1GxlJDYR6yxzzxPcYDt4ttG3mbuRAR2/n4/pN1sPVqJ3m798LYa1d0peCntW/qTg
5bacG97ItJYD8BZ8i9UYEowIIsc6iZp9rqXDIlRguKAWrOpWydSl7I3a5MHvouSBE9xr7hf+Qfao
3+7OLfC/INCWfZKtE8+d7tXWyh5J5u+VxjReKREhmZVPzlJ21YRsj63FFWVA4Qk6kOpgIgDvn91O
UW9iQ1Tx3wNvUkMS4zG122JJlNLeyW6TCBjII+rhkTfwy6XIy9MQOMjMkyN+DEkEbUonN1GIo6sn
FSGNjKor+ZOSP0SK9OBcHGC4HwhMhJTB/doPwQZuW4AVi+vvNlEKY10jlAfvowVtYWWd2fnrz3PP
ho7ibOWq8UyF1WVMhz9WjpUgCC5jzWj8P+bJNdV5lf9t3vzq8hU+X0++MyAJ5Z1qt18n68Ft8/Ib
IFqUVevCOkawk4BizYwVMUDzS+P0SxCG2kcQAaXuYtc9N6MSIfKtdRtftY0XK6nP0kMMxXfHqOqn
oVLM7VhZI4XfYfSotzH0pPMahdfdOBR6vZnmZK2Nsn6eop4SaLMD7V3HSKFxI7u3Eo8oBEXSb+bU
vLDxrILFm+8WaO2plvJsD539BmhfXSrhMNzHiuVtFC+bDnIZu3X9yzKVGWrXZcDTsczxukxRz5h2
tfYOWZrB2Du6/8taXk2Fn3xLrlK8zL8h1hIK4YUs5rxhp4ZxTD37MUz4/ctfMhgG0PJ2TdI9tx71
OEKSyeFItSgInSKy6IW3VRQbzzUhkQWJ7B9dOSq7whncGfrS7XNPBPtxMoh9WqOaLqeso+o9zLod
yhHNg2zMaWn0hN1hZOT4ZD1a3J9ubFgL4QdTzMcadPijCg5FrfziAdbk6LGOsnf0V1A5EiOkvlmi
nr061EndJOFKDkCFRghIV16mLsp2hT0kW/Aw3lvr8TicZ5pKxLmqJ/hBWO54wTxoqKo6lTpHhH9g
Jj7tHGVUbp49Ty8JjSBztbBgqV82cOvtwORyJ1disDbgsL/CUPl32eXFg+I1MUUyPaBSviyPiYgX
ntonz8rcxD2UGWhKPtp+TM+qoGXX/Tvp0OawmYgwDo5yEDrSkHpFt76RXUXJ61Wvb5MCsL7Qzzy/
SCsGqv2hpGwtQ0P7mudDSTW90AFiVraJEIBVf4mbAWX2xP6wiJVRJ9QZ96Fe13vfZGNNEX7xDBvh
u/Sww+HByBqqke3uGa13aKraSP8yfF4FlvK3NH1eSK/Q6vUvn6bLxV1iCvtuytzwGbWMhe4EnF5g
xDs2OclAuHfLV4qNjW0xyRrttnxtWmdWMQy8fWKu68kyTjNd2dqrXHIeXTUDTCCYzZOO2pRcr/YJ
OkX2SS0DMrCAUDLgaE19zLT4R1PGBTt1rTlc7anBBy49rjZhT7e2Wnb7DpVk8F+f86M+U7Zlov7N
bcUnYUdDkEVb92pbrxSr+WFDklfZ5U4LycTsIgc8nvJHNQ33V5O8KpNvfVZqdyTovYtnbvsvVVoF
FLc7rx3JAVSW9DfXQhPIbHl4lGnhnyMOD8tcReFiAHihLGqQjesmplRbDkvHVHeok6i6cqEjcIjY
iquIY+QnO+Av3mUZSmHY9qWNSQjzpHpde84lLJWePvfSX3p6DPPokjHPStqzqsXinlyvuO/Gkzux
yUwUHUoeO3G9u8ro8nOSo/7V9vABxXqSn2UjLM8++JZ3q07qskZVyhSO9hTEtniwBhiD517ptBo3
4GwHd6d+lr0gjIlF1BXPxHkwdwp7lXppupVd3YEYRKVCYYU+3jtSEf2qsrJkCw3H8FTqyt+2Utbf
i4SYtt6Jd4LA6G9lk3Lricy6TRQiT1mQJ+86AlfStfbyv1ols57cDnJl+PHtvRtVzdlT5pKuPMi/
59vUhX3H1AwI572kv3GEvg3B21CYP3cr3dgOORiGqKghRp6vwmEkuPXpDAGosG60jHo0hWeNdKG4
a2NWI5JFhOZO5dz4iNqsC7WEBnSOVEqbvMqr1oUeDq2DX+2ya5nhy5Cow75DI5p40OxyXUlKdEjb
ZYCs43WlsQ3MTRVa+gZM0NesGPy/RjQzCQlZHxMfHXf/LH4EjuKAvwndmxJBS+Jx1IB2QzW9fE5q
4A6lxt1CBYk6QTnJhV5u0wKKWnNH+m7Uqv4SF8XCCOrxLUrj4kYlYb/ixDu+wWtOWXQqrNs/uOmz
W/arWz+EBlFC4Iuz3UGL4SZrg1cLZntuvaZ4mQyquMjM9B9V7K8LUNSgICpUL9D1/D74FEnEyRC8
ctOOVm1pWBza3HjrqNZ0oPo0PQw5DGXWFDUuEQu3PUN9e47mFJJaohUXNPY35AqsReem8eOgK+OG
YpDuYKpZe6uXFcHB2qifVCiGFmESiu9hgR6RXom/7UC8qmGhv/ZF2q66LArv4thUNnaOnqtFRDpH
bfKLa31AYuyS79aK3Rj7AyWOxfglLr9Lsx96v5lhXAoW0zA1DyhlibVi92IHgX3+VqfqCcalmnC8
nd0HQ/Rc6lb25omYY6LeBRvZpaigpPJfGU5d1lUI9oQrObsL5NNHi1YCXaA3L4N51evi4tAlRv4g
IsLFUJVCURGjZleY/XZyhPoInVl23yB0Z5GBfo2ABO6jsjVWsZM/a1RPEm8Fk5DlRDZNsh8mlF1a
fBcVKaSxpv6X7Im6a5G/6tLuaBAUlrZrA/AeQYHQorqGDLG0O7NJ2omnEt5WNpW6cMaquYnaaHwr
w+8BN+oXQwzjbZU2sPPM5jYIs5VeTA0ggX58S8aP/+g1+c6PtaLxw9BC5SXXQ2KztQh2Ohm++8Bx
wy0ksDzE0pYXKIOUYujQajaXPkQA2SKooG2RoiSVnzv30VhvQLNpJ2/WKemMVrvrmxZ1KMYQ31uV
zjTdKs5UbjWO2ofG7ppD3hvFlgfoeG7CFoAiv9IXX0PuNKwK78PuI0o0fb7unCDXMNA6HxnZ7UUn
dpRPZM91PCiz3HoB40ug7jtHlLuJ/drZntp4ZWV9+pZq6guoa/PvuLyzOHLDmj4rduTUFee61uyV
Qv3X1fg5+h/9lM58o2JNPEZV+9raU/XQZbF+DNFgWg4oe7znMeVrTZaap2oqk3tjdP9KSBa/j/pI
gjhVx4PfxsHziBCN9Ldd014bwrX55ZjFe0NCG9b5L6UDeifIOXKCAnMf26I/Ub2wHqwxeRmnSLkx
o6heiWly3gu1+YjTqL6HUsTikYgWm6GH7nvf9jncPm56TH3IwNgL31ezP0+8bM1bnfaNDqGcXn2Y
oWK+k90qIvc0pA3/HUhZrFrDcKiRnG1z4xuReQj8ipojenLQtsSPK1GSO4yEle6k7VLEkkZTg2yy
aC4rX+fJyTr6vToByTKlmtUsR3G4Ntxzmv/c1YjqHqa5kTOKOLX2U5+vMy/6cPtePfIPumILHkQq
lJLDOHfRfrSXjl67OzkaQEy8jqYRHMM8alHdtKlrM1/Lrm7G7s5VXDQm7Tx95pOPqXxIDHZH88rz
a0DN83HpVX0LZD05SNfRoqY/mDOvs2eah9lzAuYl0Etr4wconUmtIM4S2lLhdr6T3UoU4bG1ihfZ
02c1oRQG9UXXeupB2rxQoK0N1frSl1QYliE2NYlpdHtw1qs23IAKStfUr+oLy0vUu0i1H0w/8t6y
3rOXCPSoZyfL3W2stBGUS61+FGNTQuZXlM9OgpJqnhTTd4Mzo/zVgNH9aTqbselMPcCP6YrHVx7y
mXJtaRGYxpqflxKF1i04KCq5AKS+6Ijs7IMoUZbW3AXGaW6CRAs2ctSoLVTprWDaydHOVNBsSjXC
obNzKZq3Ig/RgB3y4WWgHKQ0BUwJleE9sSld9ConQBiyKsTIivwEkQx8S3MBh1bBUZj5Cvhk9oKv
ceVUS6C21UGOTmG5C2CPfSRaXT/ohASkOYo07SZMOGnKSUGQ59DXKVQGz0sWVMnBEdWhkzukD0kc
kmlWEACRp03ZTNNrm1fDg+wMWY7EYurCtT0fQINy/OEfWWFWL4vsFc7t4cFKwsc+1CsF1IkT7j0v
gKs9h5INMj3LPPXAP29zGCB+sik8hqDf05ul9Db5QE/63MiBGmzlrTCspbRrXaUeBOCwvgrzp6Gx
Tm3buKfaaPKnoMyiVe6P3lYOVuoU79OBaKEcHZPM2nf2rKXb9vEh0m1nkyrF49Ra8UGalFmlU15J
27Xre25TXKZJ45+mwGGm7gDn8NWun/So194RpSupNi+SDSQn2nugdYcutsuncMhVCMimZpmHkfbe
BvB8VaM6niqkhe/TQnmV0zVvSJdlYgvOUCS7ijLol2UTp4dk0o1XNbHXfamnT2RrjfOYTM/yYe6M
kb5DD52Y8uwlJ7nCTg5y9N+TpFcGTUA0l03C3/YD1tTOcMZrV15J0JO80sMg2dmIz0gIlIUQDhX5
/8e5vy11AVHNc6/Lo2yarMtMVAuvA+Vn5Z2Kfsx86Q7uBLSasr4pK/W9zdMQGUxpvAz9NAHNwniZ
V12zkkbZTL05FcfLglQJ9Nu8cB/KUkGkfYTJfG1RwbwQERWSs96tespCdzq5HsrLeToQ9sp+mKRd
mMW4s4Pi42q/TA1bfvO9w33MaDIYIsu27E9QQ8mOnOqgUgZPIHWmpH94sfpzZTIDX1stAQE5my7r
GTrct2OgP0QJWjd1w/cl8ZTkRB5iUhdz0ewIZ/+lJwdkUzfVHh4kA+4pfK92B1KyU9aZ30F9xDtT
rnF1sflwl8jMu0RUP19CXorW71amSTXV1fsymzMNaHqjQc5SriZfAXnL9CRy+6G30XVrSTWuJTpA
4gQS4SEt4FDUP2MIDKcKjqYZ3F8xBMBmy7Wc1ISpli5RvrsjAJ39NqGZp8s17N4s10Coxfq6yOer
2DGbmZjb6ljsY001N3HpNccq9d8i6i12l16Rtwg/RCYcnfNo5PD1KRJWFfOItMkmg0tsgAQvg/RW
1bOlkQ8/D0vvap4Cu4C7jWJk8uSq0iZXkC5R6FaHMEWC+frC8lKOCnNEq6eHbrSBUNM0nPYQzu/K
V3xEF3yiIyDiaaxx/Lsc+XpIgW/DdM1uJUeBQ7sI07rVRfpb2mwngyJFesKIMKMnKVO9GOX4j8Uj
yoQmjr7SsQ+SFwj0wPODwn+MCv8WArzm5Ltp+djkpLg1ZebuzDMgy135NE3g8S+DgwPNh68GG5h0
isfGyvu5OnwlB+Vifl+0S/AZ0DrMq7lJGMAmkbzIQTnJVyCkUOq3hrz7Tma1vNwh2AcB0fso7G7/
W0arE9bFLn2v0fdP/5/WaP7xvbrJq0/7NRAv7ZnrXNaWvcv70CHuarO7qMriWzZh9b2MwiDMcf8H
0+S6EemcTtxLVyjm7qVJ9mTkhuPrnybKteTKnxOzDmalP6wll/n0ui4vXS2ruiz/61rg7KPbX01y
olzr8w/qJuMLSkzsKecY06dZesre51/wh/X+06fxh7X+8Ef9pw+oG1QoQO3wq90VW6txzDulgdvE
n7W67cAM1nIDqXSWd5/kf8kxabEKxVzaYY+izrzD7JIaUb1xfJK9iTzVY52PMcSyYXvZoVaE/dZZ
E4aIIIulT3TvWBJMR/xEbYZupefUbyV8G+WI5O65DDQNpYJsW3mYSfe00f6ZCaf8tCFtVC2kMZ9H
3AGw6aR11FDZ6jHV7Btkb7x7J4xoKFvaIXauz1I4P2xDyp6+LFHrkS5ygNINAzZzymAu0+a50FAc
Sq8cj9IUukQLK1Rj9EZ37+UkveEkQXHgt6tpoM5xA0WKvZQ2ObMVGUXbCQIzV9tkPvgBGGE3yO9k
OsqcxifZk6mqz54cUwTcmrOnTB3NvSrX87tfPS8pri59aABeZ7Aqpt34JXKNaFUpk3vQKId5nLCn
nfezPYkTCten5AjwNT6JTM3hGKPuLECQ9SQbNQmTy1XQFM0ahrVy+fvA7FzWEbtvy/z604TZLrvA
gik7CJGM/9O6s80TKNB3/KTkG7m4BWl3UEhpFiQsMvD7nnozCfDD3KNHew1v2j+X0hrHGRJ70itq
lMmGgZkJF6t0CIza15fgBXb8hUiFz0tF0uYELkEVEZurDnzXQTYiTb3DCMi9hSXxH2OeKcRbYKD0
u0bt91HOjRtUW8R2Kpi8ApS12oM0nK2XMbnK5TL1oU0Jm37XcFo41SXVTD1MgpVRx84qq6d224ZO
hZKacOxt4mTf4Rnrd5fhoQF2pITqsSt0AEFDUMz8zIG3vgw3VeIfp/pQwgCiLy7rV565No3B4QcJ
k1Wh99HGRzeHWgvIV6QNErgfV4qpj2JRqMlbEiOQWtdauNPVgrBOkGUmsbA+vIOZECw9VE5XU1g6
4V1VD09tPlp76TVk6KwhNEZxldnPlY4B1NV2s0aloVmq1MSdAsFz0DKC9tKYae6iOg3h928D0tnV
lGNiR+mNDhZLW0ibpxcm9L97uYa0XFcTlk25p2u+9A4VDkmoPitCpSpzboJCQfCpdMZveqT4259s
8rIe4TJIhmQpe97nNNlVChfcnCiUZSvYQDvEpEt/ChAgZguWmF5A0QDdayPd9BiWiF/tTpNZa+6y
7dJu3JqU4VaTxCMZEhdrle3aGmhx+CgHe0SF5SCfwLhwAvE1FePykr/QobK6m7uXVIfsWsr0cxc2
1J+7v831GdXQJkGlPkxuyO1NjySL9WWVtfFONcLpUdcz7eDwjF7IUWnrU3FIUIa5kyZgUeZabWzI
iH3mh6HR3nV9tb/6Zz0A1DZWC7DnLNmbXgOoniNS071bBPC1hU3A55RVTnGyfS9dAVYlfBwMdK8D
85UcTQOKE+yJfNlKDndBnK1iaZx9fp/364IJ+ahlqA9Tu0oixdhoZuqh4zQ21KYMbbK+9AMLia2p
3EWalSGjMLuAUf/hIpM/Vu4GawN686UGlTmRMUV8hL3rbhBeFrfxaNSXJkBBbwHycqRSsg+J1VnV
Qrcr83XKcwdRRNTTgaQbrz7l0wtTBOPRjZCtdN0YjXKXaFCsBybp29Q6oe6dzUyo0bdgpgYpSlLf
k5vsokAR2143kyfP//g/oKr/5NIaQ7+BhfKrasPDD0rJEhx+ft8h6hNSLKVxwUjJrZxsSD7/ZCer
kK0maL9u8sI7xrZbfkUJAxVvXUueNUhDVoBQbL471bDVxxqNoVTkB4J947YRunGnZT5q4T6p1a4L
YLKtjewr2ehTGOtPKpS2922tUbuaN9ZGRuZt3yQt0nb+UXOG/tU5X07rkN4cexucmzylyzkNP7tN
NB/tr3OKUulf3RMRsWmhdaV/itNsurUiuFcBzXXQWXfiUSXiP3cujVE9KlEg5mwC41WgL0cd2UCV
sPhNHVA3lXjlfeCimAsktCFFXuzkG40JdcOqGlpL+ZZm1euV6Mx0L7sWWEc5KRrT5rE0yp00w2D9
Y5LGmfu2jRPgp6luHUJjeA0b5KvHqAgfKhQiNxWqQytpk02UajE0IEayu9qgML0xvME9ylmxC5AQ
GMD6upAPJHunB6EOXw2Ly0Z3Q21VlzxorrYmVf+eOo8UYVBCD9cF2brKoGMlbgchJYWzwa3sE3hH
gyImgTaitgfLzezkmBkEvVcno4wosYXNev2TkxoGBT+O2V96hhmP4oLNhbfKhi/CKNtDb3Z9uPai
5CC7yMpwvjHbZ2rSqJLJqvwsGz/X8nNmZGuCOf1Rmqbaam6Cob8vraiyjnZeWJsQnJtrJO4qEdou
sqDmysJa31BiOH5x3Gfo2tP3Mk+THUHKH+Y8fm6dlrtfDbmYoxIZzbQHKMBavnWqv7fnbtcq7gk8
9056NN1dU1My16Ch6izboeO9/9YglbKzkg4FvmDbdhvHEcZfdv8C6BPITT/ld35e51/sPMiWRHVv
VWXI14P2lzoY9VE2CnvYy1XoBdHKQmEc8Y+0OfQpSDi4bX6+4dYe8XI0kjZx3cVwOvjL0YEvF0kQ
NqopZWOUMGzzXOmXFWDjtRwsTYNiATXSWhjTp720KYE9F81F1M+51HfdOq23Yh9kfmnd2lgizc07
1evggWzM9yJQzC+Dxx4SbhJ0pbIcwEAEZ7qcEKuthzxUCrK5NUFrBY2KwJN3TPsSAPBndxQBKfxU
xJfRWI7KrlUqx0v30zkiNXkf9HFw0AKk1dTIg9KrD9ZUmWpPrW+GhzHOpwWYV+3JFU5x9lRnLweD
FlMg2kU5NPaDNGVJ9L0y8uQoe24DyQ9TDnmqRiuHOynJMTtQN2GbFrdOJ/J0JS+phJ7U1DhcRuEm
QnEpUnkwJDyyhzq2qapKchA21Ve5P9cB+y272V53sN+kVGSkudHzOfgAmXPZhg2hodgvo6Ucyh3N
6tm+Trcp8hJLfnvtvgki6q39TCztLvO+kfJfaFprf/cEzIgQkhWkrCqSm5++Ock4qjIMV/pSmGA+
lypBylw0t/mcQwfItCeA0n0heQBUyx+7s1omVDLnrr+zY9++EyYJ6rTPu3vfFiQ5QWUtJL7KsPXu
qOcILzV+ZzzLrhxtMl2/dH0YwBeDMKpj1IGUqPSk3iiRDe9o22v3E+FARKSi/KPwxY2F3ubrnzyy
0ELsZOpy8g/Ex9P+lQ9g5vugIxsZD7f0LICci0qU3wZkAH3QXuQkNkmhcVlHD8MfE6yIfGdjxwrq
K3N6uObpa1kUEVL09Njl0wZyeOPVpKSO0nwYBeO5qwzUgSLk4pD2/nmSYWTeo2jUnyYNkBYqaX1X
zjB3awa2ezbIocTLulUokfBVUP+7r6SiW8k5/QyeJ0hqrKVNEsJL23UdKKICas1xQSwoBf0lzFMp
VP8mrPLhzoNf315UQQuUreiPSontMqCUxikdbi+T/N7t73oDYfQhnXZRWNvRehyEthde+N5QORyt
DU0ZtnUCb4R0vsyz4ZBbGy0yI3JlUGq8mkumbUUdXbjO4nG4k+6yCVrtZcgQvknVDPYDPg75R6pq
5DAJvJrsyj/S6DJnoZlOdrFJZ+knbfIjkM7ICP3wu3yesm/M866f1XWenCLXyr9BqaBQth/dmigV
34atZt8G40ig9tqXV3phF4vIHauN7A5BhqqnvIyWQ0YxCNu6bg/G41E1KnJHJjU5J3tuUiVUVhna
ZMtRjkijbASgG/guPWNb50l/qtuuO11mG857iZrJEiE5SMlUPXqr27NA4QmAZK0ep4bPX5onktBr
UVbuxYso/nObpAppwEl5UIP0IL26uMzRK1PHRV275SrsUqSDbds422FmnjvhadAIcPSeTeZskvba
y7a9SNujtMumhDh46Q1DsyUrTHl71E4bhKUQ3hI1Ospo4N57MLncX23JkIn7bG6kTQiKoaSLbJI0
6ZZu4kNt7QaVfZqVAp+qqEFfQRMqql2DfjDCwVp7cdG/jKn5UhWG/b1MKWtEju/9P7qWvf2iQCb7
nbMpMdzmh2tgUAx8XTULnO5ldi3mVet/r1o2vYe0ZLG0QD2cdYgVVk7d5euqLNibzrZijJodgnQj
yZh/bNCtiOOIiqExe0g32UTVQPm4Up4q23fORhYGh6FIHobJcDZxgnZnCtvEMbMK7SiqahqhPOPS
G3tvaah5s6pb/x9jBsn0UbqPMehHYgHDVnpL20+z25lBJPa0gxjJrAHEntdNZyKITtM3ZHW0g01I
6Qd21LFuCwfi9SHoblSXyiZKBfMHqn990hqat5RdOaDp6rRojbLcSxt7nPwh1Q4cD8W9M3dglEE7
D+a0hRyTXmngaSu9TREPn13kQKYqDxoy5rfSwyuQPEFlbnN9deRax602JP3l1eUk36T2sAiacXd9
dYTqFr1WxzeqFz6FvT4dZVOb4GUWFeDeapgpu+YBnQ+B/wpnphBFfOvSHYdAvUyJhWLvvCl8RP9U
PQobIUlKkJHbMOCphW57Cv+HsfNqjhtnvv4nYhVzuJ2omVFyln3D2rV3mXPmp39/bHpNrdbPW/8b
FNBoYGR5RALdp8+Zx0dp7M4bH6OCPAHKmYTD/mW3q+CoRokD/TSxSAnn5bHZ3yg3NnYS+Yv8rr/5
Ge9uI4jT+1EJ7Xt9eQ5RxGm9Gvp57x2cCFlLcfmd32arSTfo80JftWwnTb/0XCos4du1HyGCG3YW
QSpIgOzwQzhExX1bjd/WOMUSrJgXj4CDwlVsvzygfwg/eIHXXqIwQ5aBCrNnMzeynRdm87eqBQas
a3r6mLaNclf1SutShE5kfAdCE71Pw3EfHO8vGTQjRBbSc207fUI97QQ5a3G/maQ3F/HffRUad2/s
7lB1e8U33kFOAXabKhzykiXPy2E4lSCBnnSgYXdTgYia7dXVvoaC5pRaifVsB4P17EHxfjIzr9p3
RACUnUvB271feffiIg1AwhgixuGspwHFOAYKFXrJHVYIxqOFM86IIyoveuPSpXplHDSqDh9VnMUm
biFISQrnKhedbAJufVvbl8hvPr6NuEXVt1nlWx4jrfIesAZyK82sf0Zj1t8PKA6/8xYNobgw8weK
5mF585vgrKo1NT8zF/TMtH5MPE+XI0d7vzVZGnT3IP08/YS8vOsb6k0mOZ+qp0iHCgi1rGu/NIHf
8N8oXXuafxqzLNVBujPkh2Z6gjLn5KTZZ2cwOFUS/r81NWQkwBdz+2fXq7+S9UVlc2EaRLo0OEfV
AEkhvy+tb5LPbhfYZzcyvLNBBPmTq6VPTh30f3ol19SsScbnCoHXm+9SmejAWPBncJT5wEP1y5lb
61aQcCDbhLILKIWB4msLRbT2a95P/c0biHXzZsTU283Pyc3NR8v8EIZJsxeXbQIih3JWu2uqRPHN
9WGLAVUY37ah2OxlQnrSZP4MGAIIMeHRyGgPhYzfOA1z/c7P6vxGKCV476fRX+qE9o6M5uW2TyWF
lvfzO7EMfa/eoth7kanVKeaiF09NetjWREYe7oc6IKi17CpNrDUXcubRo4xU27Mffa04bRtRI+Pc
waD6JXOac0sm86leGulZy4GOfJa5TrijD4vCnLyAfdMJ1NX2U2SGzhN0ve2FYiUouv61fIIc9eDk
E9Kxi++63DWM5xA1vuvP3RyouaMYDIgRwOJfRXAPH4qGClJ/IURVpvknP6riZtqrIQmljyOiGVEO
+6cbmPMhV3+YsardZySTHmZinPOhcAvtYPEiOwokx2ss/zGfp59FYwtKx/XdL3Popw8JV/Azz72l
zgMehaQrOCQ2xZ8ykiZ10FvZSXfye9Bheoikpqs8bC7Si/Uwg0x/RuhLg8m+mpsXU2mtD+nk7qba
Nd7Zy6gPU2cPiQwwsGVYt4oFnf7wkPdjs4cFrDplHCFi8OvQ6PPm8y61ZTFuMgUgs90/RmbrvBuD
yHmqeL6uzh6XsJubJN8TmUwi5x2XkBQm2OpD70efEwd6z52adKALkJsT3blpGYnGnKjS5XwLqKfI
M9IuaJXxVQ4O6zLxyUL1t8sWVTon97n5Wvql8nWPi24LbN6vdURblq5uKqD0c+vutU2mxd3ReBx7
uacfxFsaPwAIv47huyQe0xUcG5bNpHEolQE5Qf4CBt1r5HTJg0u5yZ0zAYFbRoaSJOAU6AVLM5HB
4P2FaMAhpN4TUhGMm2NPePXVMIY5DyqL2AGU+S8/WZFDkcebjqdf5fjWTSkW2tYZZQhKlCgsMk9K
aI73iJaP97oW8o37NczDXMkBvdrxDnhkvzp6y7T4oCSWdcCF/1lj+aZ1TCfEYFsVcaSdbEnpe+VX
xRP1wd5Tq6sfbUh/rjY10E/STE2M4omeXEAk8h8utt7MIAvueC+8Mjae/jEkKnSFie/3a8HeHhQI
YJLoMW7U8jBTm/HJCXModmCA9a1a+URN7UPfWfNzWeacW6bIB66V7aRA0h4yG2a9tHkH/VF9qcah
OHdOrH2sS/2HeFCJeCONlr2EmdcfUSU1bnYWNkQabMe8q32vufstHdLKjNQv5Ek1OcV854Acf0Wm
JDOv6JNspyHcHnq8P/7tOMfQRlVeDB0KeZxz3Fp/KgvLkTTuwnC0DaXXNx3VCuiHvLFvvp5fzWfU
TP4UU0SMnVy4MCf92k7XByCfqGuJPfeHx2bsENloSu25pSb40BR+cpQhJWjac4ZKNEWY1R+bSXr1
OKFEzuk4hIMXWv5i5vcNeOVcZr76LC7w/PAI4Ha3l6FMqBmvBFcxDrK5MWXnDDEJwH25coni+Nla
5Oupih8fKzcHebc0PNiSA7oR2kGt2lLfybQ4GlN5zUcYWkMn+DaFCcQOQs7vuNWd6k1EquBinhZq
/kq4mLPM76lMWqB7Y2iN910ZvjRklR4s0LEf/TIMDsY8ZHdVPPcfo3Gyz0Xm5AeZzZH3fNBT/w+Z
rHg83mtK9IcG09WTrtjxk7k0A5cyHv92CR3ZPxPSG+spv4sn/rZl6M1wOEsvHBX7fuZ9KpsgoAJ8
X7bq5vCMZmp4D7rAeujilzKfgpsLH9TNXhrp/c72O5cx7agsjOfD/3/p2MEHk+v6UVRE218Co9tQ
eqveqEzLmPi1cpUm+9XbJjK17lGm0GDIW2a3vWJ1gm/RRTgsHA0LzW7VLS5hX4BmQ5FsP6pzxpnN
ipW7bq6yGyIH2U168zIDi8LJdMBwe5rdHDQVUojKgT/7kOep/kil2RKQy+rEuUfjFQLnMn8/adNH
hQTi18TRjOOQLHWrA0OC8bsu9SoK7frgBodWckDp3Hufz9a5hWfsVi9NnOVTeZGxNajQlnX6cIoG
Pbo4MhQnLbR9tKQW/7VbN/lnw06mi6ZV5PrS0icPPyQOcAOVq4hQtVRNBpu/5d/GhbhFTJufDK3O
SveK3Ze3MnMvTWl1nwEs9ndKtBQYNWb/VQfz7nIQ+WMABXps1VpZqISM9/zev3uo6v6RtQXvinBM
n8k17dS8CZ9nx6fQXtXzfA+Vz3wIgvh+zZq2S4ZU0p1xwfF/hC1QRmIPuKLtqFkq9o3haHvDRqwq
SPzpQ6E28416XZTgVO8ljsbkCUiHdZvQQNkhLt9+JrgQkb4NMnKwDBNonE41VSBg4FNzb7mTcUql
CktVKaLMs/Yum0L/UWzSyzLtS2B6sOmHgIqd5dVjLU1leu6T5Y+f02zIr5tdMRZSXd89iwPs1MOl
16EeMWvFexf4gApjVCQJFAbDzm0GyM2Xoto2ChNENpWvFJQ/QeVnOoe5jOx7DV58sgz+fOKFER5E
qqssjHqnhhQwWXOrf5p8sBky3Gb73m3vZSizMlRbqm26wk7iv6mhqKiayP07S9HnQ5hT1Om62QDd
Th5DZU7JZxEZf46RWz9peZd86e/GYS6+2JqpHFWOybxav88O+CFhngCcSj2SOZ82aoqWZMBVH8CV
D1MAu0XpTSXkMCjpOl5rrQwYaTBAeBnEiDAIA0ZY1xbHzmFGNhWWDCvl+ReE5vMYeyHluFSLB1YZ
fQKvBUH3YguCYETJ7Z9Z6Ymt8BUqIBxKHxO98Pk168N+Gufx5PYlPMfEBbtLHc4R5DcKY/dHbyLB
HppzfU/mU7+0nXbyfbNvd2LLqF1qYY3z6tVHjJql6Zcexzf2oXZgiIWjpKp2PaoCZ2OhESib+R28
v1C++pmK5LkTPgAeSo4BckF7JUijB7tRyJqrhhZd2yQiwJjX/SnP1PTDnBf2TiU/8aenREcf0sG/
Pcd4aEcvBmdgmrxC+ITKpeic3GR7F5NEfIj1It33bZgf0B2CWr9MSus8kdkxOShfpzQCQWYv7z6X
b8SVynYUWNzpcXCz/G6KjGQedtTwDNyyTOUpblvlaXTClyiPEXBeRmIP88S+xtxc4bgvIIz3rPg9
YIYEJltEjLQRDM2MtlWyj9yPBtxXz3XePwaqpd2FFRIEiVVzeZbuqyYsvuQe9+bNNM2cPIGLOUtp
ww0VlfmpCXm2uLEynC016uJj6E7vGrggrvEyKy7crQjwqSGYhA6cc+s6F5RcHwmBTirJsVCldGP+
CKcZybT2xMNSeWcGiv8O+XQgIbr2TUZiz6rIhKnZ8feIsfqrm9WP/V6t8v4sfn3V+E89tc08zN0P
pgXlURxm2smc/PIlnrpTQYb9z1BBidKOzPlR8bz6gephZS/X+6R3dwnfxq/NIntooBZ+7dKsu1F7
8hIoSHhn5mj8UcTqpZHUaTpDHA+j7I82SslO+VXwWYtN7TAB63lKOqu7m/vShBwpgmd9ND41pgn9
n/ASIbwcX1uQHrs1V+BNRMLejvtlXjEXlqIkIQ4m64Ev28dy9rOL5J0jLX10uZXcci3hxWJ3vn6u
a9JLnRPBaeiOwXVNNyFh9cGmEvnSVp3tHGyo3M5GZSM/XA1A97QhO0AWBDMQBzKijG0BYFM3XszY
uAxKFv/oDYJcbZAlH2slmM4BgMxLFs/BobS4XDiLbqhJgJmTOCLNVxlLLyef+tMoY2nQ+IiP4Hme
KgrOp8J06xU4ZZZqcVC0OD7kYwCv3+Q+qVyEIZXtW1ARYzJfh6WRnjSegaKGHYf9bqXyqjSClh1y
0cKwNVC7tdJytQ0P8txZ+C4hLhiFpeCXbXOTVWJf9gAq4AIV7E6byJUqcusylmYdh3bjHpWk/S5C
txW8EPlOX7jyVuFbjiNXnV/gTyO/evvqVz2/u6lx96BdEGdySu1gTuHw1NfNgG47PcRaufkbnXIU
W1Cp6ITm6jTBUR8N581RvL2w+J43SX55YyfS9FCZvXkOvPm5sMtvjZa3XI4D45NT5t+KMYnQXu78
U115iGvHwXiGlFd/IjtmHZQwMj6CJwAFAS/eeeg19RR0MWrN5Be+SS+nkHztbbZysxkNVJiWAu1X
V2rvvGR8REOr+eL55Pp7JzDBnDOEjAVSsSSGhjGzmi+AKBZO4ax/lKHhA4pK3M9em5VPBPB+yJra
sHmG1a59ECdoXGMUrnncybDRug8ZgPtQL5XHFpm/53hSM2ASzYuMpMmb3AcJaJh3gdJ719w1vWu6
NB45RV4s/ZkiBRL4hLlOXlwuwBNN+2guIuiukSZ7mc1D1XrMA/WdjNYFj6nb9B9DLyuObg6SzVQ1
67kDknPKqHae/PAJkNGDosbeuQbZ/1QujT5H4R1MeMVutLvE2hH0LJ8MNR4vTa++iGKrmKrc8y6p
Znyzq7Q4TGYEIW5WVcD71OEx1bT7hgT+BzH1/gT9sOuGV69NI+Ak99SNJPrRVavmKg3yGPaZuzQ0
KXl8devyy1Cr/QmUULOKW8AsgLjFlH3KS82DZhm9C2l4cXXHAPUMnhv/2MoaCrgy0S+yaF5WymTJ
8iHz/7OcdEl9IBbJNTmOp30bQzcnjasC5NpVIRKBGf/h0DcwA+qtQVugC5haHcTsEN3sdfCTUk/Q
WSh3+zBecAn9h3PrzUQfUCvtInkxZE2kUDrFDWNuoqq/l8uH3DNmo3J5Etn9bmqJq5VZsousfHqu
nJqiv1wn4G1TOLyDHTB8sMr8rp2cCEEav/9Sz5yI1lRiMVM0bKWK8cXm8BKapfUppwz8adKVv8Ss
zgQCgUsYx9kcp6OWh/FBXWL4OWxfdxSLfkWtBnhN+EsfRibQfP8qbmIXjRjpySRs7l9l9EoUZlku
k9Cg7IOpveuMYrhSGj1c2yD42dO68fXQ6wci9HH03q1nx0NnBGgRgrcvYT1Vl9Tvp+ey/0gOq0c7
eznR2RHwsLmaef1OLm8zu/nYlDn09QQe60tcBaQiC2M4dYByeDOZ8ZUy1Qv4g+A2wEC8a6GMey46
/8Wl0PIFpOR0piiFP7zWi9AA0dsdCjMhpYlJ+7kC0kHeNHpxC2+6jWHYAlxmlQdPwaF3AdJOUfjR
QFD8MOljf5vHgpzX0lOXZrNtw7TOvXK3jVnvmrm+m/VPZZO3T4lSlrzuq+x7M8Z73ZzGbwSz4mNh
uYBt1ISDHX/yaYeuoI/EPTQOQf8xaUHWdRlMmutsgxBeZns7mRSTNkSPSWpljz4gpp6IY1xXZ4rc
8/odWqXtTjcgGXUHUqTSOOAK9yoq5PArVn/HIFW/A1z72Kjt8KkogN2MCPadHd2or/5Cu1XGP2bX
Tj7Hjhfw2psXnExlfDHmbjhnRu4dWy2Ojh4Edod+doLnujg0tTc92Y2XkDKzJ+2UKG2+76YsfHa6
HKPax1+qUSkI47FAGi01lStCJO+W/8j8mMe8y+o6v3p78HRK+B761uI8ZO0fASCjm1ab58ZdvtaS
wpLm18Qs3/7S/yfLFXPAus2skNTWnKr1Xe9aP9a3fdmU3/mc5DJoYNQo7Pj3sMqvbWU2kL7mVDU7
Sm09WEsjvcQNLfLaiFJCP2Pt02FO550YN8feze7qEJSl2F+5eFDGn8FO/lBj3YKUnK1eufQaWh61
jcDoNhOYZFDGmUdsm87djuAzpNdjeTcWUGrKyOgntzisEwaCZpykirsGRNeFB358P6nntq6Kh2wG
T51pAJp9qoTHnRhhnqIL09N4P0b360gmInP6AkkG0C3ouzjmJ91fRXJz7Kr+ETo1QafYGd87gzac
fT+yLpPpFk8+D68DVOfhN8NpLrImjat3SVnx9wZNd+onf1Xd1L/3eNy9Twz3R04s5SYmi+jqo2u7
FxlNiNe8921ogBqE347V2MTvdPtPcLjqO73u/aNGfvYgQ5tT5U4xkC+OFsrP6IEDuvUuWfrjkCs3
rTXPyugfM6OOvgzx7FytZuCvvuy7vRdo1pWcMWJO5hjCaadwUoXNdCU31Wryr4n75EMpcfWKPr+W
bX2yYPy/+BnCNKrmlxcN8sF90Y8zUcEIOSCooCfvrrGjz5Pp1MdsSWqCn23vZ991DrUL1wnIGh8F
zOUSJc283JC24WYLmqepTMJ1Tlu8/qfrm+WVR06zDJd4SnjzFOfR8RSXJzgBsOQ4LXrE8RwW99LL
C4McvozBlxX33K3nm5NfZdJvPVCD2+S6FiWLi2YpfwxU0PdB8l1DERlw/5Q8BZUb3eoQ9uE2s/Mv
gC2f5BYAzd6Lw1ftUwTJ7CkMYv8CEUELQSpihlo69V+mgKc7THPVgz8p/ZfcCnZdP9ifeqj6nrp+
+ipehtl4d7EDC50MLS7VB5dynosM+wTwkKOV7yanpYpx8lYv0q31yW5DNOchLIuJOl7s1owf8yqI
jspcWJ84lIH5LMf8r7H6yDvP+tuNp08V+qQvdQTvmVJm6bpaHVXjQvgmfuSY+XN1rUcpz+mgWFZn
KZQekb0z5/JLkmfxR4qVw4uVxdaptnghZTOsotQu/1l2FP87VW89anBOPiRQ6wOoY6LhL1LNg+Lb
bKkmLJ1lfXXc2rsbx4TqqFTXD9Vk9k9p1yvnhfWaAEBS3ttJoZ48ACLvMs839pal+1+cpP4OCqv6
KwT2vrLzjCq5rc6IrkYwLbQqBWdku56GWz86w03hBkUieL7IyAK7BVN5UMbVbvNZx+scquHjTaYa
TYN6JoQgQIark+zil/AjNANKSX5vhTAm0fDXFD7a45PiRvmDDDZzCDThMZxhl2gyVz+/mRDn0ej1
w+ihPuouuzlWlalko6LwUidx35JgaCNjz9vkIY1d63NQxM19FFCxMxGH/JwaVXVnGz0E1cusB6XX
sYxn7yyzUVu7u4DnxE1mG8dFyMzVnxsP9ccoLJK7xOFLU1ZwrDd6iBDFqbUg5QEaFDpHr6WaNE/y
/j4o6wcPgqtg3xml/uR7QEGq6F2naRHBDpqkhS4PdsvH1Su3yncEB51blDcUb88KtJhKY8QXcZa1
XIIQ/GhN87TtYpDEOg69bh9spIECHkVhfkajptyTAWwfyLWCP1pCTPOQuscYNbmjD5HBByce2+cp
6I+k7+HtmywyYOng6hdxVrjqXQ0VFr0S+sJ7v6SAGr6MH61ThZet3kJOyovdtPndi307PP+yZ0NX
37zYvTNRyrlJMzchaZzfDAMz1rn0uNlu9bNaYyF0Zt28dV8t3IyxW+pH0HbZTjZXC9hbKlRwkC9G
fVqyD1yr7H08xtleUgvSzHIv39IPvx+Lq2Qr1mSGjNUMzu+UAHsRBaR9XUu0y40Hq2u8+jyNTrvT
BsAqGrncBz/RKPeSLjLmxkOyG4NcB1lcpzebix5l4D8J9YLPOvii//DnoSYxUrBjIfYFBdtpI9Db
VoqNgv35VIz84cpErdYjqhCFdik47T51kfNJ0Ft10vB6sMx1JHO/RjK3eArsC9bU1VOqP3951lFm
H0FYeEepyUUo7m5qovFJ6m+NdKhOnhF6B5m0syx7DymWzK0Nf1x7Q4cuVUp1bb/vH3w7+iCTsiZx
kEbLPTO/oXL/jYfrhy4xFID9zc+Gox1B8uZBzLni2yrxaE3dxX7bLArdyoNeGFANyTxsw8OpTZMr
R6dVhfxVQEZUyF+NXwVoZErG+ZKN6kWg/NW8dCn38H9qK1gtFGOEoir4KhGcIC8VW1xnIs2GXKbP
bmjiEU2RrhdlJKjUaYHmkv52WruFbYWMe8JrUF9kC34RCAmV0DY0Fy6ijYFI0QBTpUnowLhNCYU4
g2bzwQz600HKug00Gp8N83su3IMyUsvvW5W25HeC4sfKTYh8oHhLyfa/1r+xsMda/yc7klboNBca
DLV3T5HTOkAbDAewAr0uidyHfrKveZBm180+VBYqsYPeoTevJuNuc9420JZdlrXETzIQFP9snHud
uzNVopyZk/mPyI2Ue7JZFHkvw7wdAWMuvcyb1LvaTv6i0g0FErGlqGWAFQ6vuR9EQ4LSUhg8Bp2p
vk/R69txiUfvo0q09/UyEarVfb2MxMM1J/2Q5j5EWMsCaUhp7MqOXHY/pu6+TvtxDYLYjf4pCQzn
WpQhutBVpvdHtTKqg6uqXH3B6sCV6NUXkhSEeAt9PPV+BTBLuGnWLr+beOWzEVKbtyw2v2O6EXob
m2KmfdFRqNbug5J6LHghWx4shbFwJP4zmt3ZHg5OQBFBSMZxfa6kjXnkamld5RHyOzpPL57afQsg
8yAPnTfPILHNpJju/ML5KCNcy7vOBl4wHZxQT3aveEBl9Tw9GyCW7sX7d5vCdIscwdR767OykQei
OCYLmShVAVcYjh6KWqUmz0keN4D9YioW0xpDX4ahMiSPagahpB/FLeXxSXs/tc2PNb+n5fNdp+nW
k6T3TN4lB1gJuYvn4JxJo3hP84JHyiZwarn2SSyb2TY7b9HEDmFHwlWarJ3+mFXFPQvqPln+71W0
gI4yFOC+9KRZ4flpUBH91+rDKxuir59qxdQ4DwblI8xhHAQWtQIZhkV6WoP+v4ZrjsChHPYcqCNk
jC3/a5OpxO+lsRBih10EdZd0EeAUm02hjunVyaOMQsOMHqk9vlBI4XNqG2P+Vigo5wgsxJu89tWb
YVCSJV+qX0Mn7fxDDxnUvlG08EkaYwqipyQgJFw4unV6M5GnYXYKDfJebyYG2E8IYZDF+LWTQvXS
zhsRCpRwlQS07Ka9knCfrzLKJA4gcSyXiZgEzKUYvqeLCrk0RFbqtSfDQO2+FwpwmDd2GWamWj2Y
PmelYQC5/bv19VTE+ykhogNsKNgvx5Dvjo8Y1JhOXzM0qo6aDucTxdfps+bk/2cP10eoqrCG5zJw
EQs1waegGdaf+qYdrr6u7sq8pdYrHlNS7DUco+bCmyCNVVvGrW6tg0p1w2oSO2SxPeuoLK81pbxf
h9syu7Re/M6gwOXfy7SFdwGi+ATAp6UetwWbX2EG5XEgm7GXWZloNPfZBTh52Shbi8EmS53F15XZ
dRki5xFd1yeRULYGC78r19Z1AqEJyszEJrO+Z0L7W+49lHdAMVZoEYf6Q2232kOdtca0myvYxeDA
3SORg22Z0OFenXYy1notPGejDiiuJ3h8kHnZwlRVY1+7MRWFy0JpxiKNpoXu5iWci5rXCJvJxLrj
Oi73GgeYo1GN3gXVi+C97fof3XJIvxYmwqz6OBYgqKL061TkB41kC3HIKL7nWUiOFqGAU6aW6bkq
gmZftKNyQw7K/jJDgL6QZ8KMq0BXbHzuzPzd6ABM1aMYbYG0mi9uXkU7sUnjh2r7bEJN20IpsNo1
2//uDSQJxUGb2oNruRYFKISRXIklFSGFWpyXYP//xyY9Av/EkgTQKmNrcfRd66fjG6Trm8XiLLvq
BAsvSI2cJVyXbwG6Kftj6MeYYmnC1jIpITwZ/jO3Rvs2j1T7Y6yAtov7ZpaFzMl+29x/9xvUnFyC
kZ810/0ZGJXoqAwT1YmCg3T91jn5yNdcRqCo1WkLo/5u3TZrqe7rZdaYcHuR6bY2KHGTrm9G49El
/7Era5foPqWp9f20NPAf1PdRWWKUsZkQVwCHWZzER6Y3Rxmuja0glBgap5GYKUFtGj0oorUHtfh/
bP9XvzAIbjBl2GfZLmjdH7NjuScQLdlD13Bw2ElXGhMgYaFliDfaXvaw2aUntrn2OX9nwZ2Y3q4X
lzayoe8nfUlCjs/Y1kpvkI/kOLVLY1O9Wdw5SIUh3+lO86EyUq4KQAOhMKEHcMUrdtKVhqwCHCuQ
BxfL7Gb/rbNs4y3pHZnedv2fNj0wwp0agYXbnGWtrCgMLbta/XcOoaqyh/JmviE/ueMm2l91gYB1
CwQsRc2ovEhXfHTe8gerAoFTD4grUIKbqigt4dkjKLijgLY4LkXZV2fwjWula6+b4t9DmX1j25bJ
LuLyxpZ2iLRacQY70fIZqk8l+e53n7ltrbh1cYS7YNg5CwuGpRh3QQbjetW6+SMoj4VKYcGLVbO+
Try2LT5dY901zehCArq4LSbZSXrLpBaOMOkgttYnhICG3iMwndhttDDRJrcq1puf3TQYZ6iwyyXX
aITUkDaodLcq9OKqMkHfHxaKBmwnd7huj+N0to30T1immTFqTsrW0vz0bEKFoqKwPq5rZN4xc5id
F8Y8+fmUaLYp62ltaGb++4PLLOyINsSg/IukMaeFc8QEWAGen5l1vP2Ltx3fzqRKnO1i8MAnGKvb
W9040NEOSbf24lLRy52M167Mz3ZslrxH//FHL/ZHa8XpSWbFvrrIuB4Qo9iv3WV36hXa2+jGl2ka
oyvq88EhcP3qMC7RjH70KCJUJMZRazoC5STyZKare0gNlwiIDGFrnC5uylF8sRcR1SQwZx4rbbBu
W2P5Fmj1PvkCGCY4v7H/zyEQd+smS8XFY30IgG1dv9kVz4E/QqdKdpgTaLEjs+c74Fj1ua574LR6
iGIede/eIeI3eHhl1Eg93KUmJOPig3hU/GQsjU5u8SEYK66fi9reYrIVV70FSX5en+duZZEvIuO0
3x7b0HE16zNfbOvbQLoepZSHKVbi/ZuXw1xwmdOKvjpMajneG3wAfACVvfPICl/hhRo5VMwjOR9m
Lc6L+UHGoArcXdEl8TFepsX2alrcRzUoz2k8fpPZvAG9UsImKtxM+ULaJD1wnehRQs0DQ9OMbO0e
VkQ+RHOKhFMTpT47cZNGGJ2oJcv3rqmHh1TRQIJSEYJkh6YEN+nNuh7cyG8t5KXLzKtu4eYxMF9Z
JQuUwGx2jUq5duxQ7GAuhRML3czaE9ucRf51pPT8jT1cFmyrytHIKCJL4Y3/94S4bGsnciPkBfry
uH3YYJXxHUXI3wTz06hLGs4eXgQfRKHLgAbXYlOL+UU8ZsEM/fL7nzbZQDQEiem+2lMWTCnsHpMW
o3EFHRrHvvljq04DpIXq31IljUKKf+qTYT6pYRm9+DA47EqN6DKBhxzwQHho8iR+UYLAvIZdYxML
iJVPffHFSxclAi4PSxtyPPKXhjqEv9QmNY4yWn0c8orWXgxbY8tCGZPo/7l6mxbbuvnmoyS+u37M
ZovhYzgrFPOLyapbzT+uH4tYrprv1r5MpkrX303IhSulgwBZ4HXazVhCxNKTBrWfbyjwzCexD3bx
j9+rJf/p/lq0+stS69/7bh/zykc+sfWsb6SqgNEuP86rvX+7ZF09dkFAieIH3QF8pSjjx7zWg4eQ
HN3ezfTyK7w5JNBtzbo3x9z+SJH1ndhzX6Fe3R3dA4I9YIG+DciaUDUMsNrhwr4wq5Rf/dh9rlyI
caFzaB7VCpVxsdtNh1Z4OQw3q/mQOkZyUPJYvUrjIhJ8jbJxyHZvxzK1eW7TCSQfP9dsPuse21jc
HSMaf268Ld+2DLbPfeVeJYG7D6lg2Af66KDWErvUexr5IbAbC9ZybNKUk+1cB7fqUJhdjDKWXr3M
SC/U0LR6u0ZmpDHbDpqObfy/txQflFlAE6mES7Z126du27z6VPlR3vis07Pt9RcSb2gLd/o1tXX9
ilRjY+yl26q6naEWWDjZ6iBe+eIl89tQepWq6Ig0spE06zrx9rXxYHaNcSfLxNRAuMFV+NcSMTqN
VYOyQ9cQOdCdt4A0BZkpPUFiSq+wKu26DVfvUoCb2xpf9ljn3vpu+8lW23Bb7szGuerrANw1+NDN
LdBtsviO2e8n4DTFbiBaSipuaKKbHyslRN+9Ft3spRGjFo1VsYP1FpZ9MehEk0+52X97tXJbA07H
+Om47v9q55IqxRvQFAOIy/jSBqS2Gqd65s+5eKCmGKhFzWtyt41z/kiJG0bKabO98pEdUOtZdxAX
TyAa0pVm9gHL8lTxUUDhA9Km+wud8Orstk36QFaPQqGlCFCGvTbP7YGkY/pg1Lztx+wiA22xTI7L
8Vb8KPfOqEU0FBiQSwRJl2kVWBVsm7q7awu1eBgjQtWDNVr77QeX3vrTy8+yhC/c1LjffthXP7yf
A6WMo9bavzJOTVV1hzw7T8Ok3+uI/DT5OFTliTpa/0D2c7pldYfQtnSlARA93YrNKGOZ2ZWxMd42
pzdrZLguhBN7Wh3FaBhBWe1eLX9lfbPJuj7QOkIyav+iQ914NpaanmQGoyGNuYAGLWiA1olSxDhr
CIxeGcWxXWxvJjabuGz7h6n2/yj7si5JbaXbX8RagJCAV3IeqrInl939wuruYzOJeebX362gupTO
U/Y934uWYpCgKjNBCkXsvesWVBVUrlcgWQKNaJbXBrXIUYfjdsgI9S8oWjL7IKzzcvWZ8wGpG9od
QJXTthNWtrFpnfbuag31fBGe5jMKbtQ6j5Zxff83iE4tohiOnxC8F85xLEBx0eAI5zojywffBYHR
1I3GDkvDoQLMadHI1QcxzAw0o7+8qbcOcQDv3QbKu5Xpq/fjjEleV+CUR8kl+XhZXqPiT00JoOkJ
RXjdb77oURhWWEiJTRoACUeDu4BetPLj56Xvl40tUWEaM6CpguC4XK7DHHG+R6SlQ6DWQXFFJBhQ
/cA4d837GF5m0+Gochxe1knI0hW8PxdsUiiRmJiuQYYq/+oAbQeAYWqWRLH0zbI+pWICwIFqBp9l
yIxD5nYLkoUuIOVd12p7C9oQlTOWiei8GlOW5evoDDsxAAMOIFsmJZuesdyzLuRGxtfxapi+qAPe
tGMXZRcatI4n74fphw4Y0WA32CNREKfp+VLZZ1Dg4mXy9waHCfa54dGroc69X97/PoSsyIBy8Nah
MWufpiPbvXbKnItwB+vA1IO8lB0e7K16xpNMPd1onUtvALKsY7SJq4lmv/KQA5QHWv/eNKT7H1zu
LvfeNJ4EyurYZ3+R8c75/e57UzyONOltRtpmlGHgj73El+nXP+af/1F3lxwbVMoWXuUGhQTiCiqf
e3CJg5YLyIWAkxBvDepQoNQyec4DwiYBdWk4mRMb8P7rdCSTmXr6Enqeu3kfrkg+D7qHS1l95e55
A4QHdZ/6Fv7xkuSy3iANubu6vtz69z9cqsVJPTAGzNaJkoAZTn0ESbG4CBVvWMxpOAk+AjwCkm5Y
YqE8imRy7t5GmEMCy9/Hrd7mgjD8frWvGvJy2bDOHtlF2QTYJCAHJLSS3fpVjiysfqhLTakWJ7Vq
bPqOkLzQEknbkWcX72w5NuvAWc9Rdkkb78mzsUouwFaufnhqPuqtM5F8N/+ABBgBFqwNq13kEqY4
naKmFtZr7991Vh0DeJN82BT+T0P+16kf/B7E/9NdPox9EPVUJjj8NklimluRRnsEulHubA4Ax8o5
3hYApy4B01YEyAAGgrafojaeuuSTAZvquIz+lyUD6FUwzBJH2mowNYKDTLhtAfukdeusOIsewFRl
e1uay4hcGwRGdIW2+AshqWJbJCB7UKtHalq1vlszgbEMa5CHY/9Jul4Z6hRrni3nP7Bs5peUJSjI
RUxTF/oKFdttliHEKRIwIpSRPEwK8LbAMLkKGMiNDNQjZGUa9fcp1zLiN8PYF8uBjflP4KMgoKsa
KzPbfduKPwD7Dx4co0BglwxVMQ7JnooMVi0zYrmOIXtYX8IaJEd9zeLPiLcap8kYZgUtDPSomLuH
DKgWBwAm5dceAatrZNSISco8QLIdvsukIyuq6l5dSLeaR9fPduEo7IB8/NkA7aqejMZokQYuS/Wj
zaS3J31mIgjVMyR5j6mLDEXmy/6Z47isr5bqYgJ0/dlDJtkz6aN2HK4G0Lof9GQ0uQdCtgT0U3pA
4w7cUlCt9rZFwcl2dVSTupyfzSgGIvDfz4z0cdHDORKJngOUW+R8AZi3TC7aVx83PUzH8+IGLsLu
EA9VfQFVc30x+l+9SURAiwIZ0hdR5+GerOSnXe50HZbBHmiE2WQ5qGdtjb1tD+Eqml3Eb2QQZZsD
SbyY9yRqA6ud0yjt6KpVppsuVw+UjjgWDbLS8s4UAKMeNRSo8lW0inra8OAXOd4CgE/lSD4PQ/Q0
elYsUGIcAMYVigyonJx5RrUnPuYR0FlPlbAAYDSCGN4OAUiBtLtbX9sSEYdi3Bu975yzGgk6dony
q4C61ICjA3mpbw05IhvpVafHlQ2IZZpmijekKwycigXarOdCbfUvC82D/IPyXCWnBq+ACzWhSksQ
nnwVSWczu9mX4/yXNTPeAEYNLmTQfu/p3ob9u+96RYS98YJV1wV1Xb/128TbE6x7lFfdtSqinyQR
+juqUm4CeH5AqATue47dI3biZrwCxWcoQviAavd1NPlHFrJHTYNPZxpQ12lyqtMO2CSZWD7LBbx2
rqwOoLDLPoaop70loY14OCqUvgKvlm3aqMVtgU/nN68BNMBYWF+zzJv3gwOUKnLDziAoy6n53Wm7
HnlWW4sPoNt+q9ehg+YymRG4JOUYs19nyXfHysgXjrZmbtYbcrqz/FcX+5xT2IroxEG0cqWGvfVs
q026AAnT4HCNkHahDNZodxK4VG9dN+9AOFB55qYDlkkXRA22mnd26saohziD1H0T2zzuAtLV0YLV
KbmbNV5+pFxQoR7YvVUBeADzrD5mL5cTH5saee5gJnzyax+ZKImN76rCuyoGkeyR5SNWgCvSrYBX
GZfhFWUDpKLmAfQKVSIp+HZR/nqHkPV/mdTDAbK57az4++DnSN9yxvG3opPlpQ79GOSEqktNI/Cr
vpOzoS8vODPrNuA8Rlb6myMZSKxCQDRJ1Cus9SJCjj7qBFXVCBKOUpS/1d8NXnP/VClQvK6eGOq7
lhBsoVWarI6FsszcdlGOjcKuK42mxkPlaY3s/MNCeHvkSPOkwJrcW6ArDVYqkoXITFSzMpwsskXw
j3hNKhfVY0AbL1AOBDtxlaxmklfuE3J/HUqzvDGkkD8gNX7RpvyLv3CB8yc5sHmsZjpT4/DBR3lJ
i1xrJGZmOf5VyiZa89VBu5IOBAnw1D6rrEgmrRHIXut0yM97He1zmzm71ekf53y4hBbXGwKA4QSc
wd4EU8p4KmjLrLbH1KNmpM20lrM3c6u20A3thLWZelLNQz2gEmFzPcvvgNhi6/w0jIx6qodRJGqX
dAG1glH2YBr1OwTXVCKBaVfIJlAJCdRzkwRRLeFY/kGY/dODSzaL4TV9geX2aGzWiTo1fOlnJ2hT
IKOlLOb4UVtDDwwNZbr3pauMX71JHVXTbZALTaFvY55zAVgcNZiUcwoI0cRJkNxNk5Py4eYYz+1d
UwP5oOFFzHZVkgIU3gGXxi1vRXcO/TQZ/0NalAkht5xxVEk6Qk5bUIh3dnQjG/Ky+rPlDP5pNtp4
yJFGBdSbc1jV7ClBCsRTVwEqp0Jh9ErgYiA7EtBbaABaBuxZ234ispaE6F1Wnz5mMWhV8dgaIw4O
6iQ9Ax854AghVwFz7fYCjob2YqmeFh/N5JNYcgKjE0uQRmviZO/xOZOmw+9Z5ILgWj1m9BPm7smU
0/PI5lEVaLvPqt+AW58fgJUeXYGkHV2p9yAmEu/ctOuXnUxC0CtoH+qFI84Yt3qMjwRXZ56B+oFJ
1xE91jwYp0ePWMpdqvnYdaN5xkmfCZCGzji0vnMgifTDm1HrqPeeiDgtgN20+T2fBx3Nr+9Aj/13
3XpbVg9OB2YiwRRpKGCapGguBXIpzIt0IyCCmM+koYZixWlxQaXssqp1ABiTeCCFeR7KBvkCVnOm
XYIrE5RCgmY7MGiHofcienPxsNfocBIYyAKLyruNzN3ORW9sGi9mF8/ck4YaO5PAKwOem5tgI/YQ
DI/TvDkVdYZq3X8IvNMAitDj6aKQVwEfRH+45OVv4QTwNvp7nXrEYXkdN6tO/3/I+uZLev0/fdNr
FdhEm4PdgyAKYPrmxZag692s3dqM6hN1x05eY8DZHCe3mVBTpDwnt+bGBhj7SNWow1/asFJdQGWI
DZvLcZ0pFgCgnVQCFo0ER3FSnxCZVAz3S3jEbj/9BL5iA9jIsj9OKseadD3rdlnZyBtJWcuTJ2mE
zySBert6igfUzvuz+4TqafeJeo7B5jPomTGr7z6B7fhV78kBxRKWLMGgbG7cjz4zcbSjKIjzHtmt
ozF3V0uJeOJ+cmxXfrDBhvRicTOQjei/WPYUfo5iE5wKcJKdBMeNMf1GQ+ToRlcrWxg2VDAivwd4
q+PUbMnqhMvR61HvXwLZcQis1nOvQFJwryLFjjRJUc4AgdRciO7egyw9ssCALBMOOz2UDHoc9Wxu
lMc8459IEmpS7fbga2UuSH1s7/gwpZNY58wBSVdNS0a3MJ6WBEgwvEZlVgxw1EKpqBktkN4zJAfs
yRdQpqgXoi6ghnE81bVAXpn2jKXdzUtcwEX4cf0RLLZx2MebzgBvNjfr71m0WKCW+JiDPYwfvNjr
9rkEwiEqC+ZnaiSQlMCEliHm3dutdTDmfr6MpXUG7jp/EWVzisyw/ASsGfwYelCxJ+LFkzG/9Yv1
Qj4G0gAvxhyDMH2w+Mvk+dWhc2ykTqkZwH+KxN7OCI8mN29TtGSnQh2IUAO8qgx4YtbVxHv0SKqR
zmceXJDD/zqCDDFfrpXr9uB8e9PbyQBMZ4EAJDeHBnWMZcGfPIGfWAMAikE67XYFAKDq/s7ujiK0
xyuBALQKCUDWhXecUbsEXEaFCUDK3APIueOhMl4jA7BicZ9Ki4FnqjQPSAcEYXlSIqcb9Q/ZhZpK
9ULZ1DYoXEDBKnIj2nQTEqHqn7PLgfCKMyDPW2wsKH37gqqpPtpSN1Uy9cjcurEHCkdyKrGVzKRl
BHdKctJjeD2AGO9RLpzoS8uK8qDnfbhW36T+qc7ZZu6yct476Tjv5szHIkROqILGcxHnQetB6GhY
Jwayrxy5RDjLxz4R3aUv2flRXk2kvRtw1yUTDeXW3OyAgRAHd/PdjW8BCP96QSZ3HFQBSBoPl7um
Va/nybWHHMnlsLzK7/n80v27iwOWnnX+f/fzQ46clPWagB/Y+jY4ct67BZqwtIA8y2T4mbWu3Msk
Z0eBeNfOSzjfmNgIIzHPe64S/gopHKsynUEWFoqZgIXVDfFRSieHFyr2qEyPeiCXRg0QdbOMoZQt
PXAFOJ943cca5SFPJFn1kJzwRkLemDK+ebDS+XNyxmWLKu74opE4qUc6G9k8gPB5Mw91/zmtHOwb
h26+eGU2o7bP4Zs+PEYtIlcoTur6gLpWlzx5zsCPgGSOkjNYaTrUdhfltlGsVXPS9meb+QFJunEU
OdY/imTAdxAQmXJAhmGiaqKAQwGQwwlMrS1DFf3oXkSRT0/20EVnVDxfBqwcb2aVRzdZT/bBGU1s
At501DN4UoD0+vqgLmwv3lkS4EhUU7lWWpbdKDb5hIrdVaZyTDCdIYNQVfWS5xS1+9jHGh3A1P0p
5MgJx5n0k43ERODZqu4q47JP/NudOlNUzIlqyEFiYe/mNj9pFXmQkXR2ZVQgrCwtZJ79mpYMXd3F
10ZGLyL9jngXKsO8yL+xxQq3Roidt9/PLnBsR3OTjbLbubLrGerqfffZrFDlNVX+lSTyS4YkPQJE
y98Cls4/dNOwnGtH4gLH3OhwWNAutYk3H9ZO0uLezlI8D1JRapBhtLpww50QjC1xbF3SqrYu1BMo
LcFT1kl2WkeGRJb4lDJqSZG706GrnLPjTAL8Uy37AGzZyBcfogXcCIFXypcw9qIL6cCoIJBohgpW
BLC2rjCt3UCgKq5AgMIOhYWyqRF0aALnRcAFdDl+RKhxxC9xBvTCU+MdcNgMju5lmX8Hl9s/HhTd
nRGRz52cTWC73jyMBGZntpUli8ByB1gLpCAXV8POyj3KlDNkbvzSkaEBFkSHhHz4UMOTprwyK0Km
zSSP4xiGdcBCgEDP1LVU16kY0NcngBqqVKu2XbBFp65uMpWihQgq8rSUD4lsBlhA7yNByBtGJxi9
WOKZEKUbrBnZppQRPu63hgG6CufkbzL1mF8uZ2ADYJHY2r/MFRh3korxY2yx9myYaDLktAOYwujb
84w/70y9VUl28iRl7CWoel27D8PJKaGZtD9Nh185pteXi+K9WSJIHzbZeKbDMerRx0K9+O1cUBv+
UUcupTfEr+eCD0O0+K6jvvy75qj1/E3t1B6Se33raLjIUInA47mhj8lx6tLdUbemzDv9gd550YdJ
loZS6N6VcfiHbwWZckrXU18DRHNqttGyiJFcgnXTafUmw+rzMLDI9m2YupdR5C3YPsC7ELHoiBzl
if3+JhpZlHSfDMv5ZocNinW4mSLo6CEjzGU+4gtoBhPVEqscFXG4KufEBjTtlCGEE7Z4DWr3AvgW
zSobTQonGrT620Pq7L2x/l404aabe9Bdo8J9CJgCwF+7dQfyBAFMIgk8wxNJBg6rrrOXWQPYt9El
ZTpU2cb1x3A7hUa9B0yj7HGGOYbGhoo6qZyTegU+vj2fwIWnDboUVFs1wBnoWarj4LoV8IdBnzpN
fb2LTW/6kFt+iDg+SgKL0AbamJh/J+TgsQ05CukUnLAFUB8LJSzXpqx+6fBkRm1rj3oQAhtmsfPT
65pqj4ze8TwpeLRBNdQj3YOoXQwbc6MiBuNshaOmZ9C6qJXXoVleQITcX4E2AzpJxTjSjlPyI8m7
L/PgTF8E0P32/ZC6GyC2l8C7Mb6OeNdeAMyIhIC0RPZjqhhCSNYN+cxvjg5odgGtkk6bui7jjwcT
r5eP1HXNJf6IioMTKt9xQKysvlIlTfsfvPnzrikPWMQz/1MnPFC/IY7WlsxGslPauHug2We7OkbU
Gq8aQG2u++00jLZxm6OcmLbXtDPHIgmE6q/7c7VVX23+BQX4zVmvAOjlr5cBTmsemC3r44N+xXXQ
fg+rB4J1eBhCuj45FB0DHJ3LCnvDyno+A3ekwioyWmbASBQ1otFKS7JQytVOSt3kCdBpVs/VTq4u
jXdnZzpmDd+SjiaaUZkCClI1Hck00d09kMXkjbOZTdAXI3jftQuyDdTppVDJ0V3Tvva0LnTyfutZ
homjYeznAf0FHyB5Gs6GxtxpSV5N5GU5KQaEORadWF4YO+ZZ34Tnpwe79porcg82toHCYBx8Iwen
jk4F0g5IalzXAGJDbRQBdTuj2BtWNF080NhkSBi4YtfjAb0fSyNqUmYpdrfJ3JIYFsnAgrRx/EuS
Ia1erZbWhROOqpCjWs7uJkPuTS6Q4ooTk/oDNdLzk/1UAB5c64oS2bnFhDRi076R2q5+H2K/v04t
AETEEnm7BPweSIsd2ydEQdsnMlCPdDjJmJBD7uFXBY8HN7ubpgnEDsNhNOQzGBTFIVJgsYlqWCiB
4tXmn7DwazDF+/rCkDNOtpUvEO3xA8I3nSRqaCI1B+nBWzds8rZ3tq0RRldg0FsLCmx9nD3w+RPp
kAhmtE/UDUsBzvOsOLc9GI+cHHFmakhsCkClYBH2Yz0pKFzk8qlziVp0yAnv1ow+paAjhjsZlNH2
eZVXXxpGs4zFjPco8BqX7WCEP6Uj/sj7zHoBgnt1qU0n2cQVM18Gc/IOi1unu8zrvznAsb4WPRD/
Jus3NqJonIQK4G44rw9/I6kFkNanLK2WvduNCDMrd9JFk2EAKiZtj5FZfhHIegH1/AzSyczKgxAE
gScSiU0R6Fx5UCTWq45AIsBN9arTmBFzyT+VmTsA2cBC8kseNZdeYYkOCh9OEJSolslMlvd0ftnX
1TpFZowW6u7tYeMTUKkes075zzJZKnA9u3Z0cuwRLAStkQGt2Ix2Q52221WuXTcBwTUToAxWds9A
VduY3WzuIeqahrcYRSAoJYgzdk6py1UBKcnUrGKjEJjuZOVO4t1wy7DFESWoW+0HIltU5TThp9Bw
zJ3V4yxpPav/e3bAezqHjvOL1DB3bd7WAWUAPDqKctkuDWBAfO6AfRIn7wVWm+BD2VDXVxh9KJ8B
QwnJiceKs2d4bNnduc7e6Gx9oMVsutQCd0tmjtu6KpwXgTDUbsb2bd8AGOtDhLDfR1BcRIH0kRTN
mjb9SE0+LkZQh8I5aJ1Rx9WWgWZqV8yxu0V+qQ9iDx7eeGLUKHGPd53IjBupqAFGVLcDRADw1sbI
A7+Dcp4d60PpAbKPnLlfDEdH+G4wDbUZALxmuFYq2tdK42rlov9oVW75siD6qkKC3TICbzc2PwqS
3EKe/SL8LY/EzmF8vnalWjDddaMobJD/3IdB43nhGYyEy9ViNXRY5S1XXzXkTmIzGl8ntwfg9pv+
bsZ1rrQHBA9vXaRE09wP86z+LvAndumYIOSnb2v1JwVddzEMfDQSpX3aR9/L3YXtZ2CT4Uyc/jh9
a1Jk+SEDzibijeNTM7vztjcnGwUjGeBuSKktYPmxN5ziGCMWvmNnsz2QJrsPiEZ0p1ZYcQCMdMtH
DhyUYhzPRc66a+KX3QdsvrsPbY43EnLKyy3pqGF5sjxXsbsOqiwsNINpBBh8hOzvg/brZhMkxtEY
BwkAUz9og77Om97Ni79dRxmMAjlNDYAxUHA9IqpfhH8WYDT+nBrWfBRxNh0WFg+/zZ3zBRg8+c+8
d991SIHbzD2gWprFRk6D+E+U4LgeqJXRF+HMySFeIgAf16N1c0PQvrUTM4NYAhKCJyqW7SE61Tdx
t0/y9gdJWk8iNXFYoeaCugiul9tKhABKUrhe4eyO2ybOjY1hNgjSa5wvH/T2Z8/hKIyHn9ZTj3SL
Pd9su5xPTlmUG6wx0j0Fkim4jOocpOhwkC4tQJ0lVRkn9dlOxQupdHAa1cjFxvIYjsJUrJqsURma
t3bcrOHqyQXigYrD/R2yk8R6ab6qUm4cz/5C9iQYTi1S72Go1qnxjQRQmFZNiRseYgNHs4pDObcX
rnh2tyvoz5SH/Hkc+0dxBf0JwflLzvTqc9Klu1gJ+0SnEY0i9a0yLKAeTyiSlH0eJRtPiYNyoPUA
o5MSB7QGFjUz8EEEEGDWCGBRxNlOTl6JNAD8xjIgQm2LQc7gVUCOj62akAFLBUt4wB4rUSf/kEhp
QLxND4Oo0ysyAM1bzAFc2NaAWSVxdhfrRr1iAIUNR2jTjSrr5qumqFofOUjN3PqbJE4ARozs1wo5
CKhLZuWlbZEOiVLpL2ZhRV+MYsqeY6v+hMduvKrGpjxlJZjpEOBqNslQih2I5sfrJMC9SOyKcSZB
oSWRi6m4GklPTYYsBLCfYT0LlPQzy8c+YIkzXqahfPn3A2M6WJ5VIVtddfHGLMt2e4ezonkEZxeE
oF6eL1sCaSF0FWoyIA8fsDr9IyrrAgURCFMveYwj5r+LdzoD8MSRUbAt6ajJxjHb+94IUHS1cB5T
qVbPzbjjqPFFUQmWy2TASZx/883NIGIA+fttBhgpMFHppkuanR8LoF2+6bkBYquaKXLoCRTWD4am
VdxVPdI5yODKuDsUhjsGfjPWNwdw0DvhIlUqtLMaQPaJW9/SSlr7ZCiM1YccPbetd6hGnvHqm81P
SyG7Td03y65RL7GmisyrlTSo29Ey9foJOcntAPrNhczCtOH+Nsau4p/jzIo9bRe90rFAoZAnPYp6
ccaGJQPfZCru7NgOThJomzg3vX+MzXnLES09R/E4ndlbj0QykG5MOiQvaZnMeoieQeuo12XgITLN
Px/U2v/hiuYYz+ut0Ag9TI8AIvKvW3nwIfG9eySd7fXiZDY3lvn4Q1VjDn0TgIlZhNiETubGssxu
A3ZLHBiD2+BzXJR49E5WE1SxuXwmXePYAKoyMtQ7tubncQH0cuvO1Z6MZlTIoBk8YGobpvycWe03
q0vn7x4WXEEL0KMbsPlMpOFcndw2kdBZ/Vic3jgyRVKrmzG0e1SdoZJN66gXs0EcbSf8qfVR5cY3
p/L8Z0QPQC52VEQLgOBJwg8G78IP3TgYQAkxLZwI2wzdxq12eMda2yrqHAMlIfl4FGUOBAzlTgNB
JTpfmyK5FuRCOsU4l+OnNqbeb0WayyOFmnUkOnmLSXMPj+DBBv6QikiTntzSKgNWM8l5qWCbeeRx
LO+AFTt1MkStINKJIzMuPlDTAdj3zGT74s92vqpI76gNiYNY/THESw4gioAtANNM8SKttvggRTqd
xwL/YVT4oMDQnZoznqhIl0e1+UXO/o90rvJy4wxIAtXWcgYlWe96OzessWwFeTNwnYg6WDe+EyY4
0kQsTuti9d8f1SOhLIx0+2BoC7yNWid8If04sXjv1BkSIN5WHXp1ARqZDJjGrRRbWSPvnXwq253W
5cksrGW/hMnXfo7zy1yDLgusGk0aTLE97yIilSPTRPQOnWKRG1SDn9MVEJXIek/VAxvQ8M+uSjwo
XCcCbnMSP4ENro8OylDzEAfcVtpFB232JPhsW3mrbMBOAIZ9FlsmqumyxNWBR40P3rgeKynf4fVW
4EgUqIrCXp7LpToWM/abc88msTVxXHB0RyQBkliUsflsjYAeBbFsse/GZQAJsRpHjXPqXT4836lT
BDeR7j1umFXKEz6F+YbfbrwFNCfgAkz+NFtl+Gc0trj/SXwLvXLapAPHiwPsYsEdHDh1CStcdgBe
DjmYBt41k5LAw4cBQb4wyvasyLfu/M1zquUlq0MPR2l5deKlYX7idgUIigV4cHMsy43bJqqetZ97
pFUBDLxzzOuEmrBrlyQWwh42sPd9ic97qD0AZsVIROmEEwUTMDH2fp8P19rzkBOrDKuPq5Rk6UVX
nj2fIdQEldbTiPd04IoDnFwNLIL/wZkuicfBdp7i+vxwK/oS1DN65Lp6dvOn1Q4gHoyF8SUxp4AB
sfCSTmX+hQHLbee3hbmzkT/7ZfGj5DoVFlY5diUA3zgHAvG1z+LmmEGSuPbRMKLsj7Q2kFAMgiaB
86M9KHbv9GAjHpEk5RfIHHdk9fuSdyCtbWPACIJo44CAe3PEHvllFS2vKy7tAtb0dMl/gmUmiBSF
jIO0LBX79i9uMgDxqGILONOAD7mfWre/9FM2XJC0Maw9rWt8swxxHgGkBdsG+7C2LO7sHlPW1ulf
cgL6u2mAQot1PPzMU/EBnGbzt9G26i3pudIj3LnqwZj7qg+ZNMBgYx/Dpj40Rts/CXUK33dGcmpt
gOIRazzp0nD6SB6kstWxPfY+RkBGaiJ/+OjgPfI4xwz+ZUeAJ3RW4cPSjUYg6LmyDUQcDnsz7YDQ
WfdpsVt8VFsjWNU++apha6BQdYcEEC+9CC8xCzFajE17GGT9V86QpkRNpnpFklR7lEoNAeq2gP+s
zdTzlyJ+Kv1HtVR4qG2vkJ9BM1YGvulZe1JWfKif7qaSan6p5qf5yId66+ion+Knjj/OP2VxjLQK
cOysBQoPoHh8ylCqkE7xAYgDEdCxVRHDYz3D6vRQ70AieIkOdQUaJRpS5BlSd2Pv5NXA6wIg1xUb
NOspMmL7qSe0x3bpmxOiXTfZxA4gtpX5tRtGESJkwIlIlPvdGHJKVHpXyJvoQCIK1MCMkSN9+y11
dqYsWVEt7c7qgLim82W1D/WoocTaB5cHv3VC7fPe1DTNwzgSo6H6Brrhau/nmQXC08mRl7Wbxn2O
aFblYy9dme5mUKa126p33Z1W1CxEgFw5OOMgL1W5DIfCLJ+16r+mJ1NLM69dNecEFmxkq6iJ1suB
YDVdLAs0Bb/mzhOXb6KobTZzaHQXidK9KojTqr9YniuLPWlxmBCFG3+ozhWKFI/lNPEqIAs1d/Lq
SdpUTZLSfCCnXDZYzC+bVdb2x/F3U7k94L8cAwAglZkaQO8EeUEWtu2zgVyZZxsvfCsI46wPuB3F
B21JlA+J2chuzcLdE41oKvY6loyW+bXqUUVJNj3aXwxxQXx/p1XrpYw2t47Yj37TBrpSyFFsFeOc
P7GRRa0AjS7S+SOvkDS1eC7CEKqZ3no1+PDqYHVD6nEdkJ1k6iUTwATiKbnpIXqaOzd1sUkOiMJq
s74D1jXZNvOqfEPW1ZHMJNM8653oMT0f5QYpWHjBLagS9i1kkBNb80rMDAZPG2G3eCvCpr2SbiVv
NlFScezy9EfKeHUIs9p6ckYn2s9u6J5E4xWfWcR+Atuo+GE0o8rpF8i7Zdw6D2EKwCwEyL6zFAhw
cADrM9aFmWVdyqoAor2PnPzc/LnwmX+RyEj8NPJk27YG/0Kqym63ZgwsV5KyxUQokcknktxlmjbM
G7JTYzQC7+TG2BlG6+96NRwLp+IU1camw9L/TC/xLCvkzox7IPfWcfFlSBOB6kuBfBz1TudA1vzE
+R8kkH+Sjz9tpxBXeudPTSx3iwV2NfJARBkEgYM9BTQZ3qfgsnX9ACfg1e/MKxARMsB3h4NHfkxQ
p3kaqjJ8dkqGYII5ipeWm/8p52n8y/9QZqPzVz+I7wJIx+tY0LVUt9SIxN1Yy5uWrev661h8KcMA
GSGIWKqs5wSHz7sxzKOdznp2BLIesLnOUQZug0K0bneOn88faUA3oe48bfh3a0gXZM+V3wBUFv8A
Mw7AUP0p+YgNuY3nS8yA4AFDE/2Rto3xBdCKbGMtZvMZkB/+JaqcP/NRsWhMaftHMZfO1UPW/GeT
gTs7RuDz1Vfp7M4L8n6sP8rWqz8b0YLoAXCwdjTAwurhQ5o1Ox522aY0w3DHq6W/uqoZVTFVqRaS
1CNdKAprM6vSKzKkng9WBieaRBesffLCufdpzqfqpOehnp7bjPl8SnBuiDuuAPyKw9EBT58kRKhM
Jth6UXeQQ9aBPX2qriRz5czsIgrSvkVyshJJ919jyIRqUqyyOEIsd6PVmH4awNLW2UfC3SMcPlSv
RBfqkU6j9FlOX4Haz/3jQU++7w190Dnyq1qlXjoAeY8IpjsIGyH7PRizGjsox4/A1eAnYBsBQvYq
ax/SWbHElh/5Vv8/ZDWCX+t7/wXnpeEenPIJUgdNAL47JjI18zk7R6kLcj61n6XGKI1vyI/Mr5J5
EdI1RXYGQuirh2vIgynKOvtugi8nKJE3CuLEKsXqqhFHvRuxJUPgl+Q3K21TwF0NCoiYefj+45cO
uta9jUPQD/TLjYwOwdPJKoG4DmM6MucQZVIi8Q8PCTscrWdk0dwGZGG3m7eh5Fvg+77Juq48rc8A
/I4PRlbLbWkJkB4a3blM7Jw/Yc2wS5vBPZTecvBdz/9AjckaAHd14Vdznl5VDBlvN+kMATmAFgyB
DWPoDr5jAItbjSTfCdQw4GT2y1MJGsN1tjnMJGC0bQ+HX4AmyL2k31ExE5UsUUWTz3mNlaC51Srq
kZtLhVAkm3iMrtVQZopH2CAiYM9ELRjownSHGHKK3Tfwk0hH1TXLm2EtJ6HaGuE46a4RYK6Ox2JT
i7q4+VlU3IBgUdzGETQHXQQceuamvhOUyswqYJQXRfqD/BChhcHIG/tidNFJj6VerupzMu+g1etE
4Cbe5nzhV5pRX9Uw8s8JyO9ADop70Pp5KdqAWRz5oW+G+P8xdl1LcuNK9osYAdDztbw3baRuvTBk
ZmhAC3p8/R5kacS+fWdj9wVBJJKUurqLBDOP6UOxNXK4GnKLGcdcVME6Em0OWok0oLSPGC3QdB4o
RqsUo2lnVNPSjrpgSTFQsAz5uAzNJXySfs/nE2tQtmVbN5t/uzTUlbp1lXPotQuAyO3Kbd9MnyXL
UGXTS5sEHWr9UXK3sAHcuDLwz7DKLuD1rqBFAhLLLuTyWvLQW1RWX9xi7uQ36LEUN7dxjxZe3U8U
d3CzXcMNCYZc5GYXaFnyyGIgHMPxc/0IitZp1pIBMEbgiA5EmYv4B3mKp71/AWFqgpgqMMV6Vnlr
4Du9h8cK3FvXyaC+k4/K7JnyYfrJf4VWGoV6DH5qeK+AYV4COaP8VZIUE+SiBCqRfTU2S8tBs7k3
JbtQjAZbr+K/03uueIQpoYAS8gXSABAihULIYo49rqavUccoFAq4ZlIuQIvJ0kPXA5UgqKHRoOpA
VJvmkE70qm2n1aYv8Qbgu1UGOeHOvoDdhKpUFH7nKaSTjUTYlzmuQqAfhZX8pBAtUj4dtSr6YemT
5hCllZW18TwXtgq69JXrIpiM++hxRDH8cralgAQwLdIw59I0qMyvZtn/woOo2KsuL2HNZ61Klopn
SG0dIB/gniL0uU6o1Pa7hvMbheY4HRnjhH085akczp6pC00gWhmivAYIUV9mPseLrH7nMev/ulZT
C7BIoXC7Mozi+MBTKgfkJXdK36SNFlc0hiib9qmf30boPZshVFomURS3DhKXN+F55YbyKsXQUKa8
snMeeZBFcFahMela3D9KGLM6Bu540MT4pIJRD1W9DsMQRoxaRmM+j+QxIOv7JEJwt75EAuDJyGyu
ZjTW1ipmpQM7Ud7tXdxS9j6MJ0Bn4vaVBqU1M6SFtmuNVuDq04Jh+d9NFk17inu8tq9lDi5th2/v
ZH0fhGFsaxs7WD74zRPQgO0Ts4UE8twJtxSjITJeJxGJO/QFBYTQtvRR0CcVRz3EXr14TyH63Che
D2ECGK76r1zoCz5yBxDagKsXAWwwvHwtu6jZuTKxvnqcvcFlvbxJ0+MvcEVFVaa3vhayMLYg08P6
ZLp1A0wvHBL2RnX7/FDzhkBDdgZkINqqFjYpj+BD+JtSacjjEB3vEe5vj3VDDd1BFs3RdKz4lAs4
QsbgA76VYeCs4kiIfVkmyVutNGi88p6YOST3thevlAUkULhNOSyVaWrVpYJUXTecezHimWRk4d7j
hQ1gSyW2j3223mwDOnSOsZE9017bty3/krf1RphhB1fpqi13dVRcimC4QD0a0uduDVmLeS8pZa3Y
hjaCAsauG86CYjHvIFthJNXTwpkYbCApFVC7RRG5zv5/VXghwRdSgplTJngmGEPNHuIyc/zfcinW
w5surCB3DuX1ittHr0WJ1xohMe40QAGi0ONdesvyLg6MaBawKe22U5n4F1qgoW6F2KHUlD6S5zNa
fRq0N0HCcLWlLq5EA50fRsEFr0+qMZcMkEsMZrIGZwAExkrAQs0mB0RP+yMm9chhJ07hboRXIkUf
c9hBbrxuSvYUq/Pq9+rjHMqmIIOj7hplOdTpdXUvcJN0L2V+hRqdYgeK9UW690wVHz5U6R6Hppbh
HNDNWVGiVyaoujL/2cRL3Ep4htxD7cf6GnTBdSx7fu97Lp69tHqEa481h8EeoaShs7Kp+nhSPnrX
QObmPWyrx0mRUSYLGBDkWbCFjtKSo6z+DuJat3Ab24fY4VA9pWn80ihWvcNYy1m7qDfvlE5zpm4B
+1x2j9BknLC7Ha32Ijy1GYDa/BZCgXg9eA6HFXk7fCn49DvuQbwKJF62amLHPnR66HO4OzyO/Nj5
ONUL/afYp+mflE+X+n9cnlLQrW3wT26ddLCvNDDDta9ti92ZwGvV7tNCZP2qurq/zGEYJdWHUXov
FOpQDb269e6ThYfIRLWVhfM268E/NOPnPCm1UUgBbNDWSsM30oivKEaHNJht37cLOqTEgXuPxFZ/
qxqj77bKaOM7Pn3nYiu+TPD0vo86REcJtNUjFD2uc8i3kjueU7Ck/JMqmI2ejPBRWdAxGqbEDpZ4
lSk3NKV/pZ4Gf112Vo6mQp9FS7Bb5a5zQbe1m0PTu8c+7cqtP/jReR68Oo9RKe/wiqgS+1eU83JL
sdJ18XJIibIUX6l9Sa1K6mumDUClTIoY6AR0PmlhNIDk8NoMvFqEOmbgMdxU2KumtYzhKaq7nu4E
EDIEU/b4MmA5VMicr4XelDy3kbniIvdPgWYp2H7vn+Kk6mACPDx1ZbkrXDe/ooxaXOloGrPs+msO
RtmQP1aYCraqAZZ5DlEaUCA/PScEblpfiQbKGFu0nCEnBCEHvTCflUTxuIKvxbSaY/QfENk0bGTb
R8v5Upk+l7lmuAsb5+eQO2ihUzKARe4RZiO7Txd5/AB214HJNk77RjP3lGbz+aZnXPpagO5eBvXO
Er2/q+zmpY+BDKUhSgKFTTZhSnvCj9oaWTonTOZ+dOMyYygMcXAB7FLcB7jP7eDWgLfOlIk7xVwz
064z9VvAs/YghP2z1KmgoIxnEYqd0wTpvYmn9N5HXndr5Q6mq10E3CHiuRcCFZ6KZd70qJkBsdbb
EyTV4/Iyk0GINCKs32uhdc8T+cWtffdeOYl3q9XNzro2BZQBf/vAs7w+pkNYu1tpFcWScmVYeHcp
I2sVVr21piktgDk7ol3qZ3sLYssAX2flquw6frVcyAO3XdPCigFTo3T4Na4w+EOnVg3PrJVTwFSH
NxD2kJo7kYeRhTam6wPJoufYQ+W72BqegN3194mvalg0iSw3F3USNUdgm8YdH+XOyKrmCH0TIHxM
/cJCcxoor/XHsXqc8m/Lcyxn9yoHFSGDFUgXoq4fomN2jjS6vGj576MoyUYsdEsjh8QMCKlYBS4P
h5QjYcyHt21vbzaAGMIj6x3U0Pi5SsTXSAXeIdBbLkcJsAPAk1OjJc+OZ3Xjgg65ng81j5a+JZo1
SElYoSB6kuhy6QGqTsYGHmAC1Mh/Yo2tfws0jxm6ZEW8pAmAlkDG/0mjaWrHaKInU4a3QhQOKhjf
LxSP+1Neyv5ER/MwxyCrV2wSkYMQCUhgYWZ/A3+AjUnUOMdBD3RkuJ128q2ACSysxAFrUNhrBwUe
7KtYBjlPHXwMNH+c3sZYokNaavHZQN+hq9bED4yMdFsUWu6vHkAuoRh3QhBHiBUYaGogHdmsmw4p
vqdmDt79jHjxRaI2MD0EgE6jL2hB4+bXsNxOV7xW2TKtEnOHHX78jJe78Aws8oW4zA2HvyY6J9Du
CqcddLdSwE4T9xgU0D+tRqddK9eCE66O2bkBXHpxpud+YILC3Qc9v5meiRfhGBIKUEyfvtGCB2dS
uC0l27bxIXMntGRPjOI6KLP6sEyc3nuWwEUvlNVFeJmPDajPomBwmIcp6XzIY2oqFQXx2pgsCs57
NFyq8lj50cehtRPodM3BTzm5PkX1ng98O3AuYKOpQ+Z40yGuWwWNGkznGLw78InQvBTltY1BFfm3
vDkmZG3tS/97VXjduS2L7szGCa9TNJcpCuyuhPRxMaL7rAc8mYsz5GeBqYcZHm7zQOjIGEM8ngsy
yMuAlDmHludsR7e8N0m/8YMJFg+J0Tz32C3AcDId9hQDShyWyDZaw/lUrTMYnZ5Fa8AgyUrgmx10
AOEHwmHJOhTYfY9wa5T5KC9AYAH81/XZorW8bMd4iLLi9DSXO6hMAeacPLjKOn+qgNC01gCgcWS7
yUctp4YcCrrL+VBewbUZVk0ds9UwefgFB2PqrPHcH5aydMHzM+xin+WG8+QUfrQKyyRDhUG6T04a
mXfVv9CEElIAu9cC0Iu17Gs84AOo/mm4bpo7Ob5T+jDWCF0fe4StbbW3OZQ7EtK8GXx493gX25B+
KA2xgC7uY95U/ksRROKQmnkKAAE4T3AQb7RsyO/Hkih8ABd8+UIPKYrzIp52SQDPJhYNeImpQ/gI
oeotJtya6KjNzO+O1dh7gA6CtRVAr9XsDXGHpSmei2VuLs1o+Ia6bQUYihjv3LWHu+cUFsQfs0vL
A2sHXuCwLJibb/yG5UAjRAPfQuU93AdGeMjlxJauHbwEXt5rEPsP3/bYW1FDIqE3Db6FuWf2FCbi
CD9hviqgh7PSpizXWA9T3PRXGDuACcclB0wFsdSwqqMwwB/oU77PjTB/mxQgRl7sijNL8uzeRJ5Y
xCb2zBA0AWulsE9lzawPQwsvj1OID92xPXmcFymXRzzsFvng1fB9iNZ0Tw189TfLQjSP9R2Wbo50
b53ojjnfZj8v62wp3IvdixW8SvnWjPz0ospcXOiIBrzpgkoi+mjN9Ko1SKBYXafYohk1nsshH7DP
BTqrpS+h0F84sqWUElQ4i3fhtSpy3d5V4ZEGfwRwaE+H8GiG3jx7xBOdEc6LYCGHxzrC/rQb07eW
VS9EK22w3YbZnYD36lSGW9H1/EiUVBooXodWsPTBCV1TrNC5tABuqrW3XflC8bGxhmA14CK5vghl
zFeaL1L7/apmQfvklBwkzwEGhPCHNV5jIKxPSVFOi1xPwUIODoUB+dDGSRXaGpDYATRj1AMd2UBu
QygszddzLGFFdirBwoBS5p9ECuajm51qe7pjj+NtaXGO05HNcLs0JKjMqMt1SzDn+xVEOJyTSEF4
ZRBILKpAQu8GA7Gj6Qjf/b993+CbT3H8NQ/tAjsBjLSUp927L8xiO587n5K41nrkYDYTYySaerzB
FOUOSLbxTKEPAySTzpRR+fnuEQemaoWOvVzNj1r8YaFhHE0VjJnx+DWMLLcXzAbxp2PmcYBDtY3G
wPD7wWx46XrQIOs5NOTjN2dM5N4Z4fMU8qHbzUxBIhnC7vf3AhXIaZUW6Awc/T7jwTykYBCW/3UZ
WvC9PAMUoA/gwqTVdqxZfZnujiMJ8/g1aozA6EPEw/Vw77UE3hV41+zhg24dYxVYRzrCu5YrNxUq
q1DjkjuKudCTkBsHf7KPnL5I8KGhsLEkIiYg5WyN8oe3eHAtP7Ezq6KCL7iAPklYJeFlrIM16oHO
Aa5B+DMhtibxNvPEVousAYQUu6anyDSrndVP6OgBxg831LgB3jDxrI0Es3ZPbYfQz/npsUpuqDSn
lf/M+9CpoNVVrzc2tTfuwZ9h+Pbk+aH42oN7u+n8oszXLUArFTr0Z66NpMlNOvWtbA//MkAdKSW0
on7JBKCdlJN5MFlbTDaKz3hs/ut5tQzEapBQsyS+SObZ7Tlr+f7BCKEpbkX7B32Eptig7x+e0QCr
/leyPpeuBOztArq4C6VL3G42FTeG5lqtvPJCIRrysvbXrHW8JU0BzstvdDRU2YdciqelBWMrKDV5
urlDH9nj89a/CPqQU4lueGX8pA9//thp+kjVvxq3gUKP56DPFYQ/Yvgqnqep5C9TDXh+ZHhqR1MP
HlXwqFHJmqY8lCHARiOquUCDvDgGE7dhaOEejhllqLqAV2R45Y5E/VwmP7KsWpZ4Qr2rvho2UZZl
e/xy1UvIsxdKgAAK3sHMOrjaxcXpoZE7N1momUJDBIymnWG3NXdUxiIHEkmExtq3x/iUNmUMKowN
MOE8j0NIkjfdL1o0jBrPdjr8PC/pvLTMiuXInAVwnNBpdtRwAxuxWsZplv1U5jvHreyXhxvaogxr
CE46RgRIdRA/K24DKYANyppe0NIs4qcgMEqBe2sGWogGUvfE88KWKs4MZ0szGiIids1zW8OzaRqz
AZr34AotqfHDe+zO28DGS8R/940oNqcNuPHOfaMxCaItBLRBtumN5tSF6nn6Y2UO5kEPzaccKvdD
O4gl6IMmCmYS1is6h/zNUY+AEaG4c1Zmp0G32H2V1UvWiHzf6alllt6WR0EKnXT045PScS5x3lxp
ZvJ3JzH9bSrEdLUiO15VFq/ex9Y/e0Zk/FX4cqf8wvtWymRcokhqbAK4U+N60LusIG+8G0HVwy00
Scadj/Loop4c8Acp6CmQjxi2E1MeIgcOTu4q4Zm/crquvQFF2t1qE+8IBahtOW/WjYFugW6dfhg6
sR1ZaJwqs0c1y/9a8fQrDCfTt7RNejReZLrB0yV5SxT6wAoQmouTt/mXGE1N4NCTN60Nf8wB51pS
WpZN3Yr7IE/TahqMuz4yjk7m2yuukjvey/kJKoj8BAAwqhAuwbUpEGVJvdM50LbALfWxTvkhhKEz
vCzB8SaAC5cSp0BksEDNBjO5QDTJsH/ZFr82thnd3BIgZ5+1xRm+mdZrVaG2T1OnYB+ntDonM508
T+PQElvsHNWqGmX7VLFxAGdBsT2zjOYpGEDqDe1vtAZtwOZJDFEI0biodi9ujjpUEpdrKJT2L05o
dceoB+iVpnFnBPchd5c0S6TTvyQ1pAoUmGlodPUvo5Vkyw43nd3vrrPDXfyx/enc0hGvIaWXQExi
Dc7SdISjE+iRIG6inADMlwHjO39aF0HYLmI4up5pqNy6PqMU0C9jyDWuKMbwHz5PepinTsG9fWEZ
e4pTBi1+moKa8w4H3RC+zbguZczXoNwWWmob1eCD+7RA0zCvIOIJc7YRONK2SpdR4RSXKOnMlcFT
9TWPY/QlnfAvz4WRH97WfgRJhGpdUXbXSSTfBrt+mfRDkFTYmD4qRVXAknwq1xSbF6Bsvcddqjg9
4oytRTbwPXQ1+FE5LVDHdPiYN7F5tJgLCLTKtDQHUnQoqrVp5OdTPp891KBkh3V2oHNsHmVrTfFe
lg2kJwBy+NYAk7MRQGbsaBqhid+H71Fj1juDGeUmM7vkm3CjTTrE5RdIXUwHCP/ivUrHS0e9RJNR
XxI1baWT8lsdAnxYe2guMqPjNyNz+c2BbsB+KhyBt99/YnSEN+UOBlY3OpO5Nt4NSwYyh6hWrYxg
cZy2/KAFV75j34TCGTTgni3I3m044IonCDdGxwrWsFtLiOqeRx5bFrzoVww0wCV9MNge3oTM0eH1
4DhWmx32K5OPR56ewW4mWwXaZkyRw1ge9fkamnDg5JAhGWXReotfE/jAcb7yU7tddbkVXbqMyaMM
w2iDDkr0pe7sd7cx3V9urbCj9q33UQa/U7NESvi1Zdiu6VQn5O9SVM3Kr9tm3WoRuEyT8TiLoTGS
NxZcVvTQ2X34ca5onVJN08m3ACBfKXE+hRYfec4It/U8jV8DI/grM/riaVQJP44dXoz8QDTfx6bd
jIFXfYUkSLmLglHbrtr2u5LfaL23wKPEtaCDlfTtSyTDu9ep5ruCf8BSSLVNC6cF8Ub9dKFxecjG
vLmTmGYizJ9T6KIGJyXb2s7go3iewFciDQr/QPO4Ym+mmfYrSHruRSPjq/L6LlwF0041QCA/ZlML
aOZU5C3+NHH7wNNJnstJfTGZCJ/asShOJfy4l4Zp8Uvjq59UDaHBETn+TE1UsuaCSZJZ7apCAxUf
PAD/2gg4JPdfOmy1Nxwd4U5fHqfqmSZV1Wf7wbFe25Lbr1NmQGO+N5O/h6+tkzR/px37u4aTxRc0
bGPc3yb/3HdOdmhbpbYSTnr3uMOnxUVifht6APL0SWCA7BTsKL7j8yiXdR+5dyuMwdsrTLRvKwNm
tbbfgLLkg4Wu2lHeaPD7xDoWcNwug7ALFhQD0ShB1bSu983g/86D9LuEdhokEuYYJadhDrtf5Z3m
eFENDFrjHMoLdS5vtDCU7IeSFWBh0A/YOz1wyykEV5+DBsQFx8m1UB9r6xW6pK+ddMxFBUAv3jzi
/JrWQpPJlLEDTCO+5lKgu8O88Evf2j8tu2R/q2Xhl8aXuONQZ4cqNCpCTXNXbQYw+JQfDSdq7hQ3
3eJDCJyzCo0WaFNTm6GZ+CroM5g+psK8hnoQsTGdOAp8gVPa7oLSIHOIwp6LbiLlUewxZGgax5nj
4vuMcx/JmRPjJx36bTmASRfYAu/EYrjUXY+CsQsGGlQY+L4skidUUn6H5kXJ4EntQUpkqazagBjv
nxzeo0TOUCbcdk4OgeVQ/EVPaafDv1XnYJrSE5wGAe9PoMPc5EDTHrKRN2ZaC5rRWTUMPbbgcXw8
q8oh42qggACt5cTfggbubSsuiv2IhtLCc53miQaFzsyyrIGt6FjWPmKD3KVeZt4pAV31fG8q3AFd
UAyzZT452bI1s98nZFP6V1rBdN60Yy0GpyXgPhxWWh7wMXclA/fVeod+r3rKWxvvux7LfsZDsgRR
ANw81r7F2Efg0ZTdzBjORdCDq0wUyltYj+tpgjbcEo9ze/n4UpLTY66/tLWfr7MCAmwwpweGgr64
nJarFPKgY2EtqzEMQeUqfrEOe038svllcjN+wZ87v6CC0G1CV+EdVMceuUXCXj2/vvkNh8chbhSg
YKKBVpXerYqrCd1XExLJf2KOqLKtDKK76at2O6Co/NVuIQrZefEPC/y+pR0z+wwFaesSVQ1EIa0m
/lH5xrGGlO4ybtvgYNQMrxOsSa6haeA7pvZpnyVr3HBssYQbCtyP3BEqWHjjfspL1E7D6i71hCKw
z5JQzBZg6tasWsJRgD1ZfyvTnv5KLYgHiNgdXqCcnWwCfLmWoT3lw4V7BdSBS6vbtMaQ7xtjGvBu
YL+ohAGcXpkcVYl+AH8jeXtUUxIHiiGRA3rtQwkTFdB4wcPpv+f4QZ5CB0AZN/Xsk6sLpKqpQMcq
2tE+mVBHy4PQOlR65uG1t1pRDmWnPraFnvru4KuL8oxZ1YfJ7It9m4En5hl4Da1luWbmCLUoPa07
sHzoiAaWjdhflW2/tERdXnhoQetbSRBwXX/aoaJUrHgQWa+wnfw4bWPIisyrMejf67Sbvne97BeD
Z1k3nqT2LRdjdB2hPDCHLB2va+cZha5x12a+e+auFb/W+aZmvvmaDCJ5LfNNoyewT1VPY//aNMXR
NYR/c1RrviqjfMzM3jVfCyf7MPuzZghLvExgQZRAT0nL+FJNlXd1B9RfmIi+9n3cHXzeo9CrF4cy
LSH2ktgbsIp/mJ3vrgCzNO7gdP9kXjR9c2xDV6GG6ExxtxY/RR98jKsArL9hDAbcyNA80x9aERXG
E8DmKzNm5usUeSHNQN7Em4te+5NJa3pmYv/6ylACO6nJ3/ajx5etjw1QBBzaG9tJ2bZvqiumYwU1
YCyN05vdCg7ZA6cBrh5TNDyE6N+UmYxHUQi1jDIxvZkGXll8HkVbqzHwggfXDfCrgBA60lzh7+NY
wYQaThR6/cO8NeOXDE8/OPfIdysR5XkeGPAeH6YgRLy3UYyb6H/G8UaV4GEBr0J6YKEA14NNrCzU
5/55iM2x+SmmRggbe8W4tKEH8i4D7Tlhyu8D9BvXXdLJAyzqjefYKV9oyxXXQ7lkrptdIGAtAfCO
3AUtmLHxA46y7MnF53pkIRj7od7DwS99nYbWrVXAFLYoVZ6Hzvk9cFDuz6nEGy3oINMmk5UBfz4a
Kak8llPEHifQqdLCFsho+sctlW67vanS05EO5w3Sh/vuh8NaBEjNpvz3NmrOd6AH4zEbziyR/54n
Q38uUzS68thOQUxi0a7W02BsIrBdULOgVTfxO7Rb42+0mPK0ONsTw+ZoWagUXmIe3K90i4CGnjQu
lUTVt1B4+xzQuV3QStjC6slO0nhN07JvPWAMDTCqbDYuB7tPd5HZZ8+lX8QXu2AX0Oiy5wBdwedQ
tN4iweNyTzFHxe1JReIbmgErp4n9pyEAfLHoYVhg1IH11c1DufHwU2xpCio+CKvRBLyGnb5BsziB
i4lfnxIW7FxeBlcWuMzDbaWv18AxwuBYB+cBjNbXyDDtVZJCnd8yLO+ceK0HQELiP46yQjEI3whv
NdQO/BRomRKzIX3LoXG8THOVnRoI7R27yLQ3YNY3Tw5kQJeZ46TfHdfae3Zp/x3m/Uaadflj0lay
RT0yUKCtHqrLBDihQViM73unv83qpTMapUtLZzcY/d9uVBapWIwMbtl940v3AjBICpomym2gLPf3
UGkQj6pq56Bcde84tkRlFGS7WinoA2g2S4gbmeCZfSUiixEEzXaaIMo6U114Cdsz/O+vsSbDUEZh
5eHyIefw5/zH1Wyz2X5a9VIXBD40yZYzjNfgaIqVuSU3BOF9LCinP0djtZ6hvXRUQ2LmkUtTI+7a
HbAX/RL+YKDPYLe4SIaEPbso498G3u/9Lj0Odll96TzV7MIoi7eDH9pvfuAt69F1vrtR262w74hO
ChKy98iTcgEJomjjokK3anR1iipSNPh5uo/ruN/PpatWiwrQIsXmqc7NUNLYzyFKo0sOkv8tc7z+
oZWteR1VAus5eLl4i9ADxcEBEcxZxEFUbxtHMOx/9DwQUl5h5Wpv4cPZPqa+TqeF0siLXQsPowXF
PDolmbiJFzs3+ngJX7B8j9vZD0qkf5Cu0DauuUfZ9et8UYoXll0cHBU9P65JsX5KoWUxXFEUyb/F
FYoXAA396mzsI3ondJ6dthu32Adk+7Gfyjv6P8GC14n8xdoD75z6Jyp1HWh3hXO1oFd6MKCgAy4Z
61+9XH6L9MXwYncaclW/hVdjQ9olpFqifL/etaiRz6onH6S3KQX33wLIG5TnFjFQ1YvBgkjlY05L
gPLVy0kFzq7OpucWP8OT18bhuRyxX/YMxd6hqJQtjcLLz44/jc8xFEYpPpmAh8RNbu+gAMbfsQUo
eYEtqHSvskHRnO7vnX4SPO76NIcwzbckxjdtfkQ8ngalCPix5/7jtEfMLd1N5bDwVEm9JzCMfkma
caTqxksPukorZ3LtGtWkoF3GRonPjaTllJLOAZiTVxKUo/ywyJKTEYO1qfFF8zDbAVDs03SOjTKN
gRfNXv1wCxHEZe60Dbu5VZldsJWEH5wHgRb8nrD5+3M0TNHSBUfv9CleZ2Z5KTOoI+hFys+qMOIL
OnQ8iDMFTv9YkPZorHPb5Utg2cUlCZ1Tb2VmsRR1awI7V5vb0amDJ+lxvMVkbPVYrSArtyqdosE9
CqsZdHOfJg/URUwekWq016Uv47XxnaRdBt2MoOExHSGW+xCX+7RMOZ7lNKA/BOW6N2DHjef/Mdai
slAY8S6G4QMlzqEOZXjAGFIs1/q0dJREWQcbpAB/kfoMSqYFmhalsfQgLnMStQW4DC10RlqsUj+x
QCHBle0uu06t65+qOmdAFVU/7XzgT1FnsyfBoDLqp563pWkUS/ceg2Ok12iwgM7ewEEmWwGow59Y
AC3vPobObmwreWpjaKSiUZrr1jdFaAhDGy/wsTe9RmixcehgMuhahWnVH40Q+zw6grej3gyaMJEM
oEi8pKCvcx5aavPc5eYPblaAnVHbxoTvD/hx5W6AZfUePmmAsgAPDFcdNHXmgWJ/0uIU+AZ75PUa
SnxqyTo0OcgrbfZQoyOKSRhSsRQoAwqR8xp5sNHUbz13p3r/eY6zqgWeHBAcg+URtDLVdBlgU/ll
BGSBsyF88SGx8zSiXjjpcG6C8Yk9EjTG9LQCrXvrj36/NipAo5LQGPZS84vhOXMCQ9R+nszG39iZ
xVb1KJ3noRiMqxt7W5qB9eU8/2d+7MHhl/JpMZJuiF1K8Mink3S+0Nen2ZzvKZFs8r6E1Y2uyBdB
V40LAAZ/IpdtKZbbDDIeetW2wTFYdCbAVBAP4ouemZjT0jy4A4hUv7eBpXNoi8JGAyidfpfzaJ/6
Yf6oCoDPDNFSnUrrjy2rAuRHoDEPPdQWujIA1ZR714Y4fOSkfYw3qv+ct0Nc7XGXlouWu1if88M+
wQbbMtydpasDDY+Sc2RDCEjPxgy/p4Uu1mQBOHJUTqjd0LtlKTj+KocoJ8UoOWjzccXGsV1TbPT5
uQRM79a2eLyV/is+oOI+AmWBzZ7xpWM1sKoj/hBpyibIfGfuFIJbitU4G13Iug3xYcptAGintvqt
MC8hhoht/2nWm8/p9tdHwMcFEJH7hC6mPZ5edPKanfrQzLZArqIyP6YQYx8ayLLrIxpCwKIfsbFg
4zYZ4vO8+L/m/luKH5TjJu5EDoBMgL17V4HskrBmVyUcVS4IQJ4GVsiNqKr4qbOB1cqDQr7FErYl
Y2v+ZWs2UJ3DERkI5L1qfL6148Y8BIMPERk2vde9DxduKDlDOdFqXhJZv7JIJD/SFh5jVhHUtzLs
61OWGnJFCyF2DiXLp3cLRg+bxnJLsFvSdj7TtzmDxSKqZrJh9cFwtH0zi/JvRdVeWy9qIhiHvIIp
C/ecovjVmKz92gRuuorDsrlJu+XbcTTYAe8DUJKLjUOUB2gopoUJHeGYHdMBbEi7gQF4lLTDvopg
NVVptloiGAbHqvGUApeNYjRkzUtb4D4Cvg/acF17h6h0tJbJJKGGlWADXkCcZo0i7z/zeV05LhBh
rhjPbABaxuO4q9TmMMIN0y22Nlpab6lZPU3lGN4raCTjD9p/p/Cc1UL68c205ZOhsvDuJtMlTmv2
U0Ir73/YO4+m2LF1Tf+Vihq36sqbjltnkD5JAyRuw0QBG5D3Xr++Hy2oDZtT5tyIHvSgB2RoGSlJ
maW1vu8156YmOxfG/Mp1S+8WoaTioDqsdcXqXyE2sCA5Y2zlTusWsdyNu7qTX3z4n1e6OxByqZx+
HUpyfWNKDnzdKPn+Jx0SU5+MUmVi6MT59kNsw77tCGWkrYvqwVQUDVo3yPs4ce4kOcQUz+2HpcwM
HraybFwlbWId0Jc/VaOlX41WalyZRXuhydyPuVCKkjHq2mCK6+N8Y0fVDC05H/wYH7oS+nu1dG0E
cXt98aVBFEUX0bk1GqASooy+R3bmaQBGCxO1ZEg1vRX5K6dL0+uaPPrOU4njRZGVXBdmol+Fyly0
iZokVFH5dsJ4L+ok2R+WalL6pPjo/7H729EGU7sasbvQmuRaCZv2KgiXzBujfetXK6TFhm0yLei5
2aK9qBdFIAkMuUkPQxj+TTsrpqheX6ntgnGymWPPo+8VCdz5W4s1hQTfypWtXQISKzaiTuw3iDCh
NUUMRTl2suDMANUtDiOq/H4SwsO2YZGPKWCwQnKR8MtBqKtuRkbAjy+HGvRmwzLxWUuRr2u775bc
1PN0AMji6YCWxsBVVp6vlDejFj1KYKSe86raEf5sv5l9kSyRzCr35BtrpAbCC9dkwTnqCmDUIqrv
0XqL0WC5N2Qn3Aw5mTNRDCp/FRLVu22rWgeYCn8tnLqhjvmtC6wY8OFgHGyj9uaiPzRTdfJbG48S
dLJLkP7Por7McRsN1VReKUrIYj/tgclUY7vF6+J9y5jqkEdst6gC/lOrMfUTR5EN/RAXKiItUzyr
SvHECMMe5bwfUTBY8j4ybR/l7qmGg7kXNU0I0Cc1c2+f1Jk2c/K4vsisWt+xqjEXYWQ2T/eW5VZP
tZzYC1Y6KlPRDFRuDJlcNOuVAzi1lG4QubTXsVoD0x5rApWhvUuH+nwgRn4hPgw/0S/sqFgoVp0T
r/+jnqdMY7ra+ZuPOkLIBbqvrT5vS/WQx8O9oPXFsXcXZqZxqZJTPHckBRXdidbndE0OibxVz5J2
NO5i9V5U60llbWLV7JaiOO2dWLF5ySqsPC9g7n/a2+L/P3OKrtxH6nhv5Ep1E1vtCrR2cd/nIZYJ
UauupNjJ77u03iGO4CFTrYN3Lz30J6b6sFLquaWRuRa7Q20mVMvuRWg3n3YHR79DeMG7HpWKWTGB
g0yy0CyRo3U0aN69XTo7PTbkqypR82MaFDCSp/q20bJFpbn9mWR1+rfqSdQm1pCcOQQAFqIYuBYU
AKfQjiP3NUoqaIqJiCaOmvYhzAckeTnVc+Ys9iEZxvVHLFP0KC15bYwDjAdFnxWZnaMTqV6YKAXt
wPbcWYU+kSHCNt/ZenlXpXp5mRpVeSmqXKqKqWq0cncG4wcYUwM5weqGbOcYPiwGsRmPLoO2Ut1/
qhMdP5XfNkWtkUSlPbcHK9sZ1TjLdAgVzmiq3/1mIXdD8D3UCnsekHE/esgj7d0EQoBcJcZ9pSCo
35Tq98y1hplD0u/STOoaoFDlryFfSde1OcfmqwQsbISXoOU8VoDAieK4Nh4TRBSHwDO+RTLxnJBE
HgANf904SnKjysEJRbz8ybFRvHd9Z7hIs8LcRSYylKKBu8UHePto9XEJ22ziDzFHvQxrzoLoEEfq
vaVb9hX/SLkNeChXYdVK32qleTtC4lbm3G2T4YADNAKyblHCiS2PFiPvGhg+xHkDi7P1kJNUNJM8
xldmKhse6cK38kAWda1N5bdZIP5mANJ7mHlNYcPfcsfxvJOT+BzulMIMkjTCRwNQifg8dBtlVsbt
e4Me5eN5PDV82UM0eK5FQ14qCNCReRCHsoNaWZRoTmxjVbkZJMm8V8DQL1C9ISBF0uZOB2WjBY11
33R5uQ67LFgHiW3dtwMxQazbbksEks/K2pEXol4v+m957XqnqkjjI+QDc1bmA7w0Seo2sqZLGwhv
w7yzC+Vashz1oLvRvSi5tdFfycChpibxkWvOntMvn0u1plyniO7PstDBFYyX5LZR7WEaHfuD0lrO
zrSBuE+lN71JKAMYUsFreCv+3E83pO6AxeldNYz1se8CfRNMPBUZMs83hVt4lpRtt1enImkwt3aQ
mcCrFXK/C8J6qgZiUS0JVRUbUew7+9I3rXKFS1u7TgSTRmD6UVyds3Tvdm2idNk6yKAfmmiOgj5j
qeHmu1QGDyQTnjt1cK+Q/7eyA0tzZctSWt80hVsdGYPzJejN+Now8YM1tdF9qELpYDlAk2flsI7z
vLqIB0KgUAAhRrZueZE4dr7v8qhajNoQPLmmxfwmGO8lW3mfe3tVqF1MZ2Hw4EtlvgI6hPPy8eGF
xbDPDfB3Wc/57XsI9WbM3TttmprNrdfFJUnntJ4paiNd1mqvb10HBqkDsOBONUGh26X2FKLym4Cm
QTVdv25Q51+qeCzsS8lL9o06OsvQT6xrJ87SWT+Jx772yCi/OKWfzVTJxBjdB4DV59Jt7LnSLdy/
9iyLuYlEEecatAy7UFuJYqQ1aL8HTbEibhLPVTnulpJjB/ehZD8mRehehK0zXlhh+qypengf1nWx
tIixbXhrUCRLZLVJeKdyI+NmP+pzsbfT5fYMlbDu0Fhpc91b7/3rUqvXfR7JK7G7IsfnBS+dq7Qr
VURTSJqZp4GA48lvW/3UYiwjtZW5F6XCy6DJjIhEi6LU0KO3dZsXVutvxV59Z6FnrtsMC38cg/m6
s5BqJM6HytLfDt7j1lAmxUr1faTi9PFbOHbDgxykxtw0s3aPgqB8iv+oH6Z6+0f91N+13eGhB+0+
7+vhvX/DkxzjjXTGZL1c9G2NL5luo7mtddJtyFtk7hu6v0una4I734m0/3jRlMVwmzPjmmozRJLO
B9d+u2790B6VlGfYQD3mrrHlCAKaCgZAVobbNESDVdXuVKV092ETQEiaikHugv1CMwfnb4qlAx3g
L3ZqNHfSc+bQYiejMTPeIvmf7UTKw7xyFWuT2oO0bg0f/aswkc7bwtPmHS/Ah9xSV0EfNi8on97k
TZ/cNWGA6EIUxYckC8ZdGOvhqorU4Mbpi2Cmkeh/ibR41uSStDRSnxSJZBmoV/Nh1K25B9wFKQ2K
yXxQY3PveGVRLESzPJUl2QLKD+Au0FVz5RDfOo1lB58UgOeTPvRLGdgJirbRsQSJeF9KWFM1Sddf
5EYabzTN6MHYV8qxyzp15rjhpR2n5Xliad4WRXtlkxFJPUcZ21/4ual+ixSspOSheu0UErxWkn0f
QnZ0VbW5IsXFCEEQeaY0aBENlWf7cyvu5yNjEyZUUzGy0MArGswtuvbSUMvsEt0/2WgugyhuLzVM
WC9S12PpNZWm+lDGTkcraiZp5kaX7fIapl55Xen1BvGY4uKtagTfLQHp2opG38afD5CVtRCtupWy
kJS9V9Fownu5fhYNmLWWHCDZubW7RUW0vvWVtNtUUmhN2i6YHHUVbIh6fEzxtUUhRHHPWFjoJ50V
sah3xgR3g96LwSvq0RaQBco9dX/9Fm+SZV3eJfL4Xszr9q34Fq3ybTJ1U2fDRt2m77qFZrjuWSwP
yj5Ua2cZqb10VZvMRPRCgaefqAtTQzAxd3jQ9LJ8cGycIxQ/e8F+OptVNitnX9eQuFCUO6mVtNNE
ddmL+qzJh4ehMe+cVDdWVtUliyF2WPyE5kODdwN2ZW7Emr91Vh0uJjumvyXC7zxEmmwPV07t6TNd
ktVTH8rYvacOCt5q3e4UtL4glUyb9SS3PCTQy+tYamZt5t6LnNVHCusTRlu0RLJcLyCsNnNR/Oj9
JUMmisnUWVPDz50/ZdjUqkB3Mqzmgu0mCG15i6rylEEnKC5V0qKH9/jGfxPNXtY1eLJP1Ld06mNP
fTolwXDY7KM5URltnPm+6RzER1HjDSxFVr9kbe0eQrmkWWw2ilVtEcy++FT3tlnr3YmofLT9ejAm
tDo0h9Sbi2PH+dAd2nApTfr9GkI7OKsWL0K0X3yMNU7upe1DZNCcN4F/UV/YwTILwvT40bXzsfLJ
09DcioOJHRKNaK4VG/lK1KmVThA1QUoefr8J93E6BTxULvMgVpqWVjjvpEHRosfSGCw+2j/thBKz
Mc/sSocb2GjMryt3l8t+cqE7ujGDWtI+mUp+0FC9uJVMEi8DMlkbvWy0GyOPLkSHGlrnzGbgvnDT
BOEa25UWVfvqKZW6VLXIXvWlSpovlDF4NsczGZDamSgavm7PFSd8zYshmuVBqN30chodRNHlkblW
+kvCPlBlsdZaKEHq34+eW81QhDKPltahwBgoRxfO2H1X5uaqVuVkLYpR25ElYeYju9iTvp1cvFC8
KKveTrU4rXoKWYromLsNxtCY9DJsfT46kwmRKPO/Gwpaff2gwFtOvRjbCteam5ECpn+qEx+KVcTn
XhgNK7933NlHg9iDqW10xgr0JOrdOjVmTZkOq5YVz9E0jDOII8pZP5VEldgaE5yKkmwhCkHS18eA
wOlRFLsklLY5+SBR/9bjRyNnRl3ho4iU+486sSU6M9ZFCydFWP6jTmzFFXauEv/IAmuAdGYizroW
SErZRdp4RlgOGKaVzhzTCQ4CfPnWAGNV3ZJ+vJxIlcZCtHCYaGnoIZBaB82TX3/5r3/993997/+3
95JdZKTWs7T6139T/p7lQ4kaSf2l+K9rROuzROzzo8/Pe/xr/ZIdH5OX6m87HYLvZVZlr/XXXtN/
8+PIfPv7f7d4rB9/KizTOqiHy+alHE4vVRPX4r/gd0w9/9PGX17EUa6H/OX3X79nTYqnxunFC7L0
1/em7fPvv6qyKU7U23majv/eOP3M33+9esSQ/ZeL4KUsX355TJ9/OQRF88Ks+d+O8fJY1b//Khnm
b7Kto+6lqZpj6abs/PpL9/JHky6btimjcmywIPn1lzQra//3X3XrN4WpiumYFrg62TbYp8oa0WT+
Zhkyq2LTlk2TPuqvf5yLn67pxzX+JW2Si4z/uuLHmXwJWePp2k8/1tBUFT1PGRkXMosK0qAq7d8f
T0Hq0V35X7rUaH6QtqzuszRfqll3tLrgju9dFVUCX6iGgKGN8qwkIztmEz/KbwibBAh2toE5s0q5
ZflXHGRsZFa6CcxPGa5HyfFIzyFIZnR0IpOz1GHaE4zBAilQj0Q+EP/K4ocklmWSVu2hh7LSEzjw
yKssWvKmM2aGz02objtHv7X9DIVAMAOsR5uFqwUzHQVUxx9vHQUl9UwfrpRhEXpGtKhClnp67z3V
eb52fBkVyvE5livS4bqNDLNmPfHtL0nkSEtvjI9uSDK1YsLsGqq0UKOAsclBE1VXLjk1RxAZDxGs
YFd9Ln2L9IeVHUIoEQvkEEgxM6foBvt7ryHekI7ZQuo0GV5e5M7GYRw3Ia54ZQ+iFF0fD8RJDQks
Z0rwjIXgiqTqARk+TGCM4lucJw+8SaS4hODhntXNpMsRumdDa60UX+qXSR09+Wb87FreJSJELwmc
02UXeRK6lnPUIVyTTmPTv1oaGKYXG0P3uE1hwYQe/IjzPtcuRphkyxYN524wj53Vz31PemU4evZd
+7pAFXdtNtaZXceLEcAMb3ZSTF3Hi6hLlzyS6jzWdWnRTswTFJdmElGoOWtyMvVWs0A0BcsPa+H2
2KNn0VOZeMlcrS1W9tikgPQBdm16T5ZuXNotod9kMtFDRGNI/KdutLYkNfM55HZotMhhBkoCKTJ4
rVzzWI0IB6rqUqtrd56k8YXkjHdjh5WYanBbWNCw0Lkla3DZVuFiLGAayUUFUopf72J4Cd+kO0Li
4ITkyUve19wwIMS3WWssaltitpyiITny2iu9A3KS6bKTHfTlosjH5W6cs24FEhyjWallAZFj31/q
/oAlPCI9y1G7xLWmXva+0y/LqnjwM4BlVZlMJFRsE8cXYxKYZC4+CxRJY8Za3Wh1+lzHAWwRW5qU
OtqtHmr1Ku01dR4tBtVkNegOh7qKsoVVlfoCqDMzqRFJjLTHKyQJr5TRXLPupT+MDGaE5YWh0aSW
DrJsrbJICuy4WRzM3UmoJC20arn3UAycl0N8Mp3ksjJ1BC52qc4k2oueVDVeer0O4aY8Zj3CpE6M
RGecX4H3XgXQ5xzfu0DD1Z7VOgDrTgI0NUpnaMhMSmTpRf2ihc5W4T7QlfRhzNtukRom+p7uhP/c
YJw4i8PywpJh8hZRd9sP1orVwcOnkfh9dPs8mjFQ/zyW2QAKZV1lwqQqJuD6n8cyE28ERHQtb22j
kzKzMmM9hOaG5arGzRq/vR9/ej1+/jJF+bNv02zTYLEoM35++ba2URRJ8l1vbdnZpIZ+YaDYoXFa
dQiJTfCdVduhkqPz0MpYsVXf/v63KtPA/NPAPf1Yx5JNw1YMlV/8848lz6FlGZ4HaKtET2lp2XOv
3qNTMUeTeGBIENciQYzajfd2muyl0Vr9/b9g/cl/oMgEr6b3Bkhv+ef/QNcMPcG7CaZv2x50Ndl7
vrktimQ+6PEyc6N/OOH2dLwvv9hSVd5+iipbBr/55+9L0QIpW8a/tTbyUvGtZF1G53XOSFJ2dYjr
F5Km/gjFsICAYHS3VqVcplqzKFT/rLEfBqbeRo0R321TBHPbNh6SBrP19tbObFZl0UbLC/BC+lqP
oJAXcY35UY4kMUNd2miX6QBVd+ysbaGHT5USMMV+yJDdNSwXlSs56OaGYy+Zuzz0sWTPYBzvhyLD
rXAYYWUkN40TQ5f3S5ZJ3SOme9eJh3gSjHX06LmESwSRjHkQVPNEdS/ARlpFiZa+nTKGaNU6b5RL
uCqLsowPutLjc1uChvDAzQq6WGFfe7Z6Gw32NSONUxvw6oMMlVL7iJ3wAD3L2lbuuJJ4hcVNOc8Y
2tEriefijvi/PWf8y+ng59ngX84s/x+cM+o8Gsyt/2LKOH8cksf0F9KWzBerz/PEab/3aaLl/GYx
aOmOYjqOqtgWE7X3aaKt/KYrti0zTUT+HgY7I837RFFhL8PAzkElWWhYusoo8D5RpInYr6zbHFZT
mBxZ/6OJojUNZ5+ePp43bRpwNBhmqmMqmvbz09d1OEBgBK6tnIa4wtC5/dLvuoiV3CpyTTLb47Om
5+WmYLFPfAXNugj9QK/N1gVK9ZqTPDbysJPBU6Dz1Uczr8YUJZNvHd1aO457BQP1MS5qd2ZF8s7s
glniRKTXSR9iFdJGM13NwVKXZPL7zZD58xj4gOaXZ3JoHYs2f9ZzAKZohlBN7v5M6vBEIdOOSS12
W6mCeEJxgCiPP/BQkW0t+BdwoQTY7iUzcie3RW0eh3jYRUF/GhH1nVt2FYGhbDGiqr2ZUqLApsTE
XaNyWChDfVJtVuAZL5o8HHcpWEhDaRdt+mwU8cmOODN13jD5wAnawSq3qwGRthrHHWtrk9XNTtXa
28D0H6PAPMoYTjvWlaexYKxKplo1kaJOioHUtUs77k+Nhb5ROow7t3JRNo4fNUarWRMi/24ax+nb
q7hZkM7cdUa5H9ybIXyoahBG6bhDum/WWM1J1ZBTVm5hcdzZ2XCjEvmEynsrO4jFOrvW7G+latip
VfAoFTp8qPY0jS3GKN8q5BnHuLPhUFarou13khoR529WdqxtTJ2AEMJrjyVTJFAOm+nE1AN5FR17
xqw7gd3bRZlxBPBxytSugy7CUOXLt7ADsz59DNGTEbcSi9pFxtHttN+par9rzGRR2NupiBQqawPz
6EdEwfDWLSpOsA6yiRXGc+CPR1MLHi1J23j8wmmHkduibx+r1DmCnjqOzXibSs3Jl5tTmfK4jt3J
rKqlHodnVUf0QrMSJqT+XMqchyiIH9smTOYsTx5UI9g2FROYssoJ3eCnohJHGfL+pHnGcRz9ZVQN
LHGGXTlUq6YZd3pkH6UQYbx0vLcteWma6l7hLPsyBDsZT0Cvv7U48dNlHMBXm/arYSIgIU8SYWkT
Xw/+KXX7t58hDTtLOchmf5guzqDoxxCoFIihswGZqunr+tw8Gk34qmbcGngzAwQ3gPcBx8zzfaIw
DZfskKgsj0yTg9FnVt0FjwhNP8qJPM+rbo3m78roQ8rtyZLMYyS1t3E5oD+K2Ws/HqaLO10kBGY5
6T33hfbEEo9skXkkp9CYBLAGc4ffrzTv/fQYS+aqccyNPGpH8Rz6xOoQaO5PSsnPkuLHPufplIOx
XUtheAt9AMmLVztoT16WzT1bvuxtbqoKk8ZPA+/F23D1edL2dQ7BKMa0UDNUVSYiArjly6zJ72IY
eIGvrKb/JkIvxauaG7/K54TPXp1IviUMcWuq6m0hka9wso0vGZshiV9dqT+ZJbiazjzmkf3kxea8
SHEykKLXxGnVeVXxQEL0m8U+t6YTD98gJaEBiKJvQIZGDtQzOR6jWev6r9OXjyh1l0555trxK3i6
25w/O2EEabuTVSavUB8XrZNss2mwnMaIfm65qF0mirKvqxZvE9Zo1TjgJubzzUpTP0uA38SgY0xD
F8n4Kzu156FZn6ZhYBq8ylh6KduQGRO+lsNErA4e06hmmAqC1+m57QxMW9XbuqVuGqBqqVmYDc+s
AlS38uJFFXWnJNA2rHQ3TI03/3B9prfIz28Zg1edo9uarKoaga+f3zLoKntZBeFzNb0eatNP5mBg
Tq4pXxKe39o+J7BjoMqUMwAnN5mtbUFFzCGgFKzHeMx5oXTS8BQ3+jKcBn8j0FAozrgiffmtCNzH
WGcxWd51en8yLFZxHWKBcd8HyNVEjyHcd1wdp+tvtujVM+v/3qBtkfNud5KFNnIcK+M9ZbFRR8mr
IZUEzXmyBuVlukZZ196GHEjtwhVwlrss7Tc4M99O42U+IvLg+I+Fw2PuJ68Rme2ZeOZ1z9jGY3uQ
6psRhJro4BoQk7txEkp16x1J/HiOoGwwr6Nu/XYU+PE102Ap1GZ6SDxF5UmX8+DVjoNXlz9xXTNs
xLw0A/vPPLhoT/9/vvcfxQh11h5/PeG7SYP65fmXq/qxfvlpvqdO+71P+EzzN1ZvhAQd/ef5nmKp
vxHztwj+MdNirkXw7326Zym/MQe0NJPkHvOwj7me/ZujMbI5jqJaimOp/6O5nqZMK6mPpxC2EEeH
nMfwaJmOZqv2z0/h5C2ZKl1kvBRadhAaPj2skkWOMtxaaQH5dnqhLpKxdNaiVUa4761VKPyI1jiO
3lv/bF9xKNH5z/ZVnEfGAX+BJVKBkA8fdhzjg/xRdkhQ7azp40td6I2YcrxVIj1lws7eeBP54uMj
nugXH8VAT6RdFm2cieLoIZ+110zHI0VKsRgwc+06yAOqWeh3RHqeo7Tuzr1+nCkEgjILqSbhd2rk
BVapinPXAnoznJBg1Yx0s76IJ/3IYUqniS1T5NBELumjjCWIdta2IXNTGRtMy0U2ttRCbyFcNvuY
vMdK0W1lJ8q+2ZxLmSs/YXAAVnPiYAnjXmHz67u438Zyrs+/NIii+DCxj9pH+WRPLTbzjeOBfhVt
DIXERf0+BLA1tCsAsPYxZNm98nLXPvrTFoZ60BZgshPzW6POgmW1XEgXOHEC35OAk/R5m2Gxw4cr
RXxY4PeMPO1miFx7Db48CfM6ZLacNSG9owIhDQkBeBtKFlRLtUVvppx4G74HEARtAVjniTvRaI32
FEVhdYaUpdByEBIP/I52g/cqdjs/VCCmZwXxrtDbijpzVL3T3+0kDhQb7UYrs2zbCW7Sn9GSRB3h
vneTakFVEnWtnt+8X3NbOw5hu0GGL8axJYDr6aK+Vk0UK2Fe26PsMWu7CsVWtavXQBQ1EsNqc5Zb
Xbuxoe4dmYqZy9Qes5PKemtuSJF/F8XkhCCuQwBPCxmBtx7ZZxSxbsVW/GOr6qTgre5jyyIJQCja
N5F7LKfIUGoQGQdqNRflLm2NNVB8jyk/wL929JHagFgBCzFKNyPKvIjTyPYpr1oYmwiHP/t9twRT
mzzULjIlvi4FB6NWXZyfIn0BE9vFo5gp4RvgTiOCNOOmz1ZfeBeCZVtYnQEro8xXgoZR2gOMAMHc
kHyYmHaRf7catDvd+EENE2CbuVNIZ1MxRYXan2dIsZxpTfbA48kP+lEsJxBmNW4VbSTl8KE3FaZx
5C1qNIKXWjeWn8WlAK8+mUSTNlZikCr2JXPetFJorw3pOyLa/SGyXO2Y9Gi4oicy3rYxDBcZkXZi
NLZXxzPFwDqHHMRw4YxG//aR6gv2CD7XoPTD3Ax1IVenaw/mowdtvgZmFlxmbqbO1KFMvgedtwEb
09+BLT2iaoGz6R9KtSI3L9LNou5TjlmUuYDn7ohqjlUq4b5uleTgl0Tmed2M3zxXRokRESfkiq70
0QjuEhs1BNlww302lskhcJz3rm067kMdu6dPr8I/mYKDavjydnFkR9UdDAwc0+SFJX+J41lKEjS+
6dsvkRmg3uxErJVUJ4CbmpvZWR2plMXm1/LXrp/K/7b5dV9QiEASwO0vp3TWTVN4pwKHGqw3g/Am
6+ZuApvFzaAXxdNlFh+KOeqMYdAD0rh+q0/UzAcDOXVBqyuZ91LpLkW/j91+7PFRb6gjBCOxxz9/
R5GWCPN06dVgs+hnqt9dBpi87V3Th5dv1vmjF7VnXq95t4mDWbZuY0zmlXb+CLAk8KLHCrzCqg4y
e2OiHnyLqd02gbLejfVV743phQTJ+ZSQx/PQ7/424PW6Gck1LoGlN9/SFpn6pKz888RAr6D0ULdA
RzqZOeXgP7RuBRNJlvt9C64LgYLiAiMd/6GyoaDJyehui8BI78ZGnov6xgEfNNShClgg8h+U+rwb
euubO6TSBkd7fSmqvVbf1qjY33igMne1Tu7c7VBuA8Ky+Ie7z55WeJ/nNo5l4TygTglZZjjcij/P
bUbEYyoT/aFnHJ20CHKZBBYlGh90eTRJ5qnMGXJXO+EYx6scZVg5dkCXenWF3MugnciZ3Q08sCuQ
piG4IMLcpSZHezC/71uiTrLxFkNjffOlXvTtG7MHWjHt+9EcmsVFqZWc8T85nKiTq3BN9vXSMnRA
EU3T7eU6QVa5tMNlQij6W22G59b0cEMMvyhIHt+Jrqqvv3dtR/VT18yKredM0i5CnALvTJeFjpIr
U9ILBJM/5fdGUjt20215JFddqCNXN23JsR55WLn571s/t37tJ/V4WLO4etv3oxUojHKmlo0+tydh
WWmSk/34cHJlG2os+T6qxNZHXzwAEAKedjWNbF/3k/BUNGBn9NHlY19RZ2TpudrF/Ubs+nG4r7sl
jnySIrVb9Fm0EoaJvDyxGLGV8ps51MEswBv1ycvrwxh5PkRBaAZBIDWELLEbqg2nPClBUs4lI71R
4P6dC2WZHyWhLBMExY0KBPZcaNBMbaIklGV+9PyP9hunb/hxlI/v8/gGUfrR9vF9U9tH6cf3gXK0
tlEO3RMZGP9g554+7w01Q8MOrrCoE1sfH5Fo8MBJmgrhiI+GL519cKv/ECogfv3Tg8zaSdN0m/WJ
qRA1Z9Hz84Pc+4Gk+qUmPaNmcFWPpY34QRgeqsht5+KJZkrwvUk1+5KpD1iaH/VACL9XP+rbkdRN
VqjDNIX43luB86m/qIc98D12H4PSOSFXgNoMDzdS0z/u2retqQ6IebHEMFqfOUKhWtxjoll8iLtQ
bImOvB11gOY6RxSVbwe3FRcf1BF3BUFmLrCcmqWtgwT3NClGXEFe+7KGAuVUlFM7vqyRJBKlbKrS
XC8HPJFku8B4mJSxQB0bOyLr1XmndvlckAkLw5+Hrtk/JEyTlx89TOPZNTB9ss0t+lDEOAQX+KMM
0vfvx2Pj57QCtgVcRBa7yDnKKhjMr1cxJ7xiMQbZz5IXKwDDDHRWl2JhmCnruFGla1HAMa4zcuk6
D8zsKhgeIS0SCg+9g2mWzAp/FHNXZlYYdkj2T61OYJWXSNQsZN43xlioe02PvU2Vy+remLaA/b9v
ibqP1gzSJzoCf/QTW13QnZR0DPad5bAG0dV+Vf+wuBU+t6Iha5yeRaH37n0ruoy8ZOeiIUcvy5iV
037KVCkOI3qLjk40OLO/P8fmvz8pFotDYOMkxm0yqNM1+ITx8Yw2kOTe156NFJ7eJyDoJLryCWgq
0KdQ4YBaBNXZB8QUohiwgwDnpDEw9KPQx46qeBZqfoVmEaalHyLZQUjy1yFO/aeq2r2DIUmJA0Ld
OFK9zUYohEc5a8MFFsjfij5QtkZmVOfVRKHVpq2pHrnDYfPWNwrxNdGbaNfqLVxjNXMuLCvYlV2u
3WikPy+mNqFR9qMNnpd6o+vddZbFwzJTpUlKMg93Yivshvet+MfWR+vHltdZ4S5Sq3L999dG0f79
AbAt28Rl3ZYdwkH6lyy6b/luHBLLf47qFNuxpZU7q9IfpEOMWF8uoWsjSm9VFnylWZk2iE5qtjOP
38pTb9EeRsFw1lklUrS2dNAS32jXg5N9OoxoEH0DE+WlOsNWwc3LcB5mI+RPNT1lkJcgvOy9AUr3
DM+six4y7kPnToSDOpWvZH/slwhpuIcC2agtVibF1jZ97UAoXF0qXVheIe4dgmn3vYfpiH5kydMR
/w9l57XcOM616ytiFTPIU+VgOch22+4T1rgDc868+v8h1J/V7Zk9U/tgWASwwLY9Egis9QbT8+Oz
Q81uaypk9xuU/b9R8ERnoR9fwy71MAET/QFPAu9eRiSV3d8mEXxRadDdNigADWar3ggpYN2XYzEL
2Sab68g1MNfbZIUuf7bMeqN+cId8kcxmVlI/HU8FfRW6YPBl30dEM5TxShu8syTxIYiVbXTPC1eS
5if7wkQgguey9xPyxOl/tCULUAbKPsWNQCPh5HuhB16flcqDa6abmIdh/m2WwbpEDv8W2Yb8Vt4J
PUVTy8qsowaU/lO/jJCD80wZep1kzTOreebHY2WE7JdhKM5dHiu7Pk3/87E4h//HO9v524fd0oHZ
WRaoGZLooA//XIkaG7w21rHeN9x0VuAR7XzRTiUndJVjuq056VE2SwSEF1YVTdT6OBMu5PCnQLRj
hVhewmXQMD9DRl7D5SNlUz7SKay7RDewcY4AiYemUeiLBrHM2+Ioe6beGG9j2S2KyNv4cEkWyLmU
SErMM+Q4WVsU70QSbycNyv9l+NdTNLJIi6pK8UPy17/ZPmpRXqarqwNkjWnsMfXXskftzQoVIgff
yGuEvBvnkUB13KOC4VlRECG7LrceMl6bRhjeBvHYmfoM1rlgzw4krstPsk9eLDILwPDmGKcXN4U6
Vns7aOBEX2PkXeCioiefIJtuYbmHf1/uBLnr309fYuY4gGw1LU2QrsYp/M8PQNtj1aiW0/COwjuH
mhnQBgjaHKwT76eHHPnYYgn7+ifSbC41XLV7JF1V72D290vZlJeueLKzqTzLhg5AdwX8wdvIJrQU
6+RH1oNstV7WPXah9zNOSkrunVLcklMyL+f7cVTW0KeUozy7X87oieMGm6CDv3CNM+Tp3W2RHsEv
mKq8fPkg96lsASsiMzO/YdAs/r3pjhSMGlFsSPdbJyPJH2VSU16KOL33u6q4lS1KtsM6MYS9vmRB
o8q+xufaaCw7XswHE5LlSt6lqKY+lSPuOfP5VPabY2zizgeOs3FgJP7Zb/Qqr4EoBKuKXIf3X28w
81M+R6iWC1ZIpnR46Riy5vr79sIFwe8WjfIe1/G6mX0QF0qFOp6WA0KUm4Xr9gCxk+HW+So7wqwg
VO4fxtQoV/E0/YqXfXLmFE7DbfeNl8P8VIhnv7Yafz7/8o+Gkfgp+JbGAzrd6XzpBAV/s7y/bAPn
vSBZlWuP76TxfRHdmK0OkJWEYdwk1qOrdMB7EQ3c+thDP2aTHR3hY6BHMY8O2mA9zhNMj6VddpFE
Z0I/+9XU2VZuVxU3blcsg/lONnE4b1d6ouU7aXkQeP8blcWU66gspshRdQ7+NFeL1QzVVXRtp2L4
6Y16eh/Mlqnyovjd96lAvlm25GDrJBTW9eonNhTZfQLPcoX+jcFvkmJit4kMH8UOlEWirsaQWh+t
u3JU26OorWJt1Z6PcL6yrLzAeJ0mvMr9Mt96QxvgoVkFj11pBI9aPKxdv1HuZBf2UTlnkyJY9UgM
7au219du02abQAm7pTWLP5am69yJ+a6w0P8lQZbsrwND7JqnUpmWMuzaLx/SNln32wDp32lhqAr7
x9BDebOrShJWFKe1qMjvcf/9JtVZxi7PNlLcxZ4lXbw2v7NbB6ZREPzHu02z5qoYW8ZfUHqTtc0G
349PgYuZt0l+88+1zSn1uhlrO3+vcdQFfetV+yZtb3FnRRlymG3JJFtZ3uVxVu/tqr7lPFejUzMH
z80Lq9k1zomaIMuSh+mucN3g0CBnfBIR3iMCSv0jLwt3UYVh+pdIUZBtC7R3qsSBVRvr38WI/Uam
Wrc6OcETSXy8clXU5U2Ox6tyUsExSmMguN4LV0zbFiMT2LFg33/oVDZX2UjZfZpfPdeLHYQ1tktc
rn3AyxeqNviAflxt7bK9a855Z+8zr9ql+mC8GFEATKEwrb2VKMbLLKqGZUpxbvG/PUeNd+T7En9B
8VcgpHXDjxLfyDt5cSbwNIuoa455nWg72Ve5HRUi3Ve3l2Mzhacn7FPRzJuzR/IQLc/m16bsk+fu
j9hL2DzBVoq1Z3XNvp4dPa4XRN/GY5qkuzRtdHifPviK6+ilLQIKVjYWTdIverLxeYD4CH3rfwbU
DUvUEemckwzgA2lejKm7XA03Y6T2y2ufDKGG81Vrx3rbk+Ot3iPIgkgXDTYyJzbHr2L031LI9qjn
hiPCtmn2olXRpT/3UIkZgyhak5kL3oy8JheFhNmdmWb2g2YiIzT3WyRINjE2CNtMERlFpDEAneJJ
9aRu6O3HDIQ7PgAbmXgyAbnODZk/MmFgfjSSOczvfgvzcVyMkLH6990CJNW/faXYIwjdxnyX14xt
z1+5314tg9Hj7YY19zvWpPVewES9kRfFmaJNOSaoan/0mQGsalAQ1a+YLEnUG7551keEjP3UlPGW
Ombg6vmVRNk8BsqEE2vnkhidL6OF2LnJa+vaZYe1uhix+dmVem5ewgLDjje2WjtL2Wf0sbaySrfc
QGYZ0Guv0702lO5TaWPZaYPe28hmMZnVLm7gK8omrAXqgTmqo7IJJli76xBal604mPIn37pMlD2p
3e08bPXufRcREDXNjqlN0rk1QVnKEtg4H0A+9alzX/xn3LVPmbFal1rbp3mt4YxHqweSMin+G9Jl
8Ze665S1pgdsrUbfO9kTPgkJQqpv6uTv1dm96s/QWLALM+dQq+y6FeS3fotKpKDy0gW3znwpVdK5
qhosgzAJoO2hwriQo7LdO8Mtx0ATg0HkKBeyz4VcflspcQMedMzWv80rFTwKE8iqN2UQQCmcmq+T
cNUvkc073UxJjslmVfTmFgGqDLVDRmsdlXrD6T1kN+fgxAuWOrZUR9n0lfJVWEF7Z/uV9iWIUXgx
rB8tIisL00JbcLTK8FTY2qvczckuanVHzrfhnchdAQ8DUjQIVg3tKI59Gro3i0Ijl3Q9qV2PZXJU
h2S6+XReUzw13w9a6BzcyWP1adoxOpShuQ8GNV1EukPJHTdpY7746WwxPd9NMIhZ7dzVtUveyTAZ
IZvyojaiPnqeVm+pumMm7rfOVveEsc7zMETuGbVGPHGm02zD9MUd7wLRha+qZ3nHycuypWzqbmqu
hI0MrmzmwO87+E1n4H5vaLv8FWPbvfJtFH3cIE+fMQY9SqUV2R/O/Tqc83/qF6i1H8KZdizLoYPt
AqGfm1dOsxy4lk1lxVT2tVOzKyZ1r9SqcfLUAFV5HfFf2bxepLblrxDEfq3SDLey6ZP7QBF7nlyV
eoSf5l7qXUZuVM4smmxtTIZzGjiGL/y+R/4oM6dlGNjesSMzidSBx5c9LN/MGLZBpCeo7c0aTqVu
nkDst4+OGbiX6dMc9ml62ior2c+RAXvqMLoJSwdZ0w/4g5FDC4iQJTjIPnYC2HRNkJXniDETzdKa
OC05rR/fifY5HDzhQPRlm4BzLEzYUKkuctCyz7I1Khji2W3zP8IyVIF6tskYkcAPMsfzRHIvh2Sc
KatYN8KNZbQBUjOlNw+Wpg0UorPv/v0NAdPl0xtC5wgPRAoCowE3lqryn28IkSpZ2WVd8bVARXWZ
sv86ql2IS62BRGy1uNzboOmOnShUrDdsE1DgPHQJkEOXS2UVaO9go0rxs9x2UM0uiehibjp8NtGc
UI1nL7eLba7UyVru3hFm/TUadWn+4PJVlfgFiWeQdy0Q00q04f7af4VC9P8blPESE3ENc9X+OZpq
UNPZAl248DmOhjXKKdOrrkGow6tSIcVVja9uPw3IPg7Bbez2lzD4Pt0pHbBrkRsedhfqxrNw2b5W
Ia47oU8VjWvwp+3Up+b1ybynwksV4/pQ7ApuGiNy7lxY1bIuiTT+g6bE/YtZWVBCo6S5cZXYvcFf
FaVgJUpfa6O6DWsS/K1MEGd+45893qULrWgQabHY+/a6euCtPb4atZXu6rGiXjA3ZRgii/1NoXUZ
visjAHkKIffdbG8pP8v+mD53xaAeLh9mwy6GnZFyIJIh8tLMwYGdP7d9rh6u/ddY+czLl0ax8svz
ohzKVT0F1ZITTXwmE62thtpy1xCzo7O86Gn4dUpNTCHmLq/XnHsvfpUNOScQELyNxoVhOwf803OG
LFb/Y4sF/vlvXyBDdznCAzKayWyfTy3IPiNDEuTFV5zQ08PV5RqgUrqMOXxgBYDS8+qTCfZ1+OKJ
XaA1VpvFUSZcGveutf3uLBuIqdcrHerTVjaVoQXP7g3nS7InjtUfZS5QHasckNaaFS69YbCQGXRb
f2UgFLvqASvjoNC+hBx90HAIAPBMk3tnmT02q+1kvDiZGR1kn3QXiEaFWpxXbmVrGs12AdYObFPf
FayAeV6bi8xDCg088Vr+UGgMZxs1RjNfZo28vA0eKFUvbQR1H2VEZSYUcLIk38tmCT/70M9ZAdnU
jASxuDjstwgAZTeFOawadku3djGSNSwb8owa7pprv8X+J3DazF7JoVpRv7qFY+5GF5ll3/eDXT7i
74bvj3YORI0FB5mAsx+P3WqY76K5L/cc/XQRPRWx5vKODCmlJ8G9FeiUTeZLPdeXZD+HvnvZwgNn
TR3bPTp2LO4npXuTS0ed+9OmKxTsL6veP7YNchhB5j00yVCfJGSt0bN4H7hoXtjzki4vSuo9oLdZ
n2TrGiEhb3LWxzNkROgPIwxukD3XdVEudrpWB6fG+/6pWzZFpwdoVV7GrkumXB/lmNd+vy6W8q40
T13tYMowv6wKvK9uDGp1B86NgGEiC0UyDd8aH0oNyaEg5I9qRV/aAIZS2pT5X2Xa3LuJ6f20m/cu
G21QEFqBt/2kf68b7etMiX7zsQpcZhQ8DoXOgVqffStGPRKnSDTiFFp1vs+0+MHBc3xaBXOfHMic
R+DsIbt5VPEX9kyTxlnD317zOEOWbHIXOwY/eHD8wPz2cZP4aA3NPdH/buahRhN3StDFR1tNHPS7
ahwy+oo8VDvD0mWnq4HgXMGqKjZZL8KHMEIGo8BwehG0jZosa9PyV5jquhu5OWD1qR6i8Q4C47YE
xHZzXf8Efw20OlgTLksfNhtN4Cizj46/79EgeiL+VfPM9r0N7XTRaRR7YMTWB6EWxrqsqCGJtEZw
j4i81cJVU1XxKW1bcYvgW4HivND3Cup9a91xrWPByfVYzRfZvF6qUt32RhLsr12tDSjeQOJi+qJV
dbsl4b0mCR3c6lQj74fZ6chRIpsj1SS2nTAVb5E7UbcJUJ9dymH8U8z7cAgiTh4+Bc4y2jph4i6M
znC3UVJNBy3FjC+JG20DCY0Pj2may9ryxEsprG/DZGU/CmjGF7W4yR93SlkN7zCuET1oa281zu7w
TpdXjzlsclfXbbSdnPIxR4ZrrbZxvJGDRtiIO09xN3JQdvlapiwasld72VTQWjtavsUBv4+bgjxN
8pxERnJCvw4nTgs8LsoNaroOU8ohQUJxRTXRJ1vIW9kpL/E8fLlT4dEjg0Px5Rojmyy39tbBIuAQ
I+QqFoNZhYcgjF6HfHDvPNSn77r5rtRDBb58Ma7lQB/nww7ZYwXSyCQQGQpZVmbXI12ncjaIl6LT
vSOmIzXqtXjrpmY0fZkylCBaS4/O8uIrzy1WyvcKGcpzgzTsURurr9dxozKddY+T5Ur26Wr9l5MP
0czPAGC2TeC2jL1f/NVYKcr1tp7fhKhL32raCGtwxlf+Q0Thq9qmL8xXg+PZ2acOYHDIeJatyPJ/
a81j7DQoOc+RuYbW3kdrHkPGNf6RUsw4JnkLQQrM3OX7ViZkiAcqApftugQeZ3V39EwAe16R3o6z
xD30nWVV4RjkQf87q1q2T5Jc+WJm1nBTGokGaYWoqOjFNsLpdC1HkyioVzCZQBcXQAjko/U8Se61
pv3tcND1MDIrL/r1E0RQDreNH0eLOnaMm2HSz20qkPjOxjBZdzalXg2Jh7O8UC+9HYrcWjdefWdJ
4ArMpYFTeEOmd8bDXDqT0cq3nU4p1fNxwJzQD15L9+PC6DKgsEp/FwX7qx+y7L6GBpqVIpSBZXKS
asMcqgrF3XYF3Igdwvo6agvIY4AuTX7UgMtmNUOROiHp5KbBjswFsq+1081QaNpRKIsBumqFuMcF
zJOEB9eeOsTQRXXofOe3fnMwolM+5e9oVxhnXj5LNYGoLTMtueMt3bAvzrIVeeJV6zzvkpfRSYIu
u7bMD3Kw8xt3RRkt2cpmaNjNNgqFvpJPs8dqPAhdEQvL8epNp+URKU1MoSYk+W9UkzR8hSoMluBN
8M5376HTYv/ZNHiBFXpqbFQMm07jXA7hNL2tKyX8LhJjJi8m7aM3+cq2DcZxBwqpOycToisyJIrJ
toAC+Yp2A/9HugDwmp52/1ELMv9hMylUITQHvrFtGZ8VGAxwnb6GhvLXMIQ725XtvTZ7N8eNHh+K
Oi4X4JSas+wroOez6OPWIZtyYDLE51mDokH3dRvl0bLx2puWzuCmsBDb6w3YihQBPF9fk40CEiCM
pj7KCwJV5Sa31L8mRakRURRDgViJXh/V+SJDZBNxTebJ2+vk3+bI5wxj9fYfp1cJ7sh/KxnogvcQ
bG9w0CZIts9/r7pS66BPjf5N77J0k/rYaEt7K6RCxEneIf09G1+pzbkKRbSXfdIGqy8tBqgD1Ft4
r9Hiap2V6oa4ibvZFTn3OYza2t2nu05P9Evf8HH3/x/X69WmsfxpK4taFoDgRWCSWJPHYtn0zSg+
yiqWbMbmEP3WlKPX4OvcJu/QAf0z+Nr064p/KFG8pTpo4sbJ8/zOGeNdOqM75IV8PRY6rmFsScAG
j8nkZne2MJamrpbvVTwq+HhnzQM8DX1XxBwiA7zmORcYs5JtZ39Hvqfm//Z3O25RqU0GVHo1lmS7
qIuFMyTZqz+y5CvBoGFEQjMbxJOSi+wh0ylKg867NVwjfQ2TvIY/2kI1kM1omuCTe+Opj7rxi5H9
wLsse+2TLDsapjN/snkWTINwlTtqfZCjo6ks3SCrnsNQHThO8BPIh6lp6G/kT3BpIj2SO1320CIb
fq476zb1A2uNBRrkZYB1q2oQFiWNwrsPoxkjG5fhO1+Ot9DJjUdDjYy9HWrBprYivJHFu9Jg8/lp
IjLIL//++Ucn5dPhkxSVjaKHrVu6qkP6/JS9mQxWTcW10y/2wF7kCzII2KQGkT1uoJq2+CUfkab1
jkFXPgS+b25lS/ZTWRPV4tqGTUPmHRjYru/NdD/aEWe8wMzTpdDRbxbYG+6NzhrOZWkX97ndLv0q
Gc+yK8uHbtMpGZqJc4QcMHX30a5aAINzl4Ccc1MH07NsycvgaQXkLrIqHZDfdYTC0wbrM7HNW29a
S1FUNpnBslKb5EZKpg4IrpJAGZ9B0qEYGoloiSat1cxwqGmpI4S9kl/iy1f+4oLX5FvTxFmyVdFd
5bW0jdypvjMpel0uRWzqCzOxkt8GgjlEzhDzDBmcFfa7Zng2/JkCflzntxSn3Lg8Nh93lRyRbQAP
Dnrjjvg2FC6A7zlQGdTbRrXvP+UBZPPaF46LCRTbjezJeR2drhmFRvdLqmyoOwdOFhxggChf/Mj7
arL2Y9BDq23uEhMjGCRQ0gcVIxjKTsoXvQ1QCVZN1Itm5xdISuHWJtVa96BTzxBwsjNrdfRQ8z8k
iLG0UCIuZdDjTlhE5VH24bm0zZt03F59lZR8/J97kvRZku2r45K8kw5LcgrHvtuAJLPeacPucogL
SF4csGl4ljV3WWWXd2bQloshd0GajwWHPZ9U8jUOxwRtgW7qxPZAM++00EJAGM2HtTE35UVtfOsu
M4uHGdF7GCsrFCjyoqSJ/s3iU1hUNuPiwo5TJ8884gsQ3MlLNlTxrTPeywbZQNLOZJa/5KhB79E/
SM2FHBHhXHwyNdK281SXD9PRaaITK050HmqBn26f3MtWYceo/JCHlC15SRNKXFMDfOPaZxYBe/nC
WaZxh9FUNX6vvc54ju3CkS2pPxkp028tam6XVp3q+nMcI9U/z5ORHaSoFalX3E1nVUvrQ9+y6Yfp
onQp++Bh4iPdJwD026Q8CMspDkaueZTbRJslyHfN9xpqO9s0SrKFoOa9d8px3A9pm9zomPRuS2X0
blvc8NYKdc9znhbhysyC5jmzSjwDe+oWQxf+QLkr+mahKlKjJwYDIIwWZhdy6Khn5Z7Yhyw/Ju1N
WirOux3UPz27cV4zN3cXZqGlz/msVOc5kJH+fUH9G3PXMYDfcHhkUWUxZfgTmjS2vSDry1o8B42n
LuSrty/acolfZnKQ6etBgalaqGpykK9eOZqG9a9RVUPeTY5e58pRHfHjVs+Lh3+af50Q6CCMrarS
8ePBZBNzZKzBJS3gygiwWyD3HIY7HfWV2bnHQW/+xtTRPuK83D9jyFctUY/un00O7S1gV0XREegO
i5fJCacDGnxzRZYmmUJ17fjGyCJJ0/YFUPqyKU9To+UvloX3/Fgm29ZCIdhvAhysnLrcWp1uP7eT
dZYHwbGZgoUD4Pkx6i1rV/tqufWbSDwrnXEOoUohKRKYeF+VB7XOszcLofQV8onayTQyzEBc3Vq7
WLB/SWsbySnYNx+haY2YoQwVGPJcQh13eMn7QlnBmBQn04GHvNISuFNR3h4bN2BP146+c9IpwZ6M
pnfe9XQ623wp31Wj/CGCwX4zirRduKk3vcBagxJp293zICBhpC7S0kk0uwu1JClUpUE9pgzMuyxT
8DgUVXDrVYW6HVqzubF7U+x0ZXAPriPSg6Hkw170vXp0yjLHiQQyoBviRNAOhbgtEG1d4zY93aPp
51MC7NtzFuXJKgqd5qmudM7yetZ/YeEyFm06aK+hwKSiLnrlq5imV36T6hsbgJOYSvHD6tON2ebB
wadosyt7fp3OzPDdy8fyISvK9yEytDfNR8279rXyENcQIbUEici5H5FWsa0AQm0GX6hvgW/tgsQJ
nvr2buDLvZ9cPDMLqNIwpepwSVEr/maWLZo/cftjLB1/0dpt8Ywjrb/RLcU4NogLnxzfwnVdLf2X
uLe/9O7U/sBwHkEXy9zYeaTvRs402JzHLWblnrExWrU7CtCsLIiI47dVUDzWacRyGRjpu1VOG62o
GoRvEMgXceFgmKKIy0U2bapx7EGsYCUHNKH11ULeqmnErQy63LrzdKOZMsSJfnuMDMZcol8KNU/2
uuLWq6FXkRScxUZaO9M3GDZhiSRtARQz+2EEbxhvTd8yXszLocrUB72csp0Smc7OVHz9Xgkcvnql
KN9rv1rW85zMcX62upo/F6kZb1o+ekfLgJmtaGiGaxpGGrlXqbwWo/TAavgYyt3HfDHmXYrsr9rp
0f/ouvZTlXyUrd7TIUUkKFzIZ/w/++RD5L8wdMlragATwEbZWkEz8Z/arqxvm9S515UoeJJdttUc
aorJd+rc5bhVCoEyVLdyMLKcFFglxQDZdPWRfJy9NYWKNHY9dFhVpLcGXj53dqM0CFSFx4tNt9Zh
5qtZBmKaZLWgTkeLTnfru9Iw2ke99X8La0dgeThvGbEYdwVpuhSnHlxpSqe6GSwwnPIimynCVKvB
srIV6SMUnrXcv4/CA9Rc8pWyS+mtr4bqNr/6JpsvOjCAci1H2WUUx39/n5Bn+HOD7kAYcYAEUlrl
y6lp6icATmlk6ZTj0PZM/ZNizIa1tjj0k7O1ybs9lLOQ9OS6W2ibv1rz2LU1j8nIZn6tD39E/n2e
jKznZ378Cx/zwliptn2VTQuv8yineG1PecW9UesO7LBjj9h/0iMvI2AphIUSpAj+HKjthFOATBQ7
Tqqu3Co7BLEFk2EuufEFz2+tytvJlryYdWhtWSiQjreQ9QGJ67TLznXGLQrOy8kWDhzA1r0TY+gd
QiN6CLPIvZNd8k4JKde0/oRK68cA2a1qk6X+eBu5CFClk37vz7vWMS2LlR0rJbCTzHoMNLza2D/E
SKTq7xV53qdQc35MWL0/V1rXb8bM0w6aF1u3qA8HwEv9el/kvbsmGwV7q7HOokiLx7jItnFq5y92
1kc3VktuUDYH8IqsWlazqYaseBnxol8q2sHOi/ZWSbADIyelg7/Pbb7mvZXf+tV60mqg07jM7NlK
NOtO2q0gdPsXJMF+McZdsyYz7Ty3hY461ph+SztKKEMOJQRokL1LDCrp/xBBdjNfNZ6mbyHyaJup
aChq6Gl64gxcrNNCTb/wLvsOUcT7oetvbdNixQKz2Nx5ovI5OhUW2ZvEuu8TlIEiMiVr2BjWK27q
m2Cw0m+akvyK4KdXDzPpbC1syld1YdZLvIvZgs/4UFLq7TKpOCvrOEW/gr0OFVSRLhA5L2h9zHaH
m0H1S9SQqKI0Cvq5izqyUO7odYTYzVvSzKjfwu1F1d/1XpwCwwA2pfHT2IV42vPL3Cehi9wrOOMT
jmDjbmiAsoxhF+B2aeW7HD3KE+nGZBNVSALwfwxRBoOC8uindr1hDz6djBK3n1zPjb2vKuNrjN+Z
KAaXnLlXnQb4BwvZb3r1tDKCgbAkHl+HEg2pjzA1Lq2LH6EyZjytsX6FxTEU79j9yas9fjH5EyKi
UL35yB2sE9sJMOwqq9tEi72lD0HvXctvEl+1v4WqmiNuF2Px7rv6oW6qkB9WL1/iPL1N7dj+libJ
j0zpqydRYrbz70sVVqx/W6pcZA51jXSaapnQ3Rj/DSvYDLEmkhZhO9VK3XNlfnGMloUXuYyD1bnA
y5O4fEvxml/YStPedX1pPAy6hrQG/fGENPLYY9yB0ZZRDPFeHkRkM8Qa/LemHLVzHNDC4sGdHGQ9
tbDfBNVQnJMqrpYD2Y43I50eQonLdZ19YYnyZ20XfxmYMr7gDoSQMe4Je4o/P5umVo+KWlO8afGd
CER2rlEMeqzm/gDk9sqffSo6LHC9HKsqUu/yRJ/Hk4rdfY4twvxmlXkBClzDKdQLa28nwmy2Vq5m
i9Iyoq1IUEAGCplTq3Sy6lcyXfTaCtZAd4NTj88GSR36G9n2MHy48QerpSoxRJ8HZIhd2EyRgY1b
IVDtDM+Nad9LJKHEHsJyT27mLgWE+UNQiASJCWSWIVWqJ0fMlkDqfBhS1QIJkHD43oQwV3Xf+imc
8hx5jvKKoIC1jKNKu58gq7P+4416nR56YMbkdP5yl+m25Zs/K4TkJmP071rT63ciHLK7Ggw6QuN2
9lqhuLpxhJ1ularOXgNhv7We2d+H5RQ+utBmZffoZs4O8QQkfuZJuCxi7YTT5Y0ZqM1LmO9Mw0tf
3bywj1SJq6VsDsr4CP/mThoDZZV3KyKrfPL7Jjn2mtGtZD9WBXeA6sonoxlXmTtpCzUpNmbTsAVn
J38DePz3y7VPFU2/NvNZXXMOuQ7IJkjRfg1nCUeOvh5Xg54mD26ZuWu2GyovyrDbhlFa3vjlmO9j
toWHFOTC0eALujOitkUjJNU2qt85wJRR3B7TaDgniestCyern+MG4cNB09pXNUBbLo1G4y/dm2vA
Rf6jKurNGHt4LE3W1rHAoi6MEbPK2Mf0Qc0pwiB9/q31w0ejm7LoZweYYi8rZkNNXQAvxgd1rp/l
TnjwWN8e5BgVncuYgXzLdUzW5P4+z42rYNX1eMn6s5aQa4Y4x+VusJMITLixxiEvAshZM0e68YWy
MfsED7UFn8j20VX9Pdt4/ydMxT12teEbuRCNhQIvoMRNjIOKtM0G51Hx6FRUsaVtUWQv+faL75WG
CcSkZ8rZ0TBRatgMHAYfuSS/ZL9Z6sn4lpf+MXST5oQgtLEVZPIWJD79n0BO08w0fqKV/5ZTXH4R
bVysSqed7gxRjLvJ0Iu94bXmJlaS4IhSCmp1QY2aaaWFJ7UpkzWgr/jF6JMv6AC0P0C5bNrYDP4a
Y3Q7CnsM7iEIsdKUmIn4VWc8iACVy3LUrXfRf2XLHI2LJDP6UyhpCvZQoGpKfbKf+QpyYPy4MzUE
8xornxbqaNn3Xd+8VYU7vHbOOG5EZpJrnIFYjWau1Bbf2jHpyxtIMOFS+re1eQRcjY/Hxc7NnapT
ixXjufKa5qHP40fpBefmRrJLmxFRmgYPOJJ3ZD6V4Ftm9e0t9QT+FAXMlStIagpHQaU5JJf/AbYa
URJVkJy6k10iE+GuwriQWoFxxG4LwoUvXFx+a1YGNcFERWvbJ+To7YWKKd3Xxi8eUD8ns1Mo6ziO
82CRRcVxNDp8BSYNBQA/NJ/V6fayMVDibyzUX7zGNF6wl5p2LdYta9l03a5dKgrftMsov1afYany
7y8/+2/vPtswSBCj5Swwcvgbw1vrJyjSdqk89W6mgW0yjOVYTt2d2qdYomBXs4EumT95qHKzjKXi
ewEuEIlF469r7AivcT/Gt2wLCA+L7Kkog2RR5IZ9DU9VFKnkoxMIrodL7Pxoa2aTIFWoLy9E7Wxq
gdQnybEh4/ujwnRraPP4K8qV5jJsouwe6wN9l88Skn6uRfc+rNGljYLl1xRGts+mXE7qehGTBQWn
MYGb0OeVoLDS8En4CB7O1fkAwaunGLlgSVOQYx+tMZ4+j83zQLmI/5CVATL3efcB48RAw0C1Df4D
gf7n7oP0jWcCJxRPBqXdVdyOcfGSWHiLIVm5BShWHx1EW4uFvK1aypHNfLmMZOboLmVnn9RUIqcR
NffUAklqTyeJc5FwGHn3CRPzqdn31oh6RGObO0iDaAO1XccGvHMehaaz6XS69qgppbj5P9rOazly
HEvDT8QIenObTG8kpaQqlfqGUZbeez79fkSqixrNdG9PbOwNgwAOQCqVSQIHv2lis9vUSGt8QqoE
a575A0+LM2IMxg/RKZVCOllRu5U11vyiUx37/CwDW/tk4X3gG8m9qhbBj7bvN7Za8yvBbc81R8Aw
UMG+YmQ4fXGUBi8GmB+P8hhDi0Ul89JEOFRCVpMPsRwHFwO4wFafeunoBPrnwCOhlgCyOZOic07g
Q6OtlE79cza7pYF+GX96wJsbnS8IeDzwHl30qY8dYxM61VsnEuHhrRPL1vJ3p1EgBSqkuqoEUznR
KZqvNC+bblfyVKl/lj2TLRIAQLtOd9JNBrAz/Dw1/lc4Ycq51+LoOBWRw2SXLGPtMZeth8Hfixxk
qcn5yihH55aDRF5qNa83PxWJgTMd+E1JUswvRfernh1FmxaN5op8yt42ImuuLrUof/D1+Etqpd5d
acHVrWv1BRlD705UiYMoOmmyJfEenT/U67WquvjWVZtsfIxbbTwFswAiOyCQieez5SDqYr8r9nF2
5gmF1qrmy09ZPAOOE884K1XGP9sET6vamXlWO1P9JFrHVjbOlfPkV0N9UNNYe4knZ8smnfkkD1Zw
rYL+KZlJYLleO3sljc21NKnaRmrRA8qLKtv35N/X4ler2GO2d0asXURRtKZmcfCUcWcUzS9jXpoN
APW3pHFMqihKkXIpwX8+evkPbbSkc+2M1kVMcFH3DS25vNzmvKptNhPZeby7SU4znYlRd+vlCHuz
OgBdjYcjq0x/jVxBcC4wyXwypuh9/cSqb8iM9GmON9rUedXVczKC8E9R6f4Ut/iBiDsK0+LA1N9e
91on783J4B+QBtMKv1370sRB/klq/I1YZ45ZWxxS8sNuH6vtE360xa6wtWgrNgq9ONVWaaw7Z2HI
iMRyMds3gj57voFgwHpp60mT5C1zY+uYeq10sTtcZr2oKb8YTfzgz7nOLiqOZpoZr308RADFnfC+
9ELv4Eh1vQt9R39MskRd2WBVfjR4Tsb1r8yTjdcsfyQZnEMi/PNEkj7WvG/KQC9Eq/cxWdlYrxiM
fRZbDmBf5j0ii3Tr/HXKaraM1FDxt6K1gyZZ5uM320LgnLW6x7/ThUrQ3CWhhSm7kYdor9WY46bV
pk4a5XuaY8DqKPF0TZgkAQQ07W2CyPKntOmeRUSVhixYw+RTUyTlrrWz8KAkbfnYzsk3EWEhPFEY
3XgpeKatm1lvpJoPvQyZBls2ZW0rwci63oyotEwN9Wwr+pQO4Z2mJuWDePnklOhQPIjv7dy2lBrN
f1f63c/z+CL+/dvfka1/f//PcBt2fhQ26v5dC0kz8OPz5QHnJedYSUrfHsIUTJLj6AhK55F5EsQI
cea3HgsgHY7TOqo9CSxZ523bDNkfyCmQtslNnEp9wPQikJ9jK3Y2Jo+q3ag30db08NgQYGIBMo5m
jZsmR5+ohLAWImp0MnmyfrZ053Nmx+q9KMk+5utZ9ByHZG0UM/OOPLertZ9Zxiv03B/ILabXwqml
u3jqhlUKw+xudKSSHMRwDZquhvzX/jBQqn2tyKyBXejGl0hrQzes8JIc/f4uj6Ash7ad31WO5e0j
pa8PFavTlDXkZmzL7mlQ5emchO0fyqR2T2OZqW7UdP7WdNhVKHjX/XDMeqXx2e1jJcJ31mu+jRU6
cKmeFnwevrbuFaf6qvBrz9TCetFH3dtBB852Zlm0+BIXF0x71Nck1dZiX0lu0CUa+zzABre84iEU
HZCZNk9eBhdFHHh9glDMS+TWZp7QzKvqfvUq71t2aMLS+RLkHkKbmlydbAsjebbEeJW24bjRjKHc
VrGn31c8ndzeK+2t3YMoWKFegGpTG1uPOEDda8DgvioAZlZ5ge+vZxW4kk/jNpftl8DIum+2jUtI
2VfYLE9ttDMrWXF5AvQvjmmGq0oPuu++Me4qv8QpsdWeu0x3fhmddGVRvG/YnV+PFoyFMcaxoFGa
VZ8G9i7WsRPIh3rYm7Z09KY82ygjag5Jjd416OqXKWuHbQcubpt7LSvwrLlXC/B7NaDDb23cP9hs
tv5ky4mcjeW4vhfYW+SCmtk9CSg3bD8C/qQFYorQQVtIzoMfRFdxKEtZOUkxEL65KpYkXFhS29gU
Rq5cemuEf9AXX5CYfyjNrHgGlfusVE5yj4iS/CmXlM+5r1h3alTUl9GoHiACAOlPo4gl3M9IbrOz
HPqPDrzug2/hpgARO9fPErlnZzMFZvram2SNi1autqIojea9XbA8NNWuv2vNZlj5Upa96lIUriu5
DU6q016Aadrgn9M3ZbHA4axEsykuAn+Xjv1bvaDXxCQxSdfMIaKM2tgfEsLk684bP7Ezkt2XSfSJ
2Ul9Nw4Rv6SpV459X3efZZsnNdBwvHPC7gfv3f6a2p12GQZrbyR6ELoIapHQ04Ggz43y6PXXbrCs
I/Ll39hjJKJXjPHghOiS3cohirirEdbkyhuyblOQWf7MNKbdAL3ntTYXTc10XNlR2kOGPvM2dArc
yZtaQv7F1LLT7dTSW5ZJzLhst59rY58XlK1KbtDfFX3gHLN6fCjHyLi302bH6nOjO9qPvFeY4UXN
t143uoepwXlLzTErqMLXqQLoG7HSGTHK+NXrTz0m4Z/qOHDOpTfBHS4TaBVxC4kk4pGOhJ+3l/sQ
PxB+zg+p1BYP2Xxm6cpDykP/JKpEY5fX6a7vNd8VRcBN6Z2kVN9itoTz2jKeq1juDn1t4rUzF63Q
n8i8ITEvZeZz2I79Y9rmbjKXihzGZuh3Lc5xg3TGZUViHp69nSWx1u26wPy6VC1hS6wDo5itDa7+
u6dl1idQvL9wQLePQ1lHB7v1HCihQ7oPdcW/9NgN7YJKi+/YShy3WqGV95NdWRsnRQei7/0Hhzfz
Pk/z9IQecYOXl+7s2zC3zxpKqVt1lKf7AS+1jQf447GdYqSn9V5+LpJrVRmgDuwpvaJrHe07vaoO
ke8092PYhuS9kupV9bKLXPJLjxOwBUpW/xFVreaC1EsfNLZd9wCp5H2Hi4pb5hiUKWRRD4rJaL0h
za+MvnRtS1O+miwsVLkyf9pFihGgkbo1WcGHXpM2KFEUv3RIZQHPwle/4w6xhMsfjCxs99XY3Nn8
lHYx1ge7AaOkB9myyS2YgfoiG/U31UyjX5l5AaWJwAI/5geTvedXK9AwiOqUGhMH1kdl0uRne6hO
TsSeoOdL9QMMo9bNanYCyhyfvbxKfsoByywnY05i2nq2hV6Yn6ZJMy4qOJJ14PTKF70fL+RA8HBC
6J1H9raWzfJrGBjTprfl8kia0nrM6v4n3AoelOzasyKuzWtat9FJC32U/NJuvEudefliGN8ipfCh
ZTTjXgmadmf6TJGQLLq2Y+Z/d4DJrRQcSh/HVO9BmFfytsq69oX0BBskRITzxNku8/Sq9nUODqDe
y5afHKzJMQ/KFOVn/pfxbpQb897RMUwP+1muaoic/aiG4zkrgOMPoeM9G7peP1jVcIxhpvZav8Je
ni2KoUkuIQJ8O3aQm40Ad/l8lmvcf8qDgH61CJuDFLEbRK2AftWtvWrRNH2W5S57lL2clGljnIyq
S1xN7/pD2yr+ZrKV7NVJrJ/sugwPpQO1I9eCH+H8zDVw8Sk6qXBDlTzsiNfSoQu7cTd0cfboq71D
vrKtv5s41KNSrPyU2LIo5dD6VMr6tFGU+NUeq2Kdz97CqTAYVqJ+pWKNtMeBUZVWJIKU9VRZxSbA
g+VBBDqOqe/sSHdWSx3KbvBbDB4s8ygiLDEG88G+jX0bLDGVnQ+qoeunl1Hyg42dF9lF8kkAwg9k
/txpydmJnD+sWHMuocb6OqifJk0LXXVSEax1YLlX3tFybOVSQFBxJ/S1gZ4giu8ktXrIumS8L+ZD
uM/GNNuyOA73BSuFtW626gtyp1+1ahh+sT83gVRmosJqG2P0dFU3Tr7pyX3zuEz8CT8OHtS6ZFwH
niN7eZSidVKayicz8q29F0sZIo0Zv1cl+QJmBo9Ju2bCJRfjefJAj6TYW20jUxsQj4nzrS2P1jkv
27ZDdqd9MnIr3Yu65aDU9p8hta2SV7OAfzEbQZGwrl/sGj/yzNLDzx2i7usuNbSH2AlYomakqVJj
F2kTFAEICeB7EILs1RKjkLC59JXGEpAM1VPKPtMKUjau73OdkmrmqpsaSMWS/RBpofWTvShcENzG
8+1HX2OWHKryV1mSxiPI0+moSzBNVh7ayeE4pyZKqWciGH+R6jB57eUAwDpwoBm4bJMAD46g0jsE
0DTTjQe72phg6I0gZEPST8OzXAwZ5sl4LNmFLK1La1LZ2nO8x9HqH30TrUvD9ANEsiQSLHG785Qq
v5JPg5IslRk8tgbauMmsCUpt9cnMx+gykNcgFdJUn+Iit++cWH/m+2M+T7P7JXTwPxniVjJmNxat
4IOVrOLWZccGsCDVirqorL27pvguCmYQyJscj5S1ZVXTQ4yO0kpTmgFmgjY93OpQ+9ipiQ32Yg4R
DawW0EiR0IChpuij2JWNjAmw1AKTcKzy3LbJ21miFfEG2UgDTah+dlGfY26nPIn4XiUybua8CS+V
geSkJEPtThXHu4gDXwPn0MK00tAWuRiVyQsgja5NKcX8/HksMoO1rsqEJ63HJ3MwKsO6irrGzo9q
XE/7PLJV1IhgdrWJyS78gBqcnKGpUo74TXnagzyOhqt5gX8NuOvdaI3JXmJpWar+BBttnFMI9yBY
150h67ymQW46hQoXJ9JfO0h9l6D7MWo5G63tWGwdm8RtEcbWsfZq5mLzmRIjn3OrFGVxaHC9Kgc8
r9sQU1JTZouigAmJldirFwfxH5gJzIooUoPBE3P9JvL8J7Ao4UaPKu/elPlShPFXFldswLcV4P3W
4NUyF8Whd1RQtYZDdgBeG03qYJnHrMf4NlEftPox1GuIjbKJ9IrHB4wkAsrJslMlB89Ue/gbCiak
xUQ+QI8NfF4nSbuKQxlACWS21W4VX36rq5q2ZcNGLQ9DUum3uF5R7tjQM884ijnbIppx4paiHxtM
wFYOGtbPSmDWj33dr2REcJ91q9s4sSxd54m619bKiwZi9UyCALOsuWgUaYpZLIY9qVpEWKx2OGAU
yP/vkGBK2IvNv9telJ+irO+P/NZCVsz6cDVQ0nBHJ5l2huPZp7iSPgc4/zz2MCT1tqqf/XGsMNe2
HwqtUe4KX6qeHa033A6Nap6wFHFh8XZKR2rGa7w7IwdUBXXLw1LL/KFMU/Tip1F1COWAHSHHj19M
2DIbva/DvWiFEYF2Z6AXoFdoxWYCldtYepJtXcYxiTXsXD1YHbzFIDfxeguakyVNAAY7Q9sbWp2s
URExYUzFNYJNoMfggZufUlIJ+FfY8pq8Pq2jrOyKnNe7FFsGKZYA/U5gohvRV3U6f1coRbu59W0B
nfG2J883BzPDq7f5BDJetMYduT99nMpbEZgWL6xxkLciOOsT9jcHHTnD+bqyH2ebqiUxdus7DN7a
YkN7J4K1rlHXVWB7t9Zk9odjT7fc3/qGPRtvHVtC4k+Ip0By2WGNd5jx7A3L6e47pO+3aTgVZzs+
gT4Jn6Xa7RS5f5YUq3tO8SmDReVcch0Hp7KDvClpQ3/fNuiVhZ0Dd0jCg1TUNcrXckJX8FbVIVZw
p7PZ7MkFOrcRK+aTBNLR7u3+XsRnVZigeZKFO3zq3NTKeqZ4obUGbp2cfB/iN6y37xnJqa9FEagr
UB7GfeoZ0T4c7GPTTOlDa8SfWjn2X+Ajq8dYV1C8dgb/pYqbZkuufdyKVsADtcseoXMUrblePaV1
3j34oa19br/WZerv1SCX10VvVCiGmNUa761qV2P2luJpgQySU+AOsomwyno7TeZTXUlL1X0X8O5U
T5ViG4+kD3zj0YOE+dnkz2NDFhjv4PifNb5tVy/Jj6IkGb1+H/njoyhFU4YEatZ/F6WKPxr6dliy
3VoGn6cK7SB7YI9OjBo1k7b1QKasI1PS7kdPfjvo0sGSev9+qWbCX2Cp7H8SQUt9orfKJhjZKf7Q
kPsRPsUebIElWISQj2Ctg45Z//tyXseC0agU5RN8+G3YN+OrPZneemoANY9KJl9klXQX2Om1jdYL
/Hf8wsIxyO/EoUzUt7NEM2x+3hnvcKt6q1N+nyV56mwGrNtufZcGESxa+1by37VC9vHZwu5rshLk
Xm+j1rWNTOEEcK+FVEyCZZyyI3Jhb4eIqcIxmQ/ibGlY4paGD3H/IGQZfgIQj0XdfOGlnyguMcuV
/kHIh6GWvn95l395teUOlpAPw9f+DMz70PzhSsswy818GGYJ+e8+j78c5u+vJLqJu1S6sdy2Qfi4
/Amifin+5SX+MmRp+PBB/PdDLX/Gh6GWD+y/utqHO/iv+v795/KXQ/39nSLmUDE71HIXgRCmdphE
Z0dx+Jvyuya2ouiVJfZbr1u5xRD1NsqtfOvwrtt/vIKoFEO97/XXd7RcdYmR2XeeNkvL+5H+r9dn
McPSu9cjZufLFW+j3q6zXPd97f/1urcrvv9LxNUbOBBG2Xfb5arLXX2oW4ofb/Qvu4iGd7e+DCFa
kvlf/qFONPyDun8Q8t8PBaa+XY84/GBCOdZ37RBYmwpEvCuKQTdLBuhZDXKHVjBahiuXtreW7DpX
d0mNqV+NC+pONIvAYfTBxAFeOUNSr45qjmfTWjT73UbXE+cC5hcGnajqJic5lQ6zwEIt1J06atZa
Z1PJhffnss0A9HK2a7uZuQlfN2HaBmcPSc+bf9swxbgz2/F4EgfVeuu4VC1WcJ6nRUjiYvTthbV0
0NEHdrM0jXfsSZGPktP8EVTmXi+z5g6xpexRIvtyNpzmQbSJqJJf7tYxq2ENLTx7FGFqjJVYQLLl
KEJUT2aKlDE1ZVQRkBQ5GC49UlbLQP/w6qrdPViG6pFE/Q9XdkaUl1Tvm59pZOAyu79MILHGlYn2
x0WUMZsM3CFx3pqXBv13iKlLhOQDIXn/1k30FQcR5/wexSjjYJvrkHeVAkaLVkXsAohTcSBLiEjp
Un4XFNv2BfTluHvXB+Tpn+HvahFXTGx30OQemT40/PUYC+hOCa07cZbgXdF1WXv5UM+EKFwzP+U7
9KHD0ATnLvZRa/hzDBEhDgXLW1SgzG631ImzILG6PTTInx/qxSBFbZ+qYjKPolFUWUm/TeWxP5RK
b4CZZJ8QIyeDj8hyM7NybvWiUdSLs+UAvM48ieIkBPDEqc1mildFb31Ft1oPvXWoVQ2eZ+mwBQLQ
uWE0qc4Kfb36YVUqJEkwNZL41gKhJm1nDlvMdJuH3pebh0oprKPV2c+iaqlHfuvZSBubtQah4pAC
R96aut+549xT1N2uIUZaKsV1bMsfb9cRDXIxfUnzqt4JWq44QxTq6iQq3vKi7u3Uk9oTInxOgeny
3HY7F5xdwd5FFha0Q7N20OUM2MM9yo2mJYhglyk28aVkcu5JcvUv542iVbIrwr2mwpO8UVRz5ddd
uq4j7Y07HUutY5PdgB29HLSiRqyTbL6oehfykXkt2v3Iho79LlSTvF50F0Rs5AtWITr/GKeRs9Y1
iNJ1YpunYAZF4BAp/5HmqAPNThpLRGAqCqLBfeqqhw+gnzgFfL4VldYU5Gf4rwYJkHX+GxuEptEp
M312juYMIL+Ux5BdVIQrkcUTB9S7U3zlmu4mmlcIPek5rmE37BYH1KLfoHpSIx1X1NdZoWAbNlW0
DtAFD1yQghlwkDRa955TXYt+rK6iTpnrWkjdAW7aeNqJsmj+MM4gR/d16/mHzqz7cycb3dnp2SFe
iXKEZPnJVu/yFnf59a2B5BN4gMFqvwWY27Bxr3boL/vFehmhzaK3sT7UBfN4nnr3odqUQ2knqcO1
/f3yePdeeXMRrbzJJYegvHvDiBfL37yRbi+Z3gtl1wf05MLwQx9XYsc0TcKXHl7YLpvN5sQh+X02
ClO5pSyauz6+9fhQL4qsoLsdyP8vdd/a04rEJ6wpBxJzqofSZTlkXv1W1P3Z0ZyPSTSK+lvfDjaO
60/VtFm6kVX31l1RKu5N7VaHcAgNqkcMUNfCEBCwUm4kq37Vxjb1j01m9ecsyliYhnV5iKakPMRa
YsuPvUHuQB7szBUx1RwYC6rC6ICMbtl1Iw95J6rsQM1dJqM98iC1ImMfrproFQ/WtOc1p9xDZlXv
xVmKD6g6he1lqVexbjunqoF2EaGODKh2pQyFsbO4bSh+VC4H0nr8JaC+16HkzDsDc3OoO0hV/r6a
qKvnSw54kYurLTcQVFl97mr9drV39VlSgo7BFw/778OUhOWOPLX85LQpQpWSZ/5QsfMI2rT/ZjdZ
71aQ+h+837GhZk0fYnvrS8VlkhI9ZV9hC6CtEUdLnJp0UubvNfSa+ltzaYZkJEE6vNXlEKvyocRh
Z+5x6yzG6YM5qVcG9qqeWyp0zJS1GNEcgr0I+dhlHhtqbYjqOz1Ea26U60S1rMG8B7OebewaoWH+
deYPM4AnosTl18CM0PUw6uS+rGK8fzEz3BrwXJ5FrJBr+ddYuZsMtmmAPkhqJa0shVeS4AzUuH9A
hokpzjBiWUNXTbQKtoFotWyADqJV9M1b9iFlR9OdyvUYx9XZJ19Vs9sH+Xoy8CX4qaUoWsvZiUq0
pjmuMpUOoKlWUPl12pXuJRB12Ey9F2dLw1IXzK0gOJSdGcFWEHHi0KPGfGuAu/FjYodv6ns2UZcO
4hIfRhKXGFE7QRGagUXwcu1kvinQV/WlBNakWXqxMUfgeKE5RK/woLCDkV99PgA2C0OkhvtWeS0N
BZBVMT6NeQ8/T4oTdsJ95dXKZIvNT9m7+MkkY4DIF3buLkbNmqw6DOR7/9mo3qCijSFJ+PsweTwY
vW3sFK+DmQ0+a4V+WHcO1dB/CYrp4Jdk+xs7mp7zMneHWRgN/lx+p7bYRvlzFKRF5s4mhiSi1YnV
kj+FIUWrGBJWXn8WraEuvxsyGzM2ihnDbvIfbCkk7DA4OQh6q32UERw/tHZgbjG7Mj9LU3gn3sNL
RALw81CElrENagPRZR11qn5VTUa5E/PkKQq1k25l7oe5Ms6izMAnWdZORvTW+lYnWsK6etcyDrx+
VrepOhs+ey2vn+LZvlFLElR09PrYyL3U3/0usinqX8RhyqwD5OjiYkr42TFQvq8VO3wUBweARxGD
xRMltC3US6k3J63TcQtJx3TYpW3f8ZClw8Tv/9FKk8ad/bd2OVJ0OIo08rFoWusiQkbV6+9Me9ot
HVRzivc8QWHViw6enBtug3z6LeZ23Sm+L/I8uA2iIe94H4xsfIq7sIDhY9vuGSsRKw6gppM12KZ+
q8/DT5JduAOuCE9SspYj/ITytu6fRr9S3bDH+FbUDSBuz6Cifjiz3quoKnMdqaBUvlhzVQ86fRtX
JrPIuViw6HvUjC+iTYTrETxSJ4Wy08iefhxT7xXtkP7k+H5/Gr0BFLo4FQce75KEr8XvgI9R5e8W
ESOKXt745UqUkToLN6oxdbcxl5g0j0bPXXqLcY1qfLuP2xCiXKTWs9xX/u5DiFnLvFF951NgVDgK
tY5+tDspBDs4yZyKw1IW7SJSNFtIZb1FirK5RN6aRCgbEqOr+OiMiCAxhjhbLok3gaS5//FqIpI1
aoDqIMhEWa2HewuBwXU0KPFGFDsnoK7ThvvOnqxVjwbF9kOD1yc/AvZbDh/r8+EYFKlyqrIqMbFT
YZDBflLHor/zVb8BnJRaW4eV5RVR+2rlVVN/EEVxiFv7Uda76CxKZRQp19YY1hluM/f5XHJ0379C
zFy6lKhwXNrW2HtjPYWu0zaoDDjpVwX6d+ii8TLxE1ER+xPd5wsPetBv6zAFp1RWLvCe/lpZcvAE
EQBcpfckDlpkNiCIDO+YzHV2DVB1miTMXeYiu/Xtfearx1J33jqoHRAGAyNBUQUVLd1YU4ds7BwP
9jY7d7n1a4mHGgi8y8Tdbg4ou3J0/S4Y96I4NUULGM0MXVGU7ER7zIrPaZy8XQ1VpJL0pWkdtKSJ
Qd3kGkkbe/YtQ0s04i+L/DUS6ziWzXVhbgAiXsr6QYModxEV3hwgokRRHLTQjMDR5P76Q8NSxLtF
3waGCUbws6bY+OSMmo9Vis1m04COvQHwcd309bRlFx7pejsMrnJor6KxSP+tVfTVseQRsYlm+0+i
P+T+j/1FRIA47S1iucLv64vGZQxAwWj5AkJ3kPrfGgEaXnGFhd7KhLxzsaVmAzPDR0jA6L9XTeQf
oxljvRLRrRla7hhow4M4NKimXgqvRta+GR8yE5JHGnnpTtwTEtNYMhjV+Vay2UarJWNYxeLj+N0q
7i79D60JKbF3fdu5bz9/dJkcG3v2qn0YTgnUm7iojsAF0ZYCAPs4BG4Szhv+c00uR87RHLJfoukW
VHntJintcLP08fs8WY2d/zaOaEDM+P9xnOXaw/9+P203ya5moFBWJoZ2zmt110WqcWg8jflW0nXa
eSwZhqlXop0TU4uOAxRgbCG1s6jqRestRoSXkHI2SuPAJZm7iEgxtihKA+4R69JH8KmJy3EjKkXz
7YoifICEtIF8Va1CO4zfntLFCM5nVejauMcTY4NVWqi7JDX0Y1imBtBtnvmNzysPiwnKjni+i3Zy
OaO9Kcqm2b/Na7whPJDlk+74gfj3dpvY2yFvNLSO/6yT5wbM0mDmVOqtPkN5B7PkOQQH8y+dahQH
0V9UiQ4KX5813xRkUeb+oqHvUvtsqqO0jdIBPkdfnMFKlOdJMYrzfyqKBhEyomptVhPU2v89VoyU
hP5Xy0QRrTKfCkmTXHGmA1q5nWVzXZFIOMX9bv37OPxgJVDBJDPtZPNBG0sUVWC8UhYCmJ3ncaJK
HKqg89/ZcCdACxJPQ7Yt9S+K5RcvcI1Xup6CcR50DQBz9KTN1V7axseRtbQrikYJ9R6NJAkA85S/
qApJeLJACI7Owczob2NMzGkeIit48iErvXCI+dnqzGNwuDDTIpF3eWE91p6Jc9lSRHf+0PkImuyk
2rm1+oiVXSNTN85IhA8PEzIpxqi1J0TQxgdP51CHEirYZaiura7g4TVEZnye7LcOopc42Fpy6ypK
ov9gxNHGAkqzLuwyIdfZjrtcCbVrAdFq0xbkyXTDwFpyrvMkvXGL3KxvIaJhZIAVymzZsVDHn61v
KEdSw9oVUdOjHAXyRWkbO3TzlxGu2LWZm8a2kS6KOewbzXJCjLTT8RhL6q9bpA5ZC3S6nrvimsvN
JD5a3xGwmAIM+0nUJ43TuCUWH7vbUMvNiGZxg5GV3G5kGS5/UZzYOmSR6iOYwMJOm1eWdih1e6D+
8LYklvSrpVIZJ3C3Yr0owsF8E4lo/S1mGWJpWOqWYXD7iVYTv1O87ofPpNBeIFRKz00+Gru81Yt9
k1bJM0p+31SAj9//NWAIMbyofNIyQgpolOHJaAh5CYk/OTC1tVmm74v6XBTBolUEL0XR+qFvbgJP
b8BYu31raJc0Bg80ePYX8K2Kd/QV5NIh8aDyVRXSSJom0i/kdrWLiK6HZh1XWn/Km19JbujHAImn
E0xS/lWlhKkhzNC8QkSMWnzMhxMpIdE6ziHiTByqGpLUreVj2Qwb7Wh237E0M+FFz3FiOFEmidRC
hS6P0egj1+7HXQoNmoM2KYG0H0oS9hPvEbczysz+lSR6egINXJD6DNP0VIOIcmPLU1zRqbYTZxO2
Law4ULCSfsGrGdZ6P8IAnB3S5yKqUeO9E3gtJuTOW6shd9V1whrgAgHvhVVn/qVNo2ml5KH30rbA
kZQuH1+8MjRWTlNnL56F7WCe+w4uCrW0kgw4u60Go4ltA+eo4E5742nrUeTdioqQekCG5l1xaRW8
un/aN0n80LV6luTNzP7UWuAxWhUqzBUc62LOaidsn4FiH9kzPPV+uRF1A5DLaX1rnrukXa5sqnkE
HULXxlHUamNXUrFHPsXexNB2X9U4+lxDMbjKXane92mZrER9lnb6OpWBkTszqBf6M1Mz5Ys3lc2R
D6DGqSSNX2G31avad7w7sIDTYyE1V1Hvq2m5TTzdIDHGRcK62bY6cKIGnc2X8A8tiIYf/eRjV8Bj
7doVzbTH/aTcy3rqP7IcBENvZuaP8A+1Qf9ERCJvNl7NCFmYt5k1epMwn/B0XCNhkcCB+m0/Lyqh
GiSbcbSSC2g86z4rJcmVfIO32e8zPyNVKurC32dL6+0sGvJLmyGOFfrmNWD2euC7qN2JAyR2/c6I
PFwbcQ5cfWgQxTHyrkWR2gcRu0Sg804mzABz2iX+I+J+2ZNSJdHGk4H95zXEsUgqCtforOR7M0Tu
pI/DHz7uYpupit9H1PMWyd9GCJ2oJArdNAxw1fUlCB8ZUps71G1SfkWSHNx7wmc5cKy1IaMJdjNR
DsTixJqXIaLd8+E3SKFxctAMbdfO3CBancTmR5NUl1EqKkgh85rmXbd5bPaAh1NdXZrZl1XtSPhq
pVM8jgATD70tqdthKqTPZLBuERqkn1U6IjxkRlCiMvaHlVlvHRfwr2w9KyeUdZvH/2Hty5oc1Zko
fxERIPZXG+9buV1Ld70QvV32VYAQv36Okrrl6uV+ExMxLwRKpYTLhUHKPHkOeBTlGdznW7PEx17q
lazWtmQiIF86mHr+FRR2xoFaTZ9MqKkctuBz5w/YXC6HqUVaMoSYG6mqdhxxuMpEdGTinXxyWRlQ
CTToUbEdhpxKQFXOHnONhec4+gkFiss8NgbtloRSrsC6XzmolAEtLh1iR9f3mq0OwJoXeIrgFNha
i6GkoP9W4NmITIHqIXdV0/5fp2UEEcgW5bCoe23keE3U8xpkXzZyOLmNbT0KF8qfU9iV67uk5wTc
LdT9GmgFSndL9t9VP8mlTM3xkMvYWkxg4QjIkTruU9FZlPFN+j7Vb26Zd9F8o+DJBpQrLA26wg66
zikf7DrHRtPK0k3LujzgLMFOU89RON/r0Bm12m+iLvw1G/QJUgQQMyahY7J1/jAtR23kV+r4T5uu
xqLCD6Wpdx8akrdcLHs5GgElHu8E0XPa8kMeM4Z60ToU4omylnP3zB395/mc3rRMSNLNnNN91Tvr
oeqfvCQA+eXCZmN+EnIY4lWmodTTLf9oZqrKuBSI0OVDt6HWu2uH5ealVYd3O81ILbKTx7s/2S0l
kPTuT5ckV//VaUDAVCvWajpUdeis+NBOi7uNzhR/5olVPmhsycf2wEuIev23cZ0nUBREniJrotMo
MndVNdlHn/uMHYjXNshG/YBegrNvGvs8fx/UBOsVyqLxBdz/ImTZZjcyeaWLLMD70LlJPb/ZEPH9
GkZtszCY0Fe8w5ON2AVqbv4AoH64RIAWA8NqLIiDgEdNcbQs8ISSFw1yowHsCxDhfvlzUMez01uq
xEgMyEJbJcrd6kxCQwpy5IusdsYTtSPI46wHiVQi2TTl89ERVdcrPK3ceTR1IyZsILOI+Buw1yaI
h9KfFjJvO62U5gMdpm5wA1fwaHW3tSivQwpRjxZFqVvYFkPXWyjhMDogWg2+1RYx73IMweCoRKlj
JzMhyv5KDh/M/WCsQWdbLMl2nwMxOeCeuOvOc1CHUxr+iUVYaqpL9e/XAwooX0+TJX7vwJrjO1Kv
w+4+eePjZ1BbPW4+n23BoARKGCXaClLD9mqyCnXWrnXhJSTLIQ7ZXpUDmciBDqn70USuaiDAyvY8
8Ne57tP/Opesus9+khp7j8UL17H5JzqkRgV5dCPs33RtugqkSGzyrV2v592nYSj8h6GIVYwKWjIi
gr5qqMN7biNwhVx8abx5uyjHeaiwlfnd+349GqGr+ckmrdF/GDE/tfraeEmK+GXMEvc6Ciz3msyM
d9Sk0h1/cg+oQuMnquEpUj+6psaBGuQUg5ketYzWY6LqfsgO73CTDUBNtTaKwZY9pPMCg+OXQyPI
BxXIb5e6T6Uu5SKIC9ltfBijq+Jr2KLOT82ho/LqKHCZwleZLT0s15HSb8+B03+Ii+HcTrk8kIkO
NVidNhDFZiBzhBsij+CST+Gn2708ZJrb7JvRSl0oCUN2e0tbiYxecXRKB3A4hkFnGMaCtilko20J
nd1t9xG/2WgCC1m/he5V/SpGASggQ+AL+0AahmJRd9fq+WGmE0O56xt1WCXblW0zUGQOEBdca6if
XLcqQTpldbFGmUG2blQ29d4rI/Z9NICgQUovWaJOyV39BpOnJvXWSDnOvXc0PMHpkaWN57G/dcxT
qd5swp0MbUNEt1BFBE2j56kGU1dogNHfGwz7OezZKwSZygt19h1bgCSPPTZF63+SLN6QOS4gxGcK
1OGOLHGex0rnu1Kvs4B67Yhrq8hPkUdTFwihfTxfYJ5ydH+7AJKJHy6QeNxbg8oUqFeUuXRHO86W
aCLsQk1o3YPFzWDLPBv2IPD0jn0ok4DbSfKtQSHHxMB/CiE4ay1Y5YDUosqeRq29kgMAlC7ILiLz
ch8JecD4W2NgE+yH1ud8Kuw1xF1wW9lgrc/HAvwwCW67QYFd7geylRBeAb1tubnb/aQV6wZAScS5
IA7221BqagSmVGNRpwu9qPeJ5ac0wc1k91FbL3qlT0EHp+oRqKLTNgUEq1OHezfZ5BTFwSQQCKKO
36eY56lbJIoRhQ5M1oJH8f0g+oHvhxrQpXdTBDTS0RxBtBf8e4qSw2HiH3yqLhk3Wed/G6KxOoMr
mZ1abU0NUEND5tnBcny2N8WG7GShs06NERlnJ6xt7uYIgpLgtEOS9ZdJP8x3t/8yaQRBrKHkiecu
GSqn1J6CNiB26Dmbccxe5y2KstPZb/sPFAp/hugX8LTKA/gytk7SEdFi1bz7umq2Jk5e5x0Q9c77
maERAQBO3iE1iwYhnbK98RwFfLo2oRilaFzwCDfuo3RQmQ7Cmn8gYec9GXh+IoZnhMcpbdsDMwGE
hH6RecN3Lhax1uk/tO5COl9qjN2wtzGhoYVHHiWQ5s4quTKEXMqiwq4YEe3XDs/nxQASl0vLB9B5
6BF2X3ExvXIX3A/gi5TLnIPL0RWyCpBRSS+AHo87x5Pahrm8unqG32Dngzos0wfdsiIPk4l4GAfO
Pv82yOhaDWyrVnXtWvAeeJK5O0v4soDqBBaQqA9q3XVml+Zz1o7nXHr598zMUEmJ1dsn8Gu2qDGF
R6zp5nMrhjPFz/7m8T7Hf3qgiM1blqgCDrw+ewIvRfFAQId+pSO79WxL3qIALH4kQEUV685+BMfW
DHMoahNQT6hhrM0R7FU9+HY3tVkOy6qyoLatkBBpmcyT0vguoEkl0JI0KWEoUNjpzpP2huxXKURL
AC3GMkV3xUOkN+UR2gbYgUCcbG6SSD3xxhowIXYChhW13CG7MrWpXh5pivd5yARBz6Wbaga+ZtD3
OwA9ovAKJB/RcXJYduFKSK+P4/J7HwMx1fn+q5z0MMix0Zo97E4fFjFAOj6QdmuHpyigeo+ngg6A
X6o6N9ABGTlJ8dO70QYPNmQuNWxdaDSSNs2CgfNBvZAjJ6jGCeE1WRSXogaXKOma9006AlD1Z0fr
aNhLqI4IEbV5RDb4uItVR5TW1pGZ4CE+jQhVFRXX+e0tviNMt1iPSFCT3l0QDlL/2mUvUAotviPS
py8TX05nA/imIwrYQRH25lAOyarNNeD5tNTbyK5f23rnHhwZ2m6AcEm2LkGkCJQRNOapO9GYe0jw
94B+CHqVOUrvdjlDETv9ZYBZr0yg/1/6EUwfdzu4cVZWnsUvf/F3lJ0lfgVkIwcXWQV6jzxr8StV
MUlq617ULpA2tiFoh9iFXxvjwnKKDpKxjfnCkXlpOwQhERw4x21fL4hlEzwroLTSwHdITcux/veg
xrAAzivlCUGqCvS36qCBpxLwQuhndNO/NtWRQqYMijACsCfdWUmwG9eG1xxTLuU1VodytFe8rsDu
rlp0AODfSjgWncriF71+6ZErphYoHcHHAWQfJJGjw92Ujm1xEIP+hUx0cHq/2nk66+aRPGnjXdna
PyHRAwA0mOLxchyzAeKgVb8EEbqNHJOoEW9XRuohTzqb3altRcXPMtd14GWy8Ygtk7FqpkEsCGtp
CFTfYF2OHmqTD53RASxp4C3Ijncz6HsB4Kz7/m1AyyGx3Uz6JWMupIy0znfxTNYYvrm+DVeyibwg
zUz5yIcYcVTbvzIdWK54rMEe6hjagTonoesoqITQOvV6oH/aQrQ6XFKvh1fNyZHuV1QWy0cbXNA3
yAFUbdv2y6rVLo0Atxh5VjaqsxtZ6juah7X46XBbyBX1Mt6LvYF6V7Bh4hMBx5E+pKze07TkASQk
CPu05hO1khJElNhyNkeaDTGrHiT2jQSNlgO9UQt6eLYxYBs2xewpRDErEh4JaKKgRLoVuJF3Jmh0
T6jKxqO5jerHBuQYC11Ama3ClxYi4BNBLogHepSO2z4qAbhQMVVsp41lksQNWPHQLFgVmwugGbIT
Xkrga6ktFNtolhukXWos87D4xTF2IQIQNsVaLxuoAKsUnKZScKFKzeWIAfnD2J3JRJ0OB4GN7lti
TR7U4fQgcqLxZLtPYtg9MLpFfya7zjUBSRpoZqFe3zi2fVNu6zi8hpNmgfqLKK2igoHIygBH6hSm
3wu8y0Guonpi7uMUWjDZ2oF28IKM4G6GO53OrqCuLFd9j7QU5KkD33+Jq05e7iEAqVkoCwgTbUuB
A+pIuDVCCJu3AR6w5gN15Iwj510ZLyDIyPduVZV48PlsYxW9f6476BoUdgJBhXCalnrrpi+d8KqF
OxXh18ZrzkIgIL8Yp9caGz58q1WHCpKh+ZlZxbMtsvK11/CvRf2yfMJ+oAjiMufXfqgQELBs4+TF
47SVkdvvG90XUOVlf1y5Gq2PV7bVlbW4PteyQpylyl+RtP945aHPntO60JdpaQ2XKSnXIDEDG/dk
aRurktpXU+A+9/uMgQy79Vag+PePqPkf9sijGxtTpPpDBkKzpcub+rPN+xcF2sb4f0BthEznlH3V
DE1/iQY3Cxh+9A9RHmob1G+n+yRL+Wns0mll+1P16MYhCKNjy/gGIY23j2HgY2hhFH3rTQQBf/sY
cvL/+BiJ5VW/fIwWC5uTiXXysh/xe24E5CuQhCgewepaXc0OjxXVsnwdB2D5SleWZzJhtcUDn5v9
hpo0PJ6AVaJmZ47zcNR1u3yphqIwADXmIEV2JysJBjO2b2FlFFdstQBM6Owb9ATs2xCpIAxEkA5k
a6NIoX4V1xVIjm9AGBVXJ3wbDkkw5BMTG9EEq9ePfWe9Hbg6ywB/d7QB6FLVcpJhQmwlNxE4VT0g
54Fqj6HvdLBUBqTrYBmILiAFMh3BBgtNPf07maEuCqkY5UU6NeRVTlIe60a/Yt0SLpO6Bh+mFFZ7
HBSDCh1YNwxYH4MMOgH94+7eAWkEeOvv3nJsV1UXbiHX2S9NxM92lLzLM3BfgWHCAxkqcNbUC85r
f0eJv4JNkOP1QC/rhOFqBg5MIo4XYSi8TZUYrRmQ+LuhjNBU8DYk7E5i8XRGvQwsbotO9TYdsDO9
6KC6DpKwyxSbj4xYalVLOvojUdhSn2rd+5Sn/u756zgIDM+etdmaKCQDLCwUtlxlHTiUaAk4rwbJ
OCY1dELUYpFS5XSYva3ORJUvUvP3gy81uZI1Vr8idrappZkAKSTyFcCuoM797EUmbY1SP9iJmzZL
fDBZNPls96RiGPNC+arsd3+DWT+xfBN4hiH2MirGdjp0GUO1iOgThNtgu/dGyq9wuwlgB9otlnkR
nyMDL66uE6i0kO742ffDKBjNgu0pu+NWD9Mk+ctvXsJNVW5xn2MHf9XwT+tNB4kLL3GtwCtjJDiV
MKsw+XhtJP6llNYYGPZslF4bTc295pZu3sCys9LwvoFmit0ftRz7NVKqYbmB5RyLUUSkdGwg+1IC
mh7zA/V2ub2XoK34FEWxRXOQeYC06DEuMAdNaSIOBjxSViyKuMqgYNXHt1o2Deh3AFRqzCS+VSDu
B1mLt5xGsM8uG3OApmEYuuvGct56M2yraSiZ/jZeeVCniwK7lQ1NGtQOtG5Xqz+FzwTmbmU1R/wp
fOYs1+24PVLvpDLj1IvsOJxj8Jvfe+nXRM3YZR/H/s2Zfmt4qmVHcSgTd1yWjq89apH840yO7M0m
3s9+89NSaLmPvB03vMzMQzx6IN1RNy1wEJ9kPcqbPXTmoe5lDlVD3Jwt6L5N7F4+2OlmDv/1Fym4
QKehEo6+qh0XASKQmBwmHrODZJ0TQBLeXJDt3vG3JmIJrFnQuHu3WU5O0MVQyP6tw1Dz53jjBp1n
QuJLM+ILHYoqf0T9qgvE478mOgOvm78Ep3y+qkgvk4x1ykGb4nigQPvVO4kBds+db3ezKaPkfoXC
rd6u4NrAbinWOH/Jojhf0Yi7s6MVt0gUO00Dyyaql9JFU4zpuoPKJ7TkPLbrJr056yrTq8WFf9B7
QAxUphdvWv6JI+YEmYUGuq3KgzoKbu0M1JDNg1Be3Acc4mbSmMIz5Ei7hZb79ZeuRjrSZkV8KMKh
foEe2WxvJVSKIEhkrZqsbb7UWKsaRlV9MssQbEWFBNJY2Qc1HBVQ0X14A8nVW+T0zxC5qAJo72U3
oSPcQmdkE8omlY3O/v/4aRXCC6UOrulxjI2lb06g21dPNHszDbL7bLFYHqQOzDJZs7wwlqPAE6WO
TehXrPoJJNg+RHg0EOStW54aGxK6mFzzbBuV/ikrxuwh4ewHmcnLSzx9U1qW/Ky8dN/dmAXwMJVm
3bDWLA+GjYcA8vH2jWxVHAcjihyvpm3atxRCzYEL1PWGPGiAJRHuVAKwN7KpAYMD9tY5DuCxKAGI
L1uBtTt+AVy63YVDy1axCn25sNud/dFeYVv0qvz/ZhdTDvXZJlzEY9yfs1J464wN1aoq4+IJNIbm
FrqU/jIOu+JJxC2Klt3IXWg+mukUIihRgx6TnA0TfD5DIc7UmdXp9CkDCVmEpZOAzlZQRBV7ZL1I
rsLtxHbIHE9HGM7p9jVelvlCGFG4s8yNYXM+/KAOrQLd1aFgY7ef3SHbB70ZiFABPdWAhWWqx7OV
VP1LFzijJV50jXcQnBrzBTWjulcMkxpkYFUvVElriCuglIWaxVhtZGSLGzLT/tXrnROZ8e2CoSgC
yL3OWkzpQQWtgBDMlnpdQ76GluzWWY793f11i+hILhcJIiTQAvjwGqa37f3lG44rVdT7wYH6YlJg
QecEmZf5XU0DGWLQCciQjhbY3bGHNMR6UFm2oh+7T8kUrrs+ji5k6nUPesdx+4P6yHQfdLf9Oqgb
p+Zg9OIH+f+/Dkp6oMXA9oCP1nMPcVJ3vPhpBKhHzYXZfJNtdNBSrDZvZdhVj2UW/mOoVVfjtsnC
w2LyBDpBc246vzap9+6MiBU/3ZsiQ8WZkUdN4Gu70FKVxaPpTQ9oRVRnPPy1ZbpluRC503wCJIQt
7SJmV48Zcg1Z6fYIIrhhLzjEcnzX4xfEl81AA2DiaWogpCGrpv3mNfGOG8DbLirAucFPAKHQwvwG
5Z34s8NctsyQbpunHDRF++iWb1OKCYClXthvU6Kk/Bjh3k06Lj5rFRtAzYgziRq8BXQOxOeS45p0
JpTtr36VOYEm1gdh6XLsinhN2mAhwionxwXFRQPi5BU1276FUDgUOUkpjDTD6oK5p3c7SYs5CGDg
ZZylWAuevBKywQucWCHePwtIdcwnH7v+h48OwM9+mBJzHfVmH8STG+4S35efXchZ96Kqn7lRpacc
DNGLEboen8ktSTJtB45g+RmCN4uaDf42zVi4iVGsGKAw2Volosb/us6nPjCrHLof1Jad1YNWxLJW
I0SFoAvqTCtTdzfAMv0IbRntiLceoKvuQmfv9ruJ7JNtzP5EcU8mWwFGRtjxVo12ZCcTdf5f7b/N
j3v8w+f5dX76nD4hOt7nFsxe+6hqWxuaY+GG/PcwgMhWsv7Slxl43xvhIXVRpt9a0w2zFbDtiP+0
PUhG1IDZx5xSCL2kLlRhUjyl/5zqbnmfbh6egtLXGQsohCs1BKuy1V3E66VvePmabKSd0IP59Cxy
fWEODLzYeJWaVmTskBrVZ9yY8HJrYXOvP7lgmX9KGvPtBZzWb24zjEy5+V3Vn8Aa4jxl/7pN3fjH
bL+60fAqjPAvdnD3mxM2xlBgunS1DU16s3GvCU+sK9CeAvXDuNEr/Zh3YLYgT26Z3dZxTA9ciQyb
EuXfTgmoDuMWXLfkIzXbWbQcaDqGHMvso64A9mX7wxX0YHbPRTgdQRvxQN407ejjuWXOySGdj/vR
BWrFCrVim0MH81mvkZII3TA6URNUf5u26JKbBkW6WyHNQKoa1yw3GaqeeLWg5jQZ5hZkzPrcm48x
gDBjWW6pl6aMIbhxoqaaUubg5KMpS9Dr5H3UnewoBC2K5iNYES8ZxU3UgbcFYOKQgztSLKWP6gma
eEm0pqaRxeLAdGgWDU1cPkbIG92sfA6lkEPbgPL5PpzzRl/6br8yOhMqhVHqX8cGpWpMqYXWYgDt
hNsBaNwPYH/400N43aEd8ar/zQPIKYTFVcrjL3O42L8HY2JCHx5rloKtgMRBSMUxLRwnRbs/pNqa
iPRn29wPUn2Q7DctWGDtUjM2dmMhK8HAaoo8WHN0qYmUydwkhA1hamJhz6Y7puZ9EKF1yOvdRC1y
fR/IUI5wjCOUUqesuvR5doD8oHsDNNi9uYw9o4yrPYEk1oVkeeOtEN8eV9TZuZp/kghZdaqTTGWZ
nys3Z2ClxegssdMVSurbNQ33dG5gJ9p+m0erQZDS2ADenzyQSfcGLKpA/LyhTzAOXn+IoQe8oF6a
gyEHV+psuJJJ1BoqiISbbekjQF272dvM0QEA+fcTgfQHql/aJ7J0egHVp+lbmCbDjgJwHAS5m6np
6zmAJxKzO+NFe6VOusmQjYXoexpf6QaLsw5lH78O50VdB7HDQN9cZt4uwXsA2F1v1/lN8WiztHws
sE4yx2y8RI2Je9xm1tJmMd9SJxDS09YEUcKSBrwPx/OqAImrdFeeU6Vn07wRaILhJRQA0juBfQd8
91mDpHIrxuQbaHC/Oj30fUA04u+KGGqMbp4brxhI/TRQ1poX2ClAM2Wg6Snb2QqCb2iN3CItbijo
Bb8iL2wvwrrN1x5YCwRkkD73WWKC7TRHBiNXSlJKykXZgaxlH+y/+iNneGJ+G/c7lC6PgLBmQCqo
yN9vMcDaTeqlmSChce/4ECxsKRLoCrBqlgme4cNQgUtDhFeoeIVXx0CWBctjfzNAxvYKjgDE/B2U
fgnPP5IHC1PjYey/TtK202Xux46iD/8ZusJJl7ZiB27VlORLc9CUdtNCs09doRkYgrc91LvDAUVv
ameH55IDGb+o21GzZXoQgxX2KcHOA8uWP93oVTHYUND2i+6vbo2ajYDM725qHzPPRna6qNZb/H5R
mq0fwKg8ZALACQiTbbopyw7QBcsPhaFZGwkUwiUWFWDsleHd+hCh64bZ1ReWxF+SWNQ/mxR6d5k7
xgtzBAS6jaufvd98kVpcfimaMoU0TubeJMOPudbi/AKBirerNMb48SqOlaQr5MFa0B+/Nqb+xhoD
pWlxAGaLOGI+mKENOdPK/M1GgxQFhxcZkNjwvVWO2NsNIjHV3kbKBsI8tnUjW8Q/d8IaPgkDrwPf
huxwO4EL6+4P6StAGrmOVWprtNf58DJ0E0RLK+vBlqOzN9Vi1QF2Y21kMkUae+IXJNtHoF1/Nc7i
8WQ0lWe6svYj97wfVaYfdbCc3E9cx5gt/r8nv/hUqS+fk655pTUyrZZpoSwHiM3zUN+RXfjeJTY9
YB/y6UsfQXbgHt6lMLCyWwxi55YTranyQIrnOoJSBaQijCBBnhGSc+l0NkOuL8nB9p+zrrGWcYli
9ZZH+ZJPerSeEts6a0DczgfDZ/HR59ZqKEKEt6iDXATklpYlfmRrsg2o/wt0O4kgTNfzyyBAF9LZ
2biuSo7vr6k0BCC53GPRKD+DPdeFRKWt7XvVZGzd+KP7UoO85mB7UO+LlXa0UUzusueg8J9crQQT
Vv2zlqb2qk68rH47McCPm3EIgtgGsoulkRvPjdd1Qdxz6yIMaAtkbVLskTAAo0M4+auaQRUhNcJy
mdcg34mUPF2pznoPaG8AedDWDST90lE3Vv/tQ450SFOwncTK+z4ZncXF17LsfGy3zCNtOYcqnh6Y
Nh1JhixLmXxQfbTDpL6W4W5Rm9P3vv81DnwoYLkfrdcWsgwLEB/Ft9gMvbX0gLERoDE8sdRPVn3D
jedK678W1Qg18wQ8eFjVfQfds7kY1SCN/TsI4NvxhIKeFMyamv48jeM8CLKq86C2QkALcBMtHLJD
0tjaMp9EukTMKTtE4QiSdurpwlS+nVLXlOkIoNjFtDdHJNBKVVZZaSgETwwIr0MLLDn6IRg0tIK3
nzQrrZdVzeNXWYiLa6PWazGIrwP3up8omfon9mzv2c1N8DB7o3XJXD2D7hOP9/hm61MmTbbilufe
WMpfkjDaTCp/RAdRSR/Ymhh149TOTaSLM3vcG5SB+uDz3h17sdxTq9OhON9Jf9oQJKgaoVM+tIjo
zQghBR8CJcvfbdwBAwWJUpMz+Y3vYwl1RPOR33/OZ7dYo3tZdwT/BspTdFcL7hGWwdIfwZIOzI0K
0pQWQIGV7YCqTKGj1YEGhdB2Wt1tU+qfDe21wbZ7n3h+jV2yro34DqNgbo6icC5SFCkqdxMf4QIQ
JyXqQB1gsgsXpl3Gmw/eWC0HrcyH093ZdhWxd1bfPrhByD1ZjXbRggv8BQQx/olXtW0uOsQDdr4Z
vtSMhWfJsW8JAL9fOyYYyGYX1FxNizQJNTxdZBEATwRRg/vzaWR5DarrFT2YOrJbsrfOZd4VgVDO
1BPmyMAtdA6AYMpn598efjR7wUwDZIsoS1dsh46iR4xYibpMOtWJ+PDeRUZhpBZQfcBmqCGkgffB
Lx6MKg7I0U4MlAeZtWvumCVm2zyDKettC5k2K14UdQG5CcOwHpJsarZ20uW70rTlZYIQJDTi0ubL
CLlHV4u0n55otk7F3NfOLcYlDSqctNmK3ADziN/Li4kp50GF7pzoiWCV3RYxImceFALX9uCncsWg
0LcoVKWCoyoV6FCPzRJBK/9kWsIArkZt7cG1EYP+CqUHIGR888OuCcwlvG6AN0fIZ/E+WK8SsYE+
GuSNkc65ADM8XopMNCfmQKGes8KB+A4oUPSklfvK16/UcpSJzsBbkm97R5UnqKE0CXWUWpSt9Rrw
Ozdsy7dZ/DzvAtYjkpoYXpisSgsbzTFjICS8Xwq5JXwaIGi2NNso022YpvzMQaqw8jyRrOgXVamf
lZ6UNyi5sSO12tDvTmXTg/cPfXTwG12sHCAuVmnlv9lQuXoNK82bf4uoqi1P9WReyJ9+iiCP56so
Fs3qPpEI+YMJ2eITzYPgMOg3pJsiyARKlVrxXxlZ8g8XqftgDxDv5iFY68nOHdtdGq3BDm1Ujk8s
jTed9IwvuTCgZF22ckNuGVLouYGNfTsNbP9f005MA7+lAA0XTVuEotybBAtstd7comowXBX21K2J
hYyaKWLrH5qxahJlmd424ereGwoEJfTynwivhacBmkJ7nuGvpKYVI1peOR4KEVRvaiuOyLgGLlE1
9RTYQ65o+qmJlEFyyuoum5uRFPopqrWf80zIeJzTqPxKrYjb9nno9Gd3mqanruTdRYOOGPXFhhk/
tLl/pr4RyMWHVprgDMAVwajRXLHA2oYgWHlKtEkDpkiuqa8YmPHJAWEgjevtvr3JLllSXz1FyaNT
/FPjztuIFFj3PiyHmyjKDLRc+XBwFLkTYMPmNmVWDS0d8EXNLqimaUzbvlIrLXMGDGBirKk5GMBw
l5l/phYNKrFAXyBAMByoSVO6Xn91s/RRKtqTfGizT5qK2pZ1bG2wwBggdxPXuxG1+2dyQVImPkOD
Yncf0BVc36AQAAgKNQkd+iLh8yRR0Qw7E9DlBRgmfKSya2eRNj7QzLVlaQum2TFEtrgfWP0UPtR5
FT6gWjLfJpA3Wujk0zCU2ZV1f6ZeOpCz3Jd+5DzMTlmLh0uLe2CeN/PBlKTbWbS9D7pfq1SXMVJQ
2PpZaQcouAKGxI90drDx5byvBQqRAK1N7Q9v/zGR+ap3EQSvO32T9vmwdVAtdIti+0ecTsX3UveR
OXCrpwJ0aX9zyFr3yZdVPTvgxTtsa4lNl5ohx2bpkwsemUXiQNO+NKL65Oaa+cL4egqL5KVuxuY8
JhFw2srclyLeZACOr5GMMl/ug96aWK2niGRNU3WY34wj8/EbSeIK5X2QR/pw6EMA3uJBQuUXHa16
t9IZZN7dMzY8iTn6AVl8xrDOyapqE+Yl1PBsy4esa85XNmfpEy+wFEy6qPtRIValMcv6hyONVbsy
/WJ3CGrkwGdjp91je4jl996oWxTbqeEhxG7m4ZOnt09IeQyrNMdqv1VYCEfhI3hr4XXp9mdquTrY
FKYu40tDGsB3qN7eE2+9UYRy+caugJhSQ9/H+95YrnUfDKYJKKwRC0Ah/KBqVHITtCr4gdyQt/fA
FYW9wOAy/bUXj9QfgtstYKY/HWhgrgZ2VNwyjY9Nnsi9q8oqms4rz7Y6o2bkhPidhsPRmKC1DRYO
8DM2lTiSG3lMWlRtuh5ksTuAj/qlZxcNMp5Sm2sDwjytFomhiwdj8OozsC8a0KxInTqirnB/1kqc
9N8RZpT5VxACgsM8t7673OMHejn1beKfIYO26WK86Zcti4Y1mPTa4L7UUwMckXcHMgnQ9K11zwRI
GuFRnjrja5jXOxDvaD8N2zhCuHT6wsEssHRR738Bb5a2tXt92KK8FKhNNci1UbeY6s1uGuPqMoVW
uchkGZ9yVZWaJYBHC0gCza13u83tkgeFKPalCS7FO8kMYKHQ9dF6F+yqermnjhy316rKLeT4WQgl
116XpwYMaS/9P7Uw+peIjRE4csGK5je++cLB/7VODTGuyQmsrW9jmNNYL8Z3K8q3oimTa9+Y8Y0V
JoDxuQ76qjZNbjmv2iOeOF+oc4rj+gSK6lM5OvnRlFkeQBkXAouq6fd4Ay7olA6hluIRpnrkmKHH
hXCnEupxVmQc7G+AxOVXS7rNOQd+dNENvv45bkctqBpW7qiZIWMBdUzxlBlqCwac7SIGM8znMG1G
YCt0b+fGXnpA1amzxHJo0WecP09FFJ90Tfog0AUMAEKyXaBVXrSvVFO5ceWmR018QrwSmmhRi2QY
UFgBqGziPTXf3Qw1G8Bi4EYjUMHUfkNlBxi26uqr7yCmriLmqd4KIK167zz6ZXVERZwTvHsgJYES
gFSI5f9h7cuaK+WVbP/KifPcRDNLdHTfh82eJ892uV4IuwZmgQAx/fq7SPwV/upUd8eNuC8ESqUE
3t4bpMyVa7mTR9CAUp48oElUvIXyYw7y0KA4By4icCTjgaTfN0imbUaJGpC+kMY9SumN+6z2thWi
lDfkkceJBcSB168QnQLPLkvccYWnzXAgZ9tCTXY9VMBcYSiNqKY5EY6sNnbRjblfutq2b51XE5pa
hxR0TKtmYoZxxqA8URMiNdaTo+qPZtgP8TZGqfK6l7W7LwUEw2iv7uKv3tdFF69pI0+91KTd+uJs
N11wQlAnWVFWq7EbUAUnot3GFdcAUs7VsbYtftKB2pqzY2kASq4eGVYaQHZKnVVDH+8GYIDmmZYB
v8+JSBFUCddphGWPmQHoFuVteuuleKP1I7uTgYAJGIJTb/Kvi6lNXEgi2Hnnh02mEp9Feb1OtCbd
zu0yHCfO8tg6zG0jwMtXFuJKUxS5m94OvcL+cBoMvN08f4YSW5DU9ccsPuVhl56x2vk4jDwB2Of3
dlSU7SmvTmSnEU3gWaBR1YlqxrqyCWw+tgEEgxlqKa1AM1dkc6YO/PsLXwAUtVloQOgMYXSkUYG0
i+L8YXQG57GvAZMZ4htVa84jWSxtPIA+Qt3Wk6m1dLlKSsVO5CGQkVhXNZTQKq1ysaJCqWQtwSFF
QyNIyR5RjOWtqImSWOP6v1yJWVLdxoC4VMjCeypzUCk9yvzUTIe4t9BWQ5QDMzTmJzqj7sJWPciJ
rR68jb/GhORO/eRZjiX4fH4/pX6tauUGUlrxzs7CdE264Yd8qg4r8T1Zm5XeXRQA+Bcny9J1ppvW
qXeLH3WQqrPRqY9DmNjqTDaXg1/PsbMTdY6ThwJbA+Jov1yop0cFHSidwauWa3dLmmpsWXTSB/la
/6ost5FmIBOlqeigNaConLyoRa40cIyaeeCc0fprrmX6v89F9l9XXOYy/7oizWwKYZ1Qi43HJx5G
MkXlLSF4+a8mtjvmU9LgsbL0YjnxuUm9SIhHmVldbEfrLr1ZBwe82o6NmQCxQ7b5lAOgckgM40g2
Ogi3RD3zdECZAUhKX6IGOwjwdtVseNIAv+eJ9lI2sngXFn/h+CK8gwp6PgGedD75W5ce9OwZUhnH
qVtMI/+XKf6/+0ACDFVe4O/eOMpxzrJ37RURPeRRFm0r6NTO7BAWg7JLWerOtcGf/Gzyx3g0rZc/
DQq4Wc3sEP86qE9K6yW07PjcCRRfqlzrb+nQxCyDVqa/WEYE4m7deFqQp9Ek+qpPbJaiNHZGjD2q
2xnDp6GZ8rVAFsE8ZWuAq0Pvp6DEdIUppncrg8jYpQGIYMlmI0O5qhomQA0qyk2LmvpDwOrsedDG
nZAmQK2TXbdSb7F3YfFhZ2BsO0jg656dAnvIX/bF/+/2QqJ+jbJXc+Jryl6B8hKazMOcLJOgrT0r
r3pc8mdZa8pd6/DeX/JnHVKYiMLGfLskxZQdvmah3Z/INNsjvwhQUUY5t1EL0nNklY/LpRUeODsp
o8FfpqmC9vPU1DEY2Tw1TaSDyvlWuaY/GqgQrN0RgcEMkJRrVrqur1V1jjqAPrjOPXhCDQfUtTzl
k438KjOAgiIQJDuaYR5LE/yapQO7Dwqapkl/HbA8nWdaTMucMk53eN+wE3UCB3afOJk6tyjjX/c5
w4p7WsjMKw+8+MrBRmp2MnHwTO+LbABV19Sk5YojQuTauiA9kc3lIDgAKPyGOme3aV4XqfDtYhPm
z2VabeCfp6VBnoZgVtLVKfZRWAbRtC0YramTDs2vaYMaW4WhxKqqbzTnUDZY2dF6hofAQVCT1jPU
dHnboRAJqYmlSb2oZcPvJT3zELueFhXEu6Af37wGW6KQ6e0ZhOJY41GbTUY6o0McCEjEptWOhgZg
WcdrYxpC7WWGoADBv9VW97/Z55k/XWTIvHjFuOi2CHG0h56FD6bd6l8ZhFi9wIm/5Spp/apP+BWC
v80ZNB4oJxwK782QF3JwoErsFwyc8rIvy4uAjsiaOtydBY2pdyg7y7Uru/jiRWF+jUZgD5Dair+5
5mNbGuObhaL0NXRsxbRsDnZIESP2UEO4E+/c4Wuu2/UqTq3wVgjXvlIHtgCorZg6NJTYzR2lBv7l
wEQdRS+PzIhArehMEKi+7u7J1jUOUHZDO9xLRAa3Vqh1N0EWmTdGpd/V06I2QSqJWl2jRVsNjPlQ
BIbIY8iYeURU5UBFLUuhCzWh7uwcQX4+d5I/2ekwILV0dGJ3/7t9mhbs0NqxMJr9J//JThdIRy06
oSBn7vxtOKp3kT/Wu/n2lnobcgMkUpzGMtst05rA1F8S3vlSq/uL6yKh0wOTf9MGeF2j0Cy+r1MP
sN8Cig195QnfsI3yhdUVyvi6KvvKOVAAXSe+eSnIk4SrfipbrNM0Z9APvUcyKMEuJav90rOCn0id
Acadpe99/B01evLJVmrYRHg0nqUuipOB7Op25DYWlSAfWIU5b75ZZuhrY5b/BAf3s3IG+8XTegT3
EXm/upquHwobpfsMe7K7RPDW7xrd+DrY7aFzjeynzsajGjz5FaBNCHSB/ZCpehV17figmyLZBbZM
j5LV6Y3No3BteG33FUj63VCm2Q99iL6oLBme264fsPs0xNkzlH3GL7vYsJYVL0whHDi5Ws14iBmP
TrKKHb8MEwUKbKc+xdwYH5raeABPh/MVGs1Qcwrs5gz9sPIeNG3vZMcfg6hMK7uLAG3dXVVHAFLH
fK15KK4DAWZ41XIRX6QRYbNvWe175WzcJBbfAK6BTNbkYNbusEMNZbRJzFTcovhF3BYBCrwQcCgR
r3fyWwPaa3xV5rjjMbshE2q4NGSmO8+KVr1W7EOtSbbdBPrAv1q7M3kWrxA27o7W9N6bOwJUC4xB
cUutyA2KS25Gl2VQVuCtP0QxSDx/TSSQMF7jx5RsNYKIYEH9MTH5sMioVzmvvhHZ2zjxcZapGk5N
vhLORPk2E7/NR/Khw6d22YfjqQbWVRn8CAmbleOCxaPIrOuMWRghjYHgQLIljEMozPqCAo1n6iST
GxkX02o//Gsg3JEmC52TVnHHJzoKu6i+FLFt3JsImp3/YG+l+GxPzOaLk9Uf/hIAIJ/YK/C9+eIF
iXnfh6immiNZImjrD35XJEHOzAU3KGESqFQtB/9CUzXgngjsW3wwxVMLSaZ9gxLubTNYxpcRD95Q
segdrzDQp9Spdh6UM95ApZqDKAMFydNI5HSLp34aWRcIDIVuOY8kBydAERiNtICouFEJRMfZXyPp
mjoDRJFGOhHXv9QAH5EDVnqovQg3eVjZ90CIJ1v8M7xzl8bgG4Z49d6qrRJ5gciCWrjSoUdtgV7V
MtNvkC7aDiUbQ9QkRhtwdBnfEhuVhUDMJs/OqHdrz+zMm6ILtV07ts3Rlc1wRp4d4uOskPcSj3mU
57XiFcuIxyAFuHcV3Y+qAmNYycpJVcR+rTVd+H+6t1FZ/3JvYal/urdY0yCyO9V+UelW1Ne5X1tR
c5yLs6YmUPPNkcq+alO7Rx1JfSi7NO1WiKyCQo7CdbxicmPFYAyYjS7SthveR9oKaWyBXWvDtj3E
zPyoD/Cpk7EuYryjQ+c8Tipe/XQQSmfbOoTYOSv7ndUzcdQACbl0ruovdEYHlRRgKAtcd710SBm8
x7UerPKK9VsrCa0DZ2V0z4eppG0A1S+QJ2eUeJYv5DHYlon8pvWE6p/Ohx57eOzxKLGWtP6nGP98
Sk4jnCgFwJLY2XZ9hG0/2OgGBHcdxlGDEmQbOcGKa6tuVkYDZGALWNCj6wAibafjF3ILdNCcOmWJ
CFyLvUYcN821mdzaELV80/A/ufX45e8EoIiQsWLqqcrzHUq5kdfDL29rOtG4y6dml5V+At2Ql1RI
/ZiaLmTHtVF/1Z3+x5B4/BaJ5v4GbNqoWJ/8LcNz/VoxZK6maXMlduQ/JOxj2gJx4/2Yo7Id1Npg
2N1yYMZ8ZBfjA21tqVnqSXKYN75TLyo24k9NxDLjQyJ1ZKIlqks5AVfD2GlXhtE6G094+tkhtCte
Eq27RXnG7ccVoU5zChvEabLRbM4oMgG9RA6i6jMEOgNzG5YoKi9Y322pnw4ai98StzR3vTAValhw
iEXYXopaFijlzxwwyHC3X5ExLuoPH8tVyi/rGtnfyZs6FAt78F9CaSEtkbyF1rq6qC4AmBD6Un5T
QKKxS4HmR+oep1h5NVswvjUrjtBkvyJjNfXQGQdS5lBIdrPYS8ME9cfcq6y1UQJo2GNl4OA1fqrp
h4afUHRpUhu/OTqN+ENpZQkUzhA3pwNyVFmHkO5f7Qb8QgK8/mT5NJLaYxob0Cz3aa5lDISEEIqf
DmbOrI3dZ252BT1Ys9XBBX4tjcC66OrJmOBedCAznY1RZ/luMohNjJUKwx4k4OcxzH1ySck2eKKC
fk9kb5YZqlh/wu4kAk0fV2KlQZXs6E0HOgtTpxFgUnBhxH7O25C1GSsb8N3Jy2E2lM7rYU8+ZLKd
4q/RNOXSJh9qFkXu2P7S4xqsWBsuBCWrDgmjTsQfhwTRyAr18mhnPZcgHAp/zLaMesjdqVixbXPt
J0UgPwUp0ziGyk8E8vQGaPYz9o6fo5m/BTdpMHfCJy3WnoGCti6mBn7AzooGKMUPyUUOmQD3ktLu
UIRm+rKJTMR4snAFxkjxvQ/TDUCKAtiPGMI1ThD9UIl8L0K3+VINyNtrbqTfY8HDwT1Z6/g/FukB
L60WLDgVqvlZunHxcsXvwRH4LJJuOM+nmqW0o1FhTSVSiUqiqYcObgdk1gBavB67wSY2UbQHOoxX
AC/vINZZPfCx9M4oFqx8smsK5ItFFcmbNLDGW8/psX6ZBkTgCkDGqHBONuqLH3kBOd1OF09hMVar
Hox8ZzoMnZaf9emw2KipOlX7TmZuixGA8E7Ul9oNiycPKNj7mge+blYRcC3ryhXZk9M3xRMir4A3
luqeHMMiuwIlxW+oVSXV917IYZ4EenWgVc0i/A6nOYtpQ4sHUXegZjY64xpYIHtHzYaXSA8iwL2l
5hAHNXZjFV9b00XBFRofkN2wfOpFJl47ygL0FtTL3Ta+NA1WqNSr92Z1g5DBHXVi6RqvSmfQ97mm
WSPYltMKBRnVscHiAKGkPA0u+G4FFzrTuvIL+LK7vWkUzrgyZdAiAD+ACd7IsTHMocw8ndEhhCrA
MYhxWJp/8luG0QhyoWFL8/99quWSv0312x0s1/jNjzpY3alDazwEEUSWNaiEFCs6XQ4g/nDWhVX2
KwglZKelg8WgpJdF/tcQai/dfJpxadLZ7xfIGmQkDQaWw/95mkj+ujG6Ct3JbFyuSka3knaxcm3j
blQx9m7TTSxDqDm70CkNKcvkBcqb8qBZcXHbQBrSQSroLCbGTjqUgwMUiBaU/mBaH7aOzpJ0q0HU
6DJMvwBgo1W9rVSKWolfY2lEkQAt1zPzsthHHbXbY4YnEV116RhAr9O5XXoVPMLKXEWtu0nL2PPn
K/6aGFEqFG6Dw7uja2dKYJcsjWQ9T0WDI/WasS66mafKlFFuoliTs4uneVcLJEQ7MEyoo6t0dZzP
WNZ+nP3BRi49t1mGHzbG0UH8Olts7jTNMit1LDYJllA/sfGLB72bd1+2DNxUEZjUqRk4qXevTEho
d6l5E00eEvJq+6hxWp86pc29+wLxllx2+mUe1CkoBaKIB5EvQESFqsUNt6wraFLk93J0rpqrl99t
xa4Rw4mAhQdJfWZxBm4mTw8OrOqfCJBOMPRwwqIjEjDbFxN5kD2X4w2qzFf6gA1B5iS3INCz75I4
YVc8kDbUooM2gs05s5rv7RCmyPQ1QOSVnqx97gZgMWB5eKoye9rPS/e1+XWWJsaHjc7azHZfo2jI
VnqRs9e5N9zphveQKpXeOY6T3oH32j3XzXgiE8Qh0rsGQPybAM8yqOb1oU9ubXsXgYzplrzo0FT1
PrWK7kKtPk7Su0oULwUTYNKYZiZTX4OzwtXM8LDY2sKqfJ7o6Y5cqCNTOYouChTxkI3mjCTkRMPG
TtfLVUOmrF3ag4F6mS+0MvPAjB54LYPjhpNi5Cfbbe5oGP1JwEVIKJWWn2Y3JGh4k/kWlj8hxY6y
A/vXdTGJoLrtPRadlztTLIhXBmgSUZOKD4x8a7cKVprmsk9/lTQDwEhN0FWRCx28ERwgtVEb819F
k7LWg+henit/uazeCL7XJHDry1/aVq121Hn3ZfngECAF77/KDsvd9cLxborwleaa/4deX05R1+Fm
bo6lfQTDRjcV03QHZkIkQSvy/i2pm0czy9PHBJKNR6brQOhOdujZWVrRXEeswwH+5PW2AZXRgeel
/aRAdEdOumsafuPq1SW2HG2tOUW+UhDge2h747lrBnHpppZbeuMWWBEwJ0vPeKjcvrrlIL1qeGo8
kKk1QO0V5mF8IlvfhuU+jwvdnwc4ZvjQG9tAKQNMnIDoYV3dJgeaHJy46RFREWNFTRrg4cuiuUZ/
R6Z2RCgx69tqR5Oj2iQ/J5b4QZ10u1psnJDCDW/mqzdWB7RZ7G5oMs7S7qrb5ZX86eAlyVuRMuNM
rR7Lw13AzBZ0IviDRq0P74BUWVMnmQpIZK7sKuiP1EzH0tqzGME6cqFb6FAZp48PZNAYNF48Oep7
ugHQeujHUPXYSmJP1cUvemy1d6PN1G05dt+DzvO+QNp92EARcNiHPZqR0tYg3QJGM/G8c1nlUOBD
BfUX8BTaoMTNm1PZxoCumXezuYUCn5ISfCGI0fgfO25QqO1nnN6CzU+R+ji1olx9AupZSQ0xccO6
13DbZRi8UP461MW7qlXxWCLJtlc1JH4QpfUeJwdKbWMN+G7XXzUEOd8TBwDItLN/plZ202SD+aqS
ZoAeqCnuXCtud1ya/TGQboo4RaqDNdDuH9MByrgCAp3fpuHQKLV/xhjOcgSD8RUNtoGV4auR6ShJ
mOrIY66B2cJIUXyWRf0zNCrA5Qz74tZN1eeZx5BGREBtdnNRe09uqI74mG2Y3JbZ4uRbQEQHkDwe
QPON8g5tlQ/fcxYBXeqZL5AdlgAlGvm+7pv0Wbb2mZVG9I56nswvAY++Kmbql8IYkFqzhvj918gu
gxgFjSzcELBty9LXWpIgQRSK7JnOROim81n3B9uf/ELd0PHcLLNPeTbNtYYTmMH2n7J6c47NGR40
Z3QPlF6bexmyZBtHkygz+ZWjI2eaJZP1nux9kq3EiMTutWzLcueCfuDFzMuZz8rNuLFJLV4dgEKC
OG9WzHxWWEvDnjQg0DY97Xny54iToUoNMAVnKMCjbJaduZmw837keuDBllH637Q7P1GrIFbByUsh
OwKoTFpc89FBwsXo1tSBPGFxjaEhaK2TsV8DQxWcFrdgcKLtEGbM721Uc3YAapxU3raPUWeKDVjK
+u3cHEHEZrsVbslk7aPqjBEErtmZOunQMRCGoajrjlo0W58aH7PZRvcxW2hp4bZVokHEi5vpijiz
ID907rhRXalV61m9T7y88qlJBwR5QcwZ1ldbegBsTh41CMR8e5ISIdsf5pg9pgF/n+NPV7EktF/L
FtyT0WCXD1pqnIibIYA66T5FrdWmn34U0OiLp1h0dyMh2v1gd+NJh/jrBg9HdorqMPIbPtrnOi2s
Zx106TNtnRLFESyU5ToEau4LuQWZtM+GHu64WbQoqnff6RdT1xCukIhZ3DW63pyasOVrPUzjd5Vf
Cml5X9sUtKtjM8ZHPc/EwzSQ+qu0gIaOCbiQFafuIc0wj1ub7vcQAZ8oarp3ZEs7v7W96DblhgEx
1xEso1YxQkQ5/fB1oMiiIMco1gaSpy0YesH9Yevrns4sbFU7oTjCBTibe6czK3pzmh4q7hxlQtMB
pJgq3NUA9O6cxkZSVuFJ1GAZAX5/Nu48PGfuJENqfeJLm/8ZUTOsaxdBV/pfZlGb3EFZbtLgunU8
3fmagWsXYordV3PsdV+lSQctvbDbN26r7XVkOm86lIT7yMuNr7Lvz8Sh7Qmwd8ZF91WXGeQgUX+h
dUn+KFB6j9JtnIVVCdlQPJIftUR92JZeOhO6Xm86UYEZyMaDEiUa+ZFuOXCz7OzK6m2+4+lPcUuQ
fZFHHqk9FAuSJy8vz0WheY8JCJ+OeKJMv8Ju+DrZMx1vCzOK7KPLQJXyd/uIRMaqMGq5x+Ovv2DB
319Gx+2gD20Xu9Qs45XU+2RYUQ+L4nHVSCfaFd0AXTMNOgjcm4JaU3OxsTQb9sC2VXftdKhBrI/s
BWzUpI7FVtSs3srAbH1CuRHeDXvgO2a7wYHwbYtdY8m404EdXmVE07ooW3lWdYfcWr0RCk+PUDPM
G5E62iaezkJ3+Dgj2596ASwFfQ6wkrsE354jR+pgW4+sfKoq8d1ClPF7LOstAnHdVyMP0jXwU8NV
cY7InlHUW5Ex1zfFqK0CnhtnTowIFCimtoOIHNY54ZFMdGBTFJnOkKaAlms5QogW4NVtwhSqlaeC
OwJxkQ0EANC/sdwLAjnF1Zsev0KZr+bY6PvEdvBILrU+Pdi6hreETKGB3tahDTEdI/ke4FfBTdd5
K70oWRuOk1+9VOenaCzqTa+EQq036sWh5vndrvOfQ9E2jzyKm10QFPkhzB0opU2TkcdoQXE9rp03
hPaTdcBGsWY6H/agECSMOh08IeQmYI65oWaH4r1798PBtpydm+eAiw/NwygClPancX5ATgMFhlB4
uIMyyIdNsosWJAcRuZs/aVYEFl61U+c4peKZiPQ1IIud9oDoGj6FLg7LNdX+p0hd7ZHrNfEKg8oT
iBSruwjBmNlGTeoAur3ZW77GQIDQ2q35hDLw9mib5cRNzRE+rCANsTRdECjic7UuiRUCIc1dz08n
hnFItT67dRU+MKfJzu2QBj4xert/2VVhZefCmuSZEIHfgMs3gyhhucLP1ngH34YC5t/MbplyB3C9
4B+ROXH7oPMKhEPTo3aIPnzbCIzGlqmi+8gAebUKkMjC3nD8autQ5unV8AK5mA87ATHAkTnbyX8U
SbAJtRE1Bk2T7u0ujrZIciCvx0c8F5ErB7sNikLSLNsbad58IY+oie1dAnG+FRZbuT9Tzzea3u/+
2CbieeTLUCXjcG9vuqCGi9wa6mf0karqc5N6EfHvDvT5y7j7l97fxi7O7TSV5JrajeF47AYkXSGF
Lk89IgBbURnWgwAkDDLHYvxeBDdl3wU/rFH+tBzOn1RmYGcZ9sEZKPBqHqPyUtuIAZVK9HvTB7va
JVpUIPY0rYHUtODppkPmjZav629LzfRSV12CTOKQS4j72Ki87ty8hkDxoD4qsRc/aDJgbd7mT7Ze
6/iedhW4aXJrmzkAF8epLC8oghcbwJ7kc8WMb1TaqLnf8NhKvy9j9HiM1lrgvCoX/0yqWgPCWG6X
plf3cgt55GibsTA8OwNKr5z+hdDvRdFCmi4Khiu3eXc2FTYysQyMtzqdHaz+Qe+NFbIFEggR/CQK
rDARFrbLM8nQ5FPTmZrUa7Wo7aRe7BXNJ+r909jUjZC5yAUIVDVxxTIB60oI0Jqy5yepdCw1J3tX
uSAMGJpXqXhh/VQp4/fQo12D4TbM76JwKmBQ8RlM3Y79TaCGeA1aDftGK6H6N2gsfQqzotpASWq8
oOQrO7pl6u7GsrBuraR0/NZxo9fWFPd5Vtg/UdgPfKOnvkfyr+EsUoBvtKkJIn+8K8CP4CEU4+Vn
p2kDoAf6Z/r5k920hbtjZTWrD3mDmd+itvskBISRFkGivIyanaMikOGOECRaOozShuCHdgsGGzBR
lUDtI7iykk7cnajZDMVHk0oP8Xb43Dv8vUm9iY7ysP92bDECoyNFvga17dmpmTh40wILaEQosnGZ
Rxdq02FyCYpRHJKUxWcDi0/iM0hU9yNwiujW7Xr7Xh/TK5EhWKKzdoCNJlvyGvLxB6r0wlusbWcv
MpuDBa8+g9e0cv01F/grZi9Rl+5W8draIEIJgHBf6S+xBW44/K6DOxHV4OPGw/+CGhnkoII2QtCl
sy4joOIQR6yt+6aoG78wRP8l8ay31mPpD1M2GD7loZxMYqukp99dD0KrfejoEGQL8ZsOa3CjdAPS
JK0RXwJDe8u0wJ4XlG1q5Ociid5omUYbBI4q1xW32vRIizXPxncQxfDlhti8iNdL9UF20Sq8Kibm
L7I3vUJpx2S3O+4vrmSHTGeGF4MnVyDsHXcomslfGOTFhcGj9zxAGTQDF9s1yaLuylFADahBE70n
kAZwdHBvmCwOdn8fmRrxeCty60VgZXMBBZO4YNUrLtiBJHun1565FccnK4m3oZnLhyxL2ls3ZQC0
dFAG7RFz8atA1/fUq7VOcw5D/nXu1Qf3e43ijxMWR9i1uLYGyUtEyMiXDiCu2zqd0G6oFUvPXf/z
H//+f/7zW/8f4Y/iFjDSsBD/ECq/LWLR1P/1T0imWM4//1HOPYfv//VPx9FNzkAHYpm6xWzOXY7+
b2/3yINPA/5NhyRKweKo3mUqtY8KWks+wiwI/3VO+CXOPdQPI2vHWQWYmY3kHtkRPmFbFLJj9R6L
6IsHehkwxTru1cAD+wlCzD65icIRpzDyQOI/zVY44PSpk05HRXycAEjQlEcsN94RqUp+5uXVcybV
ARFaeJ0H/HXiafHxsap7O8iaba5LeW6ylh2xAu92TWWPtwC2hmsTSlQv0zxtE8Q/x/FjHlNDmbyL
lVhZXo0wco0Vyu/bK7KUFx6mxdG0kRpeSW4rlO+F6jJqTxWKFq7kRWZqDkqOe0BH38hOJuqkw9DK
YG00juvPVyBjPU1ZG327UkKEO7J9uhhnzU4NSX36ZMtbkZ8bXa6dToKsn4bQpRwgZ3ZmVuWfbeSj
OVUxEUi36z/dNXR84lXCdW8noBFxCHWUkGeA3YAC3wC4jWdiDaiU6ZwTkByeZGoEqDFWWnuidsEh
4duERrzh1rDJgtoFJfWYDj7YZ+I9c5v8gamIXUY7uHHtCK3JpLLAWNWN7oBo0cnx8gvtk2bnPxeP
ztF/gkEIepTKTpEMw0isYtihYdCooTm8aSKwTgHxrZwLediZTPd4sODXO3WSDWrCm1po0e18pdwb
tvkwjOt5jlgegmRMbli1i+sUZbbTOLPmYmN4BoMMM65rFYG8syAOsEzKjDFeAyVX7mhWeyyDa5yF
R+7oTuEDSwU6vzIY9pk+X6cJA/sM3ssXcqd5euyJVg1YCI7UDCJuT5AHBMWnW6CDDFGMkLnmmUaF
PNT2VYn/Cd0V2SwTuVxsFK7kH9sxKhsCI1rTZzP0wVerqOMzR2Et1EfbrRnZ9j2q5O17a0QdIcj4
vE3jOpGAJmu6At1lfkcu2KBZwP9AyiE2zWJjJnaz81pQsUAoLeuyDPK+dnywNbN8zsZgb4C47Q3h
43rtNoV5gmRDf6+17bshg/QNQaUQGjmNceWhl96YweiuqEO4/c9WMu0uDor0DIHebE0XaJ38xKdY
cNEOV9Q5gwOsx7+CLpIFjwUgtqCu6LNdVnberra18gt0i/xBr4KtmdXA5Xl4B2rNqUskHtwKYT4f
T5fkYIDzBQBVfGRlJ/RV2ce69AM8xAIjFHfUa7hxu3ZjLdxRM9I8BIOgWjFPVeE7LBE6vHJP6Q9g
E4y3gTkWG2pKUek3wIPtZ9+mB7gVPGvFNqitbzQbK5m2g0KJMyHijQdTwws9t07UN1sE0sg5woXz
rXKtEUfHUuCpnO7cykY8JrwKmIsaNNBx/dc9lyAUTbDS2dF9qEK3z5YtPu65c/kNcjFivufp67AF
MLzY0FUzB+m/EbKg1KKr0H3bZtfN9/U/3TMN6mvtX+45TCuwnWHRctOIfttpqbNTlXcosbABgEeV
2BVrbQGsz3Q6ZKpCzL8x12XMnL1HPVwrAPUSGTixZ88GGfHE4SEor6dN9TSwQzpqG8T8BSKaUOEh
mw5uhuhMp7O1bE19hThlILR0HcV4AVjpQ1JLJMMrlMgCqps9ALSWPcgcdP6dd0cO2HFZG+hIYlk7
+Zd6at5jMDnSENAn83UXdWJLtppjpa1iHzoSw6FoM/9jGOatowZBDQXxu9hssweIuzU3g+HuFo9c
Dgp/pir2NJcaGw9atD7UzGRZnsiPhlZhDy5rva8PZBO93p0HO3kd5agO3JLZ2tB5srOb3jnqqcgv
YV/VPoBrgSgPPC3ADayLfJVF5fAjGiGOyeqfQzZ+68C18syLbiJiDQQSaqgaHmub7QyzCe/6AEU4
ojXzr6bBsdDGIGQbdngimG+JY4HFDArx93TlfiicY5L07gF11buSu6jNMkcGAcToh9WZEmtMDcwA
LncuMd4aW7sMDUCRoDc0pNLz9QAbRq3eSBtVDRm2qG881K/gH5rWjvptxHt8yAl2WVFsFt81FX77
v5SdV5PcOLClfxEj6Em8VrG86Wqrbr0wJI1E7z1//f2I0qhnZydu7L4wCCQAsgwJIPPkORWyGO/2
qCZrc5j854bkfnTsgfW6aH7drw0Eujz+67pRF7iPBJPBHIXh8EaIBXSoxnbs/7ge+kaAoYqm3Iqp
hP4J6qhtTQKF56fwj+a9hrj61GvfQDWt/F5vPkQDTjkk5XavQoPwJkz7WGXLqLXQ1u4MS6wx9tpD
HiXkZcieQD/9sJqefaGVRwclno3skOW7WY/dr8TlU9hFh+ZAjNN9mYV9k/bZjnNW2NVwDUt1vAIN
QyxquVImArIkTeeFx649jGqIbKle+1/9envvaLj9Ru/m4qipHbG8sH6/3wghh5WS88Ul0EpfdKfS
1sUyIF6fYxF1+dvshtNeB0e7zdqu+0jKaSUbKAbgJojPsxOZa9WTcGHulZdqLJCvYKetW8AG8mxD
H+BJg2I1W8Fb80vnItrnwvOwC5NR+VKY/PLLNckPrrw5dFPWv7hLEJip7l9XgSrVCmdB8GQr0Hv6
iwKL7FHHuEumJvxoZzvYjXNZ76FwnN7mApLK5YtOMkDpsAdkF3tWBP7LWF/NTEmvVpa/VhP0hxGb
sX0RJHAu33cNbB0sgOcAiexsL7NopEELnGdlRNlgmU1rJbaeyuXgpqztKiNWNnL6jESPwf0R2mNz
n1DLLJp3BUlTa9lJtuoJfUwsJy+yZI+dgLJwYBouCn3HMlc7Aj9ZObgUXlNTUR6ToDxJMcPRKfhy
QMrhE0fpsK41fERqNm6k1c6C1FPMqT9IK274X2npqldZWkbU2YK+5suI5PbCSsUQVsV1/0bapiFk
/UTUzzju3XNn9axO+2rU94PTPeiLAaAQCJx/mJWx3PPStw9zGUMAjlPLPfuW/vfpFNpQlM7jX4H2
dTADmJK6Pluj12ok69AJ27XLHLmDy9FM1nDZ7/TeNa4NwfqnuVbDi5GpD78b58q4tcYu8+5lPYeN
Qa+qFprQZbAmR8RBjR/TSKRPg2UFJysUPzs7xaZ3brbR24a/mbxQYxY/urLVNoTx1A3BIoM0Rjv+
kgaKvckUgdLrUqwG+Kz8MCnPsjga+h4HHquowree87ncFFOefAnCOrkYCyMyC+nkC1Rz7q5W/d/W
OB0Tj3S36SCtvep8M4uwfpBdlWAzGyrh3rQqbzCEvMrrZLlZHeVNZcv44G3/+6akNau1+00p0COw
WEiqnY+A5Fm6yO/O8qWYDxHxBnYyd6S1bHLHYP/DrR4o/nhv5Egk9udA90ZyzGhpZGXZ7FVtsJnm
kbxYET+ziZ5fDUKFSQu0UpbUoWCJBpWVLLmacTBmNbmX0nI6G+T/3aTNb8UDyY7ugyzpgfpckZd/
L+GS/tKNjnaVtjzIvmuhFd0pl9AjDBZek+Fyv4Rap4uGjX+WxEqwU9SrXEzsppeb87sCwLeWuidp
zZnnV1pm4k+SVsSzeKZQBXW7QH21HZGuM/XS2nVyQC6meJltJ94liqp5shikantxa//dUe2IfzEi
D8FEqqY0qi2XKoxGHPNGKV4QNyy2eTw2G2kdfCM7NxNvtHvfliQTN32RTbMcniddBCzcl4uG3dBv
oMtLt9IqgK8fCZ2m9dBcUwNetjTJNA8HdnO1KkRS8GhwGocuOgDQ3W3vlVUoMMHpeEOZ2zzoQT7B
p72MoZJOkhnZez2gRT4T4COzPH/WxJBdqyi8quinFXjaZzZsmgEX62K1oqY9+RPuOmT7imdZB0vw
VwuZvLOsisSA4tayEZrkAJNGyFcvGt6+9B81/E5+CDO+LMoeerkNk159kjVayFpvstJkK23hlAy3
rp/uzWWLYUQtqCutZC+Lbtj2sJ71T7MzfiXPqD3L6lbBJ8wftD/KYtBUJjANYq2yKA9Drb8YbZpe
5JXETGw6YvYC78GNyoNqeRAXevxR0ttgjurGUBHc5E1TbfO2cDzZsS805Wn4ef+0TSVmbwKpi0+T
UebY0B+SNN6h55I/y+ZWPudrXZ3137fvBiZ7IOuLSCDrXQO2A8wcrKHFhRbJMYxb4ixhLcU9flbJ
s2R0trhBx4ss3atgK1yJchx3oBF/d4ckzSDuNvVrYOKHsBydTWoSJJ4IIdz62M3uB79xF7Y6/yi6
ghydrCFXeBzz3+0M0Q3bzoEVXYRl5A1JoF00C6pm3KiZl4xp+MM/tEOV/fi0q2b/v9plf6bmjM1f
WmyzfnK8KirgbGoBNktpqc+izED6LMr8pGJpDMaLxiy/Xz+tsm+DT9urhToe3LEUD42h/ZKpNbYb
kt9a1/bOKlmGsWq7TLC4PbWsQmUrP3ZepwGylyAbxPZOQKtrr30XtY/CFBWM+umbdLKWceBunbIU
246pE2jTarLBpIHQLHafSYqpUmfnkG1LkkRhuflsIhMUkzGsPPKIxs00FMm0ckR+I2k8Plg5P+29
rsrdAdGXtvHuzNgIJqkbvRyhj7JVly8NFppwNol35KAOSJo2XqUVfmbUYSDFS5Mh2I4BfrpSGaAi
0PRCvYSJ2Gh1O93QAZtuE6kDtyArv096nRxlSda7nf67q6yTB9VWRm9i0/ZgGRDFRDD7nCan6V8s
MMSbtgqb7bAUTUVzDnYcRGtpLcxYPFS1eZRGWVX2vScMVXuUJchG4TZBH/uEgNU/R1O1bRTU9iMy
Q+2Tklw6PR8etUU7asjm+iD8Vl1Jm6yzAwUO4GjAIbS0l3UiubR1p5/7OLt+drSnUV3J4r86Grm1
aPmC6VquFC2iVfJKskOc5f6+0F03veasE0Csa7iwAmevKLl+yv3B/r/OWOFvNcd/m9UW7xGeNLwU
Swi3tp6HqrfOstSNinWCVfCbLMkD8dJpHSMTtTOyAZaj3g2eevypS2c5jB+1yvJ0I9vYJFAWLSO2
oWWdh0EJn+xwaylpDoH+/KbLjxTDCeSZoe3CH8HXJw9xXZ9Sw1AusjQNgBDHQXuTpdoZ+nNduPMu
rQ31HAUhdPzLIflzZkWi27VJ9SFbpFr1u4UsTmm6tswyhtPdbOHvAEExo/exElANXYcqFQ8ot5LQ
tRgKk0gAbBpgnItBPIDU/N0DqOCvudTBOljpoW+j9snQZvPRhDpg1punLO/aJ4dX+74pcaPIBrKO
bHgoqAkk3Ds1hWI+OmKbOxfbGtd2okdEmnLzKg+DGOGwRoAEkt6Jm14MobtEiabFYgL+Gg1carKd
tCpD89JDab2XaYm5sOGTtN2TzEoUGgRlK2mQ5cWKnOgPknwAL4cQseZi0J8/zwJlCr1yqVMCrGYi
/mn9bDcW1hmm0O/hMFQfOGfH1cDPfxVapD9VpXiU9TUCXrjNmnKvjlH1EbJNysbSfus7FjzwF7Dl
Xuo/u+dQfJ5q4lpkEJDug3Zr8IWNBOxRy1m91MkzWSetst3Q1+G/ra4Yfvctar9eiyHUd8psgDBq
QzLMoDE7TiVQ3qXqs16eFXYbXDrXbHbCSuYXM/UvCgyHfy0niW8P8gRFrXuNUyODctdx8vklurgL
j0qt3VKfPUQkfzl52ogZplN3GnCQ8Jvay0EajFkPj+LvHi6f9HrHUTiwXu5dx5g9vRjb3eBW2gs/
pbIb0iD3ZDFtCNNYuG1WstiMCds0VgpBHelIjSr6dhji+FEahQL7b8WTd1JaQ3uRA9dxhWN1KYY2
A4scX7uPhxeSlcm9kZ25KUN9vIoFWZGM6CuoVuD1QEbS0pOS4aRbkg+eZOVaE6n5RbFzvLVKXgES
Qna8LpuPyTLSW4D/8+U/OinapKL7qtuXHE0iRYkT1kpeEPScKKYXyZNh9pix7L1t2NY2U/R8NxEg
wz+OCKQsGo3JzmqZfGWxRYxiPWdh9ThNqXnUU6GsyaGb3lUyztZ9Z2VnXC79F027SBk62SosTQWs
jkDM04XxhGy57Gz0imwlO/9XK0MhkJ5rdog3JOm/mMpFjlC23e/LyuK/LkurJh2KbaUMmjfpOuqC
fw6xQTJtqV4+azKNeRx5V8Qxa6s8SwPUjPkV5HB3VmFFec8znmXmmVcolu19NlXWNjFV671Hvjdt
6uh77MAAF5Ste46h0XgYe/Si4sWw9PTrOHlNq/Z3T83P7j1lg/RPz0rPjHtPpBjC7/DzP05Fu48g
+vvW5LuRbL9fNTT+q6rs7VfIU5tN0Q/Rpa6U5FQro74Vll0842khtuX05o8OTRnZKymmjy6coy8t
zngvhyHkGpp+edQs/HcgCJOnuPHDdZCl1fdocIHIEzlLfGZUpWze50hUJLw0IcTETn9w6+KDRX/m
VaOJLwrWWpLlJvcrC859NHXRr4UlMgEy9JFnmrP2Cyu6aa2v7103sfeFoREkIniJxskwfph2AQco
cyvqZh9khV87zRJXv9KKl57467qEYHGviaJ4UQlVgZUT87o0w/JlgMv3oYVqnke2eJEtrNHdB/OU
3mSVXYtmHbtueJDt56C3dlWmpZ604sRvr+SWPspLySqUrz14SrtHWWpDQwDWgARSjh1FtbK1EaSB
V4ObsQOjuJAg8FW2HYusvmaRBVw2UgyYSKPsBdfVtU/z4qsRNb5nkg91rF23etNmIuJojX2d/Akq
hM7kTwER4nupfpfNFc2NdqPLwl4WAbU7RTt8FEZX7aElb7ayGhEIrzXjjEB0ph8KHQF2OWivWMeC
h/HFzlvwTIZ5KOsieUoKE9JTM2cB4fSQ+xa9z1RYMVfjTX5CKDx9CKcehEw+JGs7qLs9KZAKAdKl
/P/Y+T7UcrX/HEALkFCIUUbG4YFLtAUWTTLAa0yW5oWEL2sl63NtnL0yGIx7szof/9GsddN/NrNZ
LB1U1smXKZJ6SgQR/4qSVqwaR4Nsrp3NLyqyJTlkOm+qKsIH267C1by8RFkf9DsR5/5GFu3KQt8X
R8FZFn3jtQ/s9i00avM6ZkFCGJPBetsCidmRHx73Kzubuh9AgT24V3BOwFFyijUhvpoGVNzwzqtP
ZLr02zFplZMvqu4EMtbdGlGpPMYT2bIhANmvVt9dddl/TsihG6L6rzKH32902gF6C4RbSl/kV6ec
ugMcQNM+9pv2IZsUKFngcXwjQPQzQ2zwV6CiFmRwH5Wmv7qpO0LlybOnLAidOF5E1E27O7bhjNRF
nyNTB3HCi7q8KNi9j9+RJYYICJ8YZPv9PjFUfz8pdeC1jW685lHr7ssKJ4QsTgZvwERJ4nsRhQhj
r4smuReHgKc0gzfaU4vYfE1V1ORNI8+ZXym2VjxStIt7Y4dw9b6Chf5uteug3Tt4hO59w8JhnZeG
8LQvfUub6EkzaXDnL3cFNiKDc1vp79bMAoXXuSop/ItViDLaB5oy3a2p8JVd0GtIvy3WOY39HSF2
/X6h2iEQgp6ScbdaGjI5lg5bk2wcRqqxU1tIKGSRuU3bzV0D5nu5q3wc5p1u+TBOLiNrvT7u4L4G
5zI1h8Yt270/5a8Qt47jCohac5EHft7fZ7Hx4DTzeP53C9kMTDjecKtId7LYlCi05KEF4+zCvZ+Z
unsRc7uGs9N/YPI1HDJL7GhbBTBHyErZTh6CIv7uRJZ2kCVptBWS97ts2MZL/8+mcYovKo2JhX3W
ybNWV1/0HD2Iz7EbZC1Obmgdm8hnxpPN/BjAYkWikScH1jJePqsI6G0GRPX0eTG/gLuxUopbwob8
H9cfEiZVE4DlRrb9vJijJwfLbcrzZ30XKNkR4p83eeXPsaNcd9c4xrT7GM6z72jg7BauSnlQImgq
Q4HE0LRAcv6uTtPQaleyrMMz+OfUIpRG8gt4bUPJPHXhsryfyqZtmSqrsIXMXFr+l+HaNNrpfkBo
YbnktIxjBx27Ilk2J8UlP0PoGy12WZtBIiIGTRyqgH+5LNpW4rBvCouLaongrYYAW9Zro2scqlpl
GTtM87vWtCaZBUgbhmVnvmZ4A2R9konxMIcjyCo5OJymxEiAqeEDYUGrEQqQh7KNxbleDrLYtla1
VX1QtrJuqCqC1MT4y5Wqqyaeqdi5xE7rXJK08ToEjk9Mwia+scVg+06PQhpefzvJWWfLhtKiRXDe
L63Dpe9nvTwTvva7myze+9aBdTQLCCtYGzW7adKVM5CG1DWzizxMZkS233KQZ7IuImDkwQRXr/9l
gKcJ9NbSVzaOlX43qWVx/Fe9bCG7Eib3tzXL5fsV/+tisq9Wi+84EBfPHK5fRBenrbpwy3+ql0mV
s1Kyz6e2K5AeVDe1LH62GYxAXatCGXZ648SwhFgRajx1cHDKLN0NYZC+RX7yKLGnc+PH/C0WYcY/
LQSkEf97C1+pWm+aW7g1BPQLomtxXrVBftZVZ2MaCJV8VjlpDLL8s/zZo9aTbm8U1cVdBpH198bO
pDpen0EHbnVde4Ooi/RDE7rDEd+JINxXO3s4fYtVNVnt7V5Z5s1u0PWFBYO6Yjk0dYq2tGapnhzm
btAcyDcTqIhmdeHAXYhxR2VCvDn1u/VnXeyGjnMvI8wM8e2nSdPgoljJnrLyH3ZZbhoSCf413H82
HJc7kBZ5kCPamvu77rPIU8fELtu4OSJkcEICzPcEEZdxVQZTeRmhsieyU1TqqYp9aKVCitLS+Y3e
eTBSTCuLX3krK5ElWRgVJyP2EtSLS2NonqpI5V2iR87BFQnukqFOHnX3XdpkTQVb197B87j+rLMt
SBCjPF3AM1b9FIIVeCqeZHN5SA3Bsl11EcBdriHrzFCNybhApFAv3GGPPCEYmCxLLzjj0kuD72Mf
AqGv/EJDsVJzOUqLbBONY7tutB4SnKW1NDhFp22L3iDfMkv1Y2ElffPiZ6ilWBU84sINnjMrGj+0
LGGbZmUtcegKRu80ACCRIx82VSCSWTgGN1gIYLdXTO0tYeu8GjJz+guU8toRC/w17QawRoYAs2SC
xk6j7kXxCeL1Rk3egwNvkZom8UFZ1l1qURUbY5zGl7IhFy6yoSXT3ORwHwmVCJwrPtnyHY9fmuVX
f85goGjLk2HpxHGdKUU0/U9ZnslDEzXF3mwMMuWC4GL/OeBaAzg88lrLIlffqW7zIY2f9f9qO4/o
P4Nt+88xPruGidsfITTfyLE/6+XZZ91cutE5gnNouYN/XemzTt5MMsNb40Lh/qepm5vRrrJzshQD
q7nAqoHKlxMY29HNmk0dz4WHHqVw2kVzvnVfyly/lXDXPqgEUl+aTptXs9Omp37IxMvsd42H38Xh
O8BqNoO9NVj+b/SlKBYhklkBgiNHivtag3Qz/CaNFnlWTz6PC2vuc51Y5SGbAh51hKs4+gsXCBEo
sAyyLE/hmBqOIFrbkzWO4jXzEUlKx+EqS3qnPWe5OjzcS6GJY8sdb/eS7eyzuVAfZUkkeEhsQNe5
4XxR9WLeZEM7P8iDDhB2k/uGCkSBurwyfxtqEJXwVbruplWtzgYevVjISEHq2mFr+GeECpD1QxyE
uzyNUPL6Uw+yWGxyA/SlQMHAA39obkjctG8toJubWTjxfjIdfdX0JdCS5WDgFblk6HbpPrsRVqXU
dUYAjek8sjylJNvGkamvajtCQQ1u1FsH42ysjGc1mgYvw7P1nRSmSrO/16Qpe2qS6WdDKZ3r1BNW
k4bK4s1kNOpHP1gGAWQk2jLF3U1NWxwzmO7IoP48jS0guIR1m3kdB3pxbDUb4uNR8Q/w4eFzTrub
bdXlS9inBRGzvD7g3CtfMhY4uxodIU9aM2e0LvWQveGMTtt1N8wrt4uap3KJzpKiM68sBwr8PhAw
qvV6Dydjl6vHRvPn+yHJh38WvyuzncGSogQnvELBSZ75cxH+oygN/6pLlx6lm6PfIbtoc7vh3WLt
a+JQYxgS8ZiycOOEan3qgyh+1Ky6X4VVU31vevtFjKrxknSjuU8c09+mZe9/UTJ4K4DSfK9m+Bry
fmqvsZoZl5Fo57qqx/xhjEK12QVBAL8nKC+SCQb/oDUJRPuN7t/05cCuqboOSBBXMe7+DRhYFunN
AOUmRtmMKfon7uv4KMeQh9COAIEHW8JU4NJCc0YYijxw05i+GmUJTQGBdCh1u3gX9SDC4VgIrzEg
+GtRhRBmNL6NJ4LipyFcipnZAn0yYLD9NCi2VV0UgJtOlUM7kjfOuxH4ENWEtXNC5rT8MnTfyVR0
3n0IdA/d4hwkSlCtQDAHe03NFNIHBwVpCVs5NyCvN0OQEfhZDLJOWi2NbS5MV7QBDlutSeBeKWhK
PogWhLjrmMjlTulTU1XKSwm0a9/Mpr5Nq1x5z9E1lA0m5Im8rkrMs+zp50B1JG8lHI1PmaYS3/3N
o9daCGhqifEQ25b+gEdy2AaZAv3inzp5VsdhBYuVqLeTmPpkk7Az6qfR5Y9JX3mwarSTRfEiC0bB
C2KVAfo7jIXzl1NPXbJh3Z1uzNbNkJ/9uxdZ0MZDYJT9qpl8ZycN8lZ8sA/wnwYwdC2SQo4VArBs
wrcJwayHvtSCFQF9HM71PO0cCOY3spnrEyKwTcG8u1j/v3tZfVS9djDXKobe38js6m9kI5AnYSAy
QyTp/FnfRTmB4nl22Q7STBqSVFXPuFgRAvy7O593Qlx8WFxcjvFAtBsP++DaX1RLfZcZSbHYwY7u
/FSCBu4zzS3fnEaxvV6ArzOCsD000O3uQWYZD1bZ/O7NN/oOeviXEXQ/GS643JOkZfq0s+T1hBYU
uJGPGsJnXrU0tD36cykC6HqqAQZu3IvUcZTpfHGv7wI1ci+yJOuXKtlKzKG/uwd+0REE8Gfa4XM5
6f6jkj0BEg6f5WGGz9ZD/CXayiJw0UWDppp2VTzDCuB250ZrpwdrzmABIOq+dkECHqQxcsZpi4RN
vpFWxELGU5ZDYiqtdUY65ASOSxplFZkWQG3N6UGWLB8fg9+cfbY3ue4tYj3pwkXYAyj1UgDpa1n8
FPu5s4TK8ri0aSqlXUtBINVxx0M9atOz68J5oCuoQLDknZ8VNVs2E+PrtJRklarrb3BspBfZvuEv
u0Nji1lnaeECI3rsQxMHPoMJkilq3QMphlbxqEdXuIVZAo68fcr0cVJtVo9mdCEupXrc0PBITrDO
wnbFe/NxrPsScKWerKdsgqxc6aFY696D1hK35Gjzsnl0DOs5nSairWnm7Ey861vXEfbWLNL3Mi4V
QPq2sg4JT+4Jxx5gUYkehc/LXRvIfnZxdJst9DZwQRpewVb2Ks8UC7hRVZL9rtv8rLEyZGhflQtj
jFjjf2KWxhWL54wpeVB9pGIa3/TcQseLmyxI8r0zPk5iWREJeFECro8K0VQcDb2e16965J9cGDuO
PP/jChjbj4L85KdSNYJD4GYfog++hXEgdn6kiX3iK/i22A4zS0b8i+ZXC+mznb0AHtxmPMR1yWcl
+ciN0HgxrdVELt6trAyxDbubnvigzyvtpTO0r0LT3ZUKIswzOx9vp+KsaoMAkToB/BmCbt0PPD14
CXIIe1s4j5WyU29CqHBHESdEvywkAYhAxAbQs6Mcy3JsPCIdm2HomJfVND6NwBZXYdFeOtzxAR77
vxIrh5+jMtpNUGjVtmyVbDWYAEz1tF+TlA/QKfrQ7G7+1lbdDvL3QzNbD0ZZqyfRgG1lcuo3Iqrz
lRZNv/zuW51DXcPe9yc8QnwXzQcp2rtY5F/6DDCJXnZbYyqedNBqq6FGmUtXvgR5srbqimmlauFu
Ds1vaf5O0uTW4JvJBYzjo9P8VFkmeJb5RjZAdQRyzO4EpsyVGfe4DBRlWOtzngKwsr7qkT4D+GZN
KaIiXNPgwzKsTZkzwU4ZTL1VmVwjG2T1HBC3sxII3sai24EW/aYMef7S+b8q+Ed2Vd28KnhHWSfM
13LEgZRFS7bemDJ5zI6HvvEVPCafZK5IacO9AERy+JnGQX3VJgMm6fSl63vt1XCOPQjKteKHLxp5
IV5hQpAw8g7A42ke0Ga6mvN4LEIVGuMkuw4thLkaKTKbOeHHINDb7yLwpMcoOIiq3Tg6zPN+UcMv
ag6PnYYWcW231S6yydju++4G9MMz62kAhWwetcJVVmoUZSDtumdnLghYTsW8aCjWxzAeDnUHNhf1
X0KzwNeVTt2jUosasZkDfAXXBecX0f7IgX+yJEzUdlBt91DaRb59dR1gzlCOhl1l79ougnggUtc2
CMiQTPX9jMiLZ8KfukIqWjuyLXfXQ6ewdPfrAz7slQm1MygO9RiLsDmyioj0TTVVzbFLYJ16kKcV
eW/p6h+2WVepyAu73zVqdyhKHF2gI+klR9Gk+T5AAMFq7OurbJyHHcke+RE60xp5XHP0xnxujqGI
9K3VqQ+qXlZHgOQzT1jkwjXJ/thrJkAmnT79ZK6ySZOZxWMTLlRcrAxWzH7B0da3CVoya790IPBN
3b+eIMP9iF02cCiVoaWtf9dt5zn0u5VOTO8QGB30KnH/o2z4eVApv5WmDftJCfENEfgiXxiGevFQ
pwna3y6qFXb4kkdztUk7gMh19zNzElwYLSlAkVKWm1mJ3Ie+9g/Z7CrPPuwo/hSdNKN7za222MZl
+dHmqbJx/IYfj6x4xGj7i2qHPSF8AtVaUzw3Uf81qM2WNPDI3iU2AZVy6LZ+X+dr7jc5Zdm4ExFf
CDK6YqVnVn+pCr4sLQ1fsoG4vl6xdfGRWYyz7YxDeW+HzTnLinoLh8TrUKrrcCHWhOQfjl0Ip4lo
Jtu28M91idBnwsOoav2t9LX3SHdw1TT1SWW/se7mvt+QuWgdFR25W9igzEMaQhFet9WvUCuKFYI+
hlr/0icEb0YzRtepSVGbCB7b3ND20JvUQWd50MdA2PyspuFbZarRShgjW183u0YO4uu1MUDOEoBN
rUV20DUWCYmbvLe1mFdd4k5rpzmXbbpy7clehSJHLSsr3W1BuOfaAVmsg6a95laHNzcrt2SikofV
hioJ/Q3c0SC8VmFvvRtFQEYWLqeHUBWICSPt7jbHQpl+CkfVXy3xYQ0Z2gnGcMiJPK2ikHAxk/O4
nizgfIUu3DVu6HHPzislugazTppVp3hoeQe7o7mFeVBfdYtMgoGAe5qWI9jV+mxOrvDisod4MCE5
NRzikzz0oRWfiI6e0qwm74h0QmC8/bObkGCBZ2mV2Qq8WvWv2LDerGH6UestMbDIPAPGPpVkIToT
fkTTdivP8OsvDUoNGydPX+Bksq4j0/2qrdN6XwZNdssmcHhK1D2G3bwyuyzdZCzqPJ3ELE9YMfTI
2gCWNrPXnYYsTaWHBhIabrKvMzc4w+np75vBiE6zyKyDz0rtGEaJdowHgwzNKJ9PRZwM+xwGmTPQ
cGOnheF06aMsYDFLWivwmGrbD7DKE2vSNmWcOLesDaJNUF+qjrQeM7QJpsKe/yRKlsR5BUl8BHPK
ekFBrttEJW5uAom3wtB6sQ0B1/ocVq9Ns+8VG7K2PHZfW4L269qxOqjKIghaOmBAxgSfLfxi6pe5
YuekVX3xrlTEREXSjofSMi2PlFckMnldvo/WImxCXss7acUt4GSwD+BUoUzvQuOdCQxaelK13ke7
6xBACVWECSzIB/GLvAdWBr65mId3/Ols2JKqf9dQg19loKTehdXgW5zd+j1AgRFtibR6J4VshJHI
rG+BYhxha9evJO8LHBKO78liHM76FUloxRujdyREyzV5SSaY7gBpYnNkkjXNY2SzJ/YDs7+iLzZc
Gz7raXTrLYAz9spMQF4pMlItU8e6sNbGoyRuylwrL23CVzaY697mLks/TuBBGgcIZrRk0wXwv8xR
B0gT7pG1GUA/bo+mtraBjG9VVWlgnWy+uX1KiLnpyWFQi2diOtO2j4PWAylkr6ESNla9BsNcZQ3O
agoTY4OsPbokVr/TCyRAR2a/7Vxe+6Sa9l0T+9eZz6LE9hnM4msa+eENR2q3StlEsNxQ1Ad4pGoe
+/lmmxMTdlFPaxwJoOugPSIwxU5W7eNuTTJDuzUWBYkuj9cmIlMP9tAVBzEjU0FePASW5fy16ApI
Got5V0FpvplK8QY42OvqISbxheffn0H8TpUb8lFssCGotbQzaG3H3vhJFKz8FEdrU6NGG3K6jWNS
hkJfr1g/pzdbSa768uoOUhxXdtbVXgfxglLWFhN3SOIDDgGILHxr3YnMgTK5IBDJ9NDGvv00lAKn
upVtm84oV0OBU6MQgeslsGevGiLLmyYqkax06/5oWLZ9iUMNvbFkBrfQ4C7TTF6oOUvoB6eIz7lR
AdI1zpPSWhtS9uMTuR3VjoW/xZ09KP1Y7bUpuYZK459aHtWVE5Q/TGfuYLEOrX2vGucoinEhT462
Qdq+2BXB/7B1XsuN69gafiJWMYdbSVS0ZUuy3bv3DavTBnMAM5/+fIRnxlNT5wZFgBQtSyKwsNYf
4nxrp++tazSvYp7MDRm1v5m9qTCPMbbHzmaYh3qTtEJ7ceu2v07upG1KyvXPbTzGuCsm/ON6cE7Q
LSwr0jxZJ1/JdgNu6AH+VDKwj6WD+5BnGMh6IRiwQdHD143sCr1xz09iunYt1UY06IOziHzsJgr/
GRWswyC0fDP4+otNQie03HneGJ127oLqPY5d76nstD9y4ouaHMN6tuumDNs5+91a4HckikzIjr5W
vUyf8mGcNlo6e5sJibaOdd+Der4JdLc444IUhXOE9Go8wJTuowjF6rrYxZ72x57s8WJHwLemOtkm
/eRs29W1uK/N4qzFAxRQi8ToPFUnfx6QVfSr5skejasu2VJZQEUs9ORN9AoByxKRxYV7kRMOlN1E
8GTIoT1Asg2TSYOy1sTLsXCwJjaq+q1rq5umA3hDnag9eG373cC9b2tJw+YJy3n4Avtl6SdYcos4
+QLJ1zUn2g9JFqKlQwQvjHmns/uogyQ+w1HSqV4tf7etBVaOsGDHQwGHApOq7TJNSLf2wfc8Km0M
OwZyHd1+nHKEdVr3hVLpdJ0AGZZMsPvcFx9eXohwCkysIOI8XCbhshke+ICGId67ItLD2Ms/UFOd
dg0psxC9Cj3ME9CElSauS2HWGNQmS9hGLFGFa1sbLwryvZZixNYVabeNo+RADi4/Z+iWuLrpXojx
n3AK6NCASl8tw9AONQ/SJppfcwAcY5HGt5b9rHAoNFs+dZMYXknXtOxYdWkS6bOzqy0xHYraNXYp
AJtN7KPFkb6IeHIIb9phW4CQ3DledkuC+OI6vgw79EWoWxf6foCOd1w8PYDx29g75nCoNENW7HtU
s5berfYJleeNQIxqH8162Hq+3EBXzvdR4DCTRLEIu7T7bqCdEzZ9Oz6MgrRQAfumMVed5CDA8MFy
yT1F6bRDOf/BV+WTY/F/kP7M97GGTOBs7bwcjIwgKQda35PIQcp0N5lRAcxnij8S8jPwXLca2EBA
7Z3cDoQUe5RoII2jBAE6vOruTQ6Fy6IQGFDzlxMI+nyy541OJG336Coz//xEZmG8xGl+w15w2Q66
ET3HrfXdtanDL0N9TvssPpUz07WNE3tdUc2ovYvHLhPq6QXjkp2BhPe2aQydeS+COheBU8paHCdL
QF5TvgG6j4mr6+gHXWPPMjSO/GycBRSEXRXoyroO/tLZsoejiZJgBiG1XzR26lORAgQImhN+Af15
GuPhrI6+GuHa/blIgU7BqWGl9ki3g28/zGXuH/hy67OV6zWWOLa775bqilnyco4bFoYUa1/Ss4ux
VXfzO4oBfT4dGgqMSGtfyF74G1L919gI5Dlryg/pFyRQSnuUxyUp2CIHsJr9fEbTpZ/Po9UjBOW1
GIm4RlFsHKfc8CHYp0Fb1cTrwzQv5ZlVpGQTNEWh01cfLqbf524QFfcn1dJiUlLY1VZLqoS9lB+d
VUP4ShyaZFeHtPs+0nR5Xnp5sPPROUimw7PUM7CLCWHpppHVW5p1v9qu7D8/K3WkPqZkcRCOmqPF
x1W5jw/RKuWv9hnqyF+7q6453/dO1iW2nWvjTtF4dsU7pKaaiS400Eljd0FVNvDSD6sUpbFt9SY7
dd1CwX3ZGWN2M7QgxQqMf4zim2PUqxIEEXzbRtGWSWp9Aw2ug+0105gukDPbJtkcFZtEj6LDkjfH
sW0QViiRlE+T09jBS9QI1oDBTtZZvQPEPKgLe8s7ZbsasT/LX7bqsDWSmu0vVtZJB4gSqRDo329V
GbC1Gm3yNaj5ngE6mOcYjvm29uCxNT/9Jf9J3sXnk40mfrmm47M7po+AMB4SSXxS31VtTtVZro3q
qsZGzIOf+fpV/n+nI9AB/3X16AXtfh5jkovlwahxlBvc72xO+m1r56YbupqNwEiZHYemCCjqcIGo
MU+q/BSlqXkjAwk+M/YaIHc0A4i//fw7RpCPCuBkaN1TlPfJKdcKtLBeejTW930y3MqofsqYB85I
DCEvXRc/5mISJMpbaFo9Bh2L+dIirEU6XPNDL5PaBmA05QSRLveoKUrm7qXYG6O4eVTFouKBadW7
xMz9MKxpAt1xijOGVptJSvMyG+iCHiAieI9e8gwHgw9esqjeAkWDRLutFBAph/GkVW7Go+PP13hO
EKXxtJaoiTxjgHhDM+TnSI8RNeo0wirIWBc+Gkw3I83ZLFSdN9oESMu3zE0WCPsxOZuyrrNzUC2/
+bIR9wS0erLHEmMCM+12CSUyc+yC6xgv1oGkcg1rbJuyhdg5sq1e9AJSI2ak0IpX++w+F9WLk1Jx
rqoSxbPyANF+2VGFCbgqidBQi40tAqGmv2R/gfqXl6hM7S1+MuWu1ZbmKUM4wzIq7aNmmt17k/RP
OaKuN4wHqEk7S/dryuKDt3QYd3X2w/Pi6sAjUB4j8ugfVRmhmJBqP/rIrre2bwwgRuP8qunse9pg
COs8iX+IOnknk7TFvsj+Poj45qKa+KeIyaexLpil5r7kEeFLKdJmI3U0r+3W/Ulm3icXwBzl6V1/
JFlypzQIx6VvIFqRLdlVos1OJnJdO6+wl2OPVeZhoXSA8Xpu7bDNbEPCx11Vj+lBb9Z8R0BGqiTT
2sW9ewXoj9Z7PNxL+CRWWiXfI612YYJTTDAfWa1XK3klCXXLXe7tqH/vWuOvcuyaSzRAmKTaTx0G
ocvUTwN0gMZyJzKYv3GaFZBbs5lJKuzmIr80RT1enDV7NwP1HS3ZHINBau/4BoVxYJFShbG3i/o8
nEQq3kEK/oxR6X22pam9WbqjoT2oj6HfFyAbnSrZ53Lyv0vy1zLwwda30Xwh8Sl2uY2c0kAF+Yic
2c5HButHG4zW1ss844UdgHWSddIeWrhnj8TuYL1TCf8j9aPtBOlviZsL8bRh3YIqr1fhRvsYWEN8
s5qI1IYWl7/y+g+yAgk10qTeLNINHqCNo71IPAjDzYJA8ZItL6QYfs9md1rmuHuMbeffeoQtkhI8
My498pAnkulI1b9z3uxZ1bwzamn55qv/eVpdqQZVXzXq8q9Xf439v7dQp118Dtd5PjIL7STIfML+
WB1hPg+rEa8Y1VdHar0ZEp2LVP+/Dr/Of12uxlTzP2PqPmpsNrpyZ+n1tGFvl+cbIME1i+p6qHuE
MKRT/z1qDTYBwXo+14DshohZ/6v/+dLPNp4pA2qOthdZ3JxVU6/L7GhXiI+pvt3O/+5rcUAUOaRP
1WyKu2PoPA5+YW0BEYm7GqsLl9k9tceDGlONDjddT8bo6XNotbIXTGNfL+qQvT/ZJjCfrxeVLX7f
hsmG/7/GUq1d/c/009cYO86tY7jWS2XnRpj4tTg4NeLUmMY6V2xY9WtUBAlL39T9kL7xgeXbqkek
TecliovQRb31Vs0L2ycxb5B4q74nIC4OKer5RwojsJZhJ6JQvjPMYNgNMieXEpXPbjW0T3aaH3zW
2As2CIRIS5afYI4dMrb8l1J67QFxl/dS5t4V+qEeamy7mFaE+zx2U0qErz9nU3dGDKW4YH0So0cK
kBsU1RJageGiGFmgH1ctP2LPEls+6OBBQv+57KT+Hb21chePbhnqi/FKublni9nXW7fKpm2bNOXB
lhWVHh1BJsOEKEfovcuGQX9vvBHAaJetbAoySTniuuj3CuuvtP5ttX3LThlAYy+cj2W0a2xeg+6e
J4gU1FP1k1z+fFFDUpj9NciLk+qpBqKw2LdQv3fqejXW9eZ74AzySfUGnCGpME2YN80BOLUu3lVF
Nt7LOCqhwSZjqIlxvKuxpCLYBRx1Vb0AS4NL0hR/kKH51wXL5HjIYQxgUNZ7qKYw/0lGJ76p2wQ1
lno6uu+brwuGvl7De5mf1FjDc/vUaRFOwdTw52o3wd59NZZCxwEhm/eeL9b0BNO2GhNOcitKKqhq
yKkGULd59UvN62ooGZd5q9eGeVDddG6r+0xW/PMOJf5BJkAlhXlVIFfgoK9pnXrHtGV+RbLl36Db
z0vahfjciL59jf/vdaT4S+CQlrlX9/u6cDCSx0Q1jp0Nho0oOFXPSAbaJ2ta9XOaZNqoMdUMlV5h
uEcjUg04pzkvq+YT1Jz/nPi62MgW71ibuIevV3w1c47v61fXT4s/eiCJfmQSbHzZps+VSck4xunk
8+hrzNU6QAQyOKsrNCpMn5eVosmPmgkYpjMxFExrGyVJvejeBYmgMCJm2KuuEVfFnj0JvGvPad/j
KFpBPmuucL04GXGfTWOMclV3jPsauxVwJkg1sfeK3XcryMG3VTYZ5rVrU1Q/mi3I/W7s3feplOMx
1ojY1Nl8arNjJ+t5J2y48kOH314kCUrcjOycrhkxImm5+4bPKVuwIP5QPacwEMeiTqB6iR+5b5bt
oJLUFTc1VPWCaKKolyfVBTFlbxHA/96g87AzpyZ4c5JBQxIs0UInCPw3g9DoqJcEdapbIfWC/hpB
jrrYYrp4hcFwUScjEB1v30x+1rghzxbPVV2/6utNs45wtwuC8kldiKcLMd3cIyuL6vtGjY2sPGHc
okIVsL8PknqARMOSN6mFTa1NvulFpDvXMk43QBfZWq65HL283cfekIP9FMmhRC3kTYy3upbFPtBw
1cnHVfdydB8kCRyKv0YfVqCy3rVsIDuV6996kbG6z2Xx7hjTTJzPLBd4bk4sbnmXJYHu7K3dQZso
tgTRR5P3+TsQ4eoW9PZB9Zp6lG+edWJ2TEIXIwAPVNDZM80A+lZmHKcyit/biUxW3lCSgkZjHo1S
eNuYmsCa5fO2A0iXMMntfk8aa82N+YTzxWPGLXZrm4U4BubOXVmorj7Im2rM/GjZ2otVym+9qaFj
6jfzC28aGY5qIl+ds3fRLGiRKcXj7eq7yzYMDUFUs6ofXTm8RlGjvyEDrxA3G2kH0aMgr5U1xOq6
1vD5zAboorVRR/EaY7iV/SxKkX8OGVOUnPEru6dt/qt2fax6LQuquIM+3EyIeyma4i9i7/aXb8fX
YSqMPxL9hixoHTZLL+28bAjIS2rYXQdcwsk2gYn6lFjx1zEOzMI3nHc7bU8JQN5fRoEwnPaaB45z
N93qIg293FcGedpSS8vQH9OaonfyjaCvOQw+RIa4C+JNBLPr1R4qSSLATX7J+IcuFvcQtMaKzi/9
3ayTIyzTuMJ1yCdpq4OMdRfztqRj+Tb26couzOOz6uYNeqOAJp5g3ruvUT9Th+rHBq6GNb0m0l75
ZWm7BxWcHtsGjRBHw+93yMptmrvySNIPg/OVVs7O3LoT+vPnF2qQFCh2gKDCVKPQT1Er36Rml5C8
cTe2eUOy/S4WZiCLqXYvIrPCKqkE9aUZ9bvpdWjsFuXNYbf2Piy+cetac6/OIX0aXHoMiDaT+7tn
cn63Yy94FDWeW67pvA+ONWNBhIPNem5CCI5cM5YQa09Hb/HeDGTu195AsfheYmOierj31vc2yPZx
VDvvXdXgVFIWB3WuDxz95kXy+Nmr7ebWjQuq/ZmOrIV5zJp8uRZr0+njZUk7k3QNvbpvh/3gay5a
RqZ7nUzDY887FxsyOqv76jporU3qsMbMc3EpTOle9dHgbDR3S2gnyYBg7dpXp1RDAdNuq+GqOp+3
KprWoahakUYtxvg4DgVpSXyqrY3vyBjCEMphqlutf4AigMurV9gzVQvgRHSnzuTqxdeXUx/Pb59d
dcaQ9XBOnOxa5MNfdpVWp4KM13UYmn81KGB6IaLczfZ/Tox6MD2bvJWvazvLM6xNOxnNBgA50iLr
XZKOZNBkpggG2JF4sTJ/2scDZEoj18ULTxIkAXdY8AsFXqXG1HX+XIsX1fUb+xXGHVmG9fVf40vT
Il8kXQ1dRiEJ5SJjF89RDOOUpky7EoAxFMsxrykir2OJzeyJEJAAzuF2b4VTvtdRE19VLwjmaIVW
Yue0nhy7VDtoo5uykS77N90tzWe39r6BGOkAvXBFAyyVzfFDdWJJjamQ2fKkukYHlAMyXn5Q3Xou
01M04uSqush4Fi/LmHz+YTXkOvM2kbm4q55TjKRYRzRRVDfBOCt0sTfdq27sOvUZLoa7Ud3c9JxX
CQVX9dT764R5zN1Cvqr3Xqw4r8lJNcwI1ve9AotmEy9E1a1x5uKniUWZ6gZugQxSihDUeq26WxIN
r3lNipfCMqU1xyj1rda08uxSLCCRPDfM1XbVHnWXypDAOQG30mrepEJ4PwAQXyRHCHrzPLXO8g95
i4+ZTOj3uocuQlE+fmCSxFJPaLjB4KC+guDIj3XlRufOWuJLFGkYfTu4pFeIeL6YRfqRI8/2u5u9
uz1jduX52BkWlYtfTTadjRpHGD8FfUPuJ/l9ohDfksFnY2AIP73mU5mCxBHiQon0kE7Lm7uU1gY5
TuAbde4+d0tf4RXYGPy8eVKHvHhRjea6+QvZUOyIoh8eCo/bIYOB7o8N9TTRDACugJ7DodPR2Oxh
sQTddAEsv5xk2/zEc0A7OUYxvzl9w89uejUw0/pwl/hXufhbCvTPw1xH+9iN/zR9kb0kaYJube5p
e2j6+kftpAZBa7c3fNN9j90DJbH8m7Us497SkjT0tfwitOAX4bp+tmXyx06qn/0U25R3Gu9ogBil
yuaHaY3Q2CTTHAUmyA9BbGV/jxSJ8tnxgSI1FCs9HuysmYKdGVNeagAC3KvqQEY+peSHY1RXpo+8
Q52YKoHxrVlEcHQCKp8A31frcuQxbQ+w0ggWvm2H6Mn524f1fR1L427p7RkierOhCiX2ekVGzEHu
ksTLRL4XX/lFetbLNP1tdgRJt6pz/eNc9MgfTgCUsQJ2Cu1oaNTV4DQ1e7jzJvIgkXX+BdRDv+Zk
wHboK7m70i1XE47lxPKIxKYrvjeFLx+LyaLNkPniUbgH3I0NYrQ2mj1hiBikv+YSxfppRDsXnfp/
FmgwdWcGSKljaOcMcXejeGscHOx2zsIpycontb8TpW59gPz8OTpp/Y+NCia1oD9J3zeQv2OS9VWN
OMTY9RsdkbpTGYnxrldG8tqAUlE91TROZ+whzpMcW69QTVSbIF2m4BJBVrkjo2IA+0uPYCPCFJfU
l8Gw9cdMaTUMTGrdqusgpHgt0uBZ9YbVpXC0IGNP7vCkhizYBwc8AJtd62PqFwxWB8oTANHaU0PG
6jnYdJjCqResq8/JYmUmdkmOlRGtap91/5gjIK12Ut9UryoMEeZ+VO5Vd2JnQ726O6teYBr9I9Fy
EALeMH+OmXNgnIagdGHRcDfVEJTseTTwZlhfIHy83rMGVzx1kqg6fe1Nqg/rSW1tppHEnwZp4KSu
INU9nqMKFaivWwo/PyO+mn2+5yIZq20SzI85Jd0xO4b5aCMPbTkZn/MiZqWruvQft3PRlSZ2unux
e8/H39g8Wm/kNLez5Ux31gnrrZ7qX3GG0IQ6R4pW3yJOGRxBjNpvrtGB5xpwAFXXlpYpzk1VUUhf
z446lR68q5xDZL+y3teAYeRcnIOYCAIqWnJXDeIoVdhkURVm/xkz5wRvsSZAvNs1k/ssJlBeUYD2
t33I48R6+FVvPbJFY9IH03JS3VQL+pOxAA9Rlxijaz1YwGavSD6vL/FE2U6otB7d9eWNkHvg7hGC
6HDbGq337qrJ0pbZrh2nkydS796hjX6dUg2auQkArbIF7OhiIc+zvoKMYHxDS449TdSVW1C/bcgH
NIUAm/91P9n/UxVaFMLsBxhlztodLp2514y2/+yqsc6WO2mwnqkeDhDVYWkA2H12zYhXLcUhArjx
ooYma1kNGVN9a5mNeKixeYnORsmDoXqy04Zj58iKK/ijqhnc+aUGHPL8OQQL8jQS/28sr0xePZ/H
vEM7y51Ne0Ntl0qxNYq7agI9PuiVtVxVb4r89ppI/1CZeZJtl3bNAsvG26izVcIqnzsYaiK3hQXy
ehM1ZgXZn0DXWfSGur0ZCayyPx7GDFOr31XD7wgFj4Fq9ddYZI/vMtGnJxR99Du+bOmTNNy/vi7I
2KegvNG2h68xH3uobvq8aTuMCFYgI7R1Jnd+MpP0tZuC4soaWFwpoZ8HSBBn1XNt19U36jDI47vR
2d3pv8bUy5y2+im7SOyMuikA+ZTeTTW+JEvoQQiAoc5YrWuAdKnFyHGXwVF9yDSqH1FWk14L0uSg
xoqkJFeZAjGPywrv6SbSN/z2o5O62LYwuKhQKbZs4D+17nZhzjQbij6RD7nU945E4TN6r/JRZYjc
2rGGmTt0ULwexovX2wMfACdj4FM7CqkgpQxXPvRZpi9t6p/USTVk+JZB8r4NTsY81tfZni6ujAe+
z9F6b+2xPgeT7EEFzaJ4lpjylnWo6WO9a1tP7gxHLACPInzKNMt7HjIoGukQZU+FrYeO23xrraiC
Dz88RfXw7AwCxfaYmhS8hJ9Rn+6dGMGDzGGng4s2xgBGc5wS9/filyDY5EkfBMwJLQbTrQ/mriMG
2bZEH2Xwd5uaxWYBJbydEg0iacRqrqp94GNg19tg0HVtPIOYeDeklxwECwIJbh1IOiDlYTAv+oLW
XGdoFsUF2Em+dsgn84N9F5MN6IVdbenXAq9enHy0p6avoccOo38qBghwlvWetmPK9s9nnwzasxhi
/7EUjoFqu3Ym39GRTMQ7vSjnDs7URp+wIUGdmPLtjBtAUA/ZBq/D14bN8LM+3Iy4DV5XEb4ZEoM7
Nza8R2E92W2q77URueAq+ViW5Y2K0C7pjHpfuZ1/GQoMW0kEcPjVzCMK8K7VXBAt+wbCYjpFejfs
ay+ONiA1outQ/uY28Rm5FWuD7vO49WyLym2lGU8FsWrhTPrNyrnz2BTLxUFwVsSARAptCavVsBMC
6rE1RnmWfSRDHeemXet54in35bLTO/ObmPAPADHVh2KBoqEv9c0B/nFrTPtdS5PmWKDW+IRMIrgS
1pQwb73uqa4qsiTmCH9ribaimYcngATHXiLI2MlsW8r6EBRTcCqtudnlxA1srex4YyVwI+TQH51m
RQSK3ghtrGb3AIR/ItX0g1muONpUybd8WsMWOFy/RZ2NDB6/G7fVgOtlXXcxaNFJAK6FlgQ79t5i
tbdc2Db6zyYzZ3h1tryMAA1O2prwsNqbiqiNNawmROFn1FMHyWOEWcoMyYhk7PR3s/gxuNo1z+H5
Io6yzdMb6OV/Ft9qztTfdFbCTKK5pp/nqjHuNgwPm5895V5Xjhn4G6/ZWmWcPPVlI85iIsIoDJ7f
Oa620Dtr5PbG9ddbF6SsvAFNCi95n/EHCK2MHKrbSHmI3fmnb+v+0+Rn2PzWr11MKvQT7NBCcJMD
HsJiiHGEEJBpjPIVcSi5Zkq+QQQosTpOfrdFjcVQYh9Zy4cMxAryVnLPB/qPzLGImUjDU33AlKNr
nFcSI+YG47JhhwX7I/BbOGZ+a/EQW9UplsyDqWZvl3Fot3VPTkCWr2ia6k9DkhhPmFkbT549O5Tq
oXaUm9gUUWj3IPViw2SHonk9c6/ThiLL/C2grH1Sid8alQeUGBIUhUhl/Bqcsf7okDVn0T72ZYTv
iQ+nyRTUQPQJempAePwsWoA8y40dSbel7tnU9hVPqGKDG8B7nuoxf95zVgj1boZc/DIFJNil2c9U
hcUdYRWWz64BoRTpPTh8O32aQF5u4hpsFslYAOM6HB67I3m95GLvBqv6bDP8Fn5UIFBmAW/0zRwQ
A16GZRUd4sVDbx/C/KY3oDJ1f0ZIgwmw37ANgPNJ1yPr7G3sstO3CE1XoV71IJR7DQMWQ9eQj0Qv
RoiIwkLtP+Zmvk+x2z6Raiy2Sz8jilZ0L7CX72Sa242DnvwJozBQoGbknDzXP2vREJy1LPLPzorT
adL+R+sHT3XCNGu3GtNY3jTHBYWlzoj/HgGiHpq+/xvvAwtOsCtCrc7m5xGvoieP5HG1EohFbj5y
z7+Af5iJsqeIT3D8e2LXTnZDAF9K09C0+mjTVpAoirQhUdEJm6pb7Rwbv6k2TuZ2B6DrFaC4AKd7
h8VgD5n57JUUpcwKzS2kYx+10/tkeSq82tP0UM+dfRhkE+AK/QaXqde76Nfiyh2cd9bSYIXIaL8S
a9iWTiHOJm5qW7PR2x079eA4ADw7OOBAwZ1QktIiNm89hHvPqUh66PaOCPA5mJzxNR/RKPLoISaT
hZ0t3spCcy9fTTNW3mfXJfI/uRKKmFycqxMROwajA47RLwB6NkGwj0SETW+A+prB1Ldly7wxdcGj
GNnWZZEpZVOij995aYalyOYzpmfHHqGom5GKP87qEAVV5wndYvVjZHfGQrw2q3iOXU7Gk27L7jYO
3Xzt0nXmphfUorvJhFC3kfmhFp4eYw7N1wgm7KR17D/6ISfycJKPLDfRObRxrrUmdz+VCfvvtYn8
5yXo4aF1Rhq2/S332uwcsz0455GX7KwKAgBs7OTiuPbNFBbsjWDiF9VtnRHEFfm9NBw13F3NiOQa
ORh+/wic4bqtMGDuWpGGKgws0XZWrysQmP9ptJ56ESaFxyrALsOKkdSKapAaUxF0pFnwa/CQPV8L
AdpihmaEVS2GW3Ak+jAL4FiLATTWLMaZHScmqyhQM/sE+okfanVp7flVj5cJakfk7vBJjrbz2kWm
YMawky/Lzn2AZl6cwyvpkZ5cDNBFgV1dQGQcxxlGCnCla2/3N63D/6m002xn9k25bBVmLl4J/A74
s9DD9A1OweJfpxyP2znpi5eA0tw5bZuPBbjRO14boA2rH/GY5O96iUtM0P32q4gft8oSeGuqQC64
2jKFpTsv8I1n1cwsYQCsAm0XqavRABcElarVAHtGIAVmWdpndRuc+d4SKcpTkdZM2VPv7aSTAg+h
pAAIrlq2FYppiVe5PBfu1mbKex4NKL0SoIDWA6zKWv4ekiPRc0qC9Zgt8UeMFBzioxhyR/XO8yYI
7iveCID2LjP4dtH/zfEkH+Q/7Gu6SzcWBzlJlklQgZmXRQc9gyTUweNc7ZLj71VZW9+QkEeRc7qb
mXCO+ajdF5IAK70VY3F7NR5I/9Z765gGU0y1fhekS3CKE+eaUkrb5iaySp1eIvxngRh3L75tzk9G
nr5NOrvUuBHIKMZQhleTpiZC1yZr+XtAgT4+FSBEIfu9S8EbLFftfgpH5PM//egZD2C7PtLY2sxG
wGaeNlZcfZkP7a7K3eAVFoD3os9vCwi+VwswgouP3L5Js281gQHylQnQyppiquouuVkQ89UFAE1N
O2S9HxM/WTnwF2dXit7aNnU1HGFHVG+9LdvjBFtkq7pm5rXgjaWziVutfSZc5v/pendn1uL37Grz
oUrz5YLwx+uwAPa2fTd7EUi5vIjWkFSGkcL0Bi8PHek2hxoauCVgZ2gZEnMFb29lavgjUsFeTJGx
EhtvmYqQXfSLRZ6DWXxXFC99DFjsR+m+YVrWnYoVM1OvuLoYhMXJ9l6SFTcqrVk/AYyIVySpamYz
+dA0KwrT/wypcXV5sT528lwLPtegg063KaqcVgE9WxPktCEbsYv2s24RGMZvaQtSIHpMrcj3Ajqv
21lwi8bpgVA56oZ43n3qaiiMkMINFTYbBj/1UPJeBTfUiT7KIUlOP2e/FWdwWc4SEqzyTtSheqKd
Bi7ZUR1mCxkkWFj8e6OsQPv6nYmCUK0d5hVSSCxbnKsBuLVo8XqINplmrHkERgVYrJCqyndcSHeZ
Lrzb/NseRlDM6wfXrndUR1/4RNfI9CVUUEU1OC3FXBzVlYnX8ckgiyj+9fpuvYm6yoj1eeN6Rb5T
7zJDa5oCLMJnq6vfQbT6QSmMeMEWkvt4AsP5q1+/v8lOvGOJGrWqAasmU5+/OkzZIlPSwvhOdYui
OcS1ZuI/s76nEtynwDvjqP6kehuBeImTZkScZGjCoK5/q9flk4Bjvn6Nn9+wGlR4qTKi6uKspNGv
sak2+wNSK3gyAfr4xP6qXwO0WyrU05xPoW7KHwoPrJoRGHUv4deRT0VypGhGFzOixsuZ4/02VEXv
T5xXrIu/B5iLYdDGfKMuEqL7Lmsf6rt3M/9lJO+zX6TFtO6MCXp7hO6Ut6pz7rH967C2BjT57y8N
7LAJhLoVO/V1qW9DHdWGT1lXHapfgRObEXXlfhNUQ3nG1zEAfaYO1wYiAr8N7dAY7KLQF8wWgAjA
nHN2NEv4X4fq1R6OFCCRfas8fx4u+QAayk2O6u9NbUuOut2lXfZtmf6PsfNajlTZtvYTEYE3t+W9
Si3TUt8QbfHe8/TnI+m90dG/1h/nJiMdUAVJkjnnHGOoJ3Hn5rsEtHSVGfGwEfda3JWoztj/1wrk
K1MMgHgm4giRE3XzcBBlkWgxiiFV4xOiCelj13wRD34emuLWLKNBtJRYPlcFMewbcSvEj1TbkvtT
e5m6xoLOKtcoftSTbAh0l/P91VOrHQm80nYJqwFG3ZNSpDVIW3+XjgCda3X4ok5Th/hsJ6FpTdLN
RAIjx7eSgXPChFvBJ2REafb/XPjDbxBZZK8Au6u+Ovecnx5sMimRJpq6EVOA+L430I0fTAKy+i8x
WN755s7hFB/emg9BFZ/voIYbLwtATY7VTvNTZdyGtv9NahJ5u9xhJsGTatlAupfJRW7vCSKWO/Fb
Wrd4iM1R3sHR2I7rKvEvdadKhHlM89D0WosjRe5f65wmHyEO8KONGAltGO9YwrB1mQaC2kPtpIOx
XobP1MEsRjro6rqDgu0gRnDfGN1hSA22JcU2tTqEj1BFx5Tyb7/FzOKj6xMr7KQa4QpTQMoy9sbw
aqtTAKOWmeVEb8P0Nk3LYiSJ4lKXYf2ZZiRDHS0U44uOmJX4bnkSc6ToL5Llbf0wROesaB8Lpzs4
lb4WI2E+BFmBvfRaIww8P1U27NUehu7j8oYvY1nUiaI3jUK5bXcVQXp73wp2ok0Xg130WI7/PARF
WTw1kZuPEeU5+6ldFD/VzcM2L0zz79SDrBwO/lg/emDlVjHhMVlMkFtrEuE8fThUB6Cpp7JRHdQd
OhT46VkXiCfemSrCoNZDOtaPFmsD9ocXFYvFKGerGuhESlBKVzZnY4pVHfv8Me3sZqfrI0uJSpU3
spdhu2khmFnh4N0J3MGQTnKR+tiVGy/IH6yk+PDgxVXFOJhfp6UsKpdhsowV0SXr4vrQIj8oBqNI
ymm6Fjk1Ar6kh2CexN0XJ8mIZxyIWWHYtS6w+rV4S0C1UyuyH2o7W3tLDUiUxL5lQDV4C6ju3RRY
Cp8b1oRSfMQODjQknOIb+kh9CVrC3aEx2Yp7LBLx2MNpeQJRLnvkIf6RDurJCbVkJ4/9OdJzCMqc
5iAmGYVZuwazm8Oeu/Ezb/4CaPUvQPnJUZxQPHmRY6avJzSMGXS/xs65IxZnzzHLbmQ+uWie7VIx
IpbJQFZk68hxy+9T617ZtAPA++Uu5onFTBpNn5nEToyNawAXEqAScAFvxCVrrMQRt5+74FsDcqLB
i9IrxnbmMROLLeJ1i/1gW8eBwBz8uXvgkXAUB+Y6QTFsXl3Nu6hA8TJ8bqoyT8JgqW+lFmk78RPE
73LNoD/W6sOopfVO1rVH8VSXRytyadP8DLUhWPVZBtM/EPK/G7Rl4pDEt1+U54Ud29McRRq2D8T4
b5XETEHn12l3hZBdPxCaVpwEaqcLmuLEWPiT+0kyP1/xJJY5ZnkwfKB/x8Az9cEpN2jGO9BiWBoK
Jxkvgc0MvoEhcJtzy8STEcPak7E9GoQHuxm6If+dQEWHZUZfnuQ8oKf5frkJS6vIiS7//1OxVutB
L13F+yRWCuLHiOK8Fl/KIjdXjgGyHyxoIWYQC12pMQ8yGouii7jsvOQSWRQ2edXmLH7tv2H184dS
/M4Pq4z52Dy114QFXHAIIo/Bh16sX3GOYLoWr8mYQQez9gb9G1wr2JP9Njpkle/LW9F9zrrTFzQg
GKTx4nkdJ0aqWNEtyVI3jAkuBwWmSIUwsWkRJv7OksxRkqL8YS07//p87EHiXPsMXreWfEV4+s7E
SzWu4evNcEL9sMUP0cuTaqvyUdxssagTueXeL3U4guC89gCALJ3F1ZficqzILY9xaVjO9+nYIH1p
IOpgDmPOFBNnQyBAehBl8eZxxyO28VP7/OPHXMlWgdTJH5aR4hHOI2/87gG0P4rhGsCkS9D09Az8
poFyQ4yUf86Ko+epiqCc6mDn8eYzFMQDKbJs4T5hQgTAQ7QuDcseUDSIZOknip37s1PK9Dj/+mkk
z2CP5Z2Z1zPzYBa1jpo2+E/++96J3NxLZD+XxUHzWT/0+nyBz0dJCo6N2nxWRqhmxbyyrB7Esf9U
t3QRrfM6W2SXRDyPpShy4rh/PeuH7YzoLTp+utQ/1X0666credOEj9Bc2fgg+qZXHA1nfBXFOO9V
xQsvEkwpgDOBEbF5n8xsS7LUjQmaoMDv6FPUGtm5k5huxcmXrh9aRNbVPSKEcMHPI1q8LMsb/+ml
Wl6g5UUTdcth4oh/rft02D+dfn5dx3QC92ch0X79xkahjWXttBYWH64lmXeyS/mDreKfun+qm/cT
02nnK4jzfOozX6GLnIsidX/kxvHXYmoQe1CRW77RYg5ZiiK3LMiWzp/qPhVFP7eFMKD9qZRQIkSZ
CZCPlxPfO8tbMYTnrKgV5RFTNtvqpEh2qpM9LdM7wVTAxpeyNE4wclEWMz9rIQ+LkpEY9mw6cj2j
HtdiesD6DyVrBTPwX7jaPGmYMjYEMbtk+QgIE/K3jXiSIlmmW1EUQ8ESm/6lzzIMlrpPQ2g5Te9V
MSYLG6RXJ4/6prHUeFyL/W9EgAHmoqh/9uou2M1vvLgpSzJPq0tZ3K5/LYqG5dUVRQ9Dyt/pW5Q/
nUHUjUlE7IQS8Rotk/28sJ7bxfNZjqzQKmHzlhwNDCPaZCH5sHNcuoljRSIWBktR5D71E5PoUvfh
j4uWT4d0TiFtR+1KVOC9BEqBaoDogaVcU4jkmD5cOYp49ZOYutwkSpKDuDN51KbJYZStVZUg6C6e
8PJE53f/gzHzw1Jh6Spy4uEHWYtFb+40G7lSC9ITLQygSVHhyu5GJ8cdA5uLMtzEKzrbKcUI6Ec1
rN7Ei/zXqlXK3hbpbFwnFc7BNE2OERTBoMQBrYmkrPBWrpaya3gS/Ge+scon3mFrNBAgY0JeLB+G
qnh7XXXPArNt4AAIZLhrxF0Vz6VMgDKpRfach+BMBJ5cnR7wWEO6U8/2zE+3X9zUD49o3rrOd13s
WUR2fs0DnJOjow9bcZfFZZdE/IClKG7sp7p5VydaPoM5l56ieflLqu+raxNpvRUyhkjFean72mRh
v9cgAtyqIGYpAj2DgDQ7ojNJq6HiO9MsaHqmVschzFONIrSbSu8pUJK9Mp1DjsrkmntlvRK9xibp
D9KY6xu5TQjS67psVQW86iJxEltfmw4BngoxRZc4sndy4BvpFsogBJfZ2W+xShI1PFjHSvWqBzBZ
+JohjQV4nlioF4XyJXb75ymi/YsHDewX8DflBta4HlYOiqIugfAoiXBPlD0sEKFZxF9Cx4JZUG+u
QwgXgkXYwk7Ft793DHe8x0X1E7zjodWV/LVPdVS1YvdbmrMkL9GBP7meTKR4Uj23zmh8d7DW49l1
PRwOSg07TtetvKosv5YjMb1syfMXVY7NNYw6hFcF0HbJ2SQLoGNKHlOjgL9JlqEyCnEyVTlx3Agx
Frd+asGUhJhAh6KAHyn7KjPz2zhExU3kRJJkmQXvWZpCLIwR3shCb5MX0A+5Q/eu4zzb1/JE5ZfI
hYYcCUwcm8kAvLJddm5hFsJ6LQP41FyERGUYDDd1khET5NQd++Eqs09EauBeczC217B+De0Q3Lsp
AegS3F05+gatpnQUVXmCSDe8i7ByZRCfaQbeGsu7V7Bh32U8ofdYUpT10PceOwgaQtMhtCo2uZcp
kqJoyK6GrmtuStQ4D+OUlAlheyZjC3Q1PZYGX03itZJbqKJ1eGf0AbG5vlfhhXF/D1Ew3uYS0Rww
/1qMueX4IjCcB1hmgnXh1yt4T7WtpRj6ZhiqFI43gukzTdFPpkWoM2GtykY11aheIQUPDQYK4Lnj
55cCqN2lmpKlyPjcRxk21A5qIxNsWq6e0lGPtbWia8pJJNng/acyawtpPTig3B0/xtgMqcFz6xIw
apt9+x516ZuGK524cOD+vFs6eGYiE4lWyApYYtrxN+7Or34aqe9DFRGtACHOs9cnhF3Dg/UwKviS
jSEyzoWdtie1DetDHIfZjUegAPmv5S9VLzG4kli/ylr7XMIadLWD6KEziwroq1R+CVscRxZkj1tR
FA24Ql+gX0+3Zb9qEe5YDVP3UIkR5QuJ5ZqOw4NNlSUBu2XO2Hw42Ei/WfGon8WpykpXbpbjHwCH
odSZQIu244NTbJZfUHvRH98fo/m8pTbWD1VTb1MZWpu1i8Ry6yVPCBWOGO2zir2yqZ8BWlRfwJ63
N0zHR1FCaLf+gmgdYKikh6xp6iHqLC3/fFBkP8s2fFyoBhKoDewHi8WUlUDQXeBPay9lh1k5j2E7
EQ0WTBZHaDAjotm4Faou1XvINpW1KIrbk8Ty9KmyiAmb7o/Z9wS6FNNCL9yb/Z/578RR6u7NrARz
Nt0/WKeJyEsGB316xkzf6TCniKxICm8E4b6UxWjraygkP1SKZtHSAO7YdA8EzhCB53Ur4rqQVMgL
JiW1fCtLzz+0ZufB8e4X3/J8J9rDzi93sQprUzFKFgZryUYtHHvgsfIC79JMSRfBe2Jr7v5DQ9vG
yMm8eq4ZboEwhOe8T9AwnBKRE3U6u2wkG0wY1UIlqNAb/JeO4pC593J00yMO+H85JLY74itkZf/5
NHWTQXL72N9yGWvg+tOvE73FRYYsV6tLXE84CtyOulGDgIWR8hpMSQrBxFUUB9eFsTBwO8Drcohx
fWrOZZjLV0snkUNB78yHr8GPzMGhjVXFzwsHTYxBkk7Wq0EoPsxSovXToaIoLlzDOnqwIAKfDxVX
+3BEourbJidA43PD9KuGPATs+Dhm5luMPCmRS6Mdn+uhiM92HxBwosC82ST4GWW8Fdso85UnOfe7
i62WP1JfkZ86M5OfVL+8NUywN3zTIF0gHeTr12rwf1llrZ5NQkte7YRT4czJrzFsBq9BIX0Fj+w9
iEY9965uFpp30Uak8DYGUPclnXr25WvUKfqz4gbZixIdRRe+OcmTXFXAL29+GQ+X1lPiaz8lkPup
3UqPSrJmNa6Ys4nGm4qiD0BTHDmu/VuOOtRLbWyXIJfi18Qp4dFWtHotilpbdQcN1dRNrhsw4q9M
o2m/IGMFdZHRq9sAQOVr1SKLIIPX20/4yldCwfKNmbj6oUcy856b/TMhNM27kX8f7cr+akh2fUry
AOokU23eq5FACtky0jskOnDp+u0fzzLrd0K21M0YoiJuVu6zQvAZHLZ1R7wnudCvtyPSsOCF/1MF
LPJv46c61bCIik3GS9455Ra9thyGOSt7TiTDPFVxM8C53WbPKojpL0i/r0SjRBjbMxEYX0HyyldR
ZboV/gW7y/ei2MMmcVScIVqLYhna+n3ESydK4oxNJ19luN5UENFnbxiJS8gMXzuXcMUAiy5dWNjM
9IrRPWw2xOJB6wm17LZwO+skWtradba60hmMO9RORpeZB8KY4LWVi3YNxic4iaIVyCZhCkF7FkUT
ISJ0IFX3IoqjNHy3+ebfRGlokzvzdXrXQuJ73N47+EEnPcZJLV8DFxix7yJX1aXFnUCfLbQT7WPu
1C9RWMtnghW6R1WteVVCWOWLyL6IDqIeXsRdLpXJTVSJRIflKDABMJSNiuBqhnpsYnqPonsIHO2e
6o9Vle3sxi4QLCy30JjnZ3OwsnPQAJabyILzsySTVE1hQzMrD5vQaSEdN4PqwVcspMAH4xmGsPhd
NgpnC29mfhBFMDqE1KvZa673UFJqLbEEUzelHdwVnH5E1aQ96spyTaB4Eb8TRZ3sgeNbOxXfx7tp
aOfUlown3U+sax4ZBFhM3epB/j0QLXnk06ZcWdYpqBGRs6dkVGJ3jQWvIn73P3VLF5EzpPp30arK
/p+OV2sCYBozfCj7sbr1UkG4dGZDfUdUl86X6Hcquy9635mvldXDD5Sq2SXxNRNm4yImIq4bv7aF
/Si69lp8KQPNeSurVN7YZWhc49xBgKUsYUuBF/YFONJPCfKrbZitbcKGLnLOS2X34fdGIUDM0Ozq
wdEb7ySZVrQPYl9+glWlXInTW+ObnDvVzwa/EWFEeggP46AdsNnmsO7mxqNjwjnO625BbKmkqygp
M5hx4ai65MypFzP3N62rhqcScvK/DXMf0ZwvteBICH6Gxn8jj54cbkS7T9zjRZwttGwqzQI4YWHp
x7komlVHifodr3Yw9/QU9dHQI2Mvmx3Y7eUUhqWfTcLLT5ZvSNtYyVRkqTrrYBDve0Trproomm7t
zCgZ7gM6Lpu2lqsX3kaZ0B/b+sba+RFuHulP5TzbXcSStM+M3eOTWWf6TzCJkEXqzPOMPl7aJLIA
qXjjtiyK8haqdXnQtaI7BXZtoO7r5sgSNBb8WASrMvGBzFRzaLHc1n0Pvf4lCnTpt0Sk5XyhJFWg
isuMX0PcffclyXpTzCqB7VgZn3wTbnCWKN4DEGp7n0yk4rLkxuc2Do095oD4wQYKRIxzZWA/YyIz
3dF/ZwL+BvhQ+qV66CATncQKm0V45Nn67wRmZLVpnz2kOar6S9sQswxPcfXs1OwJm7ZQHojbaAjP
QWEJ3JW1wbjmugdV1dCg6q2J0kCOUYtTmuQscpZV4gKEAuHaRNC6oF/zRbE65zmNnTdlCKWr3joO
9wD63tKPy5MoNhrMc6kVNkc1bCGmUliXHZucULessp0XD0D6quh8+doWufsSlOO7anjqTZTGKQLc
Uo0H0dVRrHOgGO5dlPzW29dxHn/RM9V9cUd8iZlRPeWaZb24+95NrPeQT+W+7uV6b9Wd9y1T92VX
mt9yIrKQzCnKQ+d12Rsyd+vWCOwv7CMviDxkt9KVIM/3AG80ra+s5rqpIcjwOKOsOyFZ+j1kRwMv
EcRrWqD9FnKHBmRqvuU1L0uHSiu1TWE2xq5DUvDWTAkDY9hUaCNvRFE04LDNbtWI2haS1WeCnbiy
1xRENyA4usJ2l920KTGh4j3bknZNrWL8ghXgrcmD4dsQTIEeNXgOeKCg3IvVt3Dshm99GRjrfqoP
pvr/3d+Gcmnp79ou5yE8bV15NoRv/zn/Uv9v5//f/cV11aIDue3oWz01wnXHhv0x74byUbV0dW9O
ddBllI+iIWXzO9eJLhBFVo/5VPfpWL6c0FlJzj5U+SaKxJjQlk5RyTtGRvK3TkY+2kn13dJNNPah
46zKEryBlz9ISW0AmATz1Stl520t3vVNC4/NJumV7EEkvc7zytpXdaVUxVb1I/niFQDxmKREAYZ2
+VJPiSiamgTofi4nxaZluwbX439aRf1SFEeIOrjtzmlAQNtSNZ9pKcdMemNvP+Tcru8t8h8wkjnv
EXgmBlWeHh0XLKnaW18Gs3W+axDQYS10ugfDthEcjeBbyWI5wPsKmhjg8bHKpZ2mOuNXGBm6fcNZ
BeHpK7Cso7iGnxDO1xa1cUUJ27m5jYKjazo34hUPKnfthbgRA9UBTdupVd2f1NKHs3sS3BGKOrO4
juFngHPZfIkGkbRwdW9tgqxAorfWUY/1HHKd2n1MrEh6hCC62agHBxmxaBzhdNHgjoGE3NJXLEHA
xYR9uZeKpN2z+YMWX/tT6PU3KEa6r0GIEnzU1O1DULXKQQ7r5Oj2sX7zPRVNDCkfX2M//kPQYfKH
g33k4E+SrsOOhfTvI3oye61vvFuRVdVjNiWazPLQz6BLnDpo6gRFqgjZMOr8psTg4qFMlredkzU3
0V90Q+Bpi2jkgAAa5DTRpMlOyDxasm306EHWga5aFd8hHUIgwkAYTWvkfocOWnkzvCbaF0BrrlEC
qELr9fFi2UQWg443z1bSBccMKuOzowfGEbNHdnKGsTslRd8fJTnIz4mWIezjtsElqlwonjrLvkT5
gNZriZEkaCJ3F9a1jAKDXO5sJ+sBukK6DAFUe8c/kW/j0GoeXdie4A0mdpAZh2igom2fxgapH8Sd
++fAgB650Vdt42OU8jL5pcIHvfZ7WXvtbRsub3hPv6I9066KYOivLjpUUFCn8aYY/AAmLPjj+DYB
+HDj8UdU2VsXPbI3vNcVvDbBhLUfgydiSf8Epjz+kCLtB4Zf4OWGh6Hcs9VdUvNxdjt9305nsEP0
O4iJzZF46NlQmQMknYSY/MiIS1Qb/btDrAFbwKQ7w43a30uE1Cc2/hHStfLqGEMDFTJvADuj/JBU
CkQykPf1txC2Fhbl/SHVpeDZlRzrZimgaYUQvK+3QO4Mtzu0cTe86SZ7J0Xxnu2MN0UZ0gzaALl/
CwgA3Hp51x7EUWoYHUutU06ppXQbbInZCURQyFZ1igw2HAQ53Ho1V+kDhIiii8h9qDSnFlH5uWXp
3ieCn5ALLOcRdUVhg0PDgbdOUAy8GXmNlGMtNa8NApan3pUT6Cu4JQl829gtO5AeUxFGO2c71Bk6
l1NR1QdAS7qRHUXRjUtlBToxXCHyAEjOtNgUTIma+ug95fqQn3snKlCwICeSpY/IiTqUxuldqYQo
dSnRWP+H40YIo3IA6v/r3KL44dIWOgJHVkKrD3XLIeL6fZCPpyR+qwbff2bOdVdZaBlH1QVb0aba
k+xY7l7rfGk9pjxmy8nCu1lkB1ESB+ma81Q3iXM1DOkAddF4c5oKSGGd1l/b3ipWWmd532tPegZQ
5PzSFWWX2kwH8ICvPSVVAzpAytsk4R+MGQ+wg4Q/iqAM+exU9dskd7+OjCa/Yuc+y5C4XwEKFNdU
KfwddKbjKtLl4ro0iFYWWH/76UjyZLW1lptXQmRQbp7OIA4RHZdia/bWyupKfJb/vcinU0t9BF5I
dV9jYlQhzJwuspxAFONOPuD8Ck8bu5OsS9N7CBAhHYrii9T6QEhU667D5HiPzWn2VTIiDHTfnutA
+iKpFNsHC1PB1ZIRLgllqP7n4lSHUnd3DaZE1BGCqWzRRcMLMrUuDaKfqCtKOdnpHaoAolibWroN
oIXZNOGAeb8ofwQAF5xMLt8VbwD+1ubDq5WzaS+Hyn1Kx7TdECrWPqpNCBum1ScPtgapSgiJ23Uw
2u6QEVULg2NAzD6yVUcjduAEmWbxzpKDWxrLxS5hr3uX4drFYoD1OjZKCcN6lrzw6/w1Nm/7a2TC
gGKMuv4NTdE3t4rNn7nhnmQMmR5MOOCaojJiKf2S5bUJfR9GBhwazZ9+cC5ummY/tSr8LulYqZkt
CaAnasgwWtSwdKgWDCg9kzHpXtyyq+A0ZwMhWnvLz89+AhRQtKZIeF7cdqxWojWM/QTNSzjlROtQ
m/GtlPRv0XQmPB7pQ1wWT6It1G1sThAtsSYPHvJalm4hSkLkPWMMHkROJHLivY+qXByXKpFDDdXf
hOj4zEctrbKVWPsQR9RK1FmVD92kXYE7hRx0vfRbriN3ybXSM/Pkjip9xxBVKpBIT33k5LiIXJwn
SqycHbtRzjI4KjDrgbKPR6hiRINIehvWoLU09SklaSh2yzGKK/3Mxxxmu/+e5kMXwwrBkImTL2dr
kelYt9aQb+bzimY3DrnEh56jKUlr5LD0jWY6AMGm00tdCUQQBOuHA0XDfEnxA/1EdneOrr/OdZr4
BcvFBydiCLpWIx8rv978439aev89r/Ir8eBtmH/DdBdE7sOPnX7c/JtEy3zRJk8eQohdgYrvjdqW
z9nUTXRw9RIzj8iKFpEM4vaLrG43UDd0Pxw8Qlep6XasNpBT66trFQXFukTAwguAmnlV+t3IqgEO
PWIaW/lo+u64t5zmN2G5wyaGWFEOfrZqhHSkbqJH4cAP5nTN0Y/rX2XiOjvWTGcbCtOgUIONYg4T
la3z05SQyA6blVQykUM0q0OHbzvYGCvUrewyemWfeQCE96JXrbNqee3g9RieS7cguLh5UbyekwHz
gxE7urVydbFC8JcFUU8YdLYx1q1MV7/7WXeR8HoOGZKIAxQM+eTwyyScDhF43wM4YrapTnQOJOWx
rCPpLodseXP0jO6Fe9ZZiyAvN1V1fQtMKo6uc52CiMtqzLrkuBzlYcnbJCWUS+imSnfRAAbtez2C
uCrqFijn+FQVT1Wsd/eOhVBtlXChp2zJu5GQEcjLQn6I9yLliKygkIPsQdFYMDvU/aoHaqo7xBsa
8a1VehTApmSI3ceyA8efZGfL6wyi/kkyrMVrMGb9Ts3gGhN1KQwM+xGVNQym/6lrRhYSUJqq+wIV
vcw23IdkSqCjcHKruNcmdE1xDS9OzxrmPk5JEGv5wR6sYSWKzCDaPYSNAsBQNVct9ZWpfw2MWjuJ
KlsqVHjJ+hG50CrbijqRaKqr4iaCs1F0+dAAY542VPOFRbWhZvh3hyw9iguLOtfvVqZTa5t6KPFY
Tz9SNAaRnJ4NEwLCqcrArH6zLGnTeX74mOXbDEDwvVaU4BGf+Z8+KNxjp2hXiMjjS49Y1V0k9gjX
P7RWxm6pi4c2RcQNZv5IlkIJSKOroXndnCIjMu4Y+4352CYwt2Pmon7k1xUqWjabNjdGY2g0cns/
l1FIKnZlFutr4nxp93NDPU+L57CyH0aH1UE7FviKika/O04kPRjB2ZsKWhD+TXqjfG+wWp4GPZ62
heB9UP8jMGPp10ewHMUjU684kSVnJtoVwR3Bu+aWZ8NmHlFjHnjEGtcrWJGrh6xMvEcdI9mjGmZP
uev1Z9FNJCzJ1BWyQPlBFEVfBZb1jVEQOS6OEnUgKmIgCdGVPVy/dmTPucep5tzh5R5PmtZ889wS
lpCpXrWSFiWpcOWGNsh/0Q0GzCOee/8qerDyu8uBop2DkfGXDUF9kDzHvAMWte4oiBVbxbfRMuhH
6y4alBpyTznHOSOKogHCFP1WxCwYUd6QYI71a1zJmrZuA+bfqDUuS18f2yliZpW1j9Ui3NkDERPQ
WfqPOWiIDfIs0VazYEZbW3Xh7jRHgzkc/pZHqJ6DR72uwIZqEfaDHnuorcWICk1aJiJh7TKiloWa
pzr2rDZyDzk8CbEQd2LqcyEe/pubivDrfU1rtPzQ1nCIv5ukVVzEoU8ih1xzgv/6VE8ooWYKYRQ5
kXQiUHJK2NQSOCkqoa5t9o6Kx7sPIXzJhmd/Drya4rxllt3lm6yOmFlqdrET8GFJWCMDdRDlRKAe
Wj35qk/Ao2ZC0pTTT0CbCOSRKfBHRgGxG2yQGAXg3T2JRC3qfkTgqJz4N/6bVWPnZxCpcGBUKbSP
orltRxCiIhtCOwPlfxTi5oA4H6cdLHvzHbMHJEgieEZC28SFKO7i3AzZy3myyuzhPkHuAIQZ8AV9
Kw2aBMSu+T00+i8Xtog4K/Y98l8bQ3ny0HU8ZU37ZnFbzwFyYLta0b/5g+5s+ymqNuI0mXNmxkm2
4v8ud1vkxBPAh+VvdY97JaGSdpYbdVNGnn6oEWo7mVqWH002CVERlitJbvadbr7E/GvD6EHoA+qQ
ecIMAaVkTW5DSD9KxiYsATFPoLR0iri2poclcgmkDdsCWhC+u61yqmC28AoTR5eWw8QXxf3lw40B
osx9M50KCkVLWUtS4mLvx+BW+MZPPfGlrWZcsq7sT5VvdnOi6UF/ctXpziXDt0RRixOQ3+LkpAWk
4yKb2k6rbEVWSK+KnEgiyy2IdnJgw5hi57NJjiXXCgA6LDr+cWDljpUegwQigAkjOv1NkYg/vBSb
RINZRkE3050wTOMUoyhuRyYwpyJbjxi80sQaNsuTEeN0KYqco3TIWwHgZfLO4Akk0aawvyUxGt3f
N7pxjqbYezEORBJMxQ4Xx24Mqouoyl0DcQfPZjUiZA1aoWhgSi3Pt82yL7FSlaiPaikYsAk1Nmet
Ru2OESRfgOS5pxM/RKEjYyASUQwDWIiVQPpTsqTszghD1quxslpUUaSwP1t2ttGQ6aqzflh5CdK6
PvrUG9ku2MWosrvH9vPLiftnJZ+IdVmPoBubITgHlH7Adb5VkxbcaHRNssJfwVGGo3TM/YtJLMzV
c5s1/vZq1Q3JLVH4RKROYWwcWFbPclGvmTJyXOhYFvOiOUI3MG1tR/kR9L16GDsUhEwbTVrra13W
6U7HCUMUe9OixVJ5u6BGiFJPV1Kb4B8hTHDDB5dJI3zQVcVcD8ogbV2pRhamVXdw/0NPN75oenxM
8xz7HZJEQaW/F12BZuEQ76BfCrYGQL+sbi6+V8orPo4gk/0s21QAMvzmAvEr8SQhLl1JxvXqhRhV
wFKtIWULdl0xaUTXGlG4mChwTq/HXO3QN7arTQ5FRWVja2z7P5XFjbFbB6kUjh9b5+INUbgOENhy
01CG1xSJ0kDBXN3KEN9qIez4iGYW7Z/QBZEtE0m17kfD3rtw3Uh5fahVn5sAD12gm9xp3QcrXnU6
cTHdq2NPpkuEIFmPVb8sPt3T3KIocMdY5jGN9po0AASWiPdvOmnPimJc43/8xuLZ39oD+P1cMiO4
iQjTsUfWnjrYHBt6NMI3+eNe6gyHyH7soUA64PGULwTTop5ho8AgpzzoHJQumPnGgzDY9mwZra1G
h3MK1JMv/aldtGXK/jqNIDU062vsj78NGtdpxYeyYJMtWe4tU5ufRQI7ksorula6FrGmocPf6Fso
5sihvsEgesmiCgVcE5wYCO5NjDlB0wGFj5Ecr816ohSBa3nVq/VXl+/FBpbXFbrM6IMmuHBsrmUW
TgAnxNiuicoZYPQyrk0h7RKvch8HGNfHwv6Rx6jqebL3fWilXW2zEeyUdjMtAFtT88/Eyu0Mx/8l
wcO6ynq0iZV+fHMKDBYYIBXpt4VEIrxGWnDUFCx5Tig/wrhgr7Uh3rh++zwo9g4hXMJHfEKxJF3G
28oOSYp+RoXS7MaibzaDH+c7yX71pTRdGWHibss4xT7TpjvDlLLL6HPCrsYyGCjKg9eHNdSUw7GR
v7Pz99fOYLXbpnyqIqRaS/S6sOdvTSd/V+oWehYIkmwN0eO6fSUiV4PsKPTXqHgmK1aDynqEf3Xl
IJi6qoc+WYWWfzB0SV61UHaZof4KkVihEyQJzVfM+qiQN2mI+ooNY6isNAdF8wzahq+e0353vaKE
1Cn7FY5voxpBvhb7PwnOTTaV+oKE4ktLvCReF9hSu7MDZerk26j7xt5ga+uHxsJkRhCw6ap/MN9A
YWK+h51xy3qc9rFz0VW6JUp31WRW/8zp4bZFdbjOq4s7NgjIpsMeeV4TddnUPww/UM7GXv0cpc03
pUFQXq6Hux6y8m/Gia43wxCINDqOPp0ZOoVksiFmGGLD/+HqvJZT17Yt+kWqUg6vSCAwyTjbLypH
5RzmlL7+NtjnnF11X1wLrIVtkKbG7KOP1mPOCb+rR4Bg2efEm7TqGkKBFUPZNZIiKzG11h9C3ns1
KBwEfyIF9kaz6UorupBtOKxp7WS+bJ1nW5aBUY0sBAoY2qJ4I+O+CDSPhnffDemq78tX/KIMOQ7s
oWWekpeEe9PuCBK+5sTijJbrXilegPlfQKe5q/51siHQtWnO3L3Yuan+Uyv5T5nq331rEBbYQeZX
2UOhcIeVGOeNW9IsSDW87G6BjyiZ4zcNFVSWwP7EXD+qWXtqr0JVNV8bsb9G7xC9IPiFE6yy/WSu
4N51a6nY13Hn5jwl2SqtbdSSq1G3jeWu1rgplHiEbOB9sF5YNe3Yz7RdV6ZnByPGqinqU5nXf6Xh
7NrW/uxTNl7SvE/cogxMtdhiVEEPigbyWkTEXL0r7gbSzGJQ1UGLA309GhlEHjHlga2QRq8rw7xS
rEoGkaF8u5CNkmjCiJ4aa5NQKX1w7HCW3RMxb7ShSzNEBQitBSUzqZ4rqW5MUr03bmLjH8azklqc
Zkr95ql1djf5ceJeGWIPk5FAGy9e5mUoAvgzT0m3fNfSftXr+TLZvl7a7caO5XEBzZnbkOd68ic1
2z7WYKzduoczWOt01Mx+l0cRNm07FKkSuClZ9+9z2nx4cfFkN+NB2ngaVfGSDMW2x4OTS86JbOg3
INlA00yHBHAghjbAaF1hBXnDDlzpAqPj+oQqbxXbtq8FIu4MMw4+NNAAsiti62Me5AfZ1OXKKZTn
3gVkM6T6e1/m3wKcntHKd+bLfrHt4os1wmVKd6NZPs2MkfuFWj80I/DyFA7TlOOo5v14NAkRC2va
AHj+DLSjfglpQAJT63fxOF7INCJD0EUfF4Pz25s9aArusGRsE/VemSB/ASivFFMQealWYJuKgz5U
lxw0z0pbhLU2PS+Utrd7L3sAfdCGdrW0Bnj7OWb5GXtEQo4maex7QjHqE3PDWPgcsOk6V2QToeyg
Cg/Wt1oOh1wVbyO/FFu/1xQTBqTP4sXrlD0r3yPmsmY1jg5vfXzSSKavLT0cMrGVdbTpt72oNj1v
C4sEO396h3JFby+l/heggJ3mlKJSbQfy1NSeYDHpHfIa1udo5PRTqo1IuXqFG/0WBRHKOf60Snav
9jgcdG+4H93CJ8/h0gzxh1Wyb2SEjOgGUbw7zNTDJ60nn9YMKQ8m0Z8L5wYdAbDxFWVDpwkqGrl2
DRWD8Ria7DN2HrvlujwRPdpRB6QqWhWXy/hqD4jKS+HKFRyec5HJftU6EAFVE8ORUcZPtV38NoPs
VuVQiKD1RhIjGTrsEnU3qd6DY1BEzgnk7Cqe9kZPld2M0cc4cN0to76xgXk7/XQ0UO8gp+QBiDtb
KeiGthEoUbxTIHdfYRBidIqR0Ay0w24yeJMd3kYiTxYWdK0MRt3xGPh33dWUiTIoH/sSRtSUK+pG
N2A29F36QAD8EMG25wZHJXnxflQ5jgcNEBm7MWvrRsOTYs5gN73xwxwgjc9Kiu9l/Oh6bxNPIEX7
lIxiL/eCAomgo8FRYIwPKlXh4qEIa83Mb2MUgVFVSxTrfFsuk7sjZPLVSYH3cAcfp+ZHG6iNZ8Hl
WcPXydKDqdQkzAkYihmnS5s+aCw/AdNJuJrI71nS9hCn9R8ho8nK1EbaSsZz1LsElVRfGuQ6d+mY
ktBIBItSl3zO6jjG7d6mWIyH6jR5NA3JFwF1dWSA6IVa+8WlaeFb8TUrQpffs8UOIHcneXI9bjX2
HOTueE0Y5G5uEyCV9XBU29dcb7k6hG93i3q2plJSjBf5ynSpwewC30ac/k3o2cPeqq+ELEvCe5Pi
2arFWtMtSWFFaEbqwHawx3tFyGaXKvm9EVOQk0lb6VYVGihTbbsICtpkChnSNnq7DBCEnu0k/oJv
BTs1x7OXaC1XACeN8ofo95nW+S6yDUky8EC38lQ2YMxA3JurArftdrHiLughYnoi87PFOnajhzd1
/LWUO6KWDynBrBUiNMBHvHd5s2aU8T6bTHOjVu07kIW7sVogPtdXRPNHaxJcLT2NYf06eW5Mh0oI
D5SLSLBq1Zi6s07BTGJBr9wQ05JFNKQj/MxmuMeemQqxPrMRBOQkZjLbbX1jGvOTrtqHNuMKTHiH
c5NQCbqSv5YTTUExQBwu14lmh6ktPxZ5h3PmucCRuiIXpF2XGu8TUeInJjGwjSzs121mlYb5KsFb
rwpkvqu3zYce8qb3e0Xb2AQerTxLeTRrczMBuL0uUvUKDiqjUDMG6vBKlyP9I2dhU4w96MD3KTG+
dFuZN5E+AUtmhBSiIdvTogBvR0VoeZz9tcLsAIUJsYkJ8yvU+EOawEjKjT/DHqqVLZH7LahJrJtI
iBZ4QV29pK6qQ5VzgpyU05XicZY4lv6J4PJLhnKzn3K61jqN+5moolzXHgD2lQFWGQYoDS1Q89q6
/od1ikYc6DqNfTcPTQsurSbl1tEmlzoga3xQcz30lOEt01pw1MNeSTnb6s5c9UXznBUV40j2HWDM
YKmpn8XgkeqLSLGyiyQUJI5D7VxONhb2xvyZNe+7KZcswMjWcJqOF6cS704vviGJbpd59m1d+6hl
akFLFiB6Gb6IZGfBJxGVTx9EbczHKXcuY+8ylpGVx8kdaaC0Ko1s7z2zBhLtS+MpGh5GUwXVDUOU
BDESd1QnCmRSHQvLPJiazaUbD+Q50cfoVOfcsOuY6koESareEzjyrE+kYnpjtYmT+SGJrAkvoHOh
oUKASxbBbF7eXO/BtRVMIvqVxVcO0h+GjAKbAhN8XRxkeh3MUGyJOV9N3Ui/IQmVpjpWxTPYPI9m
Z7TlnPS7JjHWMtPYiU0ah+pptVZ02/Dduz4G2Inoh3eBbHBvxHNSOWvRqm9KUdBqGfUwkjD3ZEQY
XgEGrXVGP56G76TFem8ZO+qLviooMISzsqgq2X2Js5rvqKQtqMMFKVWp52v1ZPNjyEMoPMWP8OZW
raH5rpv9zE7yltCnnOex9JUJNmDm6fPOmV9rMy3WkR4WJg3pijlUZlDjtU0OTG2Ob3kVXxVqdv5R
xqfm2Z3PDYFeSaehtJJXp4QZQ6SznT9Lyd3bItV70whKjskeaBP2tIcTQqI9x4Oh/NNEZGTkSXMa
4mRjECSy8Wa5b3L9q1AY2E0yyO9X3lA7fONIeqYhXm8UPCqrlit+7SkOe0OPS0mI/lTNGw8K8Dwj
t+PnaoMoj6Gz1YwFtkwiFHS1sp7ZvyJCC0nTnzoqDqqjADXPGpKFIovWU9pvEwAbK0xLzqqr9R9h
gJ0qnjXbqcK41j4cTdk6i0Q/8XDzGM1PXYM6hdf9A2/mk4pabFo9OS0ghyH75rlPGiwUguXcJUS4
3kvuplyKDBxWn1hisH5Pf+RbniKPiOWUNUoj6LycnBdPk/u5A0YCZ44seaM7T535WfFhgUS5pLmn
h8o1cjlp5kNhqVDf02rcpCn7NJXav2nEC9coNhBM9dfl0F538Rzy/+iCjzHg22RHrNBzrulKQAJW
+MIgabQSbYR76MeTr61rvKJtPznlSLWJMdVacJwRXc3oxL7IPbapLFGRQcHLtYnJFq237bDXvKu2
/tFqeKlKPBMItg81b96qEsZFKXIkQ9N4m+hbarGYAtJ/rjwVLz4klvkUL/ZWKyjQzZhQPlYnKgBI
e+xhXR12azsaGI0hCSNY3XtJfGl+WXgjOj+CyUqZTJfCZKdmd8zTZIJYFFN9SzqCGma9Jg9KPAEg
LTZ4uO4zZzrQVmDQTylOZhEPAZvAg7iSW2fjUfuMK/fTGfuXXuXEzK0Xsi8edbsKzJicQiKAoYAT
JDvf9R1XC2NdOMS3vaG+jYP1pTgTujJOt94guy5TEWMy7v/OkhpMTEy7djzlLRxwFgBscFd4s/Ye
XTevrhIfFkiFILUPuW4vCHf9d9PKTesoLwWRxCsnMYQvagpv1cLNEHG2UMWMVe0xKm6qK8ss7upo
+KpMRiiScQFKif2pGx+dwtwbpd37ujJSU1XY71UA1TJTlMC85vOOnrZmFJwo+qz+TspkC7jirkuT
jZpbP4nboVN1dAFJUiVKMQ31uTnlNoGiXVvsmonI1FFt1rjCP3Otxy6qk9Btpessp/GcDfjfogpw
sLXmV9iPydlJK0zC4lApGnwnW0tWDD1GwniIBkYoouhvqZQnnSghadfJk5J/wEysrEX3lVjFjSX0
0wx7LDAG7dsZh53upY+1oLPOBODPEF3f7KT4mLXpNa+YqyZtAfpVzd+citOci2OdYc+L4k9KiE+C
VZOVU08bq5k/xuY6l6dyI1dKD0fgUsMe13HbUZtflUoZ0sVLAmNGmlVTnQB4HTUh+fAsEinyvjqU
BXFKtfVQusKkg668L7E4qC0Iaa866izhpuOGQ127fimA3FXDOhXpW1p0pv/XWs23ZRRfUdPgtdTr
SwmtcXBKFhe7I23JGsDj7ZdKrCPy43E5MautNXvmjB51ZcKczuQvUxbbWYAlTMgGzTIVUW+sJs5G
POeLaQQqPVUYXDGzIJXwVX9YZEZSYppvltjZM0H5aZvtR7Es5wnOF201+8gV8mrn0NqUMfCqGg+m
G4d6l/mOGDEcK6RFZcuJ4aU7qLVL2FrG2gJvwP1HI4+y8F2dq2ta1GlLpgMUfWzg0h2BrPNHNYb3
IB3EGwc9ZWVQ0XEWV0ejeBnNPCBA9b5LhrdkogV+PQWXmYgpjCXqJrY5UZifOC1FFKKIv0XOcEK5
PUeA8tklMIdWtNqaFKJ9YZaPQ6K/l9I22egllLXMU7kelCdz4MZYpY83q0CsIsogHjdbdmOPhGq/
NUP2ze73iSnQYQc2n0zlJQqYe3mzmkPXRO+UB/gxEkqUCKH+oNDI6TTCVsbZytduqW9xGSHrZbNB
ydDG5EMqh9pplBN7zVdZou0uo7MhL7sKassW7OmltykXUDSLWeTbqjtWtUKDgBdYu7nyzb53NTML
YaaRu5WLwtxkCbKSkKxYuvHdlAo2jZAT6O0rfpNZxBbPVjj3pXanFHSwWiYR6EQ4bNTcRGU8Qwvn
2Wt3jMelq24mg0lqRvmgzD3QeCfvw9vDf54DQ59xXfZFFDiMcADib3TuVQNh405Zk2VwTX+Sb66Z
AuMmwMJ25Oy33ryrHUbSGXL6sNGRNRP/qWOMypa/Z7NoFKqjGaH0AbFna/OyFF0fTlToneAeNnUI
kOnwSL7w5zgU18ku7j6LInamNnmhE/05ZHb6c6F94iPjXtNjd8tUMybnuHhXRoCqtUFpbwvtN6pc
Lhoq7DKKvozMHH0kIjcAG2B6BhBnteJvslmW3PYuFdeSLVH2iYOHL3K+E0//nnrs2zOLcDRGO0jM
ANJRrAZPf/VyoN/WppmVY3v9cem1A2PY2KcE5HvPfYGfB/awIlliqfxpzg6Laj+UzbnJzGmVFeKx
iuk+F6676xoTSdM55zrT5I7700kLiH/c3s9WccmurQNPKZENZbc31Vj4fWdwRXikwDNVdkc+RhW0
cSvp4Q8BxbXgsjZ21WQSqGOxe9sacWICm8DZodoQCTSngYmaGw6ExrhbZ1Zz7rLpTZbXoEWZTWFk
lH8iXfrjAGkjRt5WLXbKRuxxg50N+gOGsfYS9S2dnaMX/+m9QU+2Iw/NZcPZpG7F8pg9luIlMlLo
Qi57tCQ24hUj1is5wHKQtfRdL2Pv7FhiRU81zFJVe809VmvYsexukVhkST6Ulu7NEfXFnswTe+wn
Wy1f+9It1kpnphgt4jcYI4ywu3rINJPqY/RgGbyaDh1ih1AOEalG/yp7riedYXWdz1i/dlsXhWBI
K89Dgkz5X/reoBe2UV37c2GSvxRIldFEcwWECiPudNzFINnDKeQuuVXh+rlta0w0TU9aARBQNUC+
THWDrQrBymp+8qyF/VKJbTGjM2uF5e10czeUw7iaYxpT/YL45Dj554jIx92mVlYVpoe+qJNdnE3X
Alp/txhxWaFWxuBOZHevliWNFd36qq+tp+ijRWHxtVyhdh0OPZolNtnuLmY0cKQYuUQ2Z2VVI3aO
KnMn02livs7Ho9KsvcqCkj7T9rCviTVji+KXLqOgX8YJAxkhD7sESgXl3Up2+XhpyUwPeuKNrkD+
Pbr8MbZavxjRbSREDU0ga1JLNbtsaiF+cEdIWjPy2zFVj4NQNyU15Wp2mJxOFxLLTfXsNaYRmurY
biBE7pY2c1Z2Xq0TncCWJebmEMdmvxfo7bmLwT3L5YtdYTJVh2e6Znz+1YL1B0U2SvvsrqiR1dm3
wqnNbKJXpg0sBigSbZUeBof+adsh2jeGVBiKhQdZeOV6GQxuxqJ/A9Gzrqxr/VkzGrdMOytnJS3S
+qWyF2Pr6DVuZrOe78z+2hPqsNMQv4GHz8k76tqCPHFmN9ZmwmmhCJMB7B4hkAuNbZZtvZRFV/qO
VkU+yJUKLydTr03mE9lWAYC6XpLnQvIj8plL2Cg6yzdN85qn0B4sM3sdbN7bSBvsbZbmGJi47Bnz
eels/uLW4kcyT4QSE9ssa7RkbHd6tTwLY3FeHkB9yn1cX1QkFM6oahXxqayTvAf33Xds9/jZWjNv
CBqZ6DpTZTn0eta229R+Fk9bk4078cIlEaujWYU0iw0YMRtvOtYJ4S3Myn6qtjk8lHq0nrL51RBM
XU7O9NxHzHpiA+rCiiAalujhLNOFg5Q/k5QgZJ34qzHsMXDc8S6mh4pw6OmAUeIZ2dxufuA38xbN
2f2kjgrh0y4TMJNL7EbFYELb4KfVUeh0wkZGEjYrzmQrArfGhcTUf3M054HlRlb6DlBJvVBWWJxz
ZqP9yNj6VPW/SS4/oGcItwAUbrX3S2+rkHEidOjoE/gW/9vU7Y1aMEFByxB6Tc+QCbqHIqaToMds
k+KTJdO6T5R3rzPd9ah1BK6leX2k8+esi8UlHc+kp0Pby1c1Kh32OQz3UrGyrw0B+5g+TIw84La9
y4xovrMjld4GWx+zwpLjxLXcKLDg8SE/Dkqhbjr3HsYFhaE6v0xS2y69iiosu+dhoiNii8HX46r3
pfA0CsVi4bePj0k/vBc2LTLjT5/Se5fdPptg7orTJLEasR0YJQ3oxFOo2bcdc+PnmDwSpSbMmnCn
QPTKT1dP70ZMrlcRHfMRb6U5/ggXQb/JkOBxVz4NiALkvXlwfysb8cN4niK2hxn0hjUDOp/KdXot
cea9dIguKLPsopgN9Hxr5pRbmnpVY0UJtIk9n3Nl4vdN9asa4muYVCoWW2w11p7wCt0WdfGFd4P0
Suin9HvZGetO98BflHFWJRnyi1WECQhczIZBrmTbUiXQuYuM+7b3sru659w22iDmTV7NjYc9kCa4
1nrWOhmEODXu2sA9G7jSJG1j/Jzn+swdNqMKNlZmw/hcV1f4QJrNnF0Hdgf2HYS2YZBfmp+MISu2
CtmjrnqRn7RIr0ltpfwL4aSI6/Fc2UzmKt9o7eJDibd0X1XQTuZp6mmzLbL6dpwrm8Vka9T1GOsm
PhVNXcLYW/pzev1iob6VOGnvbk/ZRUuUEcpDk9v8tf01giaS2xL7I55cnbWUYHVX8aD4d9McNC3r
cNRoT9mYZpwH6msPXiLQdN3xY2Pr2rYVmIv3GqeJyZQbmnbdl2LdRWxkSsEcRLbqZN3uWtk/TU6z
hHpmpOupK04Syxi9Y7pzRle0IRcPwcbumMMRlvRq6cRRwrHGMqUPpgJ1eG10/XiaGvehqHhDq6VY
lY3WnQZvaMjw3rjc9N0GJstAewPq2LmLZkR+ZMYhkV9i1KCIO7Tls1F7MWychU3/0bSQXJjoohQq
117nnEs6YkGzmL1P0bqOGB2caLHCzLkGbYjfrJuDyJ4G4gvv8m6UG8DfOBejk7fEx9hmr8K2bJPr
TeILJUeP0cSdRv4ARY78ZckFHuW495rRXdoxR4ax45dipv9pcl+KIUh3yvwnyQ/OIkM7pZYxBUNV
xhulIBmh1dw/x8KjWQ4vcpiilQkG2Xdm1Xf6mfXZWH5M6W47g5js7M+xOUGXsvhuJbO1qjNQ+ymE
GFVzvBdG89zlmCkGTi69f2KOY+91OHziKFlHaQfFY9RXjmd+XydOKMShk/SebviR7hx0nNcF/Zf1
FNs7D8vPHYOKz9o1ZjxuFLrtNW+AY/70BcOWzBHViK8bGblAbbLiybPpU+sOGUWwQO7sej5PBt0D
y4zek3scKKwqfiSW9ahj3Z+64zzmRYgtYzdP0Zm4EEZf0CJyTWLVcXjNeJ5fy8r67RZ5NM3xTJUK
tjjZ5xFHcHYqGIL6TW6OnN3X6ow+ytnOEpNyti9RToxtaw07TZKDXspHZV6044gXSMcHvKnTbdlR
4g6e8avnxriq7P5VqYcFnSvnZsD7pjOZ2WJ66txkP9BLQ3P71M1hOGiExWaJO2+UYfCCfql9z0w4
W9JLAZnBj1nr6y4Eq7TDM8mtPFd15vubj8ImTiySBonTym9sjZ+5mX8NXbJw9uuhaPlczJTwQvLW
N/bSf8QGImSWXcfpMzpoBhlPeu3GvgmiDIWBjq3F2zx10wbjEyvsXTZkz3z+D85X13ReEKMXINMi
+veeulIE2yor/pW9fOh157cphld37h/pQkS+nilw8h2CszyIUm3EdsDUru4d+qgKqcG2iSWbyAN3
NZZLy5ZfpevsRMYeUNqXFgnXbyt8YtduVjUwns9OrQiI3dlN0gb+cDcbc+hwBVVxHZYs3JGtvBlj
+gfcrEJ5bmVYq9jaGH9Put/K6V/JmUKNrupza260iDsnazp0ZW9bmhP04+pLz1286XI9uimWOtVs
yGVg7rS5xs8oMwa7SPtx9F8amu46WbyjxJIWVBpoBKzXaavi6fWSO2kt2ipLk2NTK6RWGuXBZlot
r9oyHGZLXWObs6guhD9WdqgJGUMba1oiWNoHnReGsMbln5t3HZvSmIlO0h0TBq+9dmCFD+cm+03q
9gqdGnZGpfB3k8pp2qg4lLdswq4ZaLN40ZbE26Ns+LIne9y1Um0tneopabp7YyQIAkw1v0YaiBKv
q4tazry3dbRztkIt7XI/nVWCq4z8AFPvgv0b6J9s6FhJmhiScCecU2E7KM1aNOdhUbV9VU4bUSlx
0OYUZU2/rSuNuhVNOK1SPj1Zrd1kOaYlC1CUtNVabYa72CW4PVaJXcBxpHlKv/YKhXHl6a2Q3bqb
ekqAIb5XNIp+UdU/MQ29NiOM0ouVNFBm/dMe2rOpDtvSK+b1oFHvFkNuowcZDAsVEFkicT/Exldj
7mODVZOcQId22J+Hx6E2LcbcJ++XjJRPxC+zdV/ooISSGDhmWvYGm9IkpoyQsX5mYOWcCPWcihG3
h7Zr4qLcaMgDdmnfS927WnkoR5uWIMUZr2vT6a+9TJ9wWFKOwqGyholBjco+VYvxGBnZg8masnGd
Mcy7JfQa7S7iTs6wqD/WNMiIplxnGWokiZ1Z2q30VhoBNkoeuTHFToMvpi9RzZnlTusknCdt4wwD
VQlio0dmwapRioMpu58om37ynl5Ftqy09qFox5GLhpG/qH7TE/snldbvONXw+vXAUIsmBH5Pv2wG
rNCya7eTLyRZGvZN1SGeKWejXp4Sy3nJHLlVdWPXJpSqyqAfwO8w7mHi0Rm5IVq9O64Of5qprFu1
4YYBGmLyzI3VcodVxVdXgQ3Mv0zDJIct3yHqXmwHJa4Y6tcl8oJuXswwGbRnjxzWtvXek/HqiE+T
gyIwUmC0IwWilAerJPe01hG4S/dZheI2RvUZ4NGE82p6bCe0mCFmGLZ27CODYwTaRc1DySDDylvm
QzV6QbpYpChxCB2TgwEnhTaru7Hc7sGwys+uJ6tMUR1Y+xjS1OnJM5GXDY+xAst9FINGwWYFLLl0
oGEkYMM1n3MCOhk3AS9mGd1npY6Bgku1JTVUpvrZ1hwyQ+EGZmjuYxNtr7c8+gKvS5VbKzOpmE1n
1CdqrUtr9Cerk65Pr5FtN6F1K6U17ovR7tcVnh7h4nyUw14f6QbHtFM65RuSA1GPaKsr0UGQxJeq
O3y0gn55UWjsS50dEjxrY6o13NeWcNTGl1JFAoOKdJ1IDxUGu3vPpiihUBRMq1zbgPCkUrATajwj
DlD9Rv1H62qbsTMPo+PAQ2lIhsxZswFaODWC5jgcRWMOR61OxyMCxEJbTyhb7CNi1SuN3JW92Txk
ppI/sK2+/vv2RN0z/winiNumHcGCjJJY8ztL7cP/fJsDFTmtiTVsz7ensAPQh7DM939fJBNxxjru
yrW19M0DOkz7gF3ssVGBd9yeMoh3PbWeuv3ngOtRBQGmG37bJPj3hRDSmdIXurK7HYfZWl5kS3z9
9VVvX5gt2SYMVNK25je7Pdfb/eDjsLPAuPz3uSJ1fQ2oz/l2BOyuGbdLhqBt5eJsyuk/X9jbXVyz
Enf/73mT2gCUjqCh9d/jtdaGYmEe6JPqp3+fLohWO8U4jG4venu+qGeipxLrnr3IptHb6D4j0/Op
jTBO1Y0Y7m4Pba/OrxlwyzqV2fjkdXGx11u0xCoWI3eOwb2QgeAXjN8MfuXIo1BZfG//de683o8x
6+1uD7PCy0IGG8zgnxeOI3EgqxDR7PpjuwLqXK79c+jtR7le80rXxTzefpJIiWxcIjdGkOBwMbbl
lu204t8epkyeHoWnP5etwu+hqmej1frH2+to/E+kjK493F7IqjD1tZUXbW7fHTLLn/H0MlVT1Jfb
F6tou03ecWmBykoSf7RrWBei7P3bt3E01xd+YLrtyGBmFb8eU6ZLguuKpta/r5P3s2Q/UIWIFPpm
GIz0jMSebGohi3ta8FfnQNNcQNQ5QR2n00MOUjPooSo8zl1r+xHTN0/UXp0fC7t4GVDfuO4s8Zos
8OycwnLeKmlVq0IZ6w+za34JlWVcsqte3Skrv2VTMTaYGT/VgpG9cOu/QVJRlPRU6HDU/qQ2LByL
eh9JKppVd0CtwpJbQqEx7Qz7AdHElDsTRy91mNAL+aURsTeGpf0pOufi4PD/SkX27lZJ96myJ6B6
6713nd7tKs+KeZM2MdEontZeCJOHq1k4LEHXwOXbc3HeMFK5KBQ/U9tebt/QYs1hkYia9e3h7Rtd
ijiUxYVCucNL/XNcE8u1jcUsuD0cri9QO7q7nqQLUe9/P4Os5xr7NH00S7R14i+do24UQ4NCfD3m
9voePcFQttb0z696+0bVR2NY9fS0bofcXl8qKj7/KaHfX7f42ZhI3y5TTlwkLdAzaUHldmytjEjQ
JjlymSnrQZHZIxCD1O80a/goC+WkW42I6RFfFjdK/trS+sTg7b0KW3eJQB4YmxVOgaritXulqo29
owt3w+Z14vovdfrixvQmounNqkG5JNaa6QE+oCVfLpXT2O/S1ms/jsXy4GlpvfHsEtxO2U93uPvd
kNTm6EysaR8Yba6+4CjMACYl962aP1SLrp+MpgS0YNiC1gS9wDFP2hMnDo2iuM5POVun0IC1cMxz
swjHFkpKUdHgKnMxH3PLGEKjwlVQmTT/R1Mrj9o46yFkm/ioebodcqE4hzxnEKBmweUqu6swnYQN
o/1bw8qSC9UIJZ3m2N9xcQdXwv4Z2Iev+iGeH26HptaioMr891A59f/vUIMx5weVjO9wGixW3zF/
xD2VHcg+C0UE2xTaMnLG7TkEz3BqG5GsBXGhQdOpdP0icSn1nmTlLFrWerqIy+0L8bKOb4CT2Nwe
atfjtIlJ3NhorLBhaSO4O0PLhuoT7/S0lf/8vyRDVHb1qLujCf6zkOYHqAqlH6///dB4YG+YU2I3
6G5rUlTwWAqGgZlLuBhQhQNMO3J9e07UbnShusejD3GTnhDH3Z5zhBGIGTzT7ZFIovIEomx7e3R7
IebTvG1Geh52Zl7j9sUyrYjgZq6hf5/Dz9nRyrX13fi/4+h/BDpou/PtqcZzK5Bu3bbuiFCXRTEE
qi5wVyCgDBslM/nsiINM1kwjMo+pLDlalt6fHW4LGAGuT6JN5v4/j/u2A8CHjvvPkbeHgPORmq5f
/n2J2zdqKx7ONi11mNMuGBjRn7VoVrc34b76P8bOa7txJFvTr9Krrgd94AJm1um+oKcoShTlUnmD
pcpUwXuPp58PoeySqeysKYOFMAAJCAxE7P0bJeFL8GD+l0pfWOpO0QjxywNlR7mRDfBQSQfPB09T
AXw8dq29Py9Ay6AyrjriP9d+WgJrQTXwK1HDmiSPyE96gVCFmODj5C0JR8POXjI9d29CH+KNWxJP
l/Wp7d4i96HeuvN0tyyhxShBS/8sP+QFqlBixG3aG7NyLevbgBVR3xaPZHFsxIkG7FUjUpepwHJW
C3rlUNs8TQu524w4l2ZDh5S5UA6yqopiWmX5dVfWvrV3LsS1JFX++FQvi5/qhO5o+7SM171DDBXf
q/EQ6OOPjarWN2HLtU4mePE0sMUXLYJ8oBZx8ZWk3XdhFtazYmcPjaY1e9MyzK2jRcHaTQ1UP9CA
fzBzjfQZDI9MdxhPfQ1dpioJH3G8xNSYARNUhrKujfHgoLLljZGxAhXO+JcNV2NZpi9jgahnW+tf
fFGrIEhzhxV7r1z0jztd65AVVUndL9Te8HdemrG0bqB2OXr6XLjaE/7kyhnB7PyQ6cgMhvYEIGFo
N2VaJI+dShJtVBJto0Dh+mp5S06QrtvHrvKLC62sko0KQWyft3764IzjnmBk9qz1Rg7ryfMOadBF
Z8/0/5AfN+kOf8FyyK/tPO2uPJ8swzAfMH8PEJTktCKwgZnlm1vkJH+PkCQ9yo2RDe2xNFvgtcJB
4kBhlV4CkDwaemgOC9kHLue8C0wbDpx5+FH88xSye1oUj2ma5Lu3UycGsGBT6Zp1W0INGIZpj26L
eyVLWQwBze6QvZfFqALFAjx13zv1lU1CsNnXREBAh6nhMi+V6nHsyKtGmVk+2RN563BI6uc8SR+B
efTfsGg+tsxHX+rOgpKV+TjY59Mid6AJLBQW8nM42vXht6QDCBnHN2e6fQpPvIGnPIvL5XaJwpyu
FYsQa+mtLL41xImS4oMMzrIj3H0dPigdNuIGgtSXjhWU7qYugPj2g1XvA6O9kCW5kV3E3E8Wy5ld
ZPY+8bLGvgkHVdlnDryuFJY6q/QOEQUd8tUqnJtln0rx1GWSEBOthKAPr9VvLOmVi9dDdC1ZVrov
rl8783e60nCWEJWwbyAMcZI/P+P1+N5LK54sPqMGUnAYiqbfLBtw2Gc/TrOzNy85QrUCq/NnnVO3
zSomBAZ0B0k4mCv6qVId57LUo+oSLssja2Jxp0KrQm/MOhW1jaRsBJ7c5kG8lI0CVfsVOJBipxbg
BJvOKLaZDd41aQz/PvRye110iCPo0QCPCnon5jkdVLchte6mBJSNm/vKy4b8mveSdUxJjaoRdynn
WgOQjS8HYQSrIkogEIEUuCWauR4418kQhridKo/Aqa2zwoRkx9ocUXfDbKKFbLUNMp1jY3uXpOcR
GA3D5KqorerKBrFGCr0Kfy/t9KLKIvFQGYUNp8JHDmRKw8dCIYAwd7A/HkkutSao7gS/gxd5PdJi
xFoWY62fyC0RcbfL5K5PYCgh4BneRJ6HbpTW5KRIEnvbj5Z+iHhHAIdJWzLaUX7J+NZsx1S1r0zu
z9qOY+MmT7C/C1XFvhtmySL0eBdlaTrbuvWmcZHOHgytPWpHUp0JgUtUt+aqDAT/sZg3r/2ayszx
tlB+HCFbmnHEIbk3PSwIIbeT416DSGzPltEGt4WFZkWI0NtaFuWGDqZttWdm9jMLCOGhtw6yjg6a
STiQCEi/99zWxJm28w9WllTHPujTdZwmzYMeRt/kn1oz/ghFH3yPeFYJpo8YXczHOEgVHcz5mMQm
plBFZv0wGXP6oPdezOz1mMxNtIXupD+OKS1wKXGSHaBUuQetGd0DKU/yW71OQqKMMn8T826ocMOm
KZNNn3eZBBsrpQ03yVCmLSYFJjw+XHUXNVePyjM+6qOPCMNCqA7bbK542zRJiAEwqNe7CSLtuh1w
XK/DwbjMMz1ehyJSHiHJX/c8hd9F2J3Mujce4S1kpMXrv3T10vZaTl3NYDgVbvij66ezmpOKx3pe
xoQRn/UqM+5Vryru/O5dIeyetc7SX1s0913L52MKt+i3deUBQpnKDmfxWh14x8L4JyGqmmu5G2sI
AoTzpnAjFCadaxXdrkMVz+s1uZuhQavgqfqxVpZRhq8uJoOQtTsqF5nwD1BGzG1CqviCrLxyIesh
vhM8lZVaOjjoIs+9Sfq52UL2ai2tFTvZoZa1clduSkeQK7PbaFGgnPGjv2wZNf9r61bBYWScP/n8
NHbJQGBOS8vs5GVadpJ7zEIfGpKpF2/1g+drO8cgcS8P/dgXtOmPvg3avQs0Dlpkhx3/KDcCoU+e
o9Rc22WKdknTwv2Wu2996pF0x+c+stlSBWItHcYyITBD/05B/P2QZY1KfHre1RUQX3JPbmqfdxfw
pGDxVtfpzlge38qxNcWbKEXHTB4MxRGlpk/nIVxJkqauLYYrhxzZu3MwcbKX2Tio4GsKuFrI9XVu
eELIIDv5apCdymS04Yh7xsod9fR9w67pEPB7qy0Mw16RaTVW8kC5QVo5O9W7au4pK+oefJjFlGML
TyPFaeZxIt14xAyhXMgiVKZ8WxsoLcmibkIZVeBqXspiaIUrXpD6XeHq+ilOzTtZ3YdotzYmHnLR
mI2PtUaqlyWEvZetilCvcdKcbjDKNm/rbHo9tZuY7aGP2gI9JQ4i4zGu0RViPTp/LS1BTTAXinHV
46v0qHs4k/z125rzt2UaFmzIJA2Pb99WnjLm26Y1As0lLP2tVEJPeV1smtwHFz2Lpb+qo8966m/F
sg5gorlAaGSrbJiGhJFdlhM1e0q0JNvJ0piWB4ZKKD6JtnYj5rrQAsPwhLbbsKqJZ6+H2h6BMgXp
0kOo4CpnKoR1kidIP1TIZ8nerwfaRgB2unRmX4/wJJQ6PIE381la9Dcx/heXCMgfWmVwHlWdjx/d
AdaR657KLr6v5+rMhWdTxaTTmzZ2HofGiJYE4sNL2dpYEZ4YY/zga6CnGxOLnaFXnMcK0tgmq6Jh
I4/S9Z5wZBtFV66SuA9TdCk/0lE69RKlVzKA80d5UUQit8qUrSyO8fg04TuLhlVd3NW+t5Yf6Tbk
xrQJ5+u2S/QHE9ZYHDrHJjHIeKgq5GKMrI44ZdvHvhTkXiLN8sCFmrfjmJjIDf3ZPChgGN4OmaZp
ZBBFYl/wajUErJOgu/WDtrvFaInQYQI41PMpInmDgUw/Pr/10Frvvo+M5Cj743pSb40OoqUsVvMJ
5yzufC55TF+lYommiLt1DbFt2rG6HjL49kwAgNpXCr9WFZHM1rD878FNG3T5dzycUnCC/uw1YMK2
nRoHon8f3Qur/t01lOx77OnAX6zyi6GLct2gTHhJNNI6FpNW4oHk2l8jpVzJrqVDnk/vVec8JXjD
jWrIm0RU/Xkq3G4hP8+CpJh0VvnsFUAVlXJgMqbE4lBDqlznoeU8Ahw4yq5NpD91jgoHUbc0vhQR
HXkNudeXS5t11H+uIWYN9XoNecqcSl5DBWvoPszK34HvdhuvjM1NosbTDnBAutIR9riXxa6Ks5Ue
qPq92dQ/WifXN94V1VgvdySN0g1sZ/IkhhI9qPikr9RRra4Aw/f7UovrHbLJ6IgqYbKy0c37Mo7d
IxBo8w+nPtSJMr00JcMEIuQRhHKOnlyvuqqJZ+Ytggu9kT33aRls0ctKkb9L+uKSyByWUfPep2KL
yDM2w2azZB1A77LsR9gR2EB7TWpdJZqx9gYlvCRt5CwT4q5rWV86OlggiM7ZpSHydd70WEb4LUcY
bojxizs4ryfo94Zt4qqlzfZ6tq1emiZY0LlURj4onrwaXxu7KtDWVdWhSDA3yC6y1e30/EACARX9
iAQVSmCbpPLF0SS+ebTmjSwGSW8dJswlZUnWyx5aSv6IpI+NMnUWQX2fj+1zPI4CkW4CXG+WUoAd
put9gdD/begDmKw1cBZSCN2e6nvLdeJb0unBa32R2MtW0+uvqG3ANu++ozbOOwz4y41fmN7ORzpo
6wRJdhv3JDkaRe2+G726RAC6fVZRbVoh46hdIZ2KA1qbhJuhVOqHStXu/SrukdTBKGvM3EcR4aES
aXZ82RZljweIMaLaP/on1hiQsTP/Blp5f2nojXUj5o2pg1sU+c0YhdasKNYegWAe4P+BtazMuNrr
E9OKt/5tXYcbtWHJJuvkYV0ACn8M23Qri7JBDasXZOvFxVs3GySVXefpNeRN6yYpvfra6ZTlWweU
ZZiaReO3t9PUhl1umwlSnzxINrRtOKziJPCgXHAiWac12YDZdZjuZbHLPWuThQVoCBVvHNcXjw5L
ukPvAgKQxXocgzVKNepOFu04v29Id50gU3m3MNQ3ddOKx2L0IbC5Z22IzCOpCyT4ffUPYFjqNqoK
ljSyTm7CMKsv4VxBW6avOuXGxpuqYt902RNYYKjnrqevNNWJzv2YiZOp/94SW4A4g13FHhkzKK9z
Y17l8Vk1Q3Wlkh1ay7rXBq94MkZdO8gSUori5Ga/y+6yJhSaumfS+v48UZKroCIaZV3ZXQeRtKmf
fDhUr+dgcQFcu5yeIL84y8olMx2R+tfmAShE7/X2reR5ryU5Vg2oXLy1dR9Kfx4nB7k/e8rjyDn1
t3pPrnoeAP/s+fp5c9ssuPOT49zBB/3o93u/H+MjzMb4KGLv3KZjt0OOJT6+1cu917pyIGHWg2yg
+1t1VjHSL2S5nrpviQ8wH3+Go5eK/Cj35KYuRzRV9KTFQOw/DZ6mhsO7smmHu1z104uox4fy9TRv
Z+hqZVxr0azdN59fbuS5mBR0i9/+8T///t9vw//1X/JTnox+nv0DtuIpR0+r/tdvlvbbP4rX6v33
f/1mg250Ldd0dENVIZEKzaL92/M5zHx6a/8nU5vAi4bC/aZGurC+Dt4AX2FeenWrqmzUewGu+36E
gMa+XKwRF3OHa92KYYoDvXjy5ilzME+j03lCDc3sziX0dxHLuXamdx0vGOC1sovcOGnpLLMKvG+5
UMLeZaKCSUCy8aPYvKomYbxu0km7MhlaL8gNc69RSzKvQOUXW0Xz28VbP9lAzg0DzTxEMrkICYqK
bFdmTn8UWToc5Z7x597cA+WUjGkcuNOApcnR07V9E7b5TRECpfXM8V3JzdS9CNxx8zd3Xv1w503X
MRwBCBoNAte2EFdxPt75AG1pZ0AR5das8/q2wT2wE+n3KING6wi/vBFw23eGq6KYAw7j3MSjTsqq
tb/7xGZ8kKsdjNLOxzDEx/bpgA7bNjYFS7ceJedd1edIrVpTkG4dmYRQigJwLMyabT92HUL3ITa5
78rEV6+CkoxNaFc3SAdUN+TrI2QAinQj1K66kRsfE7x3dbJziSa9atj6hbzPb7dd3nFkn6pNHoDB
eWtNqvaLWtkpVDVYW6SRrWrTjDzbb8fKPXkCrKbUv3noTf2vt96yTEuoruCJ1yzz460HeJoD1bOt
W6yWx92YZP7B8LRpnZpKyZA7roNoSr/1Ezit0jGrk+zBCmRYJpp68d96VZlH9BMJz7fz9CoiSRlm
EdD4lAsh6uApCSt9FRnwI+28tQ5lYeiwFkztYWIux+21vs9dGfD8166qR+DSxwEOxSmyPNV43QaR
cWGaei8WAueG1a+fS9f4fHNM1VZV7o4pDLaW+HhzQNCUJGi17NYkfscjVKAdleXmg92E+Y1vjt3N
4CT3ARzjL2GdKRtIFdZGFudeYWBkN2OB9YkeELfxsD+w0Iq5tEsNTi/JZby+RPNFb6ujXevWd60y
zsjN5Y9CKVoMJnq6jrnJguwUKHl1Ihu26SFB3Oa5JW4xGUHBgkQPGFzqMMqNt01htivZKg+owmEj
lEbcRlFirpoK0AXR1HQ5REm0n+xM3FpeNvG68zwwv31cQbZeAA9rbpFWFaxzPvQ1tVNNXtBBpz6E
WAFAHI6z3INAnl/prXAv5kZZT9gQ410UepdmrauXRBVfqt5N75p5E4w3hIiiW1mThoT+umrgeXGL
7A78XLVRNJhDslUe3ffJ69E5TnTXHuwQhDMKXUX5q4mXb5m8rrHr63rQmo1sKHUEWH79RJjuhydC
qKrDNEATBg4HxDdsY/45vXtHMLLoI2pI/i2+WTUBbnW46rWAGZIP1iIsHzS31p/1ttRWJFWGS+wu
hislcNVlp1QA0KMYZ8IWUweA3PCJZg8GP3L+s1vJ2mbuEDY52h5uGa1kJ3mQbJDF/1r3ejJQk962
xpbMWI+Gk+ygqyLYbjraQe6ZQ2zAzgpHXjqtWsJVA2r51vyXPq8VZtVu/+Zmfhz255upu+R2VQvm
h8XY/+mFGwdMvRMk2M828eunxE7dhSaS9qSHSFoUeQpBPHGzp1wVpHHG9JvsUVUBajg9KzZfzO59
uQmws0ZpAcGnhTm/2ar5bfduA9Lm2LVJfqSDrNZYkC4QDWdV48OPrGJNO5q6mt4gLYTkzoT9k2xQ
U+VHQzq7Tnizz5Nitug8FVBRc88Flojuza/vimv/5RHDaA1WFOYLuqaaxqe7MiSR6WdNYp3RN4iP
BgTUldlrMcS5OYEuE+GIqUTwgm6wlU6YmQbDUW7CHOVGf97IoqaUiGQ4jbWSDZ49irU7WM2qriIS
xQIoUxkY45dcCHvZFwTtRVGMXyJ/a7eF/fjWq7a8fmWrkG6k7VThQYHxkTffyeKrH5WToT4LuPVz
nexXzA5Wr53nfrJurJ3q4JvKUzUng6AcTeYtw7C49XQ/QlLEQiFmbgnLqdqTjwD/Ore+6+0iK8m8
0HQvA7DsPALjVx6nAvsqogAZRLcvcz2uwRZjRMmPAV0Jx/rKZAR9KoT4upqQlpzIFZ2Lsfwc4Jpj
8HNbPxbjbdJcKCUSpIGfoVjZa+iKV1Fx1TZhc0Yk0Ds4qf0FRkFzllUo6mFUZ4zhRhZlg5a4e6hV
z79+RnTxl5+Oa5iOqzmG7QrTFM7c/m4cIuTM6240ynMQoPPStNmjzHFlvcXkerBUgkRVeJmaar+S
Oa7ChtKiwiAvIrTNYhQjiA9Y4d3HI92qU09BP166KRjqodGUB2S8K4CATnuURQftmAAxYvA0dnU7
+tkm1EP/ETx7foTmODvxUNRsIoOObdkrWUwrAw1ARww7WRSZ/+OUsjj54xrVKNSRDZ5yTJjUc+ih
Hh1Os8lYXmrnbt5EYcfMqKquZQ/UhqZ9QjwWqE2ObKdIAcNlldD2sjMR8PzaQw1DHi+PACtWr1sw
7a8fIevGrN9oeH3H9pOu2+2NBVYbRVh0UQaS2k9Gq6OUhZTYpYKr1p3ml3svKLSnwiiaDWMqdnlz
N6DY6E9By+4bJ0UEuABDP9cTkn5+O63hQ1KWh8vTFoiL7WNAxXVrTse8BoY5lh0qtWEOecmsxXNl
1/sRmJa/GBQEpvM8/M70iTz0VHr3cTfpK0/B3jCr/X6H25q+l2cSRAzfnaknF3d2i+EygT6B1h6K
rR7KJVaJRpczb2S9qOD01ALRc82aftTJBtmPhdCSNZPxeg4nBPOVEXXwJ+ZzZpt+jRPky7Xce2ki
lMeGCe0kXKOWkT0GJ5RwrJ3dVNpuwMnypOnIs+uek351QmS8vexesfv4GnER+2ZMh2VqRj4Rsby7
Q3LDvwKclN/l6SyDXxcdjlwULVQD94S6U9iNFDUgcKcaH7uoNfIb4sTaKlcT+6yXeXKtlvZWG/F3
k1VD6DUrT/cm5Aqo002MuzEWkW0eed4rnbRCMgmMDNXmOjASay9tBnFMZGUx1zWDPaGJpB6QHcbM
cAS4oWTaTVgJRFTyem94VfkHDhrPCFQ4j05Se8t80swT2jT4YiS1clEkU3IJKq/fFKyxzj87TxLv
yWuV2xiNyXWJagh6q8W5MLrsFMK3PQWM3CfYHd0iqMkLyDq5Eb322teaGKWcsJz5b+MXB7XkaczH
+ygO5sSDhbiuqoxfmN2aq67PeZHOE1iR4PEyonXYV01lEM3s+hh3d3zna011b1z0VreGU4SHOM1H
1GKQcm6cwr61dFLPiKY4v09KQJbVN//wW/fQQWP5Kg8PgsK9ISIUbiOzmP5m6Wh8flsyazBVAxEA
YRGaZEz5OBDGIDsafVAgxo7gQpBaa/2tdMyrtFmxp9V2Wu6GiHPMHntdXe6DprubGlQ/S8NV9pZd
aETzMuYDfZl+y3kqrT42SVP9p4fqGv6yUAH62nqKqM+8aWvNZ/1DHqZsQMO1/sB0eN5L6jMmQEsf
VdjXeYQxE91b7AWu2qDRT7JBJcl4+vULQfs8L51vg1CZN8z/WJb16X1gD0PBfEJtr6a0EszrbEjm
8hes6rm1zlt4g9hYEjt4+9ETtVmZg1F+HgzkEUUCAEL++oMCcccwR7fv11/Z/BhuEaqtOZrj8JdD
e4RY4OeVp9F7mpZ1YXT1OqGfPLtaNqMffq00sgvu+NVWUyhWrqdCjnqtlu/4SlN/Vu2j6vjaW4Xq
9dVEqmKeEcjedYScowhBuzCVLJmW3oPIC+91sc4TvM7HoFYWfQ/MMcMb8qz4SMDKvXGuA4cXnDNf
M1fjvPfWL8thtf/6psj1w1sMSvBOZxlssrAwCEWhkPEpEoLJw4CVq4ixLa9UQOlIpw3dFGwLaKt7
pIXscz/1qMqPFYvyNj51vAMf3np4ijmth1ZH6tT3iotRB4oeDkOSL4Ng+h25Vf9yNPLgVqhpedHP
rbIoN3Clfx+xaL8MTDW4fTs+61HRXzJH/l3tD7++XH2OLny8XH68jq1bjqkTgPv8DKSeno6tb/m7
piV2izPe8jUi0yaae4RRjltXVV9X8yae/Ppa1nfQjzKRMBkmGz5ekHYbL3JoqQvD1w3ITkobsF4g
FPyu/NYul4tYKf76SsTHHyDf3WambvH343m2dcP59IcLxQgV1Q/t71VVO0drHiX6Vk2uMGid91ld
10B055pyLcac2FQzjxrdvPlRHVUuzhdl7R0V8PkrJm8CzeahvnHnEJSsGzxLwIhWuwBhKvrIctFW
30oCSRgoBw8lihPXIYSOB1V/SOKmvTfQ/TnHyBHIWqdtoqPmoZIli4kGLngwFPwf52OYRk1rP6mr
7eS04gG6ULIkUJAcZGuWx+/OPxTvzq8Y6r5vK7TCPC1bj57XoDdbd0cAlL++0Z9iMvONtjSVUK3N
epWRw/wUsGqdzCHn6mcvgHp6JI+5f/IO+6nLTRWosaJNheGDvMdvzX2Os0+dZRev/YK6RewOK5yL
wJyqS5BJSLrFxExTa2wbBMKp7JyZAi93Pc+cd3mQX3sVwnrpSlKHpV+4e2TXjXXnNNNzww+Kl/Lz
hMfxRk31dt+mpnMnPO0k21MS9YA+9QIxMs+6qnDoWtadMz17dXzHzzS7I4z96YQJDJozbyG4sssh
wXpnEsOps+3gsu2Loyz5AgekH/XdqW0dTCS6gpVWZ2BeAlPLWHnmWxcObczs9VBdMavVRIptl0cQ
lQLUb3FhDIez6pV346BpT7bogEM5zXwtvvLFttdjK9QnFQPLHXw367VojeFVhgzbreHgcx3mIl3K
o3921vnwykDOUz4a//Mhgl/LiP63vBir0A+aT8V/b1/yq+f0pf7f+ag/e3085t9MGfnvl12O4beK
SfcfzedeH87Lp//4dqvn5vlDYZ2xChxv2pdqPL/UbdL8JxMx9/z/bfzHizzL3Vi8/Ou3b3kLsp+z
sQTIfvvRNGcu5lH1z0THfPofbfON+Ndvi5cknF4+9395rpt//YZx+z9NlxHYcqGWuMgkEuHsX16b
3H/quoDbr5o66BOblgzt/oBUiMNBHObqjoWWNzzO3/5RIzMzN4l/IjasEdHnN+pqKjmU/1z3jwzM
6x/s5xmZT28HwcmJDyHAZtmmxW9rHnPfLXLV1ims2CvqbVKF28zy9vhqPb27Fz9J+swR3HcvIPkR
DlfCiI38p2p/GrZbVquaZaj1tlGCvdf3a6TcL/zy76apH98O5Da4EEezCLI7EIcdbQ40v7uSGSzg
6tNYA19RDi2azQ4U/gzvn9LemR4uixPazOb+19em//RTmRUKPhIVZTmUvvvUmEvTPH2qt7ZwseHq
ojXD3he3Hg4CdVzFDS8sC60aPygvcHDwC2PrOuLK74ITf2S0jUvkfaN21q+91lM0nrvZ+CD82rbK
NbSLc1d807T40W0QITfKveKh0GfXF02tPPz6QoyfPQiOw4AvDP5Smj23v7sQEPWQdtyhhtMavbBQ
x/eXC2Lev2mCbYfeEdpFMcQzh00+ipXXGjdaXERIyyDuTcCuqJvN1Fp3vl2dy/G21M1NYW/yCHvw
HEMNBd398NAWI2BmgUna2SAFx23Qq5rgCtC1ysq3VozjRuOK1d9c3Py3//wIupqr2UK1CIWKeYXz
7uICLIGn2MKw3krsK7RZrr38oLVo6lnRXZEYN04efY8d+8rgHudJsk6j/kike9tZzaIzi33qWJvK
dtehUmAg224c1Fh4tC4RmTlORQFa/4KU21VnwUFKRPkUDnAw4uEAZ+cqHPrrwI2e1D67+vVlyWzp
Xy7LmH9UDDC2KrOt7y5LEbZhJwR2t3qGHGrkoaddZ9U8ZYNlqbXYg+NYA45lYbSoMSbGUU+NEw6D
kRdcGeQKl42BlG2vd+tff7H5F/3+exF21lR9/klYKOLx1vx4u3EFhMtqRPUWaeRUdQ7tWKPRcVeT
iMUFZROr2t/N6T+PMfITDd1klUpsUXU+Pb1Wg2BXlAX1VvR8pH43TSov1fi2SkExBNNGG9UnX7tp
G30ZoG08RTdG4h5mgpeSJxjGh7eIte6gtMEPTc9Ol183YXISCSIMebryvOjspgL9lMt4NLeibC+A
r25cHxi1Mj7EjYgWpohXnWi/eGH57dd30/gUiBTzxaHp5Rqqzv+mXJ+/+zPj6+lWvBuqLTOEu4qc
SF6p1nIPKMdYEbsE21d7G2Tu+o4Q6oDj8NJ292EVbJMy82HAZZhcTNFFZiYErZtdZ6TXbmx98Ywa
UY08XmmZUywRZZsRyV9a0wXqh/zdQnXiCzWqjEVSo27162vSfvYHs3TDJA9AgJU/2adHxMgrrWiK
aqtPqNkGhcrcyMGUhQwZUiMJKsjjpvEnpIhtyBF2ni1JA3xV3C8lqcolM1QMF7rrv/lSzhzJ+Pzg
ssBTefcibMa/H78VmUM7SWKl2nbI9i4QIsQQTZ++job5mGmjzfTbuwy9ipvqEEztTRdwN7TRwHIU
cn/5ZZ/eKsMhD1XjFJjQRZn5r/E5DRCdLfejOgWrLja/elMINjCJELKMqgRsoB/tMgvLHDUj3AeW
cdFUBdrKWvW98YNgoTEqYcqNzGrWIv/hPFkdTnJZhZZrVWVXk42vS1Lxq3bvAlcg92T0NipK/tVg
N4fcQm4+ysPtpDlfu9F5Sbx85w16uqhEuQkM574QLpSb8Jxnk72AU+thkPgcTYZYozlNcJac+agi
F4144oMISjTp45VppZcYqDC1+qNFKjzAvKolMLjsUusr6gv1qstqBeTfACi5e47ToFkazbkH27VK
7A49GgPTQ39A7Qycy1dV2cZpfMwsHYBu7eACOJycvg5Q/LS/ic5Zqdi7LnQAjQvkWKPVtNb4iaI1
Da05oiWo63rl2OH3qI2+NIh4dn27gGuwNN08QYnpAUnkrwjOH2ucpzPMiBfVPLInQ3EPiVK3+u/D
sLAK79aqjE2duMvSSO5b0Yp1ZKfX8QkbpGKNFTtoVruql3FR4B0SIyxu4KoRpVuNXGmJBLmpAg0M
yLWXQ6SDa0HwRg/bQ4qANO51BBPHCLJNHdx4SfZgKQ7GLqmztKCrQLrUe8DWJgriKLyVWDqqzZao
96HxXBchiHw/FPhCxLgebLriPlMe3ajS8Q+bFQvbo6JnpMzcbDdC1V8gifa7Tyx+VXoKDxoS22I3
jvYmzfPnoXO/xfjB52qzd2GXanq8GXTtOrAmkCD22ggfDWs4T/nMfUTZhLWpdjlWHWLsennWyNb9
+kf3Kbg4D27k/VTDdUxeFX8ZCLypFk2iesV2yuyTaEswwYl56zNdNCfzFHrF919/nvspJvY6mppM
E01b04AdfHo55dDyky5l+Q2wL1jnffYS99aFEaK9nbNkx1325BMLHtS9Wgo4N2N4zpIgWaBAB6PW
RhA78FHX0etVG+OANeZfNFtBUTqAnaW4iyxCSi3htZphUTHgBtc66u00tCdPgXfXms5TXZsu6aTo
0mdWvMjBXwNve0LzYSNSX1shqpyv0KbIlmoIlaHR7/vWwPfFDJ71AP+3uuZlrnb48pDGBBCb7+ww
esoUJIiU8puukKvKcuAefvwCkwJdnMJBTkF/qnr+hmMy3Woh1o1x+AeL2euxH3ZxsajMc2tZuyJb
hjGSkcOO77pD1A858O6IPsOTYOXPiLuxWqSKhipHhLjysddIkm9TGJ3jkB966J9bgWjXWLT36E8r
6FqaCSpYTI6meoJ1D0JmkVbt/a//oNpPniBN2AItAcKzrJQ+vUpGX0XzqU6qbWnCvezHcxzh5e0c
wIfNhCdQw6KfdkqLPwP3WnePPX6GqYPKvt2LCz8KYYs5Yle2ycvffLOfvLgtXTXmPDOIBnde+b2f
dmpuqaSNO1VbX82/kUTBysywL9RauWl16yIx4nu0+o4m/o6ukW1//eE/uSt8NsFqYsD6PHH4+NlK
XuNcEPZMGpRx11jdvcI7Fj23S7MPxgUEyb+Lq/7slW7pOm90MuuazrTv4ycKmAduGZe80u3ipQ7+
H2nnsVw3tiXRL0IEvJnCXE8jWlEThEiJ8MCBN1/fC6yOLumSj4zunqhKogEuzDF7Z66cXLmNr5t0
DDIq/YFj9F46WZfMY7lLrjWQb0wpwLI143en8AOEbf0froCmr/toyLPq+bLJrO0BHwRLjKE9yOWl
VLAyLC3EMs5lGn+lr1NWVcrZ0sFUkf7LbPJ1FjZnn97pyVwJwxIPCJWXzEFcNFYnjQdusaVfi1Hc
WEr+OI7Fo13Ez92U7EREYOHnn1hbb+q7k7AM9vFgri3TOH/g8EtDkZZobDUjScITSvqhBz8VQ6lG
YwwYrveyXN3Xpn6bWvmub9MHi8yKkrxV31bRgA64QFySjj1IhXuhCMevB3Axdv6or2hlA8SmPoyQ
LyoZuPgFKAOorHlHwvZs0arNN11C0k6dkwSmSYw+Nrf98w/58XPmqJRSDAKv3m25zV4SNs5m3irC
Zay1Nz+Vym2tmX47nCjYk0GJzg6YZ/wCgPiaKevOBLelhlHQxeTZK3X5xSmdFwEYdmhbY6xHRKBY
trk+G38s0Gn7pgZSqprdR3rTOeOW7Jbrmpx2mBNPYwfBjJCtCVbgF8ddn6nz261Za4MHnREFpvVx
+OO4s0lygmIY9TZfnAPd2Mc6Hb44xAdbOVNj5OIdMh1VOa8PoYLp83AZ662cQbivlMjXEYojarHQ
uJjlHssh6/NC239+k/WPhs4/jmudDeoRUW8TG5d6G5XZzwjT7xqvCm4npHW9nLoBsG4ry4AmTOUq
SfuXxjQu2wR+gwXFrdNUbWNWYx+McQKysnW8Sh/YN1HCDwyYXYXQOpcgk28NBSM3DVcYEKgAdkh7
qYh+tFb6kkQRzxBuFx+Icm8UD6AdQEzj+p6/ZQoURWVqL+qCfUuIZlCP86fPr8D6qp7fW13RWKGY
ylo6W5cxf97bViH5b+h5lfHRWDm4J62+XHksnx/mo0f3z8OcPbpZ38eQpod6S93kpihxoVTJ7bQ8
4O6CQ4WzecYHOfaQZj8/7kfP1Z/HPXt0q7xxElZFvDLDcA2NKyCdbJjDjSVAEpbTJrabLy7oh+PG
21LTQsvsKMrZIzVaMLgQCNTbCqK7arTQYOK7cWbjRYLZsYx6NmHlVdsMoGGr79OIwDkTu8HOANoa
0c3nn1/9YBmKCFtnC/WmfDXOLsA4JckoCx7wgiCgfiBOgzHKklDVUYRzexuwTxEeJVN4ZO3VNcEB
eMYAnBCjpU2Tt45sXcaurFvK3yIFo6UWx/X1F217//mpfjTK/HmmZzNb1cGdiyOY1mimEWEqAXlo
p88P8a6Muo6gtk5jT2f6xP+xPqZ/PO2lST91EZbYDrqxK8UAiQhZlZJBRSL30pTMm64Jd1YKFWvU
fscGq995REubsRC1L3BVBaKe/GpNKg3N0XMmZLh6fWs0y+3c8iI3sX651PpjUa95TGwqV7CRnB4b
/frzT/KuJvf2SSyGXZrMKovSsxJCOs1srqeC+ypIRqvzR0MSQN/KDRy9E7qiXS/FLwiTIeM1XmbM
P2anIdRVo95QYyHT8BrHrfrF9f2nfHs2nFAgdNYGKqf2TrxQJTyKmSjFVhdcrLEwr+KIYvKELt2T
WusKt8nJtirVBzt9LWmCMaCdXAKMSTCyx9eUiPOgWZyNMYwsHhvhlfUw+HGskU1Zb7JBZqc0IG2O
dXapCnIxd7LEQ9SaqUd0bon6eADhXv2Q+va2TBtA3w3/GukyLVMcRAPb+ambCFlGCYLF9Kclkp82
bFekdIGmhrtxzZ/rDnWj/DCMgpD2im8WVgEejwEqXXGiUR7Qfd9bABTcQRJuPUubCquHV8kE1kcG
7F5ycgp0O2ZKJSZrNkW+XOQRyLhCso9pBx+NaQAgCCA+Iyx8oP7oggrYjaFTbZ1u2Eh98RT23Vb0
sFzJWHRxtkOTNbmSdUUqKsnP18skLmSTotGQ7+EK7tShvkVAyeuN7SDRCTefuoJN7gZhuosK76RJ
KzCMS1rVBVtIUgty0b5GhhEYFUGuTf0Lnn9Wpsi/s8u0NJ8tRWzkeOBe9Tj8EU6MqKMdBmk36b8X
C1pvJeYDJia/rp9xDC+EzXGx+r2mGyDu+MB5SiWCbIjelUfI6gtc76Z29iaC5Y3WD1S3b8a8eg0X
7YpJwa8b9dkyoMuin9uEuTDubQhcZQvn1lHdwqqfogR8S2QWD0OYXUqydezGVniWHjvBCBFr0SyC
USPdBfJ6WVD6b0PpORrM52nMCdqBLT5HPBSV3T8BP3vNmvI1aqNLFZ9u0maXGokZlNy8VP1OPlnF
hlmXgyIbnmpjcLzEJKsetpQV/1J0uMp2nF4q0pfmJeWDgdCWNV4funIO9fazuXJyQqyANcSWRLdd
UWGkSCWWe4XrTMuN0qYkeBDy2j9QF761jfT6Z5cVtFF4hb4YY9YDnb3MRK2g7bFQL7P8OxuRSQrW
nEKexbYio9orLOvINvBYNavk/xj28UEZnqqq9ea+OghiTaTp+xdn8MHyjLcPKYbJmnct3fw9Xlu2
NUlpXIsttpBvsZ3+gGJ9KTr9ThnqIC7DDabwGy0Rv8au3Hx+bP2Dna2NblvDG8Hy3zDPjq3Dzpgz
KnnkK9eqP2Vsn6lFEHSAsFbupydAca+V0Fz4Aa9JQtx0DejEpFbS/pxxcRNl7elPaouUyRwyJ8hj
A3OEPqKX1aObeTBfUznP/Mkg4s4oEDeTTRi2yn2u1uToqo6PfP7VlsStvOTakUDWG7QizUFvzYag
WxNeQ3TCv0YUnmTseZC2iRy6SCIDYlXnbY3nUpPInzagRpBGu3z1bHx0dTSVyYdJlJ7T2z71j5kU
LEI2Q6AV21YUJ3DVv8gzwesOzzVtqx9m3XwvjPoW891dNBNAH5kHaWUsxwD1xREWSwKCPX7OuWhf
7CQ+OjFDZilrUR+Qlbcyzh8npo+1ZnW9BS1cRUucsysS/WU6xsQoXo2RNn9xIT5YP9vAP5iAHa4G
feG/n1CtFaIfq6naSpG9X5Q8APS5sRztqx7cuk47fxeZUtn72wgx8Fj8fZwuduoe2nG1BTXuRX1y
rJTsPkvTW+iLh6KN7pdluOg1UE3Zol8Uzd5q1KOefTnDf/RGmuv6STbe5H7nKyg4oI42yRUMCiV/
y0hGxn+d6AejLa5n/JLIU0ly6Bi20+GLGu7b0vndRTBorK5bctO01nv/x73N7MamXq1U27QloTyO
pqNqItc0imBQlKtKx8bj5K+lVNzq4fjFwT/YwdgIC7DarwqLd92xfqahMYGw3eaGeS2lfeYhmF4L
5UcEfUdJt2612rxNY/nH5+PQhx8aOQMxwxCjWcWfPWHGSFtA0hWxhf3qKbr8kORhkBJdYCZEH1WI
h0HpI0Qj3wuCx+PnR3/rx59d8lW9aMNrVqlmy2elnoylSmuUsdg6o/FAEcx0EzFfUWm/HlZpMer2
ZzQX92Z760TfI7Xfoe7eGIvmzgYNJtS8IBp6rHOT5XXWS2vKmVfnreoP5PSNYZ0HU71cOyaZ7NpO
xI66aTXYFBAS97VQ1Y09tE+WzoJMx+JTGtZzTGHWpcBUuAYkgsVUPVztj8VUsjL5JZrlYQqdHdxV
4mChLbXNrZUZz07WPQnZwItiz6+3qiUxOF1pqwk9GVtwl0Va+RAgWElUMwO4OpTCk+BSDv19ZOl7
mfCPCde9yWJvgNtPd9ig6cQJlZPjaz0UwS78ZchakKC69Iekvv38LmgfPHxrtQ9RC9UX1Xqzfv7x
4Bu5bgpnChnULDDZBGM+tFAcNnEbN+4A/lcXSL6ltNgs2MWqES+myI19KgrymKT2qaNgR0a1fZRF
h9i9AXPdCRp+svHcLOV2kbrqYuXSRh3zidyvvubRuUqMZmda2RX7pZ+TWJeyQoU8Tycg0Z+jmQQU
sHxugTosn21vKHkklA6sg9VYX4zpH+12HOpdtq1R8dQQ3vz94neRkcRZI6qtlhTPPeGZmZ5irG3u
aVAADOroQSJ2k/X5h7AzmRqYeYPO+xQ3tBy1S7UxSbJYY8++uC3vB0MFoQdqFgedtsNu7O/TyhGu
qkh8GY8KixVvq132Ew96yPJ8bimEojR+rseIYCDoU67K01iO1YARemmDYiYRMdMujKJ6GEYarfNd
zLcvU3ubglswbbLaq55LKWf2Vm3HJ0Ja88MwdE+KSalgeqjRMHt6Dtn+80/1QQFjXe0hW6bCqzmM
KH9/KgQ2a2A0QV1Z020Lg+CsBFiYVyxYV5ok3WRj+mjmQO0HrrmSs4uOB54mlCCP8HkeEvihHkWF
Ly72B+OgopDNJztcbUQ253t3bMV159hjue2ps+VqSKgfCwpaNl4XKzz88j6q6F8THGnAnPzimqzT
61/DIMJ2G60qDUR9dTiudaY/XkCEVjH+86Ta2occ1okLLiPAND3KNN9j9h2duW9r41QY2n23Fgbs
8QvRwLtC1tkJnM27cMeUuJChb8HOAPomuYIQgnZi8C9C14yNfaaHX3zod0ubvw953vAiJzmPrTpj
AUxSW4rUKCuZcKv2i4X2ueGBdcTqxUU1zizD8HauHI/kwiRZkWvbhfXe1hmyppTLKvcHQ5qCQidF
K5we7dG4S7v5oUjSn92g43S1/LTeOtIYLHl1b+SJV0o3g148fXHrP7zyGC4UBFAqG4KzfYCKfNoE
dMvKK5cOtgRaFH02yoltC5krD6VATghthKa1wHJWCAqzyInQ1h5odIyzaqO3p6JsN077/MWJfXh/
sFwgt1fYomhng6JA0owIgFycGmZf2WvfRGdtlgT4w1TvdUIOBfE5peEpbXJXd/XeaVOyE75NZnbf
UBH94mze7VrXu/jH2ZxdJsKgEwIzOZsoocPssBA2pwsK6EEcHqrZ9DVTu6dScI2m8IAieBMn1a5O
xLb+wojwbqpcz0NXLCRhtKbQMv39pkZYa5cxI95isJ9j4BJ9q+06JagiQEyCmGxUS/TFP//w62d7
Nzr8cUzt72N2SllY4PhKTCuDN9iqaw69Pxo4WaX+/3mo8z05Wm5qV3a5hWVPA4q9QAjgZrhRv2yA
rdrfDz6VoSDcNRX9HcpD03uQhGgziANi9gKk46ewJpsO7Wn9k2STKyJpL0LmoAKoL3ktRf2S1PMx
k2K3BzdU5MWTPES/Josk8+WJxbVnpdGdNMzHtoO//fktUN/t+9b7jhaQQjdedMs+m4uLhoUeMuNy
i95gN6nk+5CAIpG9I1pMfgwicOK8wZSP8QpCtvYCXtIMilaBwi+68u21haF0nZbDY9R7Gu/UbCBw
Wnjr8zEmFlBKN1IYBlpPoa3vv5h1Pxxl/jj9s8cW6+TQqwWPkGnQO6Tc3HpmphyHodyVckb64fJ/
eU8YcXXNYEf1ro2ezrTh8jQstxVEz1UsLGw4NWF7gAZ5Qr7rF/QHqiz9arR/15BY7xNtYxqGOD7s
c0AMGbglUiM+aDKzXzPNgpAtH/bNaYG8XMHbztfltvGdAreX9PH+88fkgzd1fUQQcCs4rVGz/v2m
TvixJlEySkkwI/MuXOPQg6gpPUqCX8zYHx5KAYSDRkGx2UP9fahIrXDgpjHDc2uiLDPYL2q7uMUX
LVlf1d0/mApQpq++SVQRKg6Sv4+lU3yRu5CHf+6JiQSMz9ItxyZo+Ggu91rN3FpDO5cWryxnV9KL
Ux1D9QbAgr/Bus2H5ot6xVcndDZM9brQR3liFK4T0gRzk+m63SBivPn8dr6XQ6x7LYOiCJ1LOtTq
2Vo1Rw5nJgBAtwNZK66TFK5cwfdJ5OwysYw93dXKtamm22r1fSkuVRLJWpoiX5zFB8/06rvQcAZY
K/7obOxBmGUW4cz2JBrCU0MEUG4TZGo/NXPsTXV3yJCEz4ikI33clU761eGpAr0fqulq2WxG2B8p
lIn+vv8D2+tSStkfTm3BB1bRYpKAN0l0e+BcslxFSoPOVNlqhU4AFH8MlrprmZZFbewivb6TSCsb
mmSDae9REYSbNy0ND6FoR1wH+uooWHxJMXNXqfejqV51tX0FCs+HT4JeY4HHUee0OIuZzn2v7Qcr
vpfyyB8mKINOXe2g0Gwqh/ygVUHVzbdlZgWylpebSlMPitFcoV+6j+OJVZYNeSG9FL26tTr9mGjh
N0xAVFwZgolPa+siCaI+v7DDzHbLNUJPwYUB9GpTNMmdXiCajEV8iefuZ6GqD1NMbJoKtcaViDM3
J/lZpAA0qafMVYNQqrf3smgJM1Mfwhmhdj/btzNqxUDI5Wkc5wlVpKZto+kiT0tSUdr4Yhk7cYyj
3O37PD5wxX81Y4pMO74tSE1zpVlLdmR3yRf5Mv0m/U9Nf2iSEX8b6m+5gdt8rn9bZudsGN4qOIHN
NpbyF8L71t0M8dE6mt+mHFtEyVg6Bj0ow+KnlY3Ez1BSsQh53jSNdi1i3fa1vHmuJ3K/wH9AEq3t
AwCAvdEq0lUhVY9JOPHKq5SAsTn75qSULAqJgAyNzZyRy6A/Y9q51ZQo39Va+jRNI5mKFLpb9lmu
M7evC/u6NWhR8VPFmV08qpMX8kUP9a3jsvjtUr3Gpur87nrjte5vLIkMY2JmgA91g2vCpPKXSSfU
HJpFXSWG35Er2y/TbtDN5055AGFQ04nLt+GaFNDbzmUSog5ISETyxFjDAkHOxjPwXI4e6phXQAnT
RavJz05h3qesxMtZP/RS9Vtk4SXZez/zsH4mUmYerpsOlFhFxkeSPMXjXUxjiDxFDhclDm1Ea+Ya
WAcrVPY9CerFisbUCWwioKC9S03jLqn4i5zBcC6720QKL42k0H0hhidF0JnpE2JfSSLNPEInDgzA
6F5pjGsggCTBPXJCBHBkVzPC6hldduKUZuIu/GIhj5L+M7vGkV5UpMc3c63fZuGpM2W0sUB2/c5R
9tMoEwBedfpBph6DFB+KcHedNdkLe6V0Uyg8L3WBCEgegBblyVNoKCcZPnWOx9Z3shyxZkt7tONt
ickEjJEpynb8IlaR85AbnlTrxMaiRoi8pBwb6K+65hr0H4lQ1277kDCcgdQFB1ERMgqUKFL5aEpp
44psfOjK/npWCBybs7sykc2AuA1sgjz+o9N2rlHkcFiT8FR1pOdp002pEYKlm0/kUQxT5DY8UIYT
e2mFkWS0jKtRlC8kHg1rOOizIxO7ZWcvZVkdzDrOaMLLkb+U7X1latvOeOnzItDodyj1GvbYjxdv
GjQtpB1LwDQspHaVmGcvcVP21APQ9ivd+B2hP9L/uiDXuvk2RN8Fqlw3qqcdBKgDFdj7pL0BQ4XK
3bK9uIRWT7AHqqoiu5WcYWt2KzFWkS5Z3dJBzvMe3lB8BZTlYFkEB5IxcqElJFyynvDVWZ68Muyv
++ayMQu4A6BTqY3JPqP4ThR44hPERXah2RtwnlzqFFQNsXsXZJfBYJRDKptID2Tb2rSKjqm9uVZT
GLPDnbYz+1rzir49Qq4KVrZpkf/MpzHyJ7sgqmvZLk0kIyIn/MnKi2+RAa9ZsX3KKwr52vvYzk7V
yEusOMM1hEScsJV0ORo8QvXvaVAuePtKd6qZALC7Df8MHkDJflYMoGE0+4RUP/LfR4nh05XUZkAD
qD3TLNopCWOx1jyt4SfKM13YKxO6hKljrVVD5UHrpoxYNxDs8l1lt/lGsFW1HPOlceybghIH616N
EWbmxuDgsRKE/JnpsJED245+yFfJsfIF0kC3bYdrkbTOJpuT3STUJegs1RVJt45WDnTj7CkD7ewS
RjVshnbxRW+ypLed05AltLDXUWaa9BrgBahUnkWkErRbYVt0ln0P73L0bQC1FIMJMOuMiIByQhnT
2Isqvq8W1XGx+nknxukyUUgP18Boalr2EkWR4adtEyBqGLdjoVT8clhuUq+T2KQVTUDaWMoTys6p
6hSF7bkjH6REh1vhIP1iho4pL3XZxVxkUpDlBAjPWWRf9U5NXNzCCx7SL3fDLFZXJ2W9MSn9EziT
TEGtjSpldlzhzCoHOyQIt55fyV4gTKBAQVDMxrKzVTr4nYa9nYA8b7Z4s6i6UsofHtJQ/1FJOaBk
ZLuagTm/GGk0QvDpePwirh9u7ZciAvNr8h05Y5Fa8PJp4rflkHW+ejTk6aoawTQ504UoFSLjo+ae
AACUniUsZntOSG/R19fN7yfzIkvb61aZL9IqPalAhmWl/OYYcxEQFT64jUq0bjVfWIppByZMEhsH
oKsCIyJbCBYal4u3AE8I2TQkKQclbRiaIDdSpj8QrpvuUg0k5CB+yw4z0qAwICt9IJS+9zpV3edM
TkOoEnvEQx4xV7J0Tl4tCcFFTHJaoFUhE11Bx7bLfqLmj10aG8pG0dILc9AVF6RxvsMA5Y6CgPjR
UX5M2mQDfGt5pl/Qa8fYIRwSj9ocqRXRElvUFM+DRewJUGM4vEuo7cdkOSLVn0/mbDM5ytR5bULJ
VKa9oQFXGXcbLcVXmhecjJ1Zp5Efyqzsfp47ajuN/Tsukr2mxSx7Rli1yjrDBpE0+6XxUNnStTm2
oMPq2e1mDpypBLybFM8bTX4qypAcLES0vmVmV2bNK9Hn4pvcppk/a/LiLWP72HTEMOjFDqjzaQiL
BylhFAFbfFTG9i5qWVyRGxvMc+jno7EjzJq3aRmSTQN823Os9M7qq9eRl8WTjRkrPr2zbSGLijk+
CcqFgRVJyymU8pNlFPJh6Y9KGc+Hxtb3JZ0vzyid32YeezY3AvcDUcgdEo1mHu5iAAAI+7bYDZmo
9cLcyPnkKiyFV/kkgbOlQB6sSeShx9WrQ5R3vsKbi7lIvIn5XCfhj10n6Zxs1byM4PZ2EURY4VaE
DyxOi7JOI+YcBZCLfxfsVb1R62x/erVE15GbtAqRwizbEb5NWanODxg8lph73Sd7aWYSs5TFRPfU
e9DdnhrxkreZ5IVJpbmqOh2VnLz2taxeDfm1bmPcZcz9ro7ksIk1ZhVMxtEgRSBYiT1urA6sMsxv
ZlKQm7Xkv5x6EFRa4leor8Oml48dc5svovnaSFveTitX/QyTMk14iGtEYRE9nL5OLTyVUH41hBlf
5mVx0ZH2WSBfknGj7pc+oclF0zzNBczVziRCw3Z8wqDW/pfu0+3HoDt0LLv6S9pMvZl3awjjAks7
V/zJubd45xDRDAcYwOIyKdD+LC00CeQ8130VAhNjwdstmcPgVR4TlFCuk5UXZgwGubVeNSe8FQOh
aWb6Sx5bE7YGZdYonmCCmQenyQ5jMRxUYyQdK5LukTmk+FQQ9qFAx25/3exk/VoMr5IFQepYZAAR
fCPCDeWqvTtV17W4K8PHmTFV+6XxWoYOcJHqYXau4DtH5vOSta5VzG4qXtSpcS3VwHGW0f+LfNLK
SeSi+zj+CJMTdi9Tm/xywd67ELYTFRd2X+5nArsTK95HprXNZeKKiE/sEl+jUVe29pFZ/nIasQCx
k6kc69iq6kmayqtJvSe25SpXu4MZSvs4yba52YPNM66inKGuQzeBnoFU2mykTUccCJEIhqReKFp8
oeTKDj7TSVKkrcbDhiyArpG6V6TrHiYuNYGtxa6LGhMbY+uQqzP8GZfUhYNQnCO8skOlS1gGX5lO
2bZKG72xfIkZ1e5It6unQE+yjSB8XTKWoKkwoEGyKrR0x4IONYt5mwwY+8vOL1jnlEm3C+2JzYu+
6UkZcNqNqhi7bI5PYdTedc6t1devpE1hAdWuIiO67YaF9GCHnV/oadZwtJf8oNfxbWall4CD1m0P
GJLRm2k1ZoVx4czzDYXoUwf/y5WK0Vsk9V7ThmPfqL+crnsqneGWpc0FNkYxtBdaHO6LOEdOlXlO
0t/oZn2ko72JdfUyMSpPRPuOl8zIom+D0e5sjR2xad9kWn2Rqsb3kuhtyxaHSA+flqb4TgoM+TTR
vWRrjzKeTPW+aC8yjeI/HpRqng5hLO1y5sxQlR9w4xxkebxDkEJIM6sYJ4VLZr2CQto3hratCTcJ
K2nXtT2jpuGaM3yfyvYymxIkFfIwUV+EbJO1pQW9al/OzuLPSXQx9/FxSeJvVDCZyog4sa6miu02
iHxTkjZaQXjbYm+zWPNCXQRDgWFEW9yasXAykdfm1rEuaFtAObEtC1EJ7Ew8Vao1BDKgmMZgzKxz
T9Z/G+phDbRDjrGnsU0XMN3li7RVGr6L1afe6RtHl+7l3tNtEeAQQIi0OmcZrG0tGBUVUVJ9zARz
rwPOP7b160FYwK2CGqFKH0v7cRRI3KxNni8HEBb+NM93ukPrYtqGjgD1KLuqhe4KdxrgS9c2n6O6
3MrTdKg5dZLtg5ZgsBiTYYeOKgO6FyZYkS3JLykM0eT0DYmTHCNPH8CiqL1XMmnkVXRoLGsT2u2+
Y0Jo1kjIWGLh6DtJuVEa61JR0oMJckDVyn1aqccm22OPPgCn2bRSs6P3sw2t8kbTrLuFnXVjOPux
lXY2uTsGq7EuipjtUF3raTDi59TKfAeq9cpcI3iZbFEcGC7o5aBVsR0wihGW5NXCpCTQ7c2s35lN
6gmFwJZW28z4PsVM5UOJ/X449M6u7zsPgg4gQsZo6ae8/O4LSgBsKhC4e81obJCQBulSuY5VIFUG
MtjW/khJym7UnZnWGzlLA/lkx+s2VvK1UffpJ21h927J+VwOTcPGRhcH2gM4MyUfq507DC8xi4OM
43KhgwSGgowQoZPY14qnFm4zcoRg6aLAAC9Ji+aa37JRtX47QftfWafSWJxS/anlZQ+56YmsssSO
dnC0PJtCRUZKa8UZFQQrxRckUnjs2F01epptxS+sndWa20bA3GP5HBLzbneSV5DKV6k3eZ9Tkmml
vZ0AtlGLh3AIt32Ye0NHXx2yVJHPqBs6bgjjRly6emZ4qi15kj25eYrRkgXqUmsbUNFuStIxGSfU
ChIfe3ac3hlVtFk8cICHAfeoZMpB3QchrpGu3KaZ4ysLVz7J/FKobGJrwPhqIIVUjmb1J+6LoLT7
oClqrpm1Rcj1VBTNNazDmeK+TAorMChG0KYguwZDcA/kiV8MPSLzsfex3AGMUbVs1FiixeiAomKL
hUFLOBOC1ssQPbGs+HjR/N4pjza2CodjCSY9qTbdecq8pupYGhKxR9xWIqqNLeWbnodiqX08PaDn
VU9HhQgiLnyZNfIsRp3pjroeptRwvlHKn/YEbxBveQQKICQXIT0OmsOpkr3yhkS4wYKas1UdRrKe
fhUkYyezsWtKFkSwByMt8+WEvJBJ+FmhebLFBpSPhsrSLeMR4TNkUVzZeSYCnoKtLMrV8hVYiJsX
vfMjLdmotezZk34QrRRUMmEEU3OTtyVL5UFHpS/7MbGgE0LMrE5OWbR8S2p1qwI76fVha2TJnVIs
O23F4pvsGsT0tNjmFYnceyDNrhiJOUrbjYR8u9VZ2sJNzeRtrcgbWRb0NEEU9Ex4NMDCLtk2igVb
1qY7XvrKzBqJz2dWywks5M7UFIDEuFProF8KT0HuneuE33EUxSFAhQGUVeZJIe5Dhz/YOxmOdGi6
q2wbQXGYnZY6Csp53kyWBhllM8zjQQ5/T3Z/w9PJysLezCFk6kkELBX9YuTV7BN/sIwgYlwPhJ0E
0mB+M6QnbEkHpUh3QrX2bbOcAFUdC7p6Uc94r68GdsIPBlxJcGLLjZlSyVjqjRrXyKCzw9BUt+PE
rivLZMwPMMRm+zW3KBin0yVF5GNNooZCvFshTTtNT5Bu/xCxfZn1ox9TaY/CcJ/K5S4vSbNJUKqO
epCr3+IFE7hKEtYSOGN+UcvxUSzqkT3Oddoqe9smDL57LRChiKG4IpHoGwvdfUI5eoDiKzLeir7c
ha3fESATssbIrPoI+3IvUvnSfEnr8ZIMiE3EXDgKFAJTswmt+IpNtuxMLJbmTXwFmsMNB5LIL6jt
P7f1eLd0k9dh5yrbcdvreaC1daDby7bJdRS1gxcyUylphAbqRpp7d2RH3/ftdtCSQF3TwTqIxRgG
tWq8TGf27enY37SNaDbt2IjDv380mSzIjybKWqnqDfaz9pA4Ma239f/+/SvRXxOF/P/05bcvnP3I
26+Zy+W/f+GsyiPKov/5+9uX//25L7789o0WTuxKn809BbLh6ETZeHz7v3//OPs3ESa4h96+3HQU
HZS0Wfx/v0dfRqp0//79P/6es2/RoQTb2Kl2Z//+x+HOftU/R3r7x7efSfJa3s9I1f79p7f/++f7
qIN3VdQhpsiZ7cz4VOvGgzIa/dbIpe4E2v9bq+E6rkU2kWjY/Z6l4U4dqdB/3kz6qHO2ckEslcIK
88L69T+URgAbazAzyE1Gw9zbyhpgDfxHMv73/WYaoTIQCrT9mnYuXSMaSC7bimFgaPsDkAkWIbxD
mZuw95undmMoX8Fz3uvK1l4dXBmkNKuG2TqTMJEmNALv5JBj1G+caXTDEHJ3X9GYqbdxa3piMTcD
uSs2czPM2puksk9EvQbN8Lxo81ddsw96Zn+ezjkapiqakL0KFxr54lHUyE9r7EhZedmFYt+rFvWd
VW5NoWqgXWCjgBXt7vN7/UHT/69TOOsbknQnNcVIi3gc6ystvIrTJ3thcme0qlWMOFN3+PyAH/VL
CQW2VkAcWjq6pn8/XTJgBVXkXbUNmyJAge+a8gBTKn9MjXFjlctD0tOpXhr0fLGFuaG1GdpN6ysT
/wciHY6OscLWNYfTWe/NHw95yeq3LMGEbGU1cSgzsM+va+en3OSntC9vewMuqr18z+W4+uL1em+I
1GRo66swSMXbIjtnT+Es2iGZGjri+ZQHvdH9F3tn0hy3lWXhv+LoPRSYh0UvGkDOmUwOIilyg6Ao
CfM849f3B9qyyRSttKo31REVLleELDKRAB4e3rv3nO+sZMGawWkSScu65POaIHwZmxkxxeuaML5Y
6UVbik06Z3NdpBuLm2kCPl1TxIFxfdlmKi6rDBVtGke21wRndBpzp/xEW/Tq+0riSYe7EDIeYINL
ZdTmZpace6Z6Rrv1jlJh1oEwKiwLssDpoPAnQNzgNfKVNja7TGcHfKEIqqvRa/n58HtHo4PtElug
hJoZNO6JKiDVCX31emYAM67ovoA2itWrnI5hWfs7VvZnxB7vHg5SH9ly9ObNU0nQxLq+ilU0k8C1
4G0exjwjC/WWvZOPmvHnp/bONbRknORQplQVsf7JtF2FyTTKAY9yPrFgmzx29omtwZTU1KufH+md
AWHJqCXRI0qz9eTkSEOSTWLBg7EaQsAIKQ0fuTE//t+OcaIn8OUBUJSFTCbCGZfQB8Bidmb+nb/m
ybjmNJDhaDhneAudTAEYvliYdUK2aizxzoSI3xXqOiDE8cwD/+6NQRwxu5R0QA4nl6ujJTaIOsfJ
jOmuS6PPvFXIUk0WgET+pVP661AnV81Q/a4keZ01a2IK9hR3bm+aH0vSOP6Vu/PXceZx/2r2FPpR
GYySUxJV7Uo0lCuBnM0zl+3dUaaBJlPAJVmafHLZ2lEnfM6bhVKGt2g9eY0388wh3r0zuPoslCsG
k8+JaKkwRxNxBqdR9hNlxNH1Mm0pjc/s5c68Z9953SDaxi8EdVLjlE7mULGzsoQJAq3blHwLxs6d
MHCrwQ6EZkpeVlmn+8k6Z9p49/QM5MwK6iTpB1mzVHmJznjIYMwVN+VEm3c2ZynJIuq6M96k9w6F
JUuBDsL1NF7Y3K8GxJjIQHhinYE3WYTvUiPwJRSO0PsAAZ9Rdr2zZrHmJRzQRQPwj3H63PZNolm5
mK365C5tpZ1t+tfG5F/G/hlR23sThMryylC12Qv7w/pMqnLdB1iMQDHdZ4PwnLMtTo3wjL/qvcPg
bgJ+i8uVe3UyNuiSpKZPS2alGNAV88EpK9/RlXNU8fdU7tAgsHCJGosvTLVvH9oyG5jsMo5T17MF
h8oix9K9mzzpL3CGQJJKdr4YLj2qp3pNjnysf2XH3qnKSm7TtVliWJeMXa91LhyUM4/ii3/hdDa2
yBx4kYMC/T2ZUqa6mUwvYbC2FJUnEIB+sRAgaxqFthSo2qHYhDyooSzSaXVA26ofyMi2hUijL4+A
KHHixrTVMrUn2VqROe2yvt62kWoPir/N2OYLRryukAvMxU5TLZY/nxJ/dIcoLOVencDJwpZwFc2s
Z7yV32FVYWFLz1JeqfKXQcEopMgzTWChytWZ1/58XX64bhr+T1HBY4uu9e1dFeS01fOSJ08JTNuc
qLaB1xBoNg/5NwN19s/P8r2xyvrpz6PN88Cr5zwdgTsVEUdTW5lHGztta9hc/58f5f1zUijrskjG
AH0yUrMgbmpz4FIO2mjP9KhBDFa+uofr4OS6cWbovTd3AeT482gn80mHGigqco6mad9G2ryGMq40
4S6Qz5zV+9cOB488W0fBzLy9dl5HPyMtKCiZ5JAK2ZVo5bAZyn/pbP46yslzlHSTSAKjnKE4fMAB
aRMsCP9RW0jq//F0TsY7Ib1hNyocqEMybRKoJj9opXxmvL07EjC4KRRWxDlS9e0146Vtdszx84Km
Xgn9N0WHaiPQG5QG1GPWmQn/3ZHw19FOWUyYR8K27jmar9aLwSeTG63yaMqMcvPMbXr/xFgP4OpB
OHw6GPRSLBRRH5nulIc2gLFxH9zNz1JqnrMuvjvs5pXHH0c6GRBAFE2xo8O7Gg3ZDfutmbcuUs0z
5/PupYMzyXqalzIAlrc3qs6U0MtaRkOTX83vF1goC6W8C8iu+fnc8P6BSCnjXQkA/VQ/76ujkekG
b//E790iNynk0ZgNWE2lZ7YgP94i2M4SNYLZ9olE4WRmrSM2dNAdspUnGMsZmF0D/m6wSnpuZWS/
vEDkYNDHyItRXgDIb69fJxeB1MpMrPPB0MrcdUmxCqTgQoiDVars5XqXwdH9+bX8cWhwUEp9OplY
MiiLkxkpnqwEQxT+2zyeFqJxD0T2Iq37M8/wOyUfDqPxdtJF1sBstd6emyWh/jRSbplhD1qzSHPE
VQCow0dxj9bDszYDS4yY/pKR1GfKTe+eIWUCQBFz9urLV3v1viphipH5y2PWCDP+Ge88br20Hxb/
woXUOQjmTBMny8lc2Ku54PuIL1a+h7KKltdEF0gA+vvzw7x7Jed0JgI6qJn+kFcSx7JneV3Cy15u
UPHQ5hOwuE/XeXXIlJXYBe5E3cz4Jt7n5a+f4hwgyVRFzRZ37slNjOQ8iYNoTFkMgxbPhT13Gt5u
dmYKfvFLvF3P4B6gJa4CAsdTeLrtEydVqMPYTFeln4qIpFSHOE6atkN+FEQ0CJifDuo0FWsKlx1Y
IipialgH6FkQhsuRjNYXH3kTTs+hgkc/No+K1dwnNdelVs9ZmH6cjPiyrDwt5LVQGk9r2H7WJWFj
qemqjeRr9UrVCpeC/aXshWf2PD9uhmeyhyLTyVdnz9LJ9EpnN1ESQ0khJc9hcRonHAramTf6j5tU
SSMGh38JLldZTr59ThszwsbRTOlKtkae0vux1NBtPKYiitWxJCC3WGRq9vnnY3r+0JP7/eagJ2dG
uQU5ISIb9uAA82EfKFqPQhTRBtsQqwzdKq8ffn7IdyZ2PIU8q4xn+P2nxBQ0faLc6R2HLCqHLI+V
p02rIKO5GtJ2J3Lt54eT5uXq6SnKKu8RHT4LhaCT5exo1UFfiWm66qfUriVjib7EFqFQa1O5wLTq
GIQnjOO6HQ14xOf2fe+d7eujy2/vaqsXMYl9GfBupXeKEB1+N5CR2do+doo41X+fJ/6Iprn8/bxO
knJO/vjPgnP+NhXnTdgO2Tr87/9BcA439e9zc/6naj8/vY7N4af/SM3RrQ9s2l7KXDIzuj6Hff2R
mmOIH0QdkS6TocoahE37X7E58gcQxJQkwAsx+5gad/V7bI78YTZgUYjhHTHzerRfic05nROolCMy
p3KNtYWPeuGCvHqBetiP0rQoDLeu/WtmJif19dtaLNbg5FZwyDzNuu9l6/7V1fljDP2WtellHmZN
/d//dTrdnRz1tCRS9lptKEZmuAG2BhztRd6dWRicO8LJM0nPi0hiPcfBH6F7K3cEv/zi4urlHBQ4
0Tz28ytTefvcjX08inXDOQCVJX0b8OdQrUxMbD+/VKevoNPDzCf66gapY990rcJhRjiB1XArOXc5
epafH+R0Dvn9ILh0CXGixXBqmbXMQbeSnoMU7VpK19H0PKa9HbtedKaOCCPrZLL8/VBQS0249YT4
nVTDxCiCcWQlhitH0YpAb5smmp0C/W/h7llZtc9lJmksf566BOZDpYWOWOkkwrPgP4sxvQiUh1gC
8H8HeeQ2Zb3s5U/Ypt1WSZfq1HxsBn9XGvsmOyQjjPhhJQxfDQlrGbIYo7Wt3LLh3tpGjDWVTOZM
KPdCVTqhEG6CKVmCjnVJoE1gLBSkA1nfxkpF1F+7gjogxujRUedPfTHdaLAI69QjJ4Hcj7pdivqX
DmJVPH3qE8H29mXTLIkcXWsjkkelWyrFp4IoiF6E7TsGrphqixRzUYgurbEuh/RKNb91KFDDUkVN
fCC5b993swpOcTquRy4F69QknshzBjXBbxOv4ka1yYnZZpPq9EjKKjN3VUVYj4HuVO2NwlI/TKJt
xErOq7/k2Z2ikdKq2CXZy32hOpFmcEaWLY6VHVXPskSIxaHVL5vx0Y93E5sucukXoiC4MvJmHbRi
exODiAntqXBb7QbS8soSfd1W9NBlUWerjcZlwhKjSruGne4o3TR4sHLxE9olR8Eby6PYa88asnky
JOwoa3k5O6NarAfjUc1xL94O0Se6DqsCZXwcrns/wKxD9ASWNrM5qlVkQ2bfSJK/b0Da4LnS43qR
VM/FWiGOMJaxmgnPOlupGllUHOWzVwfsLDhVhOWYbtwqyRZR+qmTjHUvGJd5hO0uqZ764Ur3KTIm
THuGcpshuzA6kdsFCa+RlWsl1rdBgXauQKXcTgwqaRmm+NxI0FAIWEceNn8h5pkdfgi85rqbyl8r
6ba2RibVLX5EMbzw425b++FCET5WEejXCtCHgD44cNVsL+DrKdLctUSiRsWdWClflWBwK5B2kdLu
BO5cZsponotVW64DQVsRS7+WhhDhp4amENdmNu7kASJnVDnE/G7bboISkcyRVtcSuLZGbD/Ce9yl
3aqr7uQULZze3Yh+uwtJcq969RLp6FJAwhy39XGAg8bo3AJvcjJTWMhduVXNHtBItzYlEGFougYe
DhUg/djcQ3MiCfWLX00rDR279FmLhqPoqTyxB6wyLOOXHoQky9wnmuf4CaUDReF2qskaDyLrQDO0
417YB0QZexDXMRUii0bC1x4KzcLyaHJnalcrIHmV4YOCbUqUwosqQVDYCsQBoNITPHWRMrgEI3Bn
UUFs9Vsd873h5qOPgjVelFnu4I+xi8nYqZNHObmnIhhucMBhyRCoIiMXyMarQfhmBO1GijHMDqYH
H9G/A/fAHRci+VCaw6M8tM0+j4XlKEmLupUf+yzbh1jIzFSyheQmR72Y74oAuoy+m+IrU+W57naQ
545pqHKKwYr1q50D/ZLwEHSgykAjU9ZGC92R/IjOvu8al/MipAmbUslDm15RsUAbuSwseLV8SmAm
W2W4mW8DYFUt/tzCEY2LyYmDZmc0/rU1iMu8lMiPIAhp6fdwIFEfRuGh85Qzr6p337nwnL5P7Sfv
XJKkFB95p+Eq9ZqI8cD8fe/4S0vP99eLb5aU/2zh+Xfhj/O3+TML8t8ks/HVy/yHyMb/wdzht0+/
PWVffrOfqs/tlzcLUdaN3xei0gfWoSQqICCgt0Yt48+FqC5/IEeY7h6FFOAZL2iT7/mNxgdqzRLJ
bCwUqfDMpY/vC1H9A3064kDQ2cwrR5avv5DfaJ2OHrp9IgxUWAtz5UNSTtZTbRSYKWZDpOKrcdVv
o/24TfbZ3jgWe+soHOOL4DK9SC9y/ikvvO2093fDJtwZ63Sdb/OttmsPLBPc+pAcy0N5wDZ7EC6Y
eQ7NLjxUu2qnboq1t+Sftb8ZtuGGluw23wcX5b7eRxftvt1nF/0eO4M97oVtv+k3yXpYFVt9nW3V
XbJtDvIOVt2hOITH7OAfvYt2Fx2CAyDBnbLJd+Pq1X38B4tkLggVGZWlvgKkVzbnldSrlV8ykE3s
5/LAAnNyYzla9tm5xeU71/zNIU4qApIyjJEycghDUOxew5NsnpND/SDKm0/j5SSMmQJDv+ftaXi0
EEIlJBJKC+ujmH2Jm3Q7136dAA2WTsSUFj6lMYs6q0Sb1182Vus2YQpA8DmwMgb7n9uyf3JNwYCp
yNNAptBeJrPt7ZfJR08mOyeeXL/XD00Sb7DEnNFOnJYkeSIoRFqGpklzV+MltfvVbYOgoPeVJ2Mw
SMmcghoswBqDFn+uVvjDvZsr5CD05kQY9pWnxEK5CcI2tZTezaMMqX15zJruPmj8dSLFBM2qjlDg
5cYj3qXa1uh9YOHeTVWLt0qcnSm4SD9g7+dpQGFFr0HGotV9WiD1SvRRSczDi1PtSwar02zKG03J
LlXMh5N44ffYdfxQvYhj7YtuNavRaqjpRawk1fSyMay7xAhvvbFZNZmy1TxlGxtLdRhYgfpVYUcj
/5dl6jILfHiH2LoB5O+SNFoqtQDHKDOHhWWB+SliIJJiNxcK3dHD8mT41h3RD2SdRWZK0j2+XGl4
5OvYuTh9Ij+dl29Z34x6v+FRvChVb2eZV9WcKhQNOdncGvlyyDjZLqiYP3FSymBthEr55plGapfC
9NgG4+cGby3Ybr5vpA7cAc0uxX4TN1tV9x+EpL4JjOomzDo6xV589COYBDiCB2xkbSt/8WMuRJbL
2zLY+WmWOCgG8RI2x0CoHqbcqB1/JCIRHeAIAZ2ykvKFcr+0QD1Dp5sWYx8P7HK7EQ6L0V6ApmhJ
gqrtrFVBJkvhMor4L/DRCW8hxRbf/nSNvc9Oph4MqcHvCgO2DNOxhBpWFaY80iJR5CuZmNsg8Z9Z
N7o5WELH09UrWLCi2RROXKYNWFy86jqbJSj6cEsrsGG9epMF7Y2Vhrd5l/NRlbpTU2jpU0uM3NSe
mSZ/fN5kaqfUNOGWKrw8TuYXeQiMHIbg4A5C+aCNMdvCBKFxcWaMv8jFXlf56BG9Oc5cSXn1XFd+
nAFDmI+ThRsrjZ5IxMLOrV/mbbhuy2hTmxV6n2BNN2RfN/BKmWashB5wkQHhfgDiKXXFNWSUyzEt
2ALGT5bO4k0LNz+f404rBi9fFKkJ6Uk8j4hR337RnFC4tBHjwY1EwhJ9bIKTeDtYue0Ty/DzQ703
ByGtIrxZpJRvKvNXeXVNaNubBZtPLPxwUOsGg0R/jgeNbpsPOb3wAAzQ8NJeQst7sjDIpznZTCAO
cn6BKGZ1bKzqOtSwErXWzSA2O6CwBx+KyjAj4ucT7vtoE/Yl4Iry2q+SpUEC/MQ1Zxa7HbwKtKWh
Xdbdo2a0yybxbuZv75XGggDDtR8I11P6qHvJk0Y+PBc4Zus44uNXXdPq533vlEPamrA2AqgNLdnR
1eSjnJXHtKx24jTtU6nYGXl9hMq+JEwTw7mEaZkAzv4eHMS1T/RUCqYj8JKvBcZHbwzWWRI/4V/e
igm494psnxELQGW5Xlrvch7SofY3YqdCOk6WIltiHky3xX1dDUjNsnYX5zemEjhyNnP0+FkljZ8K
JVhlIzsc434amWwlczUQ4zRzef1RcAcjfPbCyZWNlNgLNtuNHji6WDjwBq5zn+JJuAn1aDVfcVEp
F1Eh3U5NuBH9Hrda6a9VWVj5M5yyvbZ68bbT9RhUfCMTwscue1Qvq1i/HPBNs2VYT1az87WAADfr
kFrhiuCT67hPt+FYHT0JR3uG015u6mPp+0sATBij0k9hfjTCZdFBPDbLh0lo2URW6qItsfHNuYFY
xOFsaOkjBQQ3FcpFJ8zDkLbjiGfWKh+T8QJ5MxBVLcbFlj1Mo7+h7GBNXJm6PA4sqOAPrpkin+fR
W6fFkXhlR+j36LN2Ymw5zDiXeY7rpuzva2N0/Vq+1X1KLrL03NfTIUS9MpcFwuguTTVoI8KNnKc4
1LT23hsodpim45fmYYClQkzndSKCJOmDazDxgog1MhMOluRv4li1iT5daMRptJhgw8r/yHv6aZ7T
YA5e9mVwqK8IQLRa61i3zU4oaBg3qPmr+mjmXI+o6NxbqQ83+MV3XMilFSVOOY77ThP3gZY6otLs
gASvwfpsFKm4jkLisKMEP1H+sYl7V6f+BU3xYz3TnPIs2WaFfxEr3CppsDtZ2epdp9meT+hA2N6X
FWHRT80YbGSmdFuqhIqItMjtWn8n4F3zPeNSz5XbRJ32GXdSKB7HZsJsod5GPqamyPgSx4RK1uxP
XdJBPDHgzSNpRBrzHYROWTQEz9qjROpJknND4y3eWY2Lo62lRCdcsgydkbJd0vf3koAHdUJkn5iM
gXFNYu3NPMeilHmUze6rCWUoD5uX2RnIs12lOTSk7kosBkI/mmqnm+GmMK2bqR/hvPXL+e4LMbne
XrJNJew4GFe+hgXz/iDu2068jaRu25ebsu8up24PPMYWGYzQqDCWA2Ah3nJX4e1t0M34Q/7FqD+p
avIUe8210FmVMz9LY3ljgTMJCdsj920xxNqlXvP2YBzCmEGpV91XTXuf52ijO3YiPNUa0dAsmYMN
jo4Hxcq2prJufLzbk7RXAvUStPOuaPt9hFO1sb28eIBYL8DfAEEujcW1XyNO8p5K9bYprs1QPWSB
MjpkcoVOxKrcCpt7nYVrJyRUjjoMpthZhwCYQGKlD2qcLeefMCpx7yXxlkWRa8jEgTbRav4NvR/3
gQS53k+3VZ5v8fjsiMaiIpIsR7PcaVxT2afeomdrIUYsoOifpUqDA8GSVKiORpU8W12z66vPRZ6u
SeV+ebMOYboF6HBUDe/QZc294BuObhVuHZLDrq+8QL5rBGmve+Q0tol1OX9F1fA/+qwCSosSSxSs
K7U8GnL0tcvrHVFYjijxlNXRiuSlo+p5h56La7dM60pFjZgnlHi9vcbzgPftaDF4Ev+PJfN/ahkf
x+Lrf//XM8vDphqvAWLk2ZvGGKuRPzdsPxQz5gLG05e8Pv2NP0oYmvVhzj3DbyEhh2R3zBrsj14a
f0V/XmcPgr1ExtnGKuJ7CUP5oCjaXNhAfKqzo+a3vpcwlA/zn7GM8Hs0I9AA/UIJg089WaogZ7D4
V2VPhpqNFdjb9RDxXkUwiRqL7txyE/+py811q+jrtlLIclYWZNy3dj45AgxF8FAO3C6oGOJK1qLP
uYQVb0il54w0KDoV8pqZyR3gNalpu8Tk69MKMJcFL55h2HVTQw1Tz4+Fduen+leBA0b9QCDgKNhB
E3yNNfGTTiqLEri+YERO3opPauzfoj1aCg3gA6hCkGfJQItJJprDr5SD4GduMyULaYQMP3Rw0MnK
RXYxtu3CItjNhzeS8n6OtXurMReJkC7LeoDrUjmzIrUPErehtNtRTTUSV7CGy6lJbFXLl32c7FJd
XoieuJiIriHE1gXRRUK6sQQusqgGg+a1X24k8bobrvPexlJutHsyMRyQNouw5efk+EGod30k7LQ8
vTBwbDdRvNIKvqypL1Ua7wXxVMh43ZKlSFTCbO/wByvxauZKKFl+w59tXTWWTaQviGvKQ1CLbAnz
wbiPq26Fc/pzmSfcDvFYg4+s1p6cHAtF+jqa7Sc1Fa9iNo4ZyNo+iK/K7jHvEV+aMAOs6BjC9NH5
a4TyEdi8mgmzdWqVBNIwlisyjlXFgVdl57z7bLiDjfEtqkOSqgJbicw9vJbrGmJEOBf4U6e2kInl
4qXvjUu5UreBTByIMWeT5TfzmZrqs4ANPCWLIAHM5IGuApixVBVvK03ewqjSC3aAkIxGkCRFE9pa
bMyOIZy20kPUk8xeNrfzObeZfl97w9Kq0g341msFaaRZbXS9RW80LNvcWIri8JQVzX5G+FXSRu4I
XzWbYVd6tISkLNpmaCvSMd6V3XQEn7ZKxugub0dKOSb7ZW9dG+n1JNTouv0lO6fjOIV3Qp+4KURD
cXSkjt5ONCyHKl3p4p1WXpZ0F1JTu5lwKw8G5BT9RmOgFcKF6t3WPiiegMy8Nr1QG21FF8duihwW
pvdYDnS/zGsV5iYtFDoYAMHkfj2kPS/KhAWe5bYSK3NTtw283fPwnI+hio1rJhZryGaR4/wfc0gH
WOcDwChxhSYd6VHwufCPQyW6MawsoZS3aQdisMWo56tbgbD5Crt7nsVOT+pjn30spm4VcdIeGE+q
9MdJAAMVhbtgvNKC/KDMo2kwF6HUuWqUrrF8LT3fo5bBfcJdzRrlAC5iZ5i+j2c2vKpkwHdV6D1m
mkYdwFqNzTdw/Te5Je59+qeExCzZ3W8rwDON9jAqktsKjV1lGC2BxWcCOdzXnRCwEKRyoI/HmE2D
hNDKEz5hJDmwi3GpAlb+djSCKzWDQRV0eKGTnWQMO0XxdjGy/bQJnNjSV22RQMXo1lNiAgs09p1Y
PILi1tToKiSPt8mhoMXjrsLvTtwBb3ABjB8B91myGwth+L1//Z+36Zm36ayc//u36cVT91TXT79t
6oTuwOt36vx7f7xTDe0DL0YEKhRFJSR5sybxuz6Fv8LPNicmkP09S03+eqeaiFDIU0CaMid54K36
651qfkBTNRs96DX8qjxF+lFchRwBLSTCKohLfJG5BPGqxFBTb9OknvlA6IHpNp8LfZ0XF1Z+lbH/
0/ZBfUwLEgCFbTu66riYOrqicWu3YuJ2OvnyyUXcfdaltRXvDdip8NR4uVjiaCfZlY8XUAy+NP0F
ahG2bCsRAp7APlI2noToSqWl3vgAeR8NdduNLnm7mbYl7bJS1sm3Ij2U4SNwoko9Jv6hEFeKBOkL
mWZry+YdYj57/m/NxeTNYb6pnQ87k917fvT1dT/sBOkTNLuaRmdW3erqsdY2SrQw06uuOYrIFeKZ
0RRSPXs0p2ff3Hohegg6wP0aG6uaHJTqlo4uUlfRf+zTQ50u8uGrkn2u2wtDotn8SSluJ/2yVIn1
c2t9S8mjhMpjsTelnQtVJyQD82YKFbuwtjQOX0baLz2R/6wR97c/9W/YiWN9+JPnzc3TMAufn7Lf
rr8W7eckfH79zM2/+70VxyMiY6dDxEXatmnwN98fOZmnEX3xe504i3YbrSA066ga50rYX4+c8UFT
EdTy+FLuI1Tpl5axgBKYDt6U3BBS62jPTLRAs2nNOqnrCUqthR3o34UhteVGzOI7K/S2gdp0ez6N
8oTMhslKqWLXukpsS0zhOyNFYBtrubhQISpoAfDaLK7VaypMVS5fUlaAjAKkavSAMMgiAgb40Vck
hS7xy0fLIVUu46LwXK1VLWes42+aNc4MnEmjq98W+wY2kK6RB6U3irDKWYSs2wRqC2EcsJLafttJ
lb+ZMIQVqdisfD/pwTj3e3NoioXXdaITJGBDdCvA4zbqIysWQMpezvcqGkBb7cRnw5kzkC5M1aJt
eP9rUVmtJT/4LCLLJquAjFAmU47nCZ5TDOZ6KuFU6XLXO0pbZNtGnKAnVeaDUQgFnDPzXqeLt8h6
KEZ6PlqLApayHeaInkNSNaJxSmy/yHr35VMpoZtuBnjJASLOxNTry2rskwWljFsIvZ8D1DiXcP5Y
fFuh63dHrQZEGdTGZWpBOYvFdSzGt4Lh149EItpeKT36SV4hQS2Q/3MTJ4mKcCx5R7Jxt3IChi3r
oWQMVc6EYhRgqKYHCRAXNE/Z6eRMdwwwZK7ciwe2GnBrRfm+B9IIBl92BBZZrqEnSA1QlTlZI+SQ
lUgHUAU/ogg/1stygtM0TRdVaCkb0PlUYEuhc3OpWSlgnPa1PvkrL4825JVLTmBFLbRYNVy17bVW
ttUiFfytVRiXRhCStGjEhmMgpvFRJOpxDlKM6csaigc5a6O1JxXbMTWlj+Sp5uXHIlPlRVpL8w1v
AelW1TprYX0GtBYdIYEK1cadtbAaI4E811Moz8zPit/nh1oI96REFLbce8NWGuR9XAWOogOqkjNN
2cBSBqNqDSbkcMoZPfIcp/bqcDHQOzVMIL1CXHDu410agPL0kax7Gtu+Wh8/VUlxMCCC7NpaRjxm
5Karqn2zqljjiYO/D/uI8LVOrd206sAr9d4x8wk/0axskZs9S+W6sRbTBONzrPNg0Y6BuaxoNrgx
jTU40srDOMmqY2V65egCI/XlAg1Sn+8sRNBDqRZcYk4cEto3GQYgIClI09gaD/2MzyzhaatatM8s
lDka99RWdX66HZ0wgFc2ilrJdb97uWK1XOxaSyNUfr6SLclEdtZIAl0tK10FRmY6UcQVF5ZTDXAp
FgUag3LmdNIwrnSTON0S6RMIgGodtMRc06wNWZxP1qKmTDbIJUi5LPwWt4m6GXTjWE7FV6Ekb6fR
qnwXhEWCOi3kbRuQ/Ts/lD5zldO3+TMFQwZSVy2HhnFX+96zaBbNBkJ0WhMyl4vAaUeT7O9uiiAw
oWIiwhoB2wA32qdNY4RDuZr/jt45ArnA6OEsyASsTqWJINAI0e5A7VQmNl2DD9kv8torwzPHhRqw
h08ztd6YJcA0Vr312gt0hHkDdVRhprz4eb+/U40iXElohEQ/N/C3Mv6GQiJwVos614eOCxfduAkT
xkelSR/TmV1TVnW+yOPM8WXkRkNcrf3JTcfG3Dbz9dfNgslDBE3s96y1GUKNwbMtzqM1EyPIr/NA
zRB+GcO4MD1YwIPXSE4DKH0EyewoXSH8Ph9kQV2yD1Fl9+Xx0Md604zmFygmpVtP9WPPeRGHVtSX
2KsQKMKi2060FKsMqRkRXhQkzfEyEeMjre+MjqfWLuUkengZDkWVXTeyj2Siyxx1rGJH0Ad/Effc
xfm7oin8NgHDffm6UyzdNrkE+VKzhuuWPaw9yHBz5J67o+vUjasq4n2jKJu5tzn42uJlwI8dV8RK
oku2KSGJtkyTTPvBQqiRAetqai0EAUJojfPP0kNgZUcr7S66gIcry4qaTx0gus2XVWqycKXq47Ul
EDrxct/K0LQY6aYtR5KLrn8lWMGwTnP9ugWYuaEzfRDn4yt5sA+1pl/EwPMc3vn7CYY2WbnG3cuV
yOg49RS8w54CiWJ6KtCAafPyJYwYhSY+YziIjSEtmpbFrgSfaikMrNfSsV2+zB1wGrh8Xb6JUst3
DatY1wnMPXSxcPz6QlkaQbLL09mHOsgDGrUcwhkKMD8dxq0/yJOD7aVyCyXvFpXVLRkVdOnh7B5L
XXiKkIYuXsaWQK9YyqHNNbUkYUzxJbfnudtpESObqVQeEZP6uLl/f+JBxIcrPWc+AKALTRSX3yZK
EndQRFax1Bd0DYZfKdHOSYb5171x1ZhSsADOUbnR5GurFPCN26bcCZW2Ox79JVFQ5VrDOR+k/IpP
/spCMfm6BdWndUoWDhB5CksviwamCYCBkblSeqGEzCcfxxLbXdNGLehHZIpJOSoLzYIe63U1RSvD
ekySLltY2TC4Cv3qpqhMdJgYAieNMjlbk01jamD9S3bzXlqW+NY54vwUNdS3qJKvMkugfFFm5L9M
krr2aRbJMU0mqNyz0NWDCMs8nUrSo5cl9zKUO7eagm+9R7JJHxprBkhvt3HKbFcDmevEZUOYps0U
BP0PVHmuMRH6keS5KvWStpwcvCjKxvD8L1MJ67OXx8GlK6xQ6m89xJzLnBKDH5fteiKxbME8CnQU
LEnRx5ODBPN5SJPCmYwS2TQJDLnwv+yd2XLcxramnwgODInppi+qUAOLZJGUKInSDYKkRMzzjKfv
b5WPoyXax+odfdMd0RHb27JEVQGJxMo1/EOxBMM6gJvoseX0rfsVf/qganBd5e3cRagjYNeiu4fB
Turr1MQB1QfxGk0Rgppe+dlr1I/EQKcysskMotplo9lfoimLbyc1TrjpAvRfwvxQyyNwyhsrwl/M
9W7wiGr3ri2uLQ4qynLEjXIOZMupBgfh+0t837rWAI6SF0Uw1G2owo/FBDghB+RJ23X+4BB5Q1jX
hanVR7gV7lXhIepQMW8ymYHGTfbaWSMCz/X6OUNg4KF0/I9l7yA7GJMW2CazBCtngpGTGqwlUq64
r28u/4mtx5HZ7tUwF8315XdQvkwOaWIF+VAVVwy0/K2u0WLkAP6snNS5WiWi1jE6k1M40vPCJ0Pv
0w/l6GL2Eu/Xdp4PBt1Z/j4t2t4CHBtp9Gg5L9WQblt3/BEtNetQc7DN2MqkUQ8iBBhFYM7W3dwR
N9KWVs9GTT5xGpdaTxGp/BaD+c5yzkzsJwDTPIhGMjc9/qEJmlkQRRvNLr2gG/XuMKX5S1Rxqtm1
qLbW1UkrvE/eqviG5ENndj5jX7DTmjZ/rVvGemQjmHViy3HMk/H18luVtvdXZW7NGtnKhmsYPZXc
MERmfhQvh7blbxjyMka4mXQSLkY/rfFs+RYj0HU9+dNVZKlvaRJdt6Y2HjU3f/ARa99eDvV8n/t1
dKh0jBbAqCxQEoHdlDVU6suTyLR83ptm9uTIIeqVKfeq7iOU8YFgd8c60ortOrjOzs/oOqVNWewX
EDB4llGAuBbkQmdS19rSnTxxWIXA2wejDVTocm+dVXDPRhaTnBaHormporW4ap0rY5Rvi7QnpwAw
XZr3Myf/xtL6YRf3trOtOG02mpGFn11/nj+kvfHZ8/G1WCa8O7ETmhktqggnkwGxQC8zzm2mLXgv
1N/tCuMBbE7Idc1lG0YxAOgel4i1cYtTbY77PrMQGUx9xl30cKnFJG1pHAA+eY4OuI4793ZZgny1
5w8LDrEJUCjsLHnDRwlqvIrJNenm1J4tPVUH354eJ4Cf27ohrco9NEL1/mvWt08OmfA1vqMfl9BN
90Y0HrSBckhXNK+TbEDJD9H/o474ZZjP8xYCiY+pQkwiOxaB600JjvSklC7eLJolivkR6sJUN86W
kSL5fDsh0IehzgY1RwzZcknRyWgY8ASXTeOl7UOyhli4FCsQb7n4AlF2I4zboyvFVKSZ9xGeA8dU
q2/yES1TNdQfxxIpXMuw0ZuuCU8DNmwTqT/OxHUAUoRRfcS2jrstrkbDVYarCZTEzMJIQJ8OwN6P
yBP7uwUQ366lu0L5UF07FQZKm3vLhabtTPP32k9JbE0XY8SeGDnbWX0K8QZmN2obnDX8k1WnMKET
27sZVqujbsms/VTXEQ1UrUS1tQavndMYiinqzsXSnC0zao+jk/g3mV22D2i1b9YZbSyk8/pbB1eO
gFCyHVBMuOmb+amshnvbLVBAnsn7cKKBeDLyyrHl3Bs9H56rTkeBt0TeGBrOxx5PhH1VdRNZSfEl
smZePK8CpDQnTFY5K2qn5KZn49SGjrbtXOB6l7MZjw5tr9WNwPFpGzm1E7QTrgxAYZCibr51szMf
sDQd6CIJZaIv3jLccLY6VTcGK0W7xxQjOZj1jPI/1gh1QTIwmj264gDxo8LNdmqJXi6hZmqxwPL6
/lR1vHZ9oSEhP9vapq1a6jMgKv3I8NpQCF077gRDTR3cAvn5Il7vL9ESWyx2uTa0N+WItGXBc4T6
djuSvHMkjDd5043M23BtgmFMeWKOkHxMPabvHQ9BbozDvtVJYfXp65L2iKo6C1DCasqv2rRCBMNw
qPDGlYfoga6nBki3ak3f7ChZT/ggINWfDMfKQhxajYjtJq7xGeRMstHTNfsQ+8b9uACTSDw+Na9J
WwaNFCK3KHjcmZA0vI2Gn5JjNIiJV7uiZZ9eNmud1lhnJxqBEmHvebC87aXQvLxbQ+6tmzIxna1N
9D9O6wx/gT1rF1H/AeuxlNfMlCx20bVbtDWAKgBYjBNJFH37ZOeWjvXWDLliKfeNh43A5ewYNS7Q
II605FyNv/xYx4YRo4nzkpfmtz1s4g1ho9m0dYrdzmLsOQSYD9j5WzlQl60AO/deDQIzjB+sNfdv
LDTYAnPEGYCBQ2twQY6XMy3hWuNs3dOwYYDRciJDdtkV86gf0uYjFh9vyJq3R9WvT/1aA1nomKnY
7a7xpw9piqR82kXWoWjJ9PLM2YVzpK582gmV195nSoddIwdXO3oZBhzqrUYNKW3AA02hpx3W2vw0
+qTnWWt0m4WmDwpXA0L7HMSpg3hoPVNnkS7vmogtSFY/Ajek59IGYcs4M1upzkZaz21Wyshx5bx1
24dhoq07l+qxUzRRUptuWdci1lJrHe4c3l3iTt0OjGtRkb/LaXyJbgNgDN1IXQyAKD/cOduYOCls
bZv8xV45ET23sp+dDqz01Hfun1EyQd7U9BAYLTX7+0pFU5Y8HnGCNBKmV5cXK2zKjZ0zYZ1Ip1kv
ZomWFYWB0VX5VRov2EgFl4hqjObdyA1s/8xy3NS/yTuYdb61/vlbbnfW0BAAteuW+8zI7jppPrQr
b6lW04eXvgi9iBGzE8vYAhu5QuSbHLN+GVaySrTT4eT0Dh7wiIWT6kzPlyWpOrp8GWy9kDc9wmkn
UE/xQo4FSg7VvSCu1ccI6HEg2wEt5VcUfsEhDcMxXYjEfh4DU6MkvESK1h2eTazXOEjvL30WjgFi
Gx1Frya5i8fyy1S3Bm2ffjcQnOh4LPP93KXVUcMur7Gd58QxwdwiRBZovfVyedcoyRTq2/iORW/+
pIVXOr00o7Zefb95W5fuE5t0r5qITsmsvw6lG8GP8uju4Q2Sm4WN1874rEyMV3O9DuYo+zrTDkg4
nYaiehtinSlhke1m8DrYvnQbwIfZ1kx2alr3boElhpY1WeAus7+1GwYTTKEBzZXtVRJOT9k+qUKk
/L28DEArf4oZd3bzY++Xn+e1LLZuX7+ZTnsA3EjFpNDCm04Q2B7mYpwPlUtvpKDbWc6cIsOcHw1h
mPp5X59jrftESXVrNoMGgNzAIq+3Z2oR2ph5x1CPywv3QCJyurghk+yMcUPShgPDQcjwVVMgJc57
tOZJGxBqvvYD5oqNn3Lgl99tw9CQ88ZR3aAfpHnalZ7geFNZMOW8ut1NiIob9mId3bb/bhoMsdf5
sYsxlYwN/wMdP9q96Sd31T7XVnaEUbxXTn4bhiDB8MC78abhuV2Kj5jeHdMEVBg3byX4LVoZZQ6d
iQJIwXaxk8AHronjezPtmtH/mC65gkkPaLwo+y3een1g4ixKAZPstemxj3uL2bf+OuUI19vWng0b
pECGtgBT3U091Psh+6RbnxqrP8VW+2DrChLjCuot6ej0ej9S1BTBgHlfVYMbVN4+hSY6+VmyHiub
PiLGCnzHQ1rW91OCRoaxfsnGlYxbw7yuR0AAxwC9xW7VXIzXtrduWk0tu0RPv3ldgnz82JyrFpum
2E6OkQHEONbOZcR9KeAHZZTyhjknM0502loAGKbGfaGQ3cU+sd9eHt3JwV+l/BAtOfJSen819utZ
kTyAIXDIWsBcIqYbpjAPpuQ0uOPXKO4Pa+M88HZ+Npr6UxMDfkdp6fOZimXnxP2PotYeCsgluxGZ
OuC31W3jMBIrupi35NNckqi5A3/S4CHUG/5xjKcfIHlp47UN3Q00FNbwS9voIwATJwWeCOo8S5w3
OmTXZmw9GYk3XqUoy88Nm3JoqzsfVCRzvvqBNPMhSiZQm+4rjpsbyvQT2fCtwZpN9dEod42dfrCa
Id74hHVHoweBQdK597E4auIqMPBHp2lK0u1bVmAqdW+6MyLy3fchMg9JlT/WVvLc6tNdWNkGeRC7
oRxxVyl6XKtyPIIW+z6ReEuDrCEp6rdTyFYc6wqwJsTaJVNrMOcDxDmrQwlPxzXR7lHmS6szHMse
YzO8CaPGv+oHLIzpjIFgnMyDF+NAYTQv1tSl+97MwbrlJC4UF90ojovJdCN2NNWdiSfvVdmvr5xv
oxhbPNp62+3Ss8Kk6hCabnrAL6FnLRD6z0oKyHQO+jhar/IRPf8pwQ2oG5hiNnB8bZCfyIGuYBHU
DDdiATNgP6286hvD63XGMxQDqrRaBv+zt53Ei8RvnD2ON8+qLTdJMzcPGMrdUezbRBKLFNGrIb/C
7Z6G3jhMc29uZxQ1g6HEeARVC/rHYJ2ib/ps2DetBY4gt8ojaKR+V57NfCiCVvF9s8rIwerx7Efd
/Wx5c1AwMHUECYHw5xeajnuiZhqEg3uoTQ8wqzX6dzr6tnjrgm3AvCunaRVDFFbAKT8bhXftDbhF
tSra1WOabXHnS4Kmjp89qKQ3a4QbkpM+RDytTzUF5j0u11fl3Lh7uGzxtW6W3+DVUq7mOGb0Mw+o
0xxQ6NpTHcLOtbuJZkuSfWzZu/jZfLj8hzG7zHTbfNr5y/DRyLDeczUuIE5y7Us75uTWkZPueg/7
LCOswy9Yswycrp8rYzhCv6E/iMULJyXMhDGFhbSoQ+f3pHUqye+AHH1NV4Km29ZBFPpfVF2T20BR
Cjs4pP2PzPJizkAI50UT38FoUYQb60iQFnqIO3P6QIEdrNeY+pcNoLzopmu8p9DysKDs8mt/cRNa
eoWxQ+RlJrJuKx+0Te+RXVp2YMz1vQb8fYOqhHWYltzbrkb/nBuxfazGNw7Icj8q5gRTkeOLx1Rg
06EfdeV4a4d6JkOhBY2FyziKzDTQdKE+S2NeE2dSM6Hjkevw4xe86WKGLNOl+9imb10MRAp2dxrj
MXWZ2lwmWLwg/k6hsVRnJTOTITsYMhhbqM77JMn/TMCNlBwt8hx8gDq0nWWGtPhVspmg5jvivzjR
uTbku6eCcgzPPWOwb+rl3I7sUa+1ObHA7m4LfbZg+4vTDF2i7WDSG5n1ztjXsX4V0hrxJXsNDYg1
mLk8JXvdzResf6pnFLQpbew1vS2R/9VgEe0L7xuqhtjptKNxrqQNmkQ57jBO/Fqaxe8sqAUi8m4m
bDF4Zl5NV5HZ9XsxMb8pmylKqCAvbfpCTuyw1H6sM7g3y9HwRnYfSx/0/KUhUdiYpOYIMNPZYkte
8sn2YrQmzcGFKWnd4bhpgbVekSfQk7m86vEdTfEeNA1HduvEvLfJ6b/kVJr+t6pZqBZ0MOD9EH3S
YzoKPw3r/4EbaAgx5meiCVLRpukJEsZAmwIe9juoyeI5VPxQHS6Vb9MOmLi4VIiGxURi+jHIPEVp
0kPpHjwgfROZhnR2cxD+DG3TKftQjPbHzgT/pGjla139m0u03xNu4DnpPn1dSNZI8XoXHt5PaJhi
ZAa1OGa1u4xH4toyD1V7r6+DfjJLCzsdTuKIunwbDku1Hx2XKrRlKpMOlv/5UgtUBA/68tEJMUQo
a3nPUYZ7zJZM461ifnX2HnW6UsfUq++z8DulOk9Aa745unOyMekg52FIYmIeU2SAZvR5ionRGMBN
eZGhdLQ8q1m518UUxoGRpfa169DYt+0rf3SruzV5vUzRFiRAtl7jeUHirXpwbU+EeGXN9yALUrQB
OLsvkxeWeaviLP2To/kfoVMe/1F56Gf29//4b6Epv/zU/0NMcv9f8WKH9kf5/Ct9XP7CX6AV4w/U
XFCgRccYvLQvCnH/hVpxjD88nbnbZVeCyhZ9/7/A1+YfiMmiSCzEW0GX/YRaMf5AStoGY+LDlAVs
8h/xx/8GFAMnZiG+RaOe/+dq3mFWvAmv1NJo00BPQzLANljJBm3KHQ4WI1bHMEVMBgyZ4z+6DJd+
Ezusd7FDvh3dXM+CJerYyFf/GjsM9KpH5LfTwGG+JV871TrzCNqVFhPdjNLQ7vZVTq9M6AQKn11T
3ybGn6grtlv0o/qHEPY+gslVIEfEQgMUwgLh3VUspWEX6zinzNy6HWXYppCSJ58OtQ1Kl5uvSuM3
IenCZ/45asp3usx5HeXi9QLx+dc7r2vDSeaRAZSYs3a4wSeeLoCIHfgD6eFvxxg1nLrbldFriHtg
09w0yLL4CT7Fw0DmxmMpk5OWnUybDqh2b43Pdr9uZ4FCsFDeOgZNjv/SRwsxnZLZa1F2e1lCABqb
3zzGi0XM+7vxeYoWXVGytfcqBF6p+mr2e5JEaz3Lio2UCEZ86vpXp1NHebqR1e1MYznkNKEyA+fi
HpenBptl56XVjW0L8AXQ82aBx94ujNNoK5vuEKAbBwlZ1EFATXHTRlXemjwatRQntwGQb6NsTXqD
5pF8r9yo/NNhQi4fuaIEGfqYL2JjGpvgS5oWvuJ9NwOrtrBLa18m6GrLCF2Zn55yFi6hnz59wGYV
AZ4hwNnws5e/RkOD/w7bI9L6fZG2G7kmWU03069hSp9TgDeWPR9gee3lEcqfywWB+NzI8+ute7vi
P211LHkQHbeYTf1eFQiO20MwuuWzXOs6zIeWa9TG+65lq1/wV3++FkmlMavwsTmF+YQsqIBe2nT4
MPJKsA3KAV2AbgiM/kV3ufG6D2QfJJTCQIRO+tDt5V2Wn5Z1loVI2epj22MoQrrfsMuHoLFYy4gv
dtud367bZiCn6IGSs34zrmny0Q4+ijEdO340V8t1kjF5AROFFmLJU9BhkuInvC8K2ct8OL/2mULG
/j0SlEGFs53V7XU6xy3b0+ztM3Y7B3nvQbbsmzG7lUuUnSGXLw4HkTdRe8PXruLxsi9k3UncdoPk
taxx28NpqKfDzONr5xdZtDlVxxTjCpMmNy0Z6Kf2ceU+9JLb5z4vi6Z0hEHPBoPof38f/qbWKS83
wvVIFaMzQGiVgPNTvjFw6ucI1PA6sPX02NhKaJOXuXOwx136fcuyavRsFpadhWF2u1EzbDsejMko
rVnh7akXCXadQLy4oX+/QoEn/5K0/XmFyGaaLvbvhL9fr3DJvJDJO+FH9xvQNchwcZULD8DgGFiM
+2Xi+ZQ0lWSr8Jxqv/3dIv1D1FUEMgfdB8VavSco10tZ2zYDn8slSISQ2NbRCi4+tOGL3XX7wbqX
x7skL/I2/nUsVOt9vdDtYybB+pD4UUccK7j0fvZZtpGbcGg1IOtIkvQtMK/9v6/dRSLiXbBTDsKm
oiUIzPNva1c7fau5qKjpS37rRA8Ol9K4y0HCkul0uzhsA1wBqqHfO/QLQnnORA6DnUgjQ4KdBAeb
d3XlNe7ygS6G8CBGDE7bXRQfLW06IC1ylHd25SgwK/so73ENezuyHPw5iYMT+lXWV5rs15lhn+fa
OrZIeknojEAHAXvGY+c2mu5Lgti/L8DfMn42zy8L8O7sil3g4lgLptw1SA/R2mV7t4QDOVrkSWbm
QEdI3yJGfZgJ6CjXB5PsqALsDKtFBMY+e5/hcv2bS/uHfQ2fB/MaC+w7ApFSCfz05mFygLcpwhCX
o1zCOdwhjtV1W7OR5UEllMepDsmdX8NxOpmuOv77NYDhf/9qcQlCj6MZYiMT+eslRPGktGFO0kD2
gnytvOwS8wc/ORUde1xTR2X9TnTXvgi0vtuXksExcWVyaCqdnPHne09CP8mh42LQmucnnyAbK9r1
8z2rnVJyLQj4a0t+muP5kLs6BpHDXpKdiqDtdH9uSgk+NsdRs8wHN0shRd1bdX6aCuO+WHbmquE9
wIiTlGVpxqBW7NPCPnK2FeuLya6tfTaxJC0cwX62HGC4b2UZ2pZTiE0RNny2LAebclb+ZvRxtFMv
0TzfFP6j4p234FRnBG5lZrdywkkwN02fzum67fRm4yvg0km/69LiViNRXBpStWgH2ULKK5CynPGZ
eQ9yBgLOEOj2ei3rDVoAVAxpRJie5BYktLr+BDLjteZek3Q5GJwo8s4upnWU7HcQy1FtvlY9f5UU
NOW4bonf42hwjNP3j15dtGJ066O8uu7SB+400WMA7sRbL3mLqeW3OW7JkgfU2oehyfdjZx8bfrzu
9OvMJBdgIeS2JeIXzQBeS7+XVAee124MUtwucbVUX6MGsJCubWS3DgucP0CeL5IXO9wDBO+j4m2D
9bfRSBIqWFXY03ZrTtucCCjZFet/OSmJhnDwtzYHc4Hbs9ynpCHypuQc2HKPtk9WQ2YlV20C8nQb
CIPz4XJ0uds+x5sYVFbE/GK1j5JXdRrpGgGOBfnraUmaI5mRcptLplRzrOc9+4y9xVh269/JA5Cd
IRebkA7KB8mVSGLENDuQXA/A27ECI7+UQJ5oK0fRR/mCjjinFqKLNjLM46znea4TG5hDQq+Wg6Rb
uE+Clzirb00KTZKnJmknejgbr/S3is+8pCdcjZx9Dh8mUVpWa7amx8QhbLE7hzk7iTCGrIhcnyQn
MzlHOPf7lHwPPFcOvN4dSKPIL2QLyGuRVN1O/p3rvGjcyjjNB2tVZ5+9meg69sbgAn2OW225HuyF
VgTPMAIqRpom+V+1drsx4WsLHgZQxfV1bexjrpM1mhPtQ1SZp/Qk36Jy3Lo7ICx6cZsww1kT+2wN
q6SONyMDLGswaL6u1wh3HOXfcpMayBu5Odn2cshK5ilvgjzjylw+9FytbGBJBEykOEYTkisbU2HU
C+kuSVMEHTmXiCKS78qNL4a5LeMXuR9eZsmAZQvLssgb6xJb2BryEtvOQ5HP2yharvuFzR+OB0l7
6pVEk+NDkrbEHQ4LIOgKIA0HBrug56YlYmezD5bJeRqn8VHygbqPT06xoJr4amJPXI2UOEQAySYH
7sHQMWvkQ910OixzeiuVpPx6tNJTq1+xuMeZNmBNTjkv8a3cbuG4B7Cwrrtc+8SJlNOrwmc0d9OT
Conb4YuKXqQmlM9dWkLDmN6uCn/z+VvKHpav9JR5pBsDvand4+q889wimAL5EzTRWb1+LzFQQpJ8
rKTZKt75lr3zPMIPmank0XL9ktyghbrzmuTyY/QIn3q6mXFYb20nOsnPyBJJ4osiuUjnODl1BxvO
Cj0wUt2+YM875Edyj1IPSASQWkC+Klp9UKIU2OplJu2TvEH+WF5S+WY5HiXNRl0D4AO1Si2vig04
6LykqBo5nBO8ESZ/ZFHC8CnVap/lC+VTZH2kiiAZ56yiC+7dOB7ihvpWDgTZ11KMXnLLab2OFXSD
priVBcHuazMu7rkx0tvURxCy/cTU9SChfGHHGTY+3bEOEwUImnqREMU4/Zl8MXbY2ji7STolxQOH
Hn2CcIKhihwqLTd+Q5ZXdiXnlcQQqQsUr7bUOcN6rcP5HuDnyvORsByySrK4o9kCO1vuY6f/AKu1
cPK9rPvks8+gtMm2xGZ7LxWnLKy23JkrtWqUbMzqxhsOJShVaSZYa3qSdK3PFanax2pOSbqTU0/0
lE1zqYB4aPL85eF17uGvsyPPKIoICPJwZtIoyQmlXB2y7DSH2UnimyyF/IwsslxKDo92e6vz1KWK
lrPeGCh7Rkogr93yW61PNce2dJMpuBqUdZQAIlWARDr5BimXwNPiiZWdZP3L/hVhFCQvpkPOP7KV
L4nT/28v/oaOKjyx/56Ouqe9+BpDpHr+/gMGRv3jZ3ac/NX/1WjkfKLP6Nq6TxteaKc/NxpdhhBI
Wxm4koqI5F+NRucP4AKoqOOfYduuY5DL/6XyYP/h0RBzxVWDBiS2tP+JyoPiyn5NiyG+Ora4xsGM
w6LmXXaardPo6Ans8Xb2H8e+uQ1rQLxlspznsrxnJyacyXG81fTAztoXbejRpDMLAXRad6ZataMN
+wln+W9LqgS0BaXNiPNd3xYoqC3kAHZlXZAuKZx8n2M9Y+zq94CIGlUxGYqYK2S+t9PMmoQOE57V
qzeWad+NNYhEu+hu56ICbJSUN1OT36mGxo7rfod8hOIwKlGq6ICT1/bVENu/87EQCY73q4M8hw+D
3kSJw39fDK8WbH5IjD0iyYy+tIrB4xye8tm6diOkacMBwOccqweqnpesQxLDAhJUFTBdS1NnUlwn
XzJEgRiugF5btU0x2w9VC88vMaHWPDtmaEE/tO/iuJ2uyZ0Pi/LmQzElpH4powOv/uKVYCT8Ut1V
BjKSU/9khs5V4VYCPMAoJvERDXoqc2/c2GbJPFmjAHXXrZU4H43ReohrnkhiwU7omZxYg3dOlfaE
UuYmHs0H4IOY8GL5RvhESW+pbvD7pUf0Gk3LbaLHd2N8Z1tJhKC2t/P1RA8KHZgg3IuNHxYWVEXB
uPdIMrbaESlhLllD8tmPYW0xK11rMryJY2RePXj7ydusFCpM9kNoI5Wjq69iMBnWGSI2Y/W1y9sD
oLSb2Hfv+9Z/1Grwx/701e2rmyzunvyugQ7gM/z01IM92wfcVRh/xx/itbxJYwMMRfOxG6eHwe5g
Q4Xlxpt5PkY1wz92/S+Jz8V2qAzaTcxh7QJWWJfJD5ZRelH7JB2/FHrDetQ+WaqLnbMFo7IFKFrL
rzskNSK1kPJWJngE7VsS98d84VDXx+htcJLvcbIZqk4oCw7QA8cyyHqcT0WfppvVKD7JRtHC8qY3
FI27Yl8t6KNVOpmcMcFlTmE7NsBMV2AFXmTyCUq3aDBbO8ONP1cd3c3BWTOk5c/pwgXZiwtmSmdw
m6D4dfnOIQ+/k7nfpPmS7exJvSGVkWlOtTVsWBahxnsEp+3jsoQvYWxFUBDSmzlTZaDPJL+rive2
WT8NnPpobSR7p7cf+mk/zq5+dEt2ydzAcsC2b9lXq/EZfaigLIbxasmRddJWaF0Y34iwy5hAtZnH
owP4oHa/GQYy7nYJ4tKrfe3KbdlQIwBhhP2Ma91u72PM4zfcvA5hisgyF9o58r2jaZJMYyVtBK3F
cN5c2nAPuRKva389uiOU9zjPKA06iIftOQt5USLepm2JNHtblPXeMZts6wCjrfpKD5IuO3dOluz7
fj1qiJwwW7ACDLUQJ/egJgLxyovxbvT0h8qJUWD0viITucsaWIBx/Oagv6dx6GqF9hTD9NiUrvnJ
ZYm6AnoFg9Q4yQAg2mRj+Qh4bIW06gz+di2BEnITatOSwdqRYAi6kcx8GW8RYHuw7XNdgFlsJZlz
8ru8KOYTDdFbuG1fkqpllDjOBMoyR7i/hfHla6LOGb2FkfWsgDU485wF+eieLzjgBtW4Qb3mIoAX
elm2aYr4R2qnn630zWr8cu+MDrmK4V0bVK5uGr1p3gT404awWKr5Tnlq2LQ5CvXMl7OdDyWk88cd
GjFnu+yvEXxBe9FmnI9kz2QBt2yL5Fi3DlJn4wepeS19ioKGl/fAeuCHRJ0TN58WI37Ll603YIig
LzCCl3KAU6HabOOaGmooC7V7Vzx7GRjTtXAZxbvmNvrkATq4tkPjwVlaEI6F2MKAXq5t8NlxC813
hexxqMPreWKZiyR54wWQYNOdaidp0DQprpqu40hzrCawOjhI9jxuz3GTajvCLhJ7VF55bn9vxt7f
4z9Hcdh2m9RjxxhuGgCODoOwbqx9bkSHTBHbvdX5Hq4J+do67YG6QwNFdGajKO2c5TsVAYqa7tc5
TqpNrCUvMRezcY72sOjUqIRjA9IxIGV2q1CElpJIBdCr3GA8BiLJJcoBcJvZQTCo85bQbSQfVyv8
0drqoW0BOs7NU+zfMKdU23hBJVqDcgQ75kHLUbdDMIL4ZHRMYFaEehJEUfuOAJogF79I3ZBr2Rbc
BVB0J2HLDyypO/aPdBI8NotJVATemPTRncLGaWvr8W80hdXfuoFI7pIOiZywx+n6Xliqr+exshVp
flZ9N53qnKPONvr53qyXu6WwHg1rOCaoKEaRe8Qo/K4vsIvX071G2OLQaZrx2IflR7B5NZZLXRjj
MIBAaMpKpNMWUqw2FUEzO1+1Vl0lprHRiU+xra4geeql8ViFFgIVP/S0vE2U/hhxMNk6CrZYpt0V
uv5dhdoZNeTXn/LD+z87fj/bxPy9Pyu3LRMIBoxgMt7DHYx5aLIk5rbJZTZpNYLIf5SW86SHFHbQ
060FbVuGL6ChmxomLdgSb4TJ5PN6eD7aPajVIKdpleVvWseXPOaXHqVcmqccwcQoHOjetY6dOW2j
vE+5tBk8n4+n/TDt7elpaO6z9ru35thBoKZl0zK3rR0+BFx0vvWtZI9Nbd+0L00231mFeS6sgTct
/wqMB+6j2mGQcs3/TKjiI7U6LfJjAw6vP0LY2il8RNB7upNOUdtUJ1MnpVMTfXjshaPPntkdOmu5
SfX8vk3qqzi1TiOwpRA6MNnR3ojLE2aoRxhhDcJLgBP3gFoCVSs63vqHxoi3tnfOOGK0eY9eIu+G
OywHKtzQeWiTAoZD/iF2vQMIT2xOk91EBof48gYwWqAW7fsAweLf94D7HncEOEDHhB5ZC3HXBnjw
azM4H0O/i4qqC5rUyQ8u3dO2W6Zjq8GpBwd6nTdDskc5HkCyGr92ur3LaFpDNMo4ko34qR9UEaTF
N6VDP2o4SEq6nSLbVKzVzmjWvYo6qDrqC7BDpkZxXqFYNsJ/5kheDZSTEIq0nKiAUZUTa6z0ruqy
2yYkfSxHQhsQ8pfKMDfpmDQbJMz87ew7V10WPuoN8KcK6mZUk0INFtx4kLrPVvdZFcZXLUWnGvHS
ZAvTZwqf3Kr+MemjxWBkeWpc5E29nvQgtG+nKdbA8iT0PFrMPc16uNH54jwP9xCO6m1emKismS3Z
jqplaJ0GJduG4XT9mzj093mg7HofxSZKL0d3lTysn6YSqerh9BhIwWmjfUODCvakdTXj+AFck66i
txHh6sI+I+INaecUx8Wht1VQRuR9c3suBhWMhXO0QmoZgI2d0f9mZvE3F2y2C5ZMTHVMSkCTuubX
KzTzBUnqwugCxFQeioJDobbKtwzgr3jHmCY0DYZUXxp93qwZA5/e/BQvHqwERBrw7pm/5xOesHO8
z1Hajhfzxqqr5/+8PfC/By36P8Eo/V8on4PL+k8v/9/UH/+rQXD73PaAk5vhlwbB5e/+1SHQ/3AF
AufhE4HeIuCTnzsEYPgQrvGYCIPOc/mjvzoE6g/P0zniTWWamACIeuNfHQKFZhX60nQImIXSjbf+
kw6BITCbX88GTIYd5HiYnFl84bs96Nt9jlBzWAZmMm++cSKHSBag3jbO36qFJimt82pcNj+t1T8c
lnL5f/tWsFlMJIAiyWDz152f1WlhaKgcB87/5O5MmtvG1i37VypqjgzgoB/UhCTYkxIlyqI1QUi2
hb7v8evfOsq4cW1lvnTdqlHVKDOdsggCB6f5vr3Xdp+76ckWD1pOcTGh0pq8gHIbqJyRcKTnTyU+
ZwAhhfL9FGflRoWCUXl+xOsR4uo0fjTZk4YBJHp0saz4rBaLyt5OzbUjhsasnipOhxAanPAr8OTf
9PM/+pqf7x2PlvxGCroE3Om/fotaV6dwcPG85/BN8vI2uWw6HW2tqMeEgqKvqaBbg3uHGkg5OJ45
f8GltxzBmrDUtjjMKmzbpfvV9tut5RRrBXZ/z5lCpluG2T6EYkuseWW9ifjVjEhiSsZdZbOM6KwO
JV5HqjVMs/ilXic8x6H/kLxh/sOo91xQkTYyw9O7wfvnZ/fXoglflqAMhiBQUepav37pqEnNICPk
nbKtjtCFFHQXWXlASqf9PrAnznx7STrU+p8/Vchx+Olec4dJ3wabqtJO/jRiQnOM/KjTc6QtVB0i
dir0m9yt4ReAjqmsc6BVun2W2WxY4nVeBTsX+L/CebFxFdpfcqP1feiuOQR842hT88oQ4FtnYaPQ
b15NShhumf8fjHOumrcb/Ss42M8y3XropxlkXI4jah00gddqxcpPd4Q0LUbrvXFdMBXIkMJLM+6z
PFtYPlkY0bNe3Ax6irX62iMH0Sw6cPcRBexuwvfx1AaYL7wQzxVq9GWBJwAO3GKCz9rUV1u/RnQZ
lLI+SELwPz+Fv1mxuFr2kLYsKdraZ41N34bjaKdazmlY4JKo16hXcCcZqwGIU16YCzfE65GwaxTW
jpLLkUW0Ub6P+bNWjTSV1rWpbucS+OQ4/G41/ZuZ7Jdr+zQwh8IaOrWZGZjiOoeQDGrFm1UNtISD
ownrbX1qE2dFMvFvnvJf5ZzaL3flc1Z7w2WFfsBT1nkGYAswGUaLVsXDhuUAECb3Rs8GTOUE9tjW
bzadf1UVffr0T/scCEF12jZ8elJGntvQtc/uRf5IJBsggdek7xcNoDFonJ5dRV6mhb+5APHXIjNf
X0cz60LaoDrzaRpsmybM1JIbr7d4GEjlUBxkHr7sL9EpwrFQZJxu2gXOqVXpZytdQY5GNa21X0BP
4ITFcHin8XZwfSubhp0e3eAewEMALkHlDseRwKP6m6H8N0sQV02BnSAnW4gPYcdP28O+A3GkQGtZ
xSnRjLG7Rum5OSlqtcopksYUkbJMeKE9kWTYwYV6gem1mHzMiMwnv7kWeYc+T27EKQsTXRPslM9l
+q53Me1Nbb6KKETgnlh1wxN7cfDlIMgjEhXWaXxTEFeV0sx754/h717sv5teXYOYVsfWqYR/1gST
S50PwcTRM+GN9RNrQxrKKvLrc9iHu3I+4sO5r8Pk0TWLU+5nRyUELgm9WYMH54dSxrEunfDbb+6L
+Jv74lKIYoHFsI686de1plLypBx0jKKZiXY1HHZ1C8S/rPGamCerrtalVhzEZC2o1+Akry5GbP3m
GPG3L/dP1/BxzPhpnAQ9fUyqkWyQRLAvjXAhuCsgzJ6bIN/2U3fHgWuZQVvpkquS97+b1f4Ug38a
HOyQwC+yjgiHzeCvN4Gwjylwe3DX5ehyWAL1ADwCwjb62SNZOAcr1NZ9nUFLbjcZ9SJ5mIzmYB2M
+rEipYiq2sm106/RoK19kn1GY2fUuJYFHJSZ5solkACpAD4EmyfL/YEdw7PsdoNvYq3jV5P/i5DG
DeWkVTvhfYbgn8fAuSBdOJOxcpn2ZQnYmR9GQMlmEuxKjX5BlW07jqI227xlzblWRcna9clWc9Jt
bxMiNJjs0Jxdjl6idvS9MYf3GLJ2hW2gzRNr+VlVD8YZ6EEVwCIo/OPYZduy97dwRdYRWTW64Xu1
8OGKYrRsVOINxbJVs21DtojlPPrgpSdEKraPciFStlprLjIyGCvNQKXTbvqGTFD2XIa2xhr9EFnG
quwVr7XFwUQVaDnJalJ+9Ea95G/sNY24WUDghrbTnIACf4skSV/JexWGR619VpPvpQXoeojJ56Rs
zK9XZmsXDOpaLQUqgQx1Urb0iXvxxcvY6kuCSwhU5LmIF9QKVANAKRBnHyy0IV4Kbj6cDM+hBNkE
z9N4qsMXSSTPEm0dT9mWCnVHVZzOJOm3L5WGeNqYUbsoXpa2+NtBgtGUH1r4XJNYAogBfc6ynSDK
IcWhUbNDMNMmCAc8gP3OMmOgNMZK9uOmKfvqDydXZSORERhqL934eRp2WlCdk8JYtUO+dJmj/RwV
c1nBJhRrDv24fGV2UwY2hmthbqfZ4Mm72js8AJNmo7RLmmIxpIsIcngPIo4uOYEq3xNKPdHO/kKJ
Cs14caKP9HUomisNzsUIv2lMxsOpLMyjr2bUMRqM9OjuVVgm7ERmMnqLiXtn3UYac91sbTD8LPVv
5kOX2hSCb1oX8aUf/AjmY4LMQEerqtb08dhMosExtQAqY7/POm0dwIXs2QoKZ0AfctaI5PQnhrd2
sHt7W8QLMlexuaOp0hjYFJ+q4t5N7i3r6ojKC8pHN8B6S9sgy1kKI2iKCd0eKeJpF0I7FLkKw2MX
0jeViyElxUUx3edUc4ey4cZdCYBdjgyVmj12SLVYs7OdI8JtACkyc5cEui4EREfbeqiHG8FKEC+k
WxChD9XEpObMgK4sB3UTYtAdyfwxxOC1eenp7BLbMPbMVlu3VHlign6qNl/0+ryw81s1gbDZwI4j
7hYYVOMua1N4Svhqq/lyJFWo/GB5PDUO9LVWp0/qr2cAxWr/WuvI4KmwLItSeEbtILxnx0GnIQ9N
ug2vnH8h7Q/LwmYbTik2me7N1JNPMmCwEFxS8hZKSqKOwb3i+ZB8twyrAdUKeajUvtRYMMyPxKVy
5+2V2xleEuprolfX2kxSF3Gl8AyIOKOY9b2uYEnyF1IBRMr5XoIZ0+fvbJcn7qrv4BzVXxgPQFSe
Wh2fCeG7FXlFuQgWukYLuLZXXYjQPbhTCS2W99rftH3iiRh8UstegFjdzv+mKfwK9pehpm8wgWxd
TNE9FzZawz4LtRX1bQAuxWbExms2xboC2eL2sRc74DAIhI0s7t+4HwwbrwJfVSd2sNNWakB7d3pX
E+iRHZpiARyaGU1pZxA5ydbEf6o2eyhvm2AWKDINxErFylbpgEEqmFDXhcwfTdssW/DPKRTbQnaP
2YdO4PvDsj84oBFaOFFmghqp6b0EaqeBST13TmFh73IXlR+Jakp07jvZJbk2AV0DcqyML6b/aGNz
00IyIUyDPAEq74Ti2L4OIrLzUtpJ2PmfZlzog/7mmsii3XWUOdtcs49FDNpkrdTR/Tgra9nihcW7
nIdsU0C3Iydm0/HWOHVxgjni5ePA7yp3YFmqwF1mE0HXs6ACmu8MKrhlsqqcyMsbrL7cUKvEVwLB
dSB/GZXu1qxKz5gjIFYZnnAmqyrdtCRAkeCyTVPSDVQIH/SvVb4JQi1S/BZ0z+EsPQX+89pKUAbx
7b2K9kxTTQtrfpqIsrL0bNcO5Guh+yIEFKwwaCZxVQWpDRLWhV7KSLw8Kr0GOEiFzAns77pogOx3
yLCSi14GLEjkRASbtiIlT9GeswYLR0K2tOJvg1zZiiJd0aLZRIEDykfshe9vtRm96rSKe7EuxbFi
KmoUFmiCc4ZYfSwxgssEaWseHxUIngKtfm+t9NT3yMUmLEA7hKq/i/SDWduwDtQ1hKeDYvrbftD3
dW2cGonGHNKNnLmAd+2aiSBelmGKT/u011eG8tyk8JtY0OSqjJDuoOVoJ7npsFwPCF32eaEdesos
uW+uOhoztZZsq8jYD3a9UTQuKqO2o+r7bK43etRuqD4DsGC1EVw4OwuNHYH8s4AWvVwxVK5czpGF
o6/g1YAchLwxs//hlMvZ8uOvdwSNqfqx4aNiAsHlQpSr4mB1KtK6jC4irWGbBgGzRIpKz8GxjUzN
8eRuiU0UhLAV8jMn31TVc4Ypf5CrFGnpvaNsDWKoeqFs5e5m6Mn5Uo6to5/yVDtWL21JdEOmkTjB
DK/Xm7FFtVZBP9NxnrTq2pkUrxzEyupZAkmjdtwTBZq11LGErrqOTfcubd27rrfvula502qiP6IX
tWRDxEYrAEk0rELVIq9KO2ZKsiq6ZOuU3HQjuUwxp+sBc2sSXqxBP8j/jjQdqT8KPcO9Cg2Up7sz
qxTgjLkP6XZ2Qj2AU2HjqJ/smpW5Lvdwr+NOwTTk43gdX5IBJaVinLMg3PWqfzeO34PSuFS57UEU
dBrGSagf9Fg7+n27+Sj7cE1yk6Q51UbtjIOfTs9tb+/EqPBWPpKg4M1sPJLii5FCo1FM7LjZRUpw
LRNKpNZsHNjKFuM2nMXBd0uvGMxz3zjXwimugZkep1Y/1b5z7QlpYFe5FpWxl0MCFwLuKkSmk0/U
FFshXtcJOaNu2kcqqksOdsfe6B+DWnumiBGS9GZPhEvUbAuhg1CdqNifqr5/rYpkKzd+VCxoiHc6
wRLMoizDhe9+LMAWFa5AY9vScM+rZxEzF8SdWKT9DxA7rhZ3+8qYN0Bowp1eonkUaHBDPe031M9O
LfkvW/I87FVqwuELbr5F24Ea1wHN4oPVa6c84MPXxlzsI9V/10v2oIr6zGlwF5UWemYFSp1/B8Tq
B+fvAxanb63mHkUwrmPKiEk9nptofNGs5qFJxseUnRluevLFRuOmFMlahHfxrHrRpH7LSf8cwvrB
QB9E+xaMp34QslKWDeS5TI9tnrH8si9nyVjCOgNXMA/BspmMI5XAb7qf4yCxnC8t5D1Wu2Np60tV
oAvjwyHD9S+Vqj363EsMa2CX32M9uLcbn9QTYkHmFxGrz6lmnfuofFCr6ilIefFK/Vg4Ym/Hb7Ex
QU2ZHnWVs4st9hy7ASyhXmpgWxhQvgkJvIR+/kVVeZJ2d9Pr+dGqaRcPefJ1Ur8aJRZ85psGkiET
VGqcClSr8v1Etr3V+seW15D7isuLeQjZW16ra8tMLvCpPShfLO6cpBhQrdD3bWbv1UBbV3X0krLh
cq8xT4e279EsCNpimLr+BNikZvEP5udRNQ6TQ80XrYmv64dMUU9OpC8bVT1V+DMKn0gW5mr55Qo0
KRkcapnUVfTWrueN7eTeT0vWBiUQk8ECncOjoIPaYGUBghigfY1kEk8W+KAXUe0bGmq21kOHeaaV
yHlvrVUvBNCuUitYhUSX+XG6ATifXaw2+0oMzA519hzlW62hSEfIfT0BPkftH75FQegZ7XsfkN8+
AscELe0HuEaX3CKWGjJySWiBOnQZykTGTXr+FKWLJm9Ysnn9yRh0wlU/CorB3NrsZR6tnZwA0SJt
5CdZsIEFZ0M5SYXzN+n0SPR4qamroQzW7a0je2nWSdEtaHyTpCun7izr0Wet0lAcnMwEL8sZITZ3
Pamy8lghT1ByEZKb5ylHMCMPafwT5zZmBDZ4CAUyV1vLdbRWxGnOuk2HGkQuh0DPlkXXoKHPV25V
b8RsnGDMX1uFTeHgez3xhkpSk/iIT6IvPSqpa1PxIn1el6p7NxbuzmaP3yicslieXf2iq/a5EBgA
gDpZbFodI95WbbNJrHwdllgJGuarMts6trrObWXrq8ZZb8Rq35PKM3QloG62xiZp99T8HT1Ys7Yu
tCrZKvN5KN7lwVWuoAH06zprN3iijz1nKqfmQZveYPOf/OWa0yl2P5jsoO0KTp0c8yChrNJRXZel
chVR/VCPoN4KQKL+1Z3zC71HxG7o8RXnwaqICoFqhmJzI63hC9CjO2Gj23D9AvRKCcE/8Y+E4Tkg
s8LySV6SyYCyaxZmVhBDS75msYVAh6ovu60Rt8us80+O8R2uAY7IsIR41AXACtTOBafk2eYuGeug
itZVQ4GQ2JQIDrl8tLIgAYIWcRlM0JoTZPrnCdNkNMkjfVHmy1jOdbW/dbFbyZ8JoElh9t8Jp94M
wt5Ztn5SEmWhDu4yN4g5ZO8RtBSqqRDI5kzAQqJxSCiChkY9jmiUBFPOCbYj8Dk7GKBRjEnsYXzd
Jal+LAVLt6VsOygobf5EfWUHUO1QVwISNbscUyccnFqmzavrChBW1m54Y4SxRfICAafC0k9ZyVYG
hUfLu4IG+GAnzk6feEqypsMvsnztwHLYgcLjdbdj5X5K0ktsTi9yFGl9xsMzd1AFVvKKbMX3RhAa
qKDEHC7a99KJOdOikTd2MrAqbCJ5mvRnfeVCWEmSu7acF/IWRhzv5NsU86TgBHNQh12d15uQwpGC
pYmBRpYMT4xbrILyk29gZvI2VHCe2bXabsBhn3ouL7gUO9U+RSHevCDU91ObUQESH7/jYydL3aPn
jJf653LOjkaoruWLWBdAqAVUs97cQeh9kX/G6wH03NjbYIp0+z5GptSEJqc403MzgMI1V8YnySuU
96EJajxRYi/HEsd2lg8XSwhVF6v8kpuMLVmSUzDVyapVsPmoTMo+9L/pBc1Hvt43Vj8ki2H76T//
N4kb/9+1xSk//ve6+VORt82Pun5tfxbMI4X5t2Je/EGnQFNJbEGZ8SuaQ/whpfJMVI6Bxxc1/b/7
4dYfDqp4mw4aM6qUzv+7H279YdkUzV0TNzONcu0/Q3NYn2vx5EGRDy9BEQjCbdWVNemf6r2NBQl4
zomkRtF0R5MZqVnllaiQlBDtNVN6W4br0SK4DxiM331BckvDw9ikIQlMOPLLO+ngTlmApgkZa+iV
0zOQnG09NHdZgTsOflWTloehIgAVzLI+W2gx32bkk73d7Iq4IDtUx05anXt6u0rq7GzmLyPpvQiw
Xw79LqYSMH3HXLdpYn2tNePz1Jj7lMP13GZYSr62DrsTp0EdV++kfNr3u4OiQoaYITcjAtp2kY0E
aZtgjVZH8ySy4T4MBCmJ9sJhE+MED3kcPJZ28F7ap1CB/i2m4FYCGqVAE/NTinIQZn+YCNpQ+hb4
ULAwg8NEaaDAHjobe6uczxUSYjRIiL4IeuacIeZ9UxW7WWzVocaBdLLyZiUm7I5puFeVcKcN6DAJ
Io6BiIrh3GuFp0OQ6/uCQLfv8iRUWv2iLjtWlx6OJHUvNSNXaziPjf2UZMpzxCkoZ6815ukF+Oaj
OypX6F1PoRNAS51RDNh3EbezSUqSXfVT0g/f6ri9tLIiTk3MHtyjYb875AlZZOVZFRlxafKCUWHh
Q6VERHjTOWp0WroYI7Gyk/ZOGd2HmgguIkKkBe9V5NllKsZz7kR7q2mXJtMund6N1UcPIxywRZlF
XxUFvFjVfLFD5WpU1UhQwpGC4+N/Pk3930xA/6+yg0hf/6dZ6r77UbfF/3iIvhU/T1Mff+tfsh3z
Dw7XcjYRH5OKnIv+Zeyx/wAew+xEw061aXzyWf+S7TgYe0xcO4AKVLQtUuzTsKkN/9f/1GwUPQYt
LHrnZMNDff6PZDuawTT0c1cIupZho57RgRE5CIg+dX3zqA/6NCZJzalsrB0MIDrLhKPsc/JF64p0
UnYXZlE+yp4Ch35OUtMduXkLZTK8pglwJFc7PS230MV2DRDhRWDEP6zOP1bdQzZNB+GzlWB1p4S0
EGWz8x173ffdfiosnJUjRtmcNlG/DAzwJ1W5MYibTId115THUGU6DOja2N6UFPcGsNNQNzbFQKEV
kuUMLzI1822J+7Op6j3bUXAjzTrAQS9MWRIv7i2RHK2B84aGNxAGNbyixWBqAMsxX4bO2e6MzZAX
96Fw743Bv0+i4a6dT1bryB7RcQjjqxKk9whKd3nC3gIPLof4tTagnjSpHMawGFNsJdhzmbu7bty4
F6sDi4JXUOARbCEwMzEn+T1yf1wW/aZI39253A6EmuKveYWovtbxb+Z2esxQ6Cei3fPwCRDv2McP
a1cZ7oyHIRzPHfRTUrW2edCf0AXvu6j8czfyy2bkZ+2x/ln6QA/bEZrU5SAY02hq/7pmDaWhoduK
Mm+KdiaPUoxkhZp0Azp9jXvX88tgZartouFH3IAUeFjOTfkg1GbZc+2pnqxVDQYePw7+ceuETI7V
d+FcfGICx6kh452/ALsbSximenuVk1rSwnn/6S28/3P0/vw95GX+PKYJNkYQiZyBRjjCSFbyX5be
eQiVNsN37vVArzlamqzBKQqd/GUMrOOAcGMGMbn45w/9rF74/KGyM/7Tet+54xxBNg+8qi0fOuM2
IgiqZJ3HAY7wzx/1F7Gd/Cy+Id1pORf8BZTRdnpEskoUUKasCK6nO+oPOxczUIfirjLxTaRK/F6V
N0sob//82eIv+xpyo11dc5EVkjiN2vDX72mFpVrMZaZAY1D2bMXDVN0nhdeq4fqjW5ymh7lEqBZQ
yosozXMaNxEI93X3VDea1+GoqQOQAEp1zcRbUXXHMLpESn3MnPH+n69V+6zN4D6ZmCNRxjqa3ITJ
8f7TM7GKXnPLOFIohRTHkSYDGLVNHIvLbDrXcISumdaPTEqE8jgHu3Fv2uR8q9qD9JVhdvrNrfv7
y3FYDFywbUJ81ulGJuTbOfd9fC8cXwy7ARaN8WNE+zbVN3pXHZTRtZ/ad34ASCHN3puSc2CQHc0u
fue8/uey/t++78jJpfLh06viYh51NIlcUT8yTX++Q3o+KsZs+JGHk4Mz9JfSrM5pRilOJ8cGnTDJ
Lu80cq+FCesev9o8w2ZILBNTld5A+y8xvzHOCp0wHuMZVn0RJ18MaSKKUg67HL6DDA2yOjtX6cdD
4MOZrV+aDdrpwUh/DLG+lAffVkvfwti8aoF9cfCjOaX5VuBpi7NjFZkXwG9rN3hzFOtcdy95r3xR
Gwogebls+/kC9LbnEj+McmH1ZuoNuUvaSdCfNMP83FnWsbbTt1wJ37O43Lla9TUtwwlHnJRK13hq
9EdNaN9NuTpAQllVTX0z5+I4+fpl1hOcNjPCUL4r/GUcZNbHd/lwaBZk8XSDcTHs4Kmz8NykxwB+
8aKZQMh3zQH88TlMLVil3YJYt3NnJO/y0gesKdQZsYVpwQHqfesy/dNYtzoKX5n43uA4LKGVS/yk
lrPOhTyeonqbx3FhFfbZbkwip7O3vijw+FWEUZup/3WYxUlxUU5FjU7xyzfpMhkXp0o2lUY8eDZR
x+wde+fU1bPjEHKudujx03w5J+bVit1LG4ZvytTefDBBHndiEcfoSI2aULaoYVSUaEWmGumVXoBH
5oWaBtq1IjZOWhJ8x3t6pAD5HlWcX4S9MWAHAKN1rsNs73AQXrrMPIiyukumCGkhC2bS0msT87bt
2xdowggtgqPdYvRUAkxgU7SkzFpSe+lab1ICOhsU3iIjSL0C/evQ41Ci0OHPZOtM7SvGWwG6xTpX
OjuE2bS+km2LtiJRiTHCtfRxrQ6hYH1RbdoW/PnU0p3GmH3EiBUYJqa9kENEgiGh66gqVEN1F4wr
IwyeBJGNi7zK3qzUPo+9cy6m7KhX9l2TvpO5MS4mUesLRL6rgoRPxQ53U+XeZTKyJm0YOFHdLilm
7mxGsODVSHT6UwhxmkUSUn0OKlfH/Rmjvi8BbUCHNRSLYrKNx5qCOftHSGc85CEbj6497EaoxAu4
x5cyyT7eimH4xpngO79xURS8L3ZzKwnfwQiAX3vo2J1MD7QCeIKg/paExr2AzluEVBLlO+XbWGNb
bGW2IV22sL6xgUbvnet7aUzxDAfEimS4cUFoyFs3Prh+c+tLQwF/wbc2mplfKQeiiiyjVDhajQZz
KtENw0p391afvLZ69bWA1buaGsnPfQwICvLshilQzrUTO7khSN8mI3jPXJNOk9M9aLZyL9+xKk/f
nQjfokGzasjeBpPqfImnm2org8D+7sN8XoCIdRie6U5R6Q3jn5XX+GGa03tzGWj5i5GnFDinH2as
X1gurn3onhsH4YzDXg6PrVrJqj93AuoM+FcfA9JCr+N7N2xv7PsYyalMLxq/krIB017+NNrrJyOg
6VbEXBZTXJi+C906KbbzYOYmPiX8lX9eWu2nb3qv3yG1PZB5Pi4gXQO0IUZ8TrubnFP8jD+V6Bm7
RYnepOfZ0C9Vlb4Dxj7KPa8I7d3HDe9T7NtKPewIScADau8U1Dt5N3D5w6UY51eoHiwbOV1s3K2+
cjU7E9aLvVMt++wo+ZviUvOupid15vHJLbVfWrvR55npmX1fWevEz/ZJMFDiZKpX4+TdtcZTV1vK
Qu+1FhA3mQ5z/BDYsszI3XDiqdravORadR+L4Zvqdi0QN13w2mL5GdhKl8HcLydKmPLBFLp9HONz
IleaUri8sRiqXDu6lEW9H+eMfXBNQYILkgNYNSNq/RqLSYGgZKJtUWg8sM6qboB0IKQgPlHM6F0z
m0e3bk80AImxn7/IVZWcv2Wc5udKMS6ycT86FiuPtBDZGWtQ5Ip9HLtbJwruGhcXZOpql4qwgSbW
7nrfOEc9d0GJ0c9UZXbM2+wtMvzrTEWDOJ1rWe9zOz6oXXWT5s+FvF0Y0TwdxH6BDmrq9XCRiGrZ
1Ve6RlcqyLc05ksHQHqYY1HfZaT+UrDB0c2vrq1zOGgn9VX+W6W617Ijciw/xdrZbZKAzThzUx9m
36rq3LXGRd67kQlWflOnV65ZZ17kg458wWDo2lPcHZzwVnaQS0z1oIH90Hp5V+W04VgkMLU3iOi4
SJMADXnunrVJv3xcobCCNzfgFk02f0GNsjcfWzk15psJGsVQypui4AgWPW+TODqhv+xjHaLWUAmk
Yvr3Kpv2viVLITmrwORCvs7Mx77pvhQN5jMzYwGcyKToLPcOnMkhpRSCD3ZdyPW4jeubSgZxrmuX
IJuRFmkWYibnWkeVtOHLQELl2oF6n9F5yf+hB8U7Ru0X9SkmULlxtEfbsK/k5d3m7tUeo4NcuuV2
KxjaBHcasmEqYnKhjzNxkS1j+fMVREvTCS4lWQb5UD6MlnbgZIa0ynpkSf8hO+xx3tyG3Lgkl6pO
WCH561XBNVcmAzR1x/sqPmfUxeqAgVqqRrWcm7M8q8LaxnNlBMzyMXuiotIegFIvMkthYq8IX+nY
CALiQVkLBmatKhUAIYNACizpiAgH6cBvA1IY8Xn3C4NDzkIrxQtePrRkhrUyBuXRJOhm1cM+coJo
3xjhm6kQCDWwdKDo8Eyh3YaUV60v0ze5O49j5Ucy2wfhMkT56Y+pH1bElGG9nq2vWs7yLrf1Wc+A
MlXNi7IwgXmPPEUZjpQOUdTMJGxyEyS4wC1ZJh1bsh/I4LJ2tR2+9Xp3KwblEgcXECkxd4BdiG1x
Bz7oCU7IxemZcZ4BAOUn3aYOobHr/FiPlJJ5WnGuY+ReoW+9u9BE0zw/ThGrTYXEUhnFxS/XBU1x
tqmxLEq+5XLVDUsei8IT8TNaKHHwUm2UBtMmL8k4Je/I5c5tgH29HmiayiAkU9r5kkl+zTr5Nuf2
j6YZIuji7HMLWi5QOeot4aLDotKQz2HlR5qPLM2PWfRqq72AGnpXBx99l0G3sTR2CM5AsJJvlLS0
/vGcp67/Yxy1dT44XwI2ZyjKNk4av5c1mwESnzD0uIg/bKcAkQLn1hnp84lLSlAFHg4r9QRVi4pG
cK23ntUFb+kAXTM1NuPobnjnXn2XLZkqeJV92GNeU17mADkULfmUbYiLBsOfTBSPAqmqeadF2n1E
hi96mT7wfDv1Poas1kp/Je1DPVVm0GlZtTbjC7EC2RSPHv7OZhWC3G16gzp2xc8aofkQkDk21CSb
wfD/bteGsrJzgmRMLSIuJCIvrMSgQrJ3zf4g2KS18prBS16r0dFIOFHoTobgNjdvQus2gc0ONvVx
XWAUNd1wW2f1LYzit1Z9spr6LEadgo5Ksyil+dbOdOODAhVRRlHa8JtyrfvmxcTM4JnElxO+gX61
mJFKGnKD49YwPBju7kTeYBm03Fo32NSWRpHVddZW4B/EKPRFHAGaUHhjI00zD5ZC97GYDdKzVIQg
lEdaZrUPM2ykUTaK671GmjQ9MIYcktRxoYI1qwpjr2MJWmmWTXhlGx+MTL8UE7bLSi6HPk3wqbPY
co1+QSpW4JENyFihn7zSBAExta/q9PSas5NmKjbv/EEpSPdFuTQjtbMezdp8xTWYrAwta1aan177
gB5p05fuOvZh0FgErTsq4KgCO/WiGatyPVZQdQQRP8u6CpHcK7BkNChZGN3J/yLJxejMr8SOTDtc
R8UC2kN6pLB1IuvwbSJVY0FE9+uflJWwo/HZZPd9bW3tjp0tJICP/zOzZSA9l9pEYnhpw1f9+GPq
oeFS1JsJUU9etXcxvU8GJu9c1KdP7DSviaVddHR6izQ3I/DSBHHQcu6NiwUgc1l3zF0OYD+7QHPV
2V2Dztp4HSGKLgKLSh5dw4isuUUSyDW29y9TbgEP4sBAOkezOvraQKqcBh7Hcn6YBXKFLOxwO1vA
d+L0TR7fKjaPC6tkRQbrqKI4Zp+nc6BtaQ4L278r+/r2cXqjBnVhIJ/5g9UwMoP4o/+VA8qJFEK+
Vda/DyYwDqYyGbSide4tSfKj/IjMQfnRxm9SjpDU7ETa4GjM7a1h39/3zt7XmltjchlyNZAjptKj
5xa6ihm/ya2tIsQmTYu9Iw+azXAnDxeyXDFlAe0hZvOZsTnLaaDLw/eRFLCecOyPw+sAeWepExi3
GAJ/aba4QpQ8frPH5Av9CC8dEfyF2/KSFeGqqarvVuhs9PASFdm3SFGWyATXU1wumrrctFRo+3Km
cIxbkYAfpxf0swkeb50rGliEIBjviUldNBThcpUpcXjpSnGvEY4QY2W0/XhbtKRpRjLWTd/ldnJI
JoXi3Myi04whR5kmA+lAHFwDRgmcGROtJGDQVw5cl911wj3qIo45qB0urWKznqMjV9CVV8Mz2llU
HWr10HfDqlPTJ2rCTI7Tc4QUvVKJrJpG2SrmSfvZY5YHxy7vXzsNBoe2xn7/zMK6E0n/iKz/uQir
6xj6e10/Dky/y/9i7zx25EiyLv0qjX/vhGux+GcRWkdqJnPjYFKYa+3m4unns+yuaTJZXURhFjPA
DNCoalZVZkR4uJtdu/ec7xAEwVtMoLz3+tdI0nFramdpDhSqJKt16zJZ9lX1pai49RnuECesPfiS
rcSkWboIeTQRUdw0YfSaSZ6BVOQ3XuMdRDWujIHjV8+GN1VKWMM+mTbx9wRx4yILx51X9/dVr+/e
7kEdmiWyo+YZltCrmELEwY1a6qkxzCq8DaWxb4Jv8SSeftNZez82oK+G1diygGHz0KJU/7mzZsEt
cosRN1w1gBTt9QH7gvagGgB1JPdh11GQ24C/ATo3uyFuzOUcowlLRs44mp7/pvfK5Pd9H4sEAM8G
P6PDjGaW8c7hM05F29NKYdvx5DUpjRXini46xLLZaJGz3iVCv2qzRkRWfcAicCjR3fc0HnIeOYM+
w3zwQdnH6NnQPpkI7QsfxXxJHAtiUI1DmU2pn9gR1E39bmi1bTuz0Oet9zElAkWd1MxenHwnAUNC
DhWK9Kk+wa7Z4N5zk6vhDiSJ+au5RbCbJXhJSagH66DFPG4vfkY6p49cp7uqqliNLdGoAVfSv2gg
1uqpudeDZN8LB4MZgSMa6iIUKAGC6obVLVw2pX7sJ7EipbokTwy1pkbLAilFYfZLnsFNQj6L15cc
Bt2TnoYbE7BYn/ZguYlcUu8HJYuVxa+9IDvcQ/48uCsVOlY50SHttWPUqiKXzkHp0xRCan5M8ufU
5s5lK2XDK1Hkje3BG/2bmSMeUOu9RflnFfR+mCUYZF2S902fDfdgRefESexLxmpYR/GrNJz7Ops2
cVgkCzJbaYSEw0ZUwbnt0mvDI6rnGEg6G8NDV7IB8IEOwnLuBZnpkwuS0ua5qpmMBpP9LdCrXW0j
926ms9QWIiFmdsyWBgFanGHxdWes7qN9mgxxShMN15l17jXz8NfPxy8TCFc3DdPElY+/FSCD+fPj
UVYevZbY11auSRtHZlDuGBHuveiTcJKPxOAVTLLT73/9om9yiJ+7ubwsblqEDWD6bOZhP7+sia+5
q0PupkKVGKXKKWOyF1/MiJPZW8P5jUTmEDHGCXo58RY6Fa1Gy45DDVb3vepNEkKJ/ZqyUob+ReNw
PIXK4sWeosBy6kDeA0Gr+S2G6ga/tSgGGgnqKchNeTbc18lKX1MEdqrD2YAMzL3mWRb+forl6g3S
xt6ZSmqv3MtxYwT7uuKoHkTEZ0P9Gqz6uZ/tW9WpGX21jdGIegOKqPaMpU4z6gzaq02tDOWz5CTs
NnSIcPelc3BVLS0MUxd1wlOfUWMKN1NUq0ZtH9TPdvG1pTtGj4WtI0eg3Ur5XFCgeyHQ3wz3A+ik
Cf062aNApsOHsiifab8/q3s7t3w4uGsgPa9mXD93mn4r+Z2InLj/vIeB4Zw9H1wIaS29XwynARsa
4mN+/G3NQGS2DWPObp4apI2kfiHm//525GYXJqcBdB4UEwoaYsxIr4Sx362bhLOkCKmLEcQgCO0E
phr7dhLsbJqO7tBjApcF18Aw821FWLbQKd20jhKWgL9gGadUOPrEQXFytY+a251kIG7DAppOx1cY
J80TFrJjKrMWHWX62jDJmySlm9C+qY6IxSdVrUtRVs+YGBe1S8OupKdaZDhr7BjVrcMHDQARrcrX
JGg/RhQk/1zl/5ZY6v9FFQLhsjrTxv+slrrv/vFPgMiPKoR//dQfOgTzA2h5ZmDY7U2PACLm/H/o
EKwPhsNOrjIvHFclFv2oQ1AzVOKK8BNzug8YsP2hQ/A/KBGVFVBbM4xk3/07OoRfBnUu1BImzgq5
j5zmPf3e0J3RS2uP05xFwxwB5EgMotVff7gqfzIXtn6ZdqmX8VkkWetc9A7vqoS4stpmwM1Nzoq3
GgrOCfOtCOmJAYEi3ZDARSDvJe2nstj6MDOrqF+mOdkj+xpJlm1p26aIwGPeR2NCCtq+lF/m5OTy
sDDIWAnU4CUVD8c4Ny+R55QUAbeRxLk322thNDskzBtvxNNEq8Gs9Z0P9lq33eVff8w/uZgkT+kq
wIARsWu+m3pqHMPHaTKtld8S+YxVAxNdOH776xdBNfdLycWX5YB6sWyXYaZKufpxdCgIpTf1GOOq
YeK7kVhi7VknS7rR5S5d+Jyfsewhno+k8URN8lr37jWubbTNtLea8K6f7vwQdB+UWPq3o/utL78n
/uPggKWQqDeYT0VQL23ro/JtVUztoxg1trPJGncdEENYNeGx717nGmdHugg9GmX26zzcdq69Ib55
P3J1h75Zdaa9yDET+sjIhGssnJZvOzUBSohFnALvjfNDG5oXnSpWyZfz6ouUFmrfGel8vwwqdG1E
m8IjmThJVPq9Dh/PYNLiu/nSmUbMkEigA/InG2Obp/t0dkBULF2dUxnnIDv+nsZkngjyXnGKWXm/
a9GiavktrmrSiyr8Qe1+0Dq2oWxdcOzRKlzHOs3GiB460dhWdsCui/elW/g20nnCqytzpee3g8mg
gLBlPE4pCI+Wg0Oq8W+jGgfh46wwhlqxbYNvLQLrhsN6ZlqbROBCklS65TmDnlBzfJvl2Z6/uaMG
/r7EyNrdotfHnpGvaYZHxHajugtkSEOgWhaI7hH0rTq+G6lwqom5tXrC9GqutpfDgfduKyzkPvmI
A7i+IqiOpfktTfqlTx8s1F4BFh4l7kSPsBEpZzDlzJUof0GXlkoMRGYTQHK5QuQ9Jc3OSmKWA6w7
vr7P7Q44eH2O4ucZn4nXvHh8wcbsAluw1nO5bRtnEbXaoeYBNwNGdvSOGQz5vjjiXDhZ051FA84h
dzWZ5d7Whrswmo5yworjdsuEqRL0j0Xef4m5Ucq253t4yckITg3uLv9j2t86BnmgvPzkImvSNnNB
cQmKHWUNfmHrMBKhPOuPDrtfPZsXqymei9I+JaW7wQC41GbjasFUHS3AaWzRXjETnROuuzKi7sdX
mKO2DDG8brkc+9FadHFwli0ZxpImgo+8aZnFL5J0W/ogRr8O0DX1oeb85kD1p0uIjxoCmKHu2ro6
bv0gnJjzpqqMAU15gG67jb9XLI6l1/1moVJ86nf1KksIkAhyVhxSNt84eD+8TCJMIw5KViody4oZ
35OSkOQbHywPyt5FO7AsJM+xgEfbkYKsHRtCkVuEoZhdEnzJ7vibN/Qn+8NP7+dd2S4Z/FCQsT+k
03kcCPItGUceOyAAWh5sK5D2QhG82Kn/f1HzG246I+sfNpxfuGiUNMe469p/fC6+/uPyTcbtj7XN
2w//u7KhnLFN3zM4+XvcyX/UNeYHEChqZ1LwPoAk/Ks/9JXeB9tgZ1Qqt8AGP8WN8Edd432A84ew
6g+a2t+qayA0/XKLoyo36JWgmKJR/L7kmKSozRGoDxI080aYWHYHDNn5CxqOSmMQ1dOahSiWwABw
60d8Nk3y6PGHwL4r8XAa8GMF/TO9AMkabDxnoKPo8DysfO+T6sKhnMakX2JfOlWhBli7WiTRVtou
5T48MyJbdXzJoqG1HEs8gw/2cMGWt9LjB5GT0JN/Lz+HLcGk7Dl6B7EhddaV98nQydbTlqFeATrK
1yLEbao7qwlzjklWnVUbWMU/OpfBvE8rlzk5s2wfcajI10qDhkXHYJT4UWISau70/LWRjKVak3UU
yMdMbIP3gNxnJSKee7ve+6nYIn9dm+m0QjJL8x3UFZ6yqRYrN3Wx4DIeazFxjBQGnNjNGuMWly3v
bUKg+PRAd5VQPaG1N0cQKLF2xDy+r43zEk45B5xTw6uLs0HtYUqiIZ57PHl+v+y7F+jlnVvfpbPY
2kIeBciMohfrVCYwmtOTJchYTnAWO58JpWkxAXfsQgwOdhks69zHvkRPUkMYPpCzFlnlspHN1dBn
OqTJkuQs2pfD0W+bfdxisJFIEYpgpvFvibtwbBmAWIuppBnoAKtrj3VfXecxvpu75pqkVQr7oKCS
E3dKxa+uQSn7PSDJUxOGZy9HR9Bc21FsBV5hZabz2M/N3gHW22LBD+7VJZ1ogU3eKans0516s3NO
4TH2R8SlG3ptO+EGd62Xvqi3Ucl5qy59EZnbafiUDPbWJeGgsyZEhlyRgG+sDk6VlZFK8wJ586q2
PUPj5rKWiY6Fj089JfOltIJ1jw8HQtIpJT0Ll+QJkuWZkwgePVz11tWjcLT75CVx+rVS9qsiwQ5p
2wXdMWXAEzF+Gf1p60UhDfx+08AGQEdAayqjUokQHcJrGEm7qhEezeMWLjvMOGS6BZ4m7Xssx61w
za2X+Ct+xc7HSpYwgYIuSpOho/fbfAVQvdRz3JHhii9lX+rxuZj1XT7nDykVTQ4W3ad5NiWftPQ4
cNA1/ZeudjZ5Fq2t8ZFg6JXWveDT6FB7cuMJ+wxXfdNL59415d6R8E/Cvd+yjczBnRYy0dDpmUNy
n9s9LZzzGHvcRKG7QMn23Ldkabk53F+Ldx3wdgD88TyF9N6N5jGjSNRxvJaO+9mxP1LKrNQ/Sktx
dAsM7cXM+zJWbfoQCZwb0XNPFdmV6B3EUneoszu5HWn72f232Uz3tWNyQqHIzHpOLROFWMnU2qT3
SXcCcVVjfWxIXZqqcTHq0TKJ0oXhf0uosBO899/ljJEU6UD8xbGOGkjgusLVDFFa0OmLaXEh1Qv1
j0V1zojw8UmT6q2HMjqDXs7JlQy7cpv7BBTpj9ZwF5lXRK3bwP4Glj2gdWkl6blrotUQ9duBJkNb
GsuE70FudcysaZbuJVW11ID7d8XBUdZ+Fqq6Ad87A+XLbrHELlz50lOjtma3C6dXvSXaRalu9FcX
pJiZpPuk6ReBBAPBQEI287MY56M3TiyW8ZJI6G00bSuD8LRxXA8uFjZJ6udEVn3U75hxrBsW7JHW
4sCSZjMtNbKc8D9JqjuvUuVnaVk7BjEIuIJNq9SK8IdUcI/hp7sqrNe57NZDTLJU/qz3A2NklruG
WCd+rLSbk9DnowRMnzmv6FxXP2yof3IaNuxfyy/0uzYWQTY7fE/vu5SmQPtpxSPPU5LvnIEw+kZ7
tHNmgnlxEzMB1oZoPZoQEPhyCyxIhgL7F5A/SkLbMErGNrqcCdtOQ5gY/xxuPyd47WTaIIQbseHM
vxxdm4yIfqlpL5UJW92/myLxFMfzKiYMK+Mg0s3uMiNIqUpZyHs2LyNa94zmBHNKTcMgYyT4BUlO
9B1Ka95FwurECjLYYmvCpImw5tVzf61jdyl0cUdXbGPpvAvfPSdzv5Ea8KnIXRpFcCjFPaX8Ue0b
1aDhUQjWjPt5JnmDSqLnAVUwtj4L3TSnJ11CcGMt7BEUdSx8JdEVsS62CNsPMn+uXXH2qcpzi83L
v/Mr+haZdgKdfjvlGg3OZJMHZ/bhk1psQ7SvrTQWRpNBcu4xT7BgtSzaHotdGx8Kfrla7LqyX44y
fTIFhgn4KJ57cHXtltyFu0QfLsbsPZLaum0HlKA9YrIo38k+vWVXPQm/Q4jPej5uyg7iTZXtdJP1
gXMmdLqDgEHRYiA1ZHmTYB/zIa4p2+0gO3bITc6Bt1ZuLz865BZBluF2smykGszrCqziWXnTVeVN
y8pnwIaCGHARrOf/B+vh/0gcVuX5j4bMf5Xrqgz9X7W7+sO66OJuusXnM919a/use7NyYu38O//y
H9/efsvvCmJFgv/LHt+JUyfY5X/+tv3X//4vilr++Lnt/vu/NFf/4FPpvqHyLZ/2FoXoH4Ww8QHh
tx7oBl4fHcqC9e9C2P6A7NtW9kmHtqCv9OF/FMLWB7Io6fmZwIEDAxfj32nw/Yq/Y5XxGW4a1BOW
S4/t5xPlYHauNySQG+fBWekplpjkuZR3QCSAM9JxcwjEMChSZ/03R9n3BTi9y59e+N1RNgQThldC
vXBwtZm9ABgX2iMAjd+cHel5vSv1eaVAYfv5hCym/O/nj5iMTsy0n1fqFZfX8e80k5khiPoKOEVn
UlZZisGo3VdVccNCd+e7PYpJNrGsQAtUnCqj22saFfygTzCNCL2hwQSrAPkIQ2DKbOkhg6qCu3oC
lSKRBNprhymikekElUkCa6dVnvZXB5VYoWUnc0xobLEfNzM5htpTLaPnIncW1hhv2RmlA+CADKKa
Bc0UH6ti3g5m8qnxqNUqovnw7Q9M40QrL70JIzAxzwgsThKcXDCAmAnbY+lpT2nQH0eTGg/iBe25
XRKQ2JlSkIXTqqGyanqW6yG4c4f2NCHrjCjuEss+9GV2q1ArU8YJJu4JEWS9J63w4rTzSjjk03gz
g3xyPgZx37L6EsOxagQe8IIenUlwxZS+flt7Yj5ktcaWukt8RB+4vvUWh7gf3KWAJZSFPTTsndtI
3Lfe7TO+ycwFS6avSGDbDUxbIsXphLjqjAzvU7GLtIWdrDUVnKyN4CIZd1QRfjj/Qe1KagdKXLn2
K+iJ+VpSomY5zJARS8SZ0J6NNyvvLOu6a55z+lapKT4NerrbAoxbE226GQdwXN79hPYioYit8/oa
kKWDlP+kCEY2g91h9k/SB+MRplsQJnSfqTLFooAENYfuMakpF9PPaP2+p1b0SSuOXVrtWxvTKJxm
gHkn4SFPjKNtEmmnIrAOhaOdYuEcUq4dQpkAvZSHSKDFb4rFY6muVAn4rGRfHCq2AdhhNTU2Oy7O
heOkw8LwnGVv9vtUL29CG3iMP64iW6yzGItrKDeosvfbKHFBfIwIyYb1IKJtYB5H1JOFZS2l2JXc
bSM7YZa5B13aCycfL3o5bOzE22WaWM91vOzAzgxZrkSut/wd/U1HIMd0Ad6z0ee9Vk2rNoAhUnmL
OAODgm84ny7qJ+3QWar7Fgn1sbTYinMKmxJSVBGeZo8na5LrDMBRBP6y19W5DmQXT4bRtVd1yyV1
81mFWrQ53VSwRibyj7qzD2zpu3G870O2PUOuLTe6dYKZYw5fTz4sqoH9F/RslKC3HsAFh/bO7x66
eXz2DGLOpviTtOg86s017/MX9Z92AJMU6GQquKTBqZxVgmn0QC8UEBwPn5bz0Imt40FCM+I7rXd2
Q+ocTDZdGTucTbx7FHYnrx3W4TBtZ06VaX5xK+OGCsOXR/XkkV61VvAjkZXrwEcHReARVuzWCE6p
aJZxOS5HW3JwHtbWnO1K3gfixl2nPrxZbS2kbMpUXgwbyuQlnOt1Eotz3Vpf3r5bP1hvVG1lVkTe
R/pKzwQUq35ZjeKQtTZHw2aP/uu20bKdRvJoVllKloptQmxH19mpzzQZ/V6L22und3vgp2ts3vCZ
9G2CqjYL2701tPuUMsVLCHVryLSFKlMyIDDjjV/f+KACQfxG8qqOplnJ8grYM+S6lWQfx4JEsPy+
Ur1ue0SxR0WdcDfHA+Fa7moMk0+5yZPdhN5j22ofu5LaMpRr18EAwvJZdeXn1iuusemdi8Y624H3
1dPFoa7EXZUrj3i3t/PyRmjhRzZWoH/cTDFmw8G/+ILT1lFQ2Tp1cqI3vq1NSBiuvhL1Jydh6aBb
oqXZEbQEkEmAJSN/b8SDngZ3Dku+NXB4yoNKIBSKvvtRcivM6HuknzTwLXMjXxsXY2ZBwluW24c6
jdYtq7peVJ/s9hKxhCiRQxsPPJPc/hWUhbC+xrRvM0BrjgAQI9xdHZINFLZXxJ9vBaAEJMO5+aTK
46iboPMkdFkza5MaX+0SRFA/QvXSThEr86wcVT1Xxwe5aPBpZB3cd0m7V36tLOMOjPqjEc8XPaaI
TofXzmux0chNXdsbLsb9TCCMM+inepOP2k4MxJzmJHA2GsBTAKmM4Jw6hDrK8uKZ56CzMRdkN1U8
XLRi2qq7Mr6iHblVBS9BRTuaA5d+KG684ptnQXOPAMiVbD/esFC5qrlZ3RMdBCOB61Alt5Op3WqB
f9860Wn2szuzSZDtlzd94pydbnpFPZeTMle1r5o2XdLBfyyhxy6ab0bQ37sFty7fSZ+91I19rsXF
t83tHLUw2VArB9XVmJzzPLrIFTkGIbUTwVZm1d6XGYw9xKBO90pc8Iueaj7fGoLiamQ3g0qWtuMl
YxjGJn4c22wXjvN28jhrsUzFcIWCm6AtP8dQqbw4vRlpHqWhv2n4picdnI30Hx2PJlocrf1uPjbh
N5cMKiqAr4ET76Ox3hpFTiVhfCqcVdE3+5lpiZZ91gmc9koCxiEw1JZzSFprp2qTGmNe2Xh3gweN
n7C7KQd5+cAsRuWyrSBhrerMWfSCvhmRuH0ZHZBUbQMEqonN6pbO2zHkiDdLxD+oESKGRHP8EgE+
bNp6DxLoc5+g06yUxDr1q0+UNNkkNvZVJFiFKaBkDqwiblfpF/U9IGq6mhM36+eQ0zv2HYrlv9uK
/48nhh8PDP/jf0eF8H/j0UPNbv/z0QNTRRF//fz1rRf/UL5+Fj/jDtRP//sUYnNWsDyLSbv5T/TK
v08hgUW2BXY6YOkmI59/n0KMD7TgHapm862EVtSFP04h+gcdZjUwFQueHWR44++cQt7PdwJTpZgG
gUVWp67ONT9X6IbA5KfHRN+5PsCzpmYm7BAubMVPxOm9kP9Fe5bNiwW9/c0p5JdRl3pphbVHWGy4
cB3UW/th1EWIWovV1gqWIACbSLuPPYa1xkj4+1jfa9J7KOYG53w6PWV2SXzSgKBYupg/QgLkUMPJ
fZ5DX8j733ikvfcECJf4DWZwQCZsBu+gKN5dFLwHXlYHWbikNWYDZZluRV2KTeBM2S6gZ8EIApU3
57O0Qm/VaN6z05ufZwDFRpRGK0YzHbmrpU/tDAg4a+uVa6F9ThFYdS7zgsSbll0twsWudph8BmbZ
sz60mwjG4arBMWztk1zcNRjjOjvbIK2g0FUR8EGXXeOI+YbT79vyS+eMNYFU7o3ni3OZMYNP4ram
/XjpA2EiVUSEW9YDW4Y271McM04XnL2guVgcSiwzPIR18moEYBeIzixrMr9ICx1H/ckL8JCkVbXA
F7BVI1WI0Lqevkqv1JazbT+aCscVVBBT5+nq1zXlFqcOqAiKR1l8mU0AV0PRnevKpZqOv6YMBTCW
IBD1xGG2qFQirfZXlh4+hdDSbNLD9pwNd6SAnsDlMXzpIPHnQ7GzHITBSsTpGtmL1RpfKliluYrc
UtFOUWLj7kK0GgqwrgiDPZo/y8CgpVkSNUteWF452kLORL4KOKc6Lme8ABFic+vYJTTs7CRbCxev
UZISwmqhVlbyUSOH9ptXsO9a8R2VJ+KU1zqrv0Kjv4YN6O95tlA6V3xwF1Equd4YbSMRaCQQ9iYB
nT79NQMJtN6f00DZaAiIQAZDH1vFdFVu8OCFE7+17LFgIp5OaCkRRHPoem6tKMU2QnS301jt1q6a
pSsrMkvw6pnIFi7iifMSHWOhE8JoqpBMmAegBatw2+scoXRde0wS3JlRJJTFllcv55WfIoB0hjBb
vhn/oBgXafdZ+TODuLzP61KuehHjwGDEH0pCHCWNsT1Mv0PfymanSXE2mVed/CE85xQA25Q1D1sa
sQ6sMPHK6UIlcQaXCrm8npzu3unKQ56A0U4NtD6UT+6xss3dgJyhbVocZH6E0Q9sUpNdrRHob1gS
VRRmMVQobX7IDHtZN7W9Su0JXavfedvBleStpWiay0rcKh32uooEr13lyXGK20tizt7SDdoV32jG
kbKaDgSakuRFJrrI7p3B3Iqcq8IRrV3aXvaS4WDrxi/j6JymYbqrBJ85czNkULRgimyqVkHW3wcF
QlyHENZNOH2qXBQKTTsbC90V7WVSf+lM/+JaZr4DL+WqM7eN4cqfEsRMsXVukFkXjrvxzOxLN1+S
gPvSqdKJ51JbVrOBXEXyQ2aUv6gbWtSw18mVLUMMEZlz25YsvpmwvtFMQV7slMtxtvcinIttFs/V
Oukw6RuxxrzEeWxxBnUxCv4k8zaVJY4y6FZdpQb2BhE5eQt/PXK9Z9Fr/FJO2giCMU1Ic+rWYV/d
NGh1FiufgElZMpXFCJjQpXcxZyzSLjsZ0afcTfSllRrcKrBmwVaU98Lu+JD4mYpwfNJzooQG7Tls
eBwqi/fuW8NCJt1xRlWTl5POReEde2V5TxdgG1n9niQrTFdmhJbD75mvhuAF9RshaRkH+Y1TUBPp
PRw8I93SW14WWvfQONbF8IxbfcavpVvfa6t46GxA3ATQTct6QDlCI0JoGZGyiK6tFAvFTAiIhy6X
ZelBc5yNOfCf+OrejIrhUs/JxmwtPALJC71kHZKrvHGL8Di05cLogFjGDCfAua7dgpUjz8SNE8Qb
WWD3tSKsTgZ+odQsnyt7fJoqzD+dGtxOLAzsFVmcfI11VKwgnYeEBO/JYb8bvU+FjhxIuanLToBr
NQ8ZZrhOQX+0yH/s2pxaMyLSsu2du7kSpDJ+84kK5qzH54z1L4blHZThIUz5kn33zklmmgohS1rZ
Wdc8JggSWVGM7Q4V8UENT6AQM2H/WKhcvHhgixeWe5ly94J10Pb5ut/IPY6OnKjDResDF7M42qRE
GMCwvPHMYUNzVFu0uvdAdw4nDyd5zIhIrcr7Ko1ePDN5nTLwiS0sYY3vJGBZrf3HtHsMvTCF+xB9
9UN2QjFGr9VE3IHnnyblqm1mWbHXGS9ZVJyKlI3S8+nX2QxWRXhwmBS/vbJbFj3qoZDHAbJiEkWr
eLTaXYIN0bMbkOdN8oL0AAFS2V4D4ZYr33xyhAO/h/xWwxvvpmzpNoGz1AvW47m3LiMcZKd0DmxX
HRJod6OH+c3ouAMe0Qd2lWgRCzj6vowfR48tXTKsq8Edr2U90bHFzB6Dovd72LJxyPY0A2192+0r
4EpY20GSR99lxOWSY/hgmjl+JHuFLByyafDoy54DUran1HlIK56t2cE1DL5Y0taqyKAq/BUggrRJ
viZcvJB2GEQbbWMXSbVMzBgtYfGitOVD4l+mhBJBtyKaGqI71mm3k/V56ihV4osYk6vLoBdd5k2u
ulXDMH4PcyRzfY96uYHqRmrW1zQob9B9ruKg/pxklUEWCCvALDGUviEJHInnMbm0dWeuBvWDQObJ
5mUWoox2sjcOpuncx8FtYRPGa1Y+S4Gvb41qmhHOR9a69INPTNpK8OT9SmTyNCOsCKv+TKXMwcqi
Y9D6zantzU1ilTeakZ3iGQS7VyT3ZQ5qNAY/vPQak5iKnjFbUUDEgkhK9DQGeFlysepW7e/sIjTf
5dLQFLxqwKmvkQwtoq9tF32v3P6cAwy2Q2OTWtoXU83wcgEDY2yQ3DG+JqkodRHHqdLozWDEKsha
Gk8Po3ChTMtzPHOXuhNrnFfkW4J10K01XBGvzV7CvrixHIOOMDVAXdzaFYHgxhUvHpF6GGzDdtuU
1cXUirvKZceZvahai4lmdMxceupZPQp9nVXatJmC69BZ3cFs8Sn2yWlui/vSqDX8bTOjuYHeY8oa
lEh76UeR+j9lvsTXE3Ta1wQUldcTasALMq8DBrkwQgLciiC9STprLYfsTmTFI1FrXIoBMUnxks93
SUiayDzT+SjIB27TU9QDZPHL0t60ZVmTb9I++NW8h+bs7wfm4r0fT1tWhkOchPaysDbRoB2oQJ9S
09wBOTWX/SzgKziduWhyT+4g/HyxkvmcBUG/NkKJEKdqj9SKo8lfqoSbux8R6hta8LkXAf19pPtj
G98f2il7dSbjNjNNzNsUY5kTfiVyO8t6tCEuwceNBfeMeHGjatnpWPvUSEVb9FCQF8MNOAZGgB1P
o13u8xiLgww7KvpoUK18hM/SfoUtyDc7UirljffiWvXDD4fGP5s3vxs3K4eWY0LX9JjIuJZuvzto
mGGLSKpvUBXxUUnvVgYNtm7X4llrnKs5p/j66GSyRBl1duON1EdK4pQ63eHW86IEvgqyoZDgj79+
Z+Y7u86/3hlnHx9Dm4EO/efDWeC6TeeUPVhK+bEph4/NLL663hQgJCFwt/HWqQr8DdKHPsKYnvbP
cRgK5J/i8ySHpVmWwcYe1EyLZbzyzHHl9y2qcfbxmCqiR+Hi2DVeHFWYtJjJiZpAhkQUOfz632kY
//TD2LoBZcqEgMZg/+cPo8H9dYyMo4sZi82s+DyV7u8N1vRV01O+8szPIeqUGAe4nd8U4BXqJjqw
dIAhdo96OC2VRSut2SrTkV3KaU+uQxxOrVK/Y798HkM4RhoK96C/6XVrL0CDSktUv5moGUqo/gOc
6u1rsS2mkj5zNZf+wM+fZJBTrCN71ZbeaGEAC/SnGdblUroHLXNvPQ13C1PvCW8xt7Glffrru0IN
Bn99dcyE9HbpPLwFdf9wYvfjtquDPtKWo9adbQ5mlWZd/vol1B3//iU8i5LF9FRr431o6tRXE4Am
8ulUiEnW2Bepa4dWsqb+9ev8ItZXl5KXwBTgWSaX03+HeSRkImcxTEKA7JyZp3F6MpzHcho/ket3
njNwj4wsbcZ8C89US7ppYyOtW3/lE7eDECpH2sL9kBFYAhEATbkHsdWrjSc3Cu+zqd7yBFHONtFX
LbNvK4MbHQ7RMVLqA17BpfolchibHmAZBAVLqx30Re+l37P22uvOTYR73Ot0cjWG5Fq4IZNFdvUE
MhmFi7uZe841bEjPmEhx9LcwWeB+LwrPxzHV1Hs9AHelIUKBKANWKYlIZjK+a/dQApaqulFHf1dP
noziTGf/3g2jeQn6DNkejiYUdfm17RGlB2pOU99PMv0uRPS9mMiIycJTYXcQevx9+m3wJfIwGjW4
+p9oatdsGOGDZxH1IC2SJrzpMeU8HffPETCPKuB4O07exmeTIKP1aPf1vQg5FqTawbWsbW4BWVT2
L5d4FxEiAVU68EaMuDOhPcJSeWn96sYZ/H0eMIEd3EuFPgfDQXmP3xXfMMuLk3Vqw05vmAxufRv9
f2cg16Zzcinn+j5gvLSIfKIKep/pVd8R2YE8PmNYhbwGct9gAWNPJa7NnBqYDSOibaE0hc9B74ZL
VH2+9zQk6YN6BjoSSheuO11iPz3SVeYYm/MhoVTdh5IzZvQtqYvT/D/ZO5OtSK7tDL+KXyC0ojnR
Tck+IYECiiqYxIJq4kTft0/v76SufCFBYHl54IEHWrZ0pcrIyNPs5t/fX/EDoXfBTM84GxIGB2NM
xLSCiTWR0jULfwdFtpJdpcjw1few6g6y1H7lI7OkbTh9FQIFuNEdTBGf90nKhKeza+P5vpyjn1LD
JAp1fxp5l8IKnwPC+D5i1rTlXvC9ul9YxW8S+SeswUTwLetYaJXVHYKGanutNLdtcxHSgVdAGDyV
Lmg1e2TAuBVJEAmipQohO/cu6UHHxIy+9fEz7Wkm+CtCA6kSqqgAPiqrPQwv5iHAgyraYtIEdzBT
txiyUPEPuUDsDXKI4ax23LvY4D+TWK2cmRknqm6TQZK6Zr0iIyjITl1FPztSEy9/7PT2Mcrq+1on
RLKYFrRhHR/pW0XlXk5h/GyO8F1Gg/ynwKVKLykayEsoxF9TJG+VCSf4eHz8b2vUN7+Ky6fsV3MU
v/+XuuY1/Pzvaef/J+vi3Dgf1MW7OvlToL54AgHc/AfxFnL15pVEx+SP+Fdx3EWH4ykJDmxfDDoJ
dv5LouOafwiPcjkzaQ5kcqEu7X9p1U3jD3U1UDt2baWbUd6//yqO8z8ZHic6Eh0Al5Th/1In/Ssa
+5M0/28Q/Utm6hs4JZbdqgJvu1wVPMOpGHDU6zjtG9ovBHEJOWK+CVMIL6ZV3XaqjDvZySNyz3tH
jLvZR+kdnlt2iMm3icsPnMSkdHcv3ua/HvHlI50qd9QT2bophCloC+DZ/Pr6Z25kak0XzyQfUpHT
kll5Wn/vTmyLyhr+1J39LQtT8Bpf3sX2n5+mgg18S2E9qad5cd1XvtbX7WDw/UMIZ3HHWHRIWVnP
/U3cUOtpKGa0Y4s9NgaVAtNtGYovUc896Q3jvRi4eFpbfAWpcjdpPlrvYDnXAv81NCR9w84fp+z3
3KDOraZ1NVHnRfGoWd8aG6cPh7PJ1fFYy2isUNaF/ZvXP7QOOxXbQn85wWhJ7Xhvghm3+yUCnqtQ
cu6qZPF/8tJV1GO51AyOoIUXr8HsU+o+FcQn/KD7szik8GHp8e+6vQqKz+Z/ThKCP185xos2/rm2
YGD+5JXLgDN7ZMkF+aptMNNKJlIbKpYIZRsMMofxx8df7jiT+CLgUp/o6Drzr6idKeufLqk6AU1s
63yiHpUHv9G2qDZI4qdknXJ865kEcBAumc/Hi4hwQoh5Oo9kelVm3EhW0h+k2RwyHcidHWHUOtxU
9UGGxXoMx62XrpotqtlqofbGxw9+2qR58+CcDy9X59D4BCUKxAXK71J6w32mRT8RYFCWDIjLECBC
FTR3xYDMoXI9SqyqUp4pUhhidWMo/rwS/na7vP9A6lDyDBAg9PNeP1BQZYUOayRc92Fxx0GBVWJ/
FlXanorhz5wWecok7lk9jfdop9dZN13gf7RBqHVTd9onmeWxb3f6s1qKWu2wmJghPnkY4tgIfDgO
O05VfnVNDdSHvPBz4zBVqb5yRf9tjARkDAbo6TZHdHnwD0K3RkG//Y7f96Fzg5ugvcC/te2qetFn
6TNtzO8tlS2zZeMHOMe06TDsLD+7LVxMLHEX4XZeGD4JYTXdIyaq0NNSIe4okC7mFPqTXf8cG+eS
QYVnY8C6RWu/GyYlriBLHj2LRkznXR5D4ACrmby9KTrzUcude5NKsqYjBGAMCP8wfnPC73iivBcy
B2HFg6Jd5t9KR3cpZ8vfndvfO7W9aaX9nYocFTzObVhQcvnxIjzJko9rkGSFHibeGgx+n56QQRfN
egp7K5qyRwrqYHaIyah8UZJQjRkFgGt14s+PP/Y0Dfzzc9UEus4gPBbOJ7mL23VWE3MyQA1axnP9
tVMUKDrNUAncLYqtfY/rF0kJJo3xJ8vceucOcjkH0efbrmCpn3x2T8ehyqmzwwqy0/MmaZddjAOY
wnTa9VzRnukOdtqlO8Putm5zx9h5cRGMT1PnN4sAPyMmliloznFxUTageco6mc4sUV5msbmMsfaz
xqt0XI502M7qmDskjSkFaU1WLbxEv0L8UClz7HbVzedx2CSrqa2Lpd9P97ZBeb7LqZ188rqtk6yU
963Y3i5BB4UPDsyTOo1kRt5EL4YQwyDUrprsTheHTvQCNbtBjwNTJArlrsFdSOIDc08PnnttU5Hl
4Blp7wR1a83poE7U9a1B/GC5zyX9kXU3lnALk+y6Fvam0tPHI8AJBs565u/IN+Nl7jLwS1RfJe5l
NrTjzvJoZrbjtpV+vDFzFOzYc24lwBm/xVzFLcz1VGt7Tej3WgPtFyGj43YHfaZW4UTJF02v9tUQ
/axdn6GRIDirW8xFqMIGP3xc4VdJS5Jr0cZSzK+l4UcPNuO+Ernhxs7d3ylJDxkM7REfLjB0IHle
DvygvSo6jzp+gOgbbyCZXKbkb2DMAtxMS3HXzNMqEPa4I2xjMCYvEsij8z7WtSeaf84Km6benwKy
WLjMcuI/zUxra2qzt847TEwMJlVsAvysv1aV1S4LcJILrs2BqCSxD3Fn7tGQBWWxtpgFbHuffPZG
NlayHMvUX48jl4L0EXDmeLOO7BeVhdQlQrwJwoIhueA0IP4xubmsGJWzEfC4kN7ORN+BKgLnnXGG
dzGSNgcZqeU4P9okOZ9sUGpNoj8nTkCF3pMMXGQ3WZs8K4GdnQg0bUzX9V66iB3ry8crU91xr095
glwmKdmIqkznn5w/QhdBioCT8S6HBL8JKbg5FbVfq0ieOSK+p8HvIMZiRsUr//STOXYw8tFdg2CF
gtDry06pU8Z4YkDNbuie1fkXq+su6op1wMj9EgrDrnPFxhi4KT7+YPOkBMZehBmtIBs+bAxmWE80
5fxT5tTMhuR5oIloatjz9l3wG4TVpVtTmbYhVwxDSsxB713Y1ZeOYsAxh3ckVQQx0zXTmq8oFFZl
O8ODrq4HSN2mOd9//KTinSdVg7SMuUIQIcpS5bQXgWPAMFrPtoExWXAwKeB+U9J+NxyqJTwJvEus
mMGGrVyc4CQtCjek/hJ02mVq23dEa1B9PUL7QIcliKNhSsVf3bGuwarUM049J6dH62m/zKH60lrB
wpTjQUfP0Rf9gVgkZjI1VMBi2pfzAvZFsNT46g1zMu5E9XXI/L0WgxxS9Rs/Sx8/fgFvg1nUPeCc
LPIVlzjTfP39G1ZApQe2u7JFeYu1M/pJ7glTeTJD60ovPv60t3uBdeGoXM3AUplOxetPK7ENLPx+
9plAM585yM4VqiilClNryUqhgRSGYByCT9bj26vh9ceeXA36nOa8aArj0qdpndKWOKMXfO0ZdCE/
/oK2mgc/2e58FsmtwegKi/803ID3PDZ1bfirUDJ8V7cPmn1jTw3ymWldd94ugi/VxSrsQJwQ9fGD
j+G3PYxrKE3JShoccUEFk6WiqDRqFBLD3HiI0mzNIO03STeBHs4tpc90kfawi3Sb29epWS2opnuT
E3kC4bWxQuM+7BKIbJb9MGtNDzt3LIGqucVijnV8UOr5yqwiFBcu6CenwH6rNm4r32N0IEUOMIb4
Y+FZ01JmR8UblkgeJO3P0Fu7HZASWaS7rs1p/1f01aovZkr3u9DwYPcjd+N2vxPHtM+xjcjPfLGJ
7aYjCPIf9MrXlzkNgDMvXR/FB1pyHUyJYAITLq5qS2k20PBCMnHdi+wnvMmopmhLSj0sIvAlEMkW
eD/qUmzKkC6mJ6CS5oyooMOWvMj8Sp+UQk5CkdFt1baZGzgbUbVL9YHh/TRfJR3yBpWVRALqRo80
lF1Y17TTlIZtsqKzIMy/KVHbsbRXhWWMZTXzVmyRJNCbM3+In3uZ/BTOSmsd3EGUaCo6UMcqN9JU
6GQBgUfj9lOl1CLGcRBUXLnIworIpBbYFvnDTS+D6yngyuxL2rH0kklcG7Rq+Oyc18V4ppTBzhCU
XKfxGhfRcsbklCbwcxNOAzzieCkrDQhIyovpoLV4Kz1Kv0fwxXkhMTrzmMk3X9vbM2FCMIiDbPlq
tSJWN+O0DVLGI0ZP3/uNda2odl45HAYze8x8unNRcwv5Bo7qbF6V5covGAK+jxp0hxQerxmvxr/W
v5PKJaN0An6CRk/wPdWiM6NfdxWRhwuxGsPx6hqUikB1/twMiHV9iVmh5T2ampGdRSM/BOqo60hk
lEvGjd+OIV4ITOcX2k1Yltcef+xy8LvnDqW9mySbFlkNABeq9m62m1IOSj15zEbEOmLkzViXSes7
l40PnFob6SSaoqM54FdbTQMmkBtdh9Asu2olt6A/uJcVM80qnGhjTv3axtw4yvWrhtlLPNvpLoUD
9XACkc7tvjqQmLuacz1qaXJLyenhVTQqszLZoag4KOcLjMIptxrZY6yJ+9T2EQkRcimMmgJ1Excf
zInZIFoXvYayw4A6GtpEPWNu2YsmT36GDtwShqg3JSTycIDX6QGolgyZQeXnGIkJXZ3+V26MP3Bt
XBJ4439NT3m0KULUsv1VYb/gNpB8kGrIpajsnTlxZfXSWXulh/+6pwN1ZFw6g2qL6onSRUjvMh2q
J6c9yKH6fhQodjNxsTaMDIdP2o3ZzgABBC9CBgyc2t2DzbjD0JuQdGaK01McHIJ4OARa/LOx7hrD
g3NKzbfIQz55atbdkE6rLNWx/ayw1/aWcWj/bJug3Srri6M1wJgSZ2sDqcPQ0U4Ohp9xijG1KHVK
edPGcYdlavX3pYBRF7pMGM94WzIAz744axoI10JHEFKhC8DS7rs5t4fOv3as+fZYTDfQxDh9uHA0
RhXEVUwTBhaxzmy4VVM4NOtyLd3wWk7KtheaV32n2/b3Y/vIle0ezONOs/NbrXHvGEili1IcLBMk
te4esFzBsLhZaQ4/UFgptSmg49i3vuTFHG0Qa51r9D8WRYXMQRBDkKocoOkm3ELDKu0R86QxiCZ0
CJnGkJyXzBZKSQZ9vKs2Hn6T7TRox8z71gyelOmFlbrpInqiYsJDQ9VbUaG9ttJpz3vcVon3UBiM
XenGVwaz/PUQtsiU2uiWijz8bbaOPceXbokYQlR+te+U3dSQV0u99O/LLDz07vAtgxzmtOwJr6UI
CNOPQ0OxfTlkn8WcruhghsswwOYMKhRw7n7VA5efZlQxncNoXOIqx/v6ygYV79YYcKHdR87rnZke
BwXjRbejH2xpw9GQHtPLqeARpvR8LNwnp6P1Y0Ty3NPotLTM2zVywzhTyJcgiaKi8md3bLIQeWRa
9tRgeWG48cIxURJ0NdtSGOxCzWYumFSntkJxNqJYS27dVCZrX/yAXT9DRVcdlNbYQFUEAjBvC9p9
uEQtha2ypIiSAJv9UY5o9PxsX2blpV6O2pkNizgcoKeFdvV9NPLbJkShpqfdgzn5t90gfvt0haK0
YT/F9AxxYzWTAoGsESCdjp7zenhGgLpo5m7bj/NPJg9+WiZlJ8dGk2xr9S4Z1DfrUiy7HVLu4A4/
ILypfI4exx+2cfu16um4qbq2H8c3vjSfuoSX5rXoLcqelr2eJwTZFr1GjyrohLtZwJz/x7HOG69Q
FeWb1P5x9LPp+1nW62guD6zZ1ozaZ2ZuBHTprcdcv0kT/b5ISMLm9KkdFvaP1ESrFUl34xhPyRSM
u8x1v1FyRjDxm9x7UrXL6GzG9+MYdMcevyZuok/UQu9lhVL4uK2OqOqB8dck6ZuzoYFAnLm7Tpe7
Hnhrz8aEPVFo5Ah2DT+i+T5Xzq/UgJXuE0T3WG1RE+eYy0raukrVYFu8sNSaL0TeP0QSfpmrljvy
wNvcd/iTKyBniFij9nLE2NNzx0e8UVbTjDJBSe+Kgd6wp9ivwY07lZ+E5W8APLxbugeWQ9Nbp4Fy
2mMXhYUxQF74qwzN31mDvpkcKrdYIHTqljqGLmfmSLGB2GExYlwUhPW1GwuQ6jGdwx4zCaG732OA
s7RCh/sxj6nt49IzGOKynq3reM6/BJ78YkagrvsO4wdt0lcfLxDrneTK5GNAFWFipqoyrxdIPMde
22fSX1W6s5N9cVFnHGoZo8LoI64b3DLKurpOW7RZGQwZs742QwfvRGJgsibCoSTejvnwFOCIdDa3
6bUqyyTDvDNluFFNBBds7KKDoG3qxa1dVLd4R+yjDOGfpTFCRtj78TdSva7T6J51jmRVd9ACOadF
vUr6sIAp567myZ+QmOq3zP9eFjbq0oQqybYzNkkjv880+Kt5NFHQoXzWTXk/Kakgo+KcjFlhLRib
i+PE2DDEgecYMtKPn/Pdx/Qskz4UEE7DUz/Mi6zWHfgQCGXuCjnkdTWz0mcqeggYdDN74tiCCVgj
m1J75Z9/ML+4pdOkIKA5HSYXrVlHkT+7JBFAav08wVc2i+/jPtmL0fsaYu07ZxCRAcxmnxRc30m8
UOnplsewDp3F0x0z27GGSLp1V/1Is19Z2tS4ks0dNccRmS10qk+W9xs4AHuUvhbVHehrdDmPVZAX
b7mQcSVSq3FXacV5nfv8fz3zwhEqJsp98mEWkJwNYoLj8dOlPmZl2fXxhf9vN7n/ewNif9cK/7/Y
5LZZ03/f5EYl20aN/I97ksMof7fFrf6Av+a/xB/sEw4pSnQWlSCLHsJf81/iD49dRKfatWzWl8rn
/8KxeX8gTrI83aCmoXhs/E9/zX95f3A6ANKm/AaixqJH+E+a3Kpc/7KEiCEkw1fqD6JUA/nmpGwi
nL7FJS4OlgiiHpu0+IV/2C5xxD6OLETVxg+rMA9jnjMAUpKkVTcvXt31nx/0sqN9urOOH++xs/4s
Ffnm69PED2xf8zsKU2AGvipjmgZmQs4sdVAjKS2CT3i3R1XX6dellQsVhLfqmae6RtkSN7kDHuN2
Km4aY9/FKSJif5839Y2pk5mJ/FdVG2tqi6jJjYsmb8ANAMqaGWDtrXPdMPH39C9LM7iLvPYm7a1l
OJvnflmDQzIOaSF37bcpcXYexkk1AuZarCIq2iODLG6K0SBdGRjh2wkcVQ9+JzSAGnnbFOLlYHLI
I0NiDMhPrnBL/QG4/MzTdr0dfmkuKEHvoVFsY0zP1L9uJmKPI/K6zNqNP1QQtFKgT4jl4q1hhrs4
bRkHqm5c42Jowx108y8tcygKbFSVwdYs6lUAVDZh2Nrs2k3lMmwrvzeM+fuafq7+0MY1z7HCvNQn
7/ck60+OuPd+eSbh6GJ5DovvOB744oQzPLtrcin8pZkj4cIUPrGWcXMRkF07tfEPD3C1zHzFnSem
9Jk2PFnlWp8nhdPbPhjLauX79Qb3G8Bn51ECLAsZ6MeL2nxvUxGTEFgr92Csg1+vajeObLsbDH8Z
6+5m9vod338xOMXXMthrlj/gcRase3M1h4c0cLaZq5+3EViAYP4WMvgGTNy4sP3pxzBbh0lki973
f9NT+mQzcIa82fqqmcWT6iDmTrsHMpCFnfuTj7m1ByWtRW/J0KUtL+05e/jkjdinrdLjL0AXjcCB
C4277fUrEVYr8FPiw1Inu3ZGIGKNvVXQlIzsXxH5Kqdfh/6wyuNIGe1ddvrGSpori005TcMm9nq8
o2FTYE1tSf7zEsjGAM2luVCiTFvY26SfNkEPrpC/epCloviVVOF6hPTr0yVzDNAd47igf7ygRkb/
kH8NNpuiCCpHeS+VG9dyFoqCMXfz0gRxHBoo6GBCeR0D5dQbiqGHQMIMWhitjGaCnAGthCRZq+2F
F8NBNKszPfnemRPlQmtvTeMaHdteAV/08akSDwG4wtJBZ66Nm5I/LFHD+5iGmNO0yQ172xuQ9SBT
NFg4pbDGnBJQIgQGmGPbmjeUuiADXLFV9GOrbHcJSjmJpNMNQ6ysANtE33zty1g+2mAs4vaRLJpA
kZ4BFIgAIAZYKwhlCoURA3eEXoISZ1wn+I/E0UqbGROEZVlESPmt4AZM0CYAIUH7cBebNlQCaId8
nbCOVthJL4fSQeTvr+A2rocqWmbz1jTOO1Numzb8Hk4QbvhTZayt8ftZmL3kK2dH0EXIu4pHbWVg
g46IZDWL9jxysdQc4LUwNzml0rw0EIduI8wTLxtnuAjMeFOEbcVoV3GOEZy7GwEgzBO+HePAHKYx
6ZiE2chyM42WZOHWixGp/0bzYNj4+l1KvbusyAQy0haGVdKOv+d9MNi4EiPJAE5Jc6ats8heqF8g
5p8rrg5RNsDqbhflzId23TnZMaXX/MLQBgw7xkvFOEvjAgF7s2Sw78zAWSPcc89ftQhlW3CPYcWi
KadN7QsGA1tq2wCRChagE+3pHjzX/G5OBwZR1Qt53QxqrrpgrbCOCmBQtvBewK73EHOm0CL75Zfw
fvthulWkCllSSBlw72KWpysHJBFgjyBTVCFu0905CJDVKChX+PG24bdLZud2Ztgti/Jrr74CN7xv
Svd2gOc28SM0QMunqN0p3Kf6Zh6DEY02wukINm4QLtgTk5wuXdCaUpdbI7ougCQpjo7ppsiEpiVD
Usuos/Z1JLYGJHnBdpJ1uPn4QHlzexCsOMImOHY5wQiUXh8npsu4TKNFpKtlf16T4Cv+J33ghWX2
Z+plf/Jxb85K9XmIHlC+m+iyTm+r2aO8A23Gg7uq/4gbk1Z5/UThURlOrCM1l8QPWJvBatarKzVW
5YzgY/A8alBpjKBqco2tIi59p3oqVNyeY44k2YojyGqFtdHA/wHd3ksveRCceyUsV4/9GOi/I1gX
niqJRl/bYj5osJtqvdlpwFtaXdCLhyZVgWNvsq3iOqmN3bsWhj7n6vfoWRMhBB603UD0dJh/j62d
gK4czwGCIjJeuRhwQbRnN4SbBklb2nGulHjct9eeLiCY4skp7a1M6rMMcS6nTTD0zxTL94Fn/NC9
dDsyn82fAjCpWxigUD9++aa6Ll8FbceXzzWqjFw8T9kxvEw5ZTPJNI14+epFlxh4alBAUAEVQfvV
d9m2jKwq7E6rqTTevWO+/BBuFEpV0Tg495c1le0IcmzC1EQNokRvIHFAm/34QVHBvH1SdKKsScQi
rJKj2u5FUDNILc7sJgOnVPfnijtbzcNaL+N9jsMQKsc2Eodp9i/yYd6wYS6Akq7KSe7NDOs3kliL
Eeo4+9KU7ZUPtnT0urOaII1Ow3kM7USdSzYOiwr6G1ccD657y6pcMb279MJpo/7ZCFE/rNZYbC2O
e4KDP02cRdckWybr9iih9rSzGHwBOGs/pwK3oKq6Mm1rn5bttqWCH+TjRoOSlZkevzZY3lrszUSj
kL2dcGOvAWuttKw/V2eYHTAwnhzGdt5IIb849LWzpN6l5rCpgRepY8RPxbZM0WeXcqWoj4qGa/sc
DIjvHcBCVj1vOmBDnkyXkulJCbtfFRAwrVP02kQQGNVwnQJzXwThSreb3eilFy7NoNCqN1aP9QGM
qlHuXTO81UyUOVJwifL3LEkVP+QCpZQrFrM/bwSkAMUYGxRclz86n/B7Uhoaxj/nHIKx5i5nM152
6cF24y8R78FLKPwk8sYvRuqyA1/0iKlQYJl0mhHcJNsY2Kr6UxXnhmbQRsh4TcGCSakRRb2zbU2o
Ypb/rQjrJ5kU10iVFtrO6rtzt38ocgO7Rh4B+FeMV3NWaBdxzSxc+s99MDjFKKFAPHRIKq2TuLTQ
RlFlc+ovA/NxEv0a1ayKNLYfbwPFCn+7X5VeFs6goZrVr/crI23xoDkczooOpvHiBxsYDrxRjLBX
3AU3dgbpgM9VtDCFj1bnhgu4aNby62kEsMVd4qNtKGN9OXRioaBGHtO7NkRWLXS+hpJRkum3izAn
BvbZAqMr0eQIAzMR+SDi+04E91ME8zPHkXtMmGhIL8YkWEngYOEg9uDb8LsCJ83DdOhzGsAHBh9a
2gHKzHZXQN8bAQipfzd1w001AJ0gMFBXOr7e10YtVxqNLk2rPslUjjN/p4cd5VmmklSG/4aZ2IvJ
gQhAIbasigtFzvPU6JkZ7xm6Wui0IoYsWnlJt2hK/hqhtC762N2o8ET4Ler0Hp6gdVDfBI3gZeIn
j0wvgzID2hpH67m/rDJc19vhUvGvXI4EPCm2BVhCO5qhMlkrs8TGhdAz5HaKp01j0CDL6PmE+Hok
82UiyBh1fsiBeESHp8oF8PECct4kCxz4FBh1yn2c9rpzeru3gz7keekve4mvqHXk3voe5108rF1M
RBQUsAoUeZawCHxc6suN4sMlFuxCcgoVt/Wuva17Rn/a7+ogTnTigtA+jJO9nVG+TVild1GM9R1/
BJi5Al+TntkjpntXUwoLMAe3YCyDpF8f2eHYTBQWh/U4IDxiVKjX1qUg2gmTrXr1KoYDNr1sv6o5
MY3ovjVSqrNQgkW3gpBLE2deVthSyDpDMQgPDIsHjzGhbh1OpOHNQFeSHxeqmynbnQjbXTaC52MH
fPxyzfdCJ45z9PyIcgxQQq93Z4rLpF65hc/cfH5dtoQoiovGQdwaDuSPpe91vOR5CYFx63jJF3ea
N/GYXWAmzHVgHlLvdghC/MYAYXYQ2ULWonr5HvC9LrQXimzlMKfP4au+98dPr9LE091hcaIYtmuY
jiHUynlxwZZzIcFgxVQNonCVVcNKQRfH1v/kJlf1gLcf41KZIzcmjT+pF9R40Y4I2zjBRu7F1N4G
0Mk+/ibGeyEl8Flaisryg37X66+i+VWdjHniL7MajjHLUMcHuJosSgLksknE4DSXIoF2zd7UKw4l
DjOw90QI4ZkQ4tBW+Sdv972l8fKRTu6HvORhu4BH6oJuV+tAFsPiWqHtTICI3tx/UgI6VttOXzM1
RzjclEYdrLZevwLbAYLU6qG/HAp5o0CgSZgselwPuiRcqci4YirNIlbQwU7nnUPBIF5kk/jkzP2b
5wAHrJyblHXX6+egZGQAVgu8pU8+3yPQGBsorUTzESRYd+ZQIMYVpP1ANBOwnP5QnrXa7uMF8UbZ
yKATP5sp8A9jDI5a1eunKLS6l2GPD2bbtLs+y7YyGC8LKg2+DyaSxTDlapHwf7mBBO5GetwB6FFo
DW6BotvlzWPT91hTAHfl8BZgvD9+xPcu9pdPeBKI101ZevjTeNTMVjQEr/Dy2BTN9wlSVNFRygGy
qJLdjz/0OPRyukqo33BkUSWnmH5yYMmp0lyHsJYJVqBFWQlgtF+J6rxTOaubXKhfJODUD1p4KhWF
APuTSaj3vjY6VxUwmcCMT2dkiiQMR1g+3nKogp8GtQMT6ogHMVK9+NKhp0xJTwH+Pv7i5rHLffrN
mcGnPG/S5BSnWtfBNnsxI5yDxUSRBksIBYJv9Hiv4o8JIZiMwxt1bHTlQMkaJgzCiyIEVGqtOrmt
WgbcyeOwgTKvVaLqZ9mDAsE6HSsEn8naZ6Gx3DvMpoYyWoatvDmGtB6323DewjHMvfTB0ORe6+2D
N+3EpO9Sjl2vVYd+t4j4SxXPVJKokUu2SbsD6rJKyDwVXlZFfQn+t7hsE30zvKmtFDZXIYPVHoup
mw1QaVWSOvZbSGjrWJCyqWCFDErVzwSF0ZaLWaVydHJ3KhSyWPxIWnZTfWGRRQTE/3U7rtuS2IdL
LWi1ryPDeVVm74/1QzO4UbG2Cjs1gh6hPFuI9sgwFKMgBvJYRCG6HPeOwJ1+d7+5rKVYZE3GbXYZ
dI/q/CnipRYZyykkieLzY58eZ7xGpQBTp9mFzrisCA5UnUxRI1EyDRKmU8eXNfAbobaioPN65y6H
ZqUyf5rNGz1OwU5eTM0uMKgB4nlfir1K/507OePVXCZbZ/BgblE+c6jra9YWvsLK7gjwzGnTk856
NTw6ylTtHSwF3vdIFYhCWw3dHwcS2KSMZmD64fYrFYko2xGTwqWT/ExHDXN2FNzzvGkgkSrLkRbY
bUdlj2B8XSGanKzfuqMtj2YlHP9zUWM4dqXS/Y6+gZWLrao+hFhP9UzohSLeBrW2rvMIrxhy8kmj
rTTAPoafjLFGC+iVWMfyQCtzl+XUMpkUWWtghBToVPe8bWKsFRAXgCdCA2Sicb+uQZaqHBIsE2a1
xBsUIKoW+QRO8qyNbvbvuq58COvb3unOFepT4XbHwjrE7bAOZkIw46HKWPWIutgoZ5MPK2UC03Od
Tgj4iFNsrh7ZU3Dh6VL94Ob4Fs4lY0nN+pMt/V784nKQ0UhmNAsbptdnvBFYoZX5Lmd8n21zT2wV
vjjF1T0cA3jCOQBpFiSRrG5t2wG6bmPtnYE2UjPuLYeAWza/CHqDp8jof6ldJKkR+RgwqANfleJU
CvXxM78XjMOv5Fl1VzesYxzzIuRqvEprgbxTfTEfFcN1sO+qiZVF/VFVBtuw++SWsd6LvjwUEI7H
GLvHeMPrl9QYReXLkGOvRm6MgHYxYvhDDehRUFNviFhTzzqoVd7pYq8zYQ71ZatqsdgX31tUuxNK
/qmV4N6BHVHgXWiEryrTCQuWULOY9HZZu925k4B61iE1ZF9S92YI4AyD+G4DuR61X2H9//30/6aP
gyqT/X0//evth610/tt/t9IJERml+KuXzrr5q5VuM0huC5QZFpg9ZBPsu3+30pnKQjMvgKwq2g5b
7q9WuvsHVmRqko27lVlz5x+10t+sWnqMR10+axY066k+RcPrYQhzE9cklTMCQpq84JNQ6E18fvIR
J9kPsnci2IGPYLDw4BVyjTtOxK2rHFrhYX0yYvtm4x8/Tbng8mp8DLRfb8NW6xPknXqwrJEV5/lV
IUgCYUjDnmQj3amI88Xvfv1nYPNSDHAEyLyKd/hE9A6GYKxfwVlOTkffLupKn6dg6dHCs88KPT1X
zasEg80qmDZVji+NBcueG0LIBDXWdNlO1ProiqiXPfX5oqbKq2vO7cdP9t6rwB5PR+7E0BFDvq9f
hREL+EHzGCwLqd0ooy8JVVVxwUP1W9eoj9LxExLO27BXvYwXn6nW24tzV5ghVu46ImTip9Vs015I
n1yKYPm0VMYUZQvlj4QgJwFQGaFNw+HjL/3egn75AOoue/EArYfQqa740mUa0wWQeymS7ccf8Tbz
4kseh6UpSzLDdrrGIOH26NhafvGATFPHCI47UeOzkviSmc6dk4mDutbVqe+30OVBr7r55pOneHMr
8xRAz5ju10164adbl+HLzoSPGyzxAGkp9eEWvJzpB04Qx5Mca7dK7rDGVaFfbPssgG6J9qvKvK+y
aT/pylvviQdc0lBm6Axi/9M00A8mL8TuN1haw3kORo1i/9aHI5zQXFQF1LrCYsENz8hTvuYllSti
IqyyCB/F3mdcrK3G5RzSmOTCUzV1FampRCWkjRyzZ4k5L7qScJTW8dTPa0EBkajIplXbd9Pyk1f7
3iJiK3vIeD1Vbjo5RKq6zB0hi2DZCkrltNeVBaCythBmtwCosCllgbkEGkwCSCQcB5PdNfkPsrE/
CSvU4XF6uCCoQnpgqjT/tKiYBWiagyEPli5y9HFaR9SCfS75sgACREJn4aIgP1nfbxgaR30TDkN0
hYQaWzwJZazQMxhqQF6V6HdHRxXSlXmgBaMgufSGstlaIbsxaHToMZz5XuwrHBpgZFyoE031FPwJ
467Jv8CUmcZquFabX3W8VMdwdMHgEsUE/lUxX9a0tCfLubUQE+jTuFGKBK2AWV1WmBrMBMD07FnW
yitSwf/tmYRAv5ts+cmGsrz3dhTibR3fJSTc+um+nqXnJVrr+ksnSLZA1Zalv59TitnWozn25ylm
Ef187YAEQQCz7GxVp6XcTrUrn7p1NHY7ZhjXk5Fd4OqijEX8LMY5CAO2InoYmRxJqUKXDBIP41XF
woYkTkegXyvLEzLmY3eIoZGVWxNmk2ektcWZ7WznOb6ZiA6V6GNO6H1SvEzLEGOCSqWE2xErzNHC
bYeCpjIGsvm91AvXAUM3/0neee7GjYTp+lb2Bmgwhz8HON2tzt3Ksqw/hGTLzKmYefX7FGWP44x3
sFjgBGBG7m6SHcmq+t7vDWB0Ix6BbFv0Cip0MrZlMS5TR4YKtFkGfhfrwsVEA8TGCJUzdWaHs/al
DPpQ3WFrfwjuBEHSxC2sGZF2atMsvJAeBRXpMBp7GaNCfPTJNtqDTNtMguzoUbpJ2khBnlFqjJuB
FBz51mzCedo+2ADfH9sxWLb5kUl8Hzch7q+rxk4/VGNzkN21WK93PUHrFBEbGQlHVsMeBvFegfrs
k2zYj1fwdmiFtesG+ZdECCRaIFuFA8qmFAW5bCtURL+gvN0xKMkYVRhbJ0vTT7Lx2NlwZFC/Nyza
izrd9FlwN4rimQmMOh8li+JEKP2Hs97zwUz3ISPFhRblpUOMp38OCvOuKut1ZuN1O4UwErr1FIfX
Ik+vgkRqjtD+0VSXKZxt0Fy6kOIktcQekm3lXLnkL8i4E4mVIfThnDa2vuJhrH4PqLSlzniQ4W6E
w2PE6pHNsxpGGBfxhbWxjFMiXCJIffhzQK7255BfV05C8hev0kuWkmS+ADc9EWF1l4ZiS6QfQi7I
IJwi2L3vpZxRhrUogrRSQH7WCduYmEyydmDpxeqdivpMDsQLz8BWjEWD0vcH+tnUyYSH8HIFAaPB
hFEtzyaDPVWRrmQvB6Q9wfQ7c9BC8mIEUm6mlJ6A3awjvoku4JtiMkhgtgBho1LMd3jByb6ybTW7
AdP3sDtpot3JGk3B0luJ4bx45Mbo3jHO7a1MMewcehWMyUqkbhLfOoh+KZlQOp+oimGaJIDNJHOl
NChEnm0l2iQDy9rPWQ3mpCTXYXyhx5hHQz0g428tiVpJR9rWrXzEAnZJ+EmGusUpxF+7dHEQtt7X
tFmGhmjKTnEOWZ8Scd0vJBkhzoDXHPowvKVSYopOfyFhn5rYK3U2FUVZiMExep213k3bOlnaFm81
22sBQC1HGQW9PCAO2XCZ+BFloGJEue+UpKxCc7B6Au8NPj+JhohLfKCYkoa4/EZdzrGCro4xpjBe
aBz3rLXg2Lgp06Ux4UU0SbxvbdqwtRARJAkJlcDEMjNL09t1ofb0fnhz/N/C/JHnbMgHi2hrx0zd
qUUmD+BQb/ZEuSRbNUAGDj1qAEc1iSjsQrQkNcFeUIg2obrBTmEvgs8wi/cJnWbZs+4HIqw4mRvI
QxaDUZ9hHqHq6xY3St5JGjLL0gaXCJqZsjAwOf/1O1drl4UW7yUrLODXlWsIibVrIvpAqA+tZ94k
EhbTP+Ces5DgszTDa5Jxg4Scz0QWnfXhn5cGv5siwEBcy1Z/1+hEc26nbqN74EHiEsAJNfKwaS39
D1PwL0qRN+Yh/S460TJq4qdlLE60aVnhp7mScGBGFHTIJyRXdEEQ1JUc22SGpdqRhDSSWwWTQhMk
x/jJStIkCmKlWXrKEKUJzog34AIOD0u1/PdGlzwF2l2DmtgvxaXPwOI274GTjj4IVcwS8p+/r18E
Im8fxAaGcUFH4Mz+tB434jAHzfBWQRSToXspWXw1AjmUy3esI07QGVay0x5DoR74V4HSEOQfNLt9
mQwdLwQu/JgoLmIlqN/+sLrSfrfQAwbS50U0vL2fuhe6lfapkcKsHntGC6UhoAKkNZ9eJDdE4ooT
Fr+wQ2n0g+KjCJXtZ0lllOyMf/6mfntmffdWfvqihg7lXg2ovrKM4exUQbwISdaJkVf+8+vo8ol+
WlICiUHcgFmscYb9tLrr0ipS9MbwVlOffihV82QTi1EIsEqN6DMXxg3XXd75Fw7cRsl7kWTXRO8O
o7g0PWUtpw3PFzsF1ofwvGNQXBYVBBAYCH3Y/qGc/8XPjvOHtRhtUwfRFzd++lrsYBSpg30A5EMu
acB5mfVWK0ww9/xy+HrjUGrppLFyjpMz59AkcKfkWg6KGeuNf/7u5Ffzy1dn0MZl1lVRMfz01Smx
Y4RIuel+ak+yEyBD9WQVI0Os0/xPyMJv6ncHK2MNm0HT5cbPr1aasHTIdFnp8S5rjQtbeg3R75Mg
uoTcCaz+54+HLuh3H5Bhhe8cEofl/PRtp7YYsibiJUuTFQmTYsul6hIBHCUXGLERP2ueep8VKOQE
uYsENaRxQEuwZFBaex96hTxlatw+sz1a6/1o9DR9OD0mfWuNKeua9Nh74SpOPNS+cPbgEkvSygTx
pSzUjSS2VLTK+gpjBmM5cLikFLDk2oiAnF6b5Erb20wvQcU0lym3A1h+XNWkdcXLzvWOUWKc3NDa
N1iIRjIqkUzeOmO1SjhYhje601noCNQL1U92Ek9tycF0aSEx/qhpdRTpskDvnyBNkAalA+t5coqb
EmSbudGF8WS47YVsIEj8Qk7o8pqQK/BWUhprGjaMcGVKqZAHJwXFqU3GQttcyoTejhpghIIoU+Vd
Kjl55bUe03AtLhXZJIfAaHvJUnYO5JqXea8uMPNmqJ9giprKSjJjMYvaB2HyueNaNYBxzHa4UV4k
ebdimSTDtiQpRnYhZCtG9nkkpUmun7WqX/rquqHfmnfkkrGID1Xlxk2CjaXBpQC7V2DsNY6+N/Xm
YPtbq4wPcrqRdDr4V1Hl38iMZ0KHE+VAgiOdB77uwjvWWNj6nXs04mCXDidizwj56dayCaa10LhZ
XKRAQiWIGLmeq6i+G514C5yGqnSuTjay6SHX0GH3rCS3dgpTjhqlolxyyKmuGw9fXlyZ8LjuDZhV
/BJdU12qZA5540BQyrosqRZ4gohAwzw7SJzJ8G6tFohgME59/WRYMpmQEwpylJdRSiToqPk5wu4l
7st15t7BvQGasCAlUVWo0ZLsjJ3k+WNwvs/sjzBE+C9moWVJInpOQx0zMNGMmzZNVxoCZaSXNWsq
GmcawvWI8YoG/kdJpbd94yRbD17g3PtUx75HIZGPZ/k2JT3VTFgEkSooL4DAg8FP62qgjWDZw9nC
2Ni+M9oCih0lXv0kZQFVn11JHFXGP+sw/LTS2PdZt5PUTGMknhLsgizD62nEM6UAlgFyKazkOgeG
kWiv1ewpLE8yEFyyJqQaIOCp2gqpeITRysIckw+s+81hXSuQhgAL5XkrZRBvSbTdWl5zcgGSefVO
NrVHVhumilaHAAoP0rjNDEJn4qJxzYVOTSeDSGOISDI3287AZ7EtUPElcQq+ZoWfi9aYRXkkO8VD
fzeG50lt/tAZ+hW9sxEQI2vD89DTPQrWH1ckOJTGLd8PlVag3MqqJUPII8mqkkgvTzW53oiS4NZx
eMcmXDJoUsL4E1vnVyaNKqWSNqA7AjY4yT++jUKtVKEahJjWKWc3tY4fmAufM3TM/mTQiTf4z+O6
RCpt6Hm0I22X0f3HFyMyXclzJXCR8sd7ZfLGRYgDHQ7c4U02LlKg8lavniWiRlDDtWIhEGGSCQ2Z
1vepp/BsreaSxKybscBgumPkMvS96t0NLQNM2K9ln1sZ+hcby8LRa3ehnYmF5vaHYapoOo+LrL03
ivhp7AjoUWyoolCFejrIFgYqxThTeJnM5Q8AcCA53S0tRo1Metm2dSHm9jZ+G6DFeLfg3+aOG8nw
6nsCKYos2fp+e0Csty8c41QkQBJAEbUT3VCj3NRcnpnoYbFDX85B2gsZO9H0C71Wn7yE1nZyC3N4
W6Qw8iVZm/CaadmGwfvYJZLVtqdzro3nvmGAjmAQlzaszOSsWt6tZBgNOWP7RFKxsE/4FNzV1hr3
nWssua8aGePksvq2Gu2jbSCiITAhUpJ1ne0lXUbPgTVo8w96tpIVHAoYGamdEwPExIMttLKfgpVE
N1Iq00hzb5uueNIzIqcpuu142toM6JLOaJrNiyLC13GwcRN3gY3G20bx9q4NJsUAogDR1YFyYzX1
c8ZSbpa0dP5tYbMSN6oWBgzU6SR438BMjjyZ/LyNwxoHecgjPuwYRqd9/9BLxgb8Q9/NrxrLz4j3
tPYSTsDR76oH+zJ4HxK4wzr1pmrUNXOQVMoUDe1M3btNeBtg1tdSYiFntEqlRhTVehwJngItShXv
Ql6FUn8g+/QDJARO6v0I6CUbyW6kr4bgQ2sxsZTQZ2FWJpBh5QzilM691qMZamDzp/kx9IZlk2hL
s1RW80shJQkygSIGciyQo4MhiFWlWzmXeJC30a+sfDdY2HWaLOCdL+UiYFSuJQZiO96D5DmmCR+/
hsXdf1JDlVDbKF5Ihrsy3WS9+6Jw8UppTBsoDwuvwuOvN+07GeOMbyB04M9+j2jL6zcyW7guObdM
H+wEG5cRkYQRLP0UXyN4BrJEFtZd6pq3sXrEuuQyEu3ZSFOo6mBHeG+E9UrCSpIEIgs+S4jLUm1e
TICLsG/vTRvFfx492hHrnpAgKGznn6NEXdhkApcjosrGeahI8VGGaFvr7g0OHx/wbLognfTDiPyR
r9G5s93sykT2k9v9unPPEl+S2EDPSezX7qcBv8EZPmI61wdC2+yE6R0RSdouJTW+7WHcoKuBGX6R
4ypd286m0Iy91z5Bs55ZG2NxKZTmRWa5mom/NzLchlhKy73oGO5lVQ/uCY9AxwbRFqfgo1ymRCQ8
Y1V2iQPtg2sOLF20fZhdGW4MLEC0ha5vlBGuusTHgzx/xstmHWcG0boWq1cMEWZq/dT/oYD7zRjr
QlOnn0thAPHppz5gA4CdjaRLraROrxiRw7E8kphobeZHCSf982Jdk2P2D8WIFJjQ6mJcM38TEKJG
WAMaTQ7fOOb61RMMZ4KTVPGokG7kolRet3aB/EFf/uGlf527TPoR8OQhQNIm+dn1YcSkw7bN3lmV
sJGmsVpK/hXow1aiOBivbKSQI9KSJ0N9Dq34SFV5jOC8S+KVRIpIZXj7Nv6V7P+/pun/fy30Vbba
/p6nsCjy50i8/uBlL4/4yk5w38ExQF4MDADJAIn+N3aC+w6WgUMvj/biF5v7r+wE/R0KflqgDmUw
4mQO+kpO0N/h9K5BTUBJQQH5r7gJvyiSsRSRRvoWsnfXoQj+qQ03DDrGaZOhAWjpD7bdfBqVbq9P
9km6fKei/oxOQF9kVvZR19KXfBrwwutuM12a0EpPQ8UzMQ8cqQxSscy96aYB7liosAtJi/4TNqBJ
v4QfLkjerglDii8G+g6Xx09vl7aGT5c201auw4pEgGormu8s286LqL6iU5C993JCNoN+OoJrLlns
BYvMgLwXaAWSUtBlNcFwusFQiZUgvlc+eZCl2uJi7k2XQq90lkgmge+s+pkrLiv9pA6gnK4/6dhq
+tVSs5pFVbhinU9Q/bKYDIlET57rOliloRwpxyOW1jSXjCcVU1FKs/p9le48bXqolLZbVLSOMKCT
/DZBgeHpqzYxC8R1r7qn4ZVn4PJk80WGDdoKzimioI0RXqX15LTNiCxGf4+O427qHXyxi+QqKDp0
R7qzTYQ0V4vrAUqUgKmEC1uQNgsfM6ltzT6J0azTJCI1lPzWpmg2WUdAaYNEFHvU20wNq2UZMkPj
nWNCoJyGLFpFTkcwYQqhvJrCz+TCXKma+lHBPs8kqqmkxugrheTOoVy0ma0hQDPJZzNgnk0f2zR4
zTBfX2R9kRDyuhiETq+cH5YiHJTAE5GyqRN336of8iqm5Wg/MezdjlNwXVpXQUCEe9erdxHo7UVZ
1x/1SI1oJxB9NcXiWIpui95gnVbGR9XCRSuc8DhMgtckS4kBx/IvVKsM5x8tWHrJblTjaNEhAuzG
8Ibc1/u+N1osUz6jCSnQICfTmjA0W2kNXGAJiRvM9BziAuzVIyYNYUfQsE61Sr897QO4s05Fj8It
xcqB8vE2+P+rkfa/M4biTf+xKEdBa6L5X/83GaxIMOzvB9plK54/Pv+YqC2P+DbQ2rMEhAQqyEn6
d6EhtvdOg0Cka/CwHOsbBYxBlqRtuu8qLidvJISvo6z2jmwLZl9o7dAUVCDef+Gmons/kwzkOIu4
bibw4081K5u+48zkhNXFtu/oKy9sHtOEDCZ7uqEkKpbteBE1uI3GcJEDcvWCHKEqA/8iqzYyECr+
4JD7J0rsBXtM9schWGO6Rd0lrcQwbG2nGsGwQcU0TGLZJ+UqdIPnsvUFqDOtGy9l7eKzYJykl+OY
EErpmz2mwjkxIQEtPQzz8RcbbdKrXPtqcPHfjwmcs+U+Q/JJr/sn11nVNJlb9XMh3tMveBjw8sLU
O14LDR9Rx0jKi+Z9Vx9STTHXEW6w28jEN9Lz1tRm96nAbh491wBvmATmTkwH+hLgy/6wiQZRrmLp
JtlOydNEXBPKK28Jx4lRSgPYqwjCovHPKFFu47ZDN1mGDNKknaB7qC+KGBlIVCPGj7yi3Fj2Po/S
8oKoWH3FnFDWH4KQbzJLqseyUjKi2VLGgdSt1r6FcK31CH42DVrRoKTNQjsU1tBtdJVw5N6b4GL0
8Weym3bK0NQwaZR4RdFRXdROyegX3wZNQ8aUg93+gBLnUAT6naU/C+2Ed3q3w3qkk4mIqzGN7YXA
6nUVdz0KS438L5mTlPsfJ8Jvl84oVnVM72VScOlOQvXBjo1rKmosTQmcpFFfLkx436mdn2s9ntZG
T5ibAismI6gZN9T2ZPbTQ431y7qx+NGHdNMOwWVpF7vWjz/Jdorrlrdl5+8zfE2IIMaxkFBjIkLd
vZUywZU5Vo6x9QQcfjRqFAUUXpFhrU/LUsScKN6QETw8gDCGB5r2NIP1a4VVd9rRZa4tjWYj831U
1Y8dzm4XUUwkYUkjDYMMr9HvPArBBX7PJqIsfAgDxtzICY5ulH/GgIQqCTdIzD+bQrmD/XT2Cclb
6Y2/zb38ScX1R/Oee374RS99cy2zPY001HDY+phpwaHsxCNmsNFW5FA+QpOGReNwojWOvVej9iVm
LTMkPL0eIsLjTH8oRHFVAa7EYftYgvvFuYwG0a2ztDOcTFThlQxcxMB4rxWkNxv2WovUB73qTmPt
IB+1SeVtro0al1Mjce/wr0UuoDSLDoq56JNPjgKiFepcXa5D1EWdcxqN9k7qTWMcI/Pp1ETwrCyI
LFExXXuSugKN7M5rJoERRPQU+YQj+ua09wJ3JxStBOGo3E3WVCr2S8pzERnIHUlZkDntiajrZRMH
h7jOnibTuI7c8HaM4JjkEcoP9ITICzpMTgfnVbGLp0qzx+VQ6h+LEEtkfTpEvXkMk+66o7M+4RSd
o0sfE/LrTW/rgqwWZfI0lpioyYi4qOJsLqppI8KKiAa3R2xkP8ZKdWv0nL5OVN1GTWag0r0QNPqW
/fsxTbTFd0P/1VsR9gMn9DdLQYoySR2zKIRwfPgRbzM6kyShJtdXTWUsVY34+NFNVnkcvA4jmbyO
jyNscszLAi26Nrz1zP7VDP3/aS3E9Pn3U/Ttc5Q3/3HR1s1zE7X1jzURR36dqvV3UPbw6CdgSHvz
KvuLsW28I1LDo9OFxNc2oXV/m66dd+R9s/5HJKHC9XbZ9HW6dt5J2w8LzaRF1xAx1r+Zrn91A+OM
8lQKcDi9Fszxn84tsNwy00dkvmrsnM3exjnYuJY5heC7u2i8MNsbXSEwvWvft8Q0TkF7OxHXl07F
VsQMMxgNaqkU9GTL6LrTPfxpl5GNg21Q7XQx0uuCKOObM+kKEOmu1NsbdE1LGFR0e6bl0A5Hp8uf
xqFZ4zByxxiHuwvh6iX9LDKgE+WVJt8Fq3P6WN3NlDlrD5mWN9J76piYvWw9MH8WU7as+xShT7sy
lRr6jXKb+3S53IglOPnrKbbERKsKo9i0RMIbSvk4NUQE2JgPt6AbpPyoAWbg8XRPtfM5Lup93iOz
t8nfnFryLqZL6dRrRCsS0faKXW9MJ7rI9f6N+/o/cLn97UUpX+uvRTFxb19ee/XcPP9wh9Ze1IzX
7asYb17rNm2+Lvvknv/Vjf81/YOU+nBm/cPV1PzH6Vk0r/n319GXo75eSVwuGleD9OuijP8GLRjv
JDrAGlaKifAao/P9FVpw30nBDouPX4UPbILu7IEtwEw1VNP5N5cRh/xUrqPdJXAB3paKj59JP//H
MdoP/cg1R6zwyLWJ8CsT6MMHct4fLfde5mzq2gc1hNbpjhe1IJMb17qRucVjTSMDNeuCEKruSvdv
caRlDfuKa/hicnvs7Q+ZZS2q6HOBzVOY309QLtXMh3qJ8XlvMu8w8cIOhduMWGjYaNk9jehFTCeG
QDlqeGuVFmgHVYykePZn4UzrTgXb33l4RxSEK3vpdRJctj0GuNMqhUI2JglmMvdxR95MQ8AIS4AQ
k348IQHGByRPGDpD9GwKsRgJuKL0VEg8TkJ7xRNHRAnjnK5248KBMC4cDQKbT9v/fa++T8NXHTdn
D1t3lxITx+2LqfMOnh/cd+NN7d+4ZNYQ8IuIobUvxWC9RJ32UKcW61DPLxYftanutqxHuk1sEi+g
QeHtfCwF5LznSbl0r+fSDuyDqqKUhVUYL/jxSRzQr0GtDqbqL8rytcru7fbKiqCvBRZEgnblCX8Z
Vcl+orKPAcwN7YGG9+RDk6hWhf3SjIwfFkVHry+A4b0YKwWchEYSuoP3tX3T6+ZSPuiorzLEHOtX
sqx7XLb4oKwg8wl7pFDByJ02Wfxadil0vY2n+FuhTbBKX2FWrrxmhIWNi364jcmNHQYMFPdQKFCY
cnKk4OP9i6jFcsTDncAkIo/f5+n70r1SYKk2ioI4mOQhBfpj9ppbWOFaGS4zyX5sXgl6J2M63OmT
t2g7wIZELKGC1X12oXfcZHGj9CQc+QKEZ7iokClW6TUGhSsVem6knWp8yNDaLc0sXXvF/Ti9RHwT
VblKxVWL4jgasKTjV8MQ3Ez7rajfq9HeJHopVFqMamtsNFqqNRygCvRsrKxQ8a0bX+z1fjq0w+vk
kdQuzOWFtN1a2HACq2wZGDd58T6uXqPKPLoxTL++fh/lr03wOo81/wOD7n8Hq/g/cFyWipu/H5T/
N4sb8ZxGz98PyvKQtxEZmts7It8wbqTVYYOpfh2ScX1i0YNg2wCfkEgE3egvI7Kiqe9sKUHwLBOU
gkgcBtIvKxvFMt+R3wk6i93Jl2f8OiV9WSb/U3ip/lOf2qWjIDvzMh4VtiDOrrLx8B0SQRBL4oy6
h4V7hm9bK3NRWlEONzWw66YPbCgFiFGvcPGfEDIn6vMEY9kVMZdP7nwM20K7bxJduk/U6iEeY1Ie
I0xDjKbt7wPr0fBS6tUpLRe16FoTz7UggZij4eCZaCQacQ+DrPhyfny+FU/iwtBEd5wfSnJiSJIp
KTapk/lnlSjHNdbjDr4Kjn+eH3v7EwfhuTOv+gkXe6rL82T007Z0tPbGkNmjidbEn+ysweqr1J+y
Se1WpTGSnlxBZQsMOpCFQvFg94gcEpID7gJJ2U/SEVa5T84DknkE/Lab+gdRdF/++BNE2PmuGQ8m
dGCcFNKchNW0DQWmP2ArCsjGDszpVPV0z5uBa7+m0rokJ0e7bOWtdoyKFXVNfPHTBpE00SKBU4tp
FfsJL9qqVXrWymBAYoXgoFKz6Rlnn7rS4xcvMCIIUTpRY8I/1nhu2UqYHr79EYFIDwHkZhsiOMkE
6t4dTO2YBpVxVVi+fpWLfFgmfqGuQ71q92aLfWPfu+ndpI7r2hfBY+n0+V4p7Gg13zXx0waAUkd8
zonJSluUUdXYptpi9JMCcQoDemZV5TnvAv7EGuF98m7fFxq8LTJ2mgzz3AUekdOubpG1E1SiAiHo
6MFVO/ygGjkWYXH1SXGsVxFUcOTLNt5EBrlhzZDpV55U/Y5d5j1MTrRNHQ/PzSlPg9MESn9M2gFp
u+LFO8wYzN3b3XlL5BHoPvnFgL437ClN7f4696JwT0AQdD9lEtpFAuzBWC03qwWR2W46Kicjvyr4
jhd1NWYnLu0MkXubkZpJf4OM8czg+l3o8nEtwGNXYEKXwaQcLICIwBLGZZdU6WbEtuhoWrVNzIKV
8cZq/6iLTFszEw04JRqIzg1jusNoSFn0xAt/qP3kJVOgP7hBvjZTz2U5UeA5o7YF1At9SZeAaZDo
QOKWSh7/bpe3m/OO3w75sqsYpzWGhVZy6qNQHJ2qNM9Tje9tWno1ARq+ce4LHbEV2ARfQsNMlNYb
0dvOtZhnI6VpnzO733RWXH52IuXgl1705DaFuizKyV9+N7L+tshX1R8boa4LmCtTnlFJMW796nhu
KWNDoLAz3nUWRnG6h1uoI8xmD0ewPlup3a1sGhmPrAAv1dYaXmNB7oURFksoJkoNgDSoS69vMUQo
tfAFsva96w7ijp+82plDK0gxnvQPXqcvFCMbca5vbKgDWewsiuQBkVb66g7Ashi9G/dTTwdCDEF0
BtA1d0YEV8AROEvESRusKihgD54bD9Dy0GNFphrehpYb3STeeb6DGYlAzhX5O9owGS5omGJUFWsl
AiOgnU/YclksBx6MTCZged6dERC1QSd/X1k04gtKwmOilhgoGH53U+PtDPFkOoItT0fc9ydom19v
9VAfQ6MydvPjVVx8CvPA3Y9uPtzYAIC1VUd3cQviFNgsxBWli4/zY42hhuu2gWw5363URjkGQ/k8
TiH2uIY6nijd3dXQa/oBAn9zlZUTcc+9FZ31iYag1Q3OUSnAk5JtZubOcX5gvuXITW/bU2tJHoux
TOLY/OC4PlNQXr6YlZ5AqtBdUsXQTxZKSGSf3GDRjxqgUz2UlW1v2lqzNuQa9A+1q+AFYhYvTpOx
EnT16tKebP/olVPM6MyGUk2WujqqH9xcy9ajH2i7JAz7WyfOXuYdRGRnCwTNwY0NuWuvw/eA7qe2
z6LdvD114Jn0/xvzINRBv6oTG8xLPrUeq7c48bh3XtdA2xiBzFwh4kc+5vrtqdHVLdWii84N+b9n
comH5duG0FkPZR08mj7qK73R9a3QPVKV8xyNnvw46TRx/cXqldca9qFJB2NVJZH3GMcEKaUQ1928
TzZ+OTUnV/7xqrI5zXfnW7mN626laglmXWyY/4Sl9/1+E7mXG5tW18IwXbNbfXuurnQVvEAy2Mij
RvjSX8d99zQt7uZulBzwh8CtWZiX8LGsg2e3eIFGmXvRjzZmjyKJQuqnv7bMN/vCZb3fB7V1mO8z
AzxHo8u4JHecH3p7vLXMw7fdvnusCVMiweRmMnRDgqHyZjXvOD827zjfLaZmOxiVu6ULaR/mP4m8
ZUex4KeyZHfyy+NdUNW4mMr7OGuILzfn+2VfoESSW3xS0pYm0qbVfHd+rvmWWySoKsL0NnH06tbx
WsSJof04ApNvtMZq1p28O9ndA0B/d20UvnHldPqzXU3WY0QAHX7HnrKZ9/LreOe42TWQKjznPvBW
eP11dIeckSS8fjrNt/LQVtdCFNq6jiLtWJpOfyj1T01jqkerTtr4HA25dXDFDfXc1C7a5jmMo2pt
wzza1w4oUVXvqyi2xi3Z3vp+oJJflilNnbBELBcLLTnR2rYOBpYbOF+pBlIA7aNW1FK/kLWbyRme
hKYzhdhNdmvGU7FrFNdb2MBzxRIK4NEIcBOOPCu7TSOUHpbiOst557cjRpWWt2oTkMXx/kSueM2v
uZrv6k4TbatBeAslMLtzIoisW3jwsteTDZzNs5vGxtXLFkZvQd943j7vqqpNd27H8iqDBbDrm6g/
ixGLtYXnVekJsfiXg0XY2BtN8YnSka8wHzbvXRRCOVmAARUO4Jlaj0AHFc5BuYbhWJ/ZBzjkp28P
SbmQV6K47eE8IHabzKy5if04X7Zt0j0FJHZFpmQF91DQO2Hkn7wJ5kFUqcO9Yo/4U1lmfVbbrNxN
GqMIS6j3nhvxA+VtdTn/aYa4urxU2gBx7vzA5JvV5eR8UpQsOruhYD6YHxp1e4WMzj6GnM0Y/7hZ
gG0rArXM75YpDgZnNQi8Y6ON1cqE9PRCnmM0ROIFCwxtpddDcWRIFpdZbmTL0qztlwpFRB703mND
8O1aTNiqR4MNnzWIae7Me+TWdZYH1hXB9QdEjsYmKW38X1iMQy+zHqYoGTAmVq4No5DnhVuQjWUG
MYL0iXhwy2oOXtXBeggsu4DoUHyk78FKsgzy6SGp3OY4tmGxIay9Wllap9+KVKTXFZTN+d680Y3d
zzQ6E5xc+OMmHbcEK+E+evz2sPfXDvNj4C1pgiDu6wFWcmMHZYkCUyRfHv92rNG4fb2Y7+dxQ/Nn
3DVe5N8HRkH6o9/DoPWR/fe1JkliA51YeVfFPbfpQzqq8l5s3SD7qO8VjGNvjLZaz4/aQ6+fMwz9
53ttmgUHp6XGn++mQnMR0OrRxXw3UqmTFPQZTqn3OzXQ6hwySOHs8T3/8keoChHf9eDQtIrZPG+Z
76tjCV3BllaTcu/v9pmPsTht0b7Jw+ft2ajBzhx6dVtBEMS0y9L3aBCtm6kVn9pOtZ59EbYogiz7
qtOK4jiZRbWaN8QONLWqax/jVMk2iopJgRan6gPNq928QxJGQC2TMp40y+Ar0n2JvvCUpu+y3I3a
uygisYtxK1rDRbGeAmM/b/e42Emug7Q4v5U6bb97K33c2nLBWWBJCDhFipP9HPJWMCP/5a1ktvfd
W6lGbTyVeYO0Q1VeRRFfjcQHIRRXh4dOBzfsBuuSEKDhwci7ZSLU8G4cuvouAdKbH460Nr5K0vx2
PiQF5TpquC+9bayzJN1VpHyt5q32kNMRNrtyjZF2cD3AwKdxmyz8pISRInUCulcn5zqZ9B1+wfk2
K9PkKraNcJXoafUY5c69AOT7bKa3w9CVr9pAcTIf3dEevXBwN3o7mtYKyQBl/+XoODTLx7z37rO0
MD9bFg78SvmqjgQCarlr3w/yaOuvo+fXzks7fnvtiSbBl2FujFv/nJcuuhXdnzZUEOGdXhG8p05t
/Kktyl3W5e7jKEDRFNwTj2pvuid68MXKNEJYpW6G0oZdTa1WoQSN/rVdqsTyKSmcRvlsaQNTZ95l
0qvvni3Ks+xoYTN4ylWyDtM4W/t+Q0aswh9/6j/3QaRyakfm9YTM8VoJqk0x5NV53osQFe/KGA/z
pnknzgz3WHk1zeZSursJrDRDo4cxJZ/1bZcRZQbRbAHrKKIll75nU7obbrb+9jRDk04AenWwe3sj
8mDBLK9mJpjH/NRq9Sq8pL6an7iYUudMq/ji21N4kxkhZglfvr15A5PRTRFzGdL+PEUeFUFbRQ1k
/9a5tAI8bgEfso8TS7za9H1Ehkp18Xd7KMmdDlG3iYW6t5QE/rrddGArQutXwBIAvYrlnwEeSIKQ
GyRnZk+K/OnbQ1PvUrebMu/AIWo6LPrsmCq5fTf8J2Nfthyprm37RUTQSuI1W2efbtPlF8LV0Qkk
BALB19+B0nt5xzrnRNwXAmkKXJWZCGnO0YT4dCa3UQ/F3MwL390ACCzXJXb0L8YAfj0VkFATLY1e
2hpfR++6r/bSKSrVs1C/bQgLtWbJcqb28qWITXpzG5JfaRm9aheged427h4ye8PSNrVo243p3Glj
mwb7NFTFgngPBF/wOLLxoa+pC3GJ3qyghdxeRApRAXumMXWuEmjfrfBKai/RfPhXwA6OgP5elGYI
8Sem4JDFLDgQXoWHqoNj5sJ28sbcTBlAG/q7z46xo78vceiUQBfin1v4DmxlVezi/zbf2mvqPXJ1
S+nA2Qgm9Fn9oCqkrccqH6+DrGWygDsQDGLLawAm1NX2+7pkCxZU7vZrRBJVDy0Y6PfL7Bg48I5Y
Ct0vjYPkb82q/MmttzEUR/+aJnj305zcUAeqQdEZ/EsIPtgDTwboDg6NOWfGRe0TCQ/8yDKyFkPX
HAo8lQcvp7O25z/tGPPcWpiovffZAHi+zdeYyQ4n9Q2OlcERJnn0BPaoWVJUJCFaBL2OrZCdRgaw
WQSdT090ysXaUIoFkuLhNU7T56Ic5A0mmuU+gYoI0EyeQPEVNZAm8JKtjXalkguwoSkwmxq2I8Br
riMymZNfcrNWgetAvq8nwyqKnOFkD4Yrsw6DwVkIIrFUMV77kGXeG1bf5tTwNDl0NcRFvKgcF6lq
/ePgvac68F4GeCsjN6GeDGu8FyeeAG1su+Bog5Cwy1Z9F1cPNoq/xLdAG0UrG3X8qD3kBepRNgrb
aXD0sWhdcmz1X4MEWbiRyh+6cEOQgKC4aJtR7Z6KuMLWNXfpSaAMsajaTu8nCYGUMopOuTeOL4pF
DoSJIQFTTsP4MffD+Hd8aZLB2RdNfxF6vMUDS0/2EIG9BiTm3O5R6QFbU/DFEHXiFlFD7mdtpv/7
LHXGbBUkQMS4WOEfx/ngdXF/BJQMCpRdNC1SeCrBWnMaviJ2TCXDVC94E27Syot29z66DKKpPNqh
8I/GgO+bOvC0WWNpitLb/De+A/8eWJhGbWmVPleBXLheG579+eDw/Ougqj6AjYCp1999XQrbZ+Mp
gVVgrfFI4WXAs/Yh6E13tQfbD/gzpCDLLtt9B0IkSyAhjmn/u09MDK4YUboiKSnOth/Zp1m3c5qu
YW12xO+w12uGeq0jAVyKS5KTR6GxWlSp/owgzkJrv/jtYnZCvZ3Sx1SkKdRZwBEzGQyjOtq/jL3a
ISkSPPk0b0FWgjhEmMubm2h+hOMv3FznJnihIUx0+nYzksA8lo5P+yfo06DeX6vsFHcQjFph0SEO
LG3A39VyWw10U83p9pDXqyQevONU1+DNsbzSy2aMfPA5Ea07k5zt2Vj20ORU7c97PwEJuS/1yRtA
eYXMgNpWYeTeAinhCl/CfhbQzKWvYv80OS45e1RUS5uOG5L+iFd99fa/XGkHBHnqLzM5+Sd46IEr
PXIHkpgc9iPfq9UwD/o9isx26frdbRe5soD/h+sDEt6HkBrpkRbuSMPk/K2Hx6Yz4VHMB9sUNTQ/
RwMyx9hKWwfV8AXKc7i4Rf4qBJTiNYPQwQ4PSbuUfsFfB4CljrLE+0DNzalT0VnnEoAOtKg3V3sz
fk0qsU5Yk7+aOsleYYOkeNe8pDF6hhJUr24crzYEf70/nnRrqNEHGA0K9DJMy2Zvg9wLBvjueOHW
RtupNkh9Tgs4QvPbvLoP65seKlhd+9HPllfiFqqB76oSlVwbNAJpG0dCPtU2hznpWMEg+pwvIoKf
Swr5LdD5JqTC+ujDbaAHYVtlFSWPLQqteVEiq+rJAyXk0xBwFTPafngpoIEMSMstdxQQ9bB5+FFi
d0Sy+EPGAmslqCKCD54Vtymma9uvy3xHSBq1G4D/AOjzUd4Fjyd7NmCCnuMm23c00VDFobG3moAZ
XyXA/By8ggxXJmCBLQHJ/tknxSUmQfLaqyzewiiMbHt8I28NVWf83/ufwNAFi8Jz22ua8+iQMUNW
njTvvVOFANep4g3moeupLd0fYemU2xwW1NDzQDOa5Ez9al87EqS7RuHWE8zSHvsa9d4MmY6fPnDl
SaDdP9no/swiUr1h263XU+IFx9yT5OClYwau5eC81AkA8FmXuH+kPkeBaH/XQBctomikq0RPqFFP
MTt7hREwuBrG9xwks7U2lXmQRZC8OLDhLY3hYqmIf6rwkJ95wNJnKbBzGOHCfHRKVTxTsH1dVIVe
k8LJn8OMzmROoxac8x/R/FK1b9aCSPYAFO6LbbmVr6eFfSHbNipf8HielTla7WR4o0XOKeyDYNti
3791WDJ+QOSZq5D9iFAmRIZ0yrZtAO+U0QPhn0NI7UlL+UYSo47CH4enuEPiBbPgtZlbtssJA7by
kPNb2+b9ohxoKMLDYx5M4PT5ZG8PSAl9nX037RMOGQyQEr7DGURMTFjWT6JygvFYSGT3dZSnYJ72
Pur3ofTUoi6C+JCHXXzAbKm3ies+87nru18W3huM+OTCaaAUssp8D2pETno0QIifpcPJXgT6veEM
CjCCiQuKj+0uTBXYYNCRfYSJJJw2vFx8tj2qPp5I/hgeL7wmjK6TdNLnMYMbLQRLFfjenBeLKVLT
boDc/xFVfFh883J8jzpYl+OSYN8xM75X/TlKYn2zo3r4hS9T1xnfM9dxlhXPwv2EAkfgC6zM0syb
nYO+Dky7w8YZK7gbeQ3MHqOhOxbay1amYeWzCAOxEq3gz6np/scZKoDi/2ecvcs03w9Vwf9xl+87
f4/LgLNVeE8no19dsTuH/zwyGVewiZ8w3aUH21VSKCqOGhT9wIjnqWXyCovx6G1Md6XgzmsK8sZj
nwYH/LejN2WK4Og3yFXbJnSupocU39jKXlP3gVqjWutucRa93WedYBhRd4xB/FnY05EzF7xn7h0r
JrONItNPNsBHXTXrRHIs0ftUBask5b/V4JH+CdoQ60k26c10HgO7OkhvWJCyhZn77Jnts9H/c1w6
tMeqZsApdwPewotJdd0qYvgciyDFmm5ewPU8Ww1cjjc4ImW7JsWKtpf5+IEMGeyt/P/ut+P9zlwk
tM33MGz57yWQm3TtNvWglfG9NuI1CXZZos+QNjAcS6+6uYkSmXhCm0xi7m3BPMyz1yBz/ddBg+La
q+Q5iLrAtmpQiZ/9ecKp+anJOV4zEZhN825rbHOsbqRYfO+u7GarqMP45EPFy0iUUyECsAZMcVgO
o/DnUkL9jh8rftjje4u0E9jmIOMkDRaoRVfzcyL1fw8F/DKbH5diCrMdaiCo2g0o2lEPoLEmS/NH
1CG6fVqPs/ti1L0PAV4xPeW/vkdw2OXs5ay90hVucRt6DVTYvu+dgm0DyXK4vMAjLPCnNFh4ZdZt
C3eWG0V9mrCWPCpuypOXITtvv5KRtL9HyCA9KlYi1zxlyBbNX+E8fpIZeSQp/b/Hcx5Di81OsF39
m0F8buu00BqPaIXtDMNy+p88NNZA1dX1lYfSBys3wwCkk9RQ0Be5h18plimfVe/FS0j0NuSMpOxT
V/n+aw8iL1T0SHywTez+YYsQP2rilq/MM/0q7KErYb9Qp22/mvbbljn5DUYeyN2x/FG3zatHQUCB
IG9xaZuiXYR51PwYe2h2gKQR79Mg7G+Yyha+g0/pXlD1ugkve0BjoE2A7+WSNfHBZ5q2YCBA2KLh
zuWOwsCiaZnnow+nE4AyfCiPbsLsOaHNeOlyWu/YEPxiUkggDfoU8NPB9zdNJLLlfQjsa6GWBhpb
pSsNr1xMIF54UXDpxk8DCfMdCoVY9WStU0JOrzJgXicnCJEusdwgq8iE/QX5+nCbYX96KBs1HMqo
VbDAifKrRC0ESjGTv1chwVIlntxdzAMfnL08e+5Q/dqyPv40wsQXUk6fZTP4O1aDAQrldh9k9iDc
E9BIkqaKL98HD2vpNaBk82/9P4GikzCF64aj0ak4taoRJ3sGagV9KEh7vfcng945pYkfoEIcPmon
THdZDqyibdoD8x2+adNRItuBPZGmlQvhV9JnSzmxv6HnoFj+T3PC57qXw6geUZMPZqTlnyFzATCZ
D/ZMZQpFvywuD/bsf+v7DtjLYBVdLzRVcm0DqF5n4GLSaqeaPnGvZOzlMsEOc+mq2DiQbC7xEyl6
6dAlMNivfSP5zkGyYd+FYDYqSBn84CgA4o0e0QuvIvEIb5AP2x8WrF4jO1/viqFMV9APiPqnGOvd
g1O76dLEZX1mjZiuk1EQj56fTV2DvOcjY3ke4zyAtiOqlsmUHOyh9SYyw/94hroMOddJiiaR8Vd4
lPAVYbloTyZFdYJW4hfpQsB9QlO+AKlK1gXWq8eBZHTvq6HeOl3tPooMHhFI4vAPTHGnqkrDv7qQ
q5AE9S/qAC3Ul8nX5WkSRUdkW+geG6l622RDvhtUc4QMsLOnAGjvU86/zr77Ch1BGvu7bcdgd+as
fdd77HMHRKSa4OGLo/vBNuGs9JEDz60hHOPCC7Fmwyln/BkcJBBa5pY9wC453E0pMK8kR0WoHEAF
My47A2X62c0tCOHJg4Fw19IGadKIhynm0cpGg7wKobWINaONcoV9XNgFFC+2wrylQjSLJsyrk436
JDo5bps/JmWolhnrwPNiUXEqsgGSOkFRngBlA0t34iPc3tBnozbwr2ZQa8irecpblSmEFmHgVEyL
QjqYVEOiVhAj5ZBWCJKDPWQUZ3lP8WV/t42Q7kHDrEQgtZLStNgBCNzfWp/eEriOXWEhYl4b0G1t
d1OmxQl6r0AbY9d6i8uUbRJCoZEwX5SkDdQcMa0cbXOuqU5tNb60Y5M91ql68pEfRxKTHezL1L45
49Zd4w2J6u6cr6ReBvWhuQ8LW0h+N8ml7KJ83dKygEVsrB6H+WD7eOkgoTQ36/ySw6B45/lxNYtI
OZsIKZlrEWOyj8Foe3Vi5i4wM9OPME0fuRwgvxXwRxFMYNQYOmxDn5tfrZMgMSpd75ZqZwTdyumf
XEBb1g5AKieD99LD0CNN59Zuhd9q7WyE53XXbP4zrBTNv/5MK2D6i0Trf/0ZNfnDL49lOUjFvNyY
tEaVf2DJYWTcOVQcD6j0kQoeNLIB/wrYpj0YpVfIcvhn4xlnpVkNGxPJoZzmK2C2RqD/YBA4tyvw
vHNUVo5V0NDHRLLo8SMoHLywJ1EcTc3wdpBeBZVU1X8MHn12ohJl/qzKj5yxBCrr6Ndld0tVGDxl
OjNHAP2QcWqj/oNB7bbymv5wX6KU4C0t3XJLOImeoUPVv9Re/5sCE3qEsFT/Al/ddpULiEDZYNvR
DnMip0sb5TpMz3EWvkbVdBFxx5eokfJN5nBgxzrmY3Xsc5Seo/HFzYriAuLlpZiDcJYfHyCGxGcA
CkcdBAcGaazVGEMQ9LuvGjt+bT4gAQ5HeLkyKJ0fbXYQ1f+6XdXeAi7O4THooRgGtZkFh2fJQzPI
4LXCgmf13RwFBOga4X1FZRN+RVWyKOCyisJczB4LDxtyIWT8mP1zlpbtV5+NGn0OWMneHFe/IQU4
XZ1KNS9YC4Jt4wc3SSpxGFFvXNrmFKUb0qcGrqjkPZUVZHvqypzIfLATmBP5f3UoID4UUP04ivaH
nF8ppccV1OjwWNs3CSmR60rr9zyNuz1kAvQK2Vq6EyRlQEmAjg5BXH9tVyiRyJMDUGwlsqh1/dIF
unqJz8WUZfdz5QBK5w0Eq5ea7EnoJccJW1BIUtHmp4y2piqmN4TA0Jyk/9gHrwwQ0p+y88kSuPvw
DJe5FiAn118j7eDfaDv70CBTONLxE4o5xWs1YfvdhK27a3MdQZuJblAfGvdmMuzqAmK06PKy+hX4
3ZYU0YDfDZS1Y+8FdFj6OKKG/ewRUkDlB2rkXVt5ZwPx48b43jkrwmZR6Bx7UjE1oBFhWWabs7Fk
MY47ZwLbOAzGD09pIB2L+oVJUh9apPlXQsvxYxTDf/UbaHB99zt9D+pUn2HR7Smzj0aPeVC2mqm+
dOTVoi5RPnC0B9WCOJc+UvcZlPeYOUwQRDjnRTeeG1id7wFwyRZYrQN6GwYoFLVqNxmQtDxXiI9u
Sh7AeuxfZelH+14DaelSX3yYsn8qXWRRu1q2xxCY2CXrIDzn9fRPYVz1CBI10BVV6CzsfaasObsi
/CxySbZjm2JzKBNMDLbNB4kFlWZYRo56+E8crJivdmHjwz9x6K/v+rQvDz1tOvyXebMWyGNh7uV5
dbaHMUvhX2haVDFsREMqEcW5tjoHSUvXI2uQhppHfwdsc4Axx6KH4u9h4FjVSIZMa1Z59efo0hsk
e8RzrKf8UIo0WmV1WH2CtQvVBNHdUCZADi3rOHKlUJHvC0gTtT4YGiZoz3AhggIxLaYIRB3Qs8ey
BjB2BNXFhMWma5n/ksv6h55I9asn9GMYPP2SzMQJjdSHQcLniPT7NXPGoVzWvCMbxaQDGFJegr2m
y6cKUnILIE8n2Dmhr2cGnrplR7eGuGozlWN+QZlQbVKDt9i/z0psOkBiXvVejzKNR6C53pbJk0YS
Fl7BFYOkZxyf03SW0hRl5MOjPYUO7n1GVngApHvTmQf5ciB56wu8N+tLjty4aTx56lA4/groMLs2
QWP29z7o94sLMxDvJl1cPtw7k5jqnZ8l46nrHINam/Po5Vl6byUQhj22jL7XRYIdb8Xf4LoZnMdq
5pWXbrgKCyekq7hgxZn6wDcjyCc+Qf7KleuhbaE4ooFePdxPoRvjrCAjOxvQV5DVyEQXXLLWWzUh
1pZ8BLUlheT5jDtC1TIVBzxCDE/6fJq3EahDtvd+itlnQD0xoivbaS8Kq6xiS3uKvBqUKHldbgfO
h2VgUnYN+7J+6EeQzNNw7C5ukZarQrvZj46nF2zznT99pLCVCqrPykVmTOdY1yATkz9UEBveRTA4
vZhqfHTr8RY5XfTMJhCcunB4CAdMyEsYkv0G9b09Yu8ePVOlo00my2Blx3ZBQS49xppMV2qZJO3v
FPCi/Wii5sH+enVuoK7lkXyDqQY5/fk3awOFgF7jgPTsonWC/JLxGo7M83SVj/AXq8bBu6RQAP1f
AxzS4RenxBUh9iH7JIfBQAMBpwtBbgXJxuaM/EIMwAgOaQKZuAapEaxqMSLE/4ouTD7Uyw4bfdiU
o/SoHOxplfFOhaZfh2Hg/gmCJwwkTRauG+miFmw77RjK/WAH6uy+m7OcCwEN84Mn6AisHg72zPbd
DxA2Odgz7ftNAwPW2t0P8j2kDnL5HKD4kNUbzsvmhgIwTDbbwj0YljQ3kP8faNqzp4n5IJMDx2O7
VTOiDq5mrdH5oqYxzQZzHtmQwTS3QgrQ3kXZH200DaELwVvnOWwpXnZsNp9Xj2mt6K2HHO9DF+Hh
tM0ghSQjckGAq42QSATjbTr5UAlt0qB49SsyXlDB/B1BGuwWTJBghatXvLZXOqP2ISlhIP4z39dr
lrVy25uXqfBUQ2cZwhO4iDoGmjg5fMPsqMmHkIvMgMQgY+i81gSUv/nqMIuyo3ACPFFzU2D+XMty
VHi4Y3KrZP5GfCe4Qu89ei5qdb8Z6vL9HiYJS0KBXElsfc2ZgvQkkLQ7Qfg2O+VNDc2HPARJ5J+A
ExWzKD8+oohqaFKovrt6cZdfTaT5wlYhRB0WK1cO9cGBftFbqxM87qn3Yxx4vY2wydgOftueGg/y
GZMBrVUk2D0j753/xJz8i491DkxqVu0jQXwYhujy08fPjTHI3KEQtGFdIg4qBpC85m33kRhAsRRP
fvqxC4EHUftnH2Ibx9Dr+5Ua9PQz+BsCWfVaBuI9jnyzcB1JflQV/Tn2SfoLnpSndCDd3wR4IWIY
tH+U7IBWntttRNq/Gf61ke6yX9SEP7EOIj+QcTEgp4Db4UxQaIoh6njWshdnvDPF2TZ585TWYXO6
N6boq9s2nexZq7I52dH2OtuNuQ2qeDDzA2IO1U+3K/F3y+IyL6qfbJdQRbHG4teb1WCRJpiHaXi3
moI1Z9saolod9OD/tgNGWg1Pk1PCFMeFpfh9/Hwloz5WtHq6Jj0NNiAqpMglNV6xSkPSH9z44d5y
eZcfi8AwdzcXQndFO97z+2ygZlPAgGZr0/0CfG5kF5NHkBGi6+CFP2y3HYVkQb21NYLqP6MYSgcu
Heie6CY6hfMBDxBdSKC617keUKTmAFfeI7WrJOpH6++xNvbdRAlJrvMyqZf2TjbwfXlQBe1KG5RC
jeMQZOQlgf9EF6O0JYOtbdpACVX8DRgAYEQELsEbE4eolJiaSf5hW3Ysj1H2VCUYvrgPqBvSwTQ5
vWFF6uxtnx2qWyCTE+VKKFrhjyaomCx0wfkeTpbFnidiWoQM2y24Wso9K3R2kXAMea5cKGt3TRiu
bDMq0vrJc55tQ9kBWAEti8nQLZJu6jn2MYGAkvxmg3aYH3Z/S63owbaSqCMPgy7r5eT6A3DgUCPW
0FaDrD1jqI0GnbcYsDc5oyImVv3gd6saEObzPSLnU9TpsfkBpWMz0BzDSw91SntNlXR/ZZkVD3ac
vc7220PLMCXVotuHjfb2MgwPuV/WV+iQLpxEdmcZ9PXVdoFlEK1NROOlbaYp3ugcn+fGrwIotfip
ONbzwZ7BFRQrQzPtv/u/h9kzwuE0/903DEBUVSOwXN+B76iO3b3pgGPmM/DQpYAqxE1bXkqKPUII
tYH3snafNIuLvyoZVtrnw08NQ9bFhAzyU9JWfJvEYJYVQvEHys01L/t83zi63ATIV7/HgYIhKKE/
IeQCE42i8i9+lMcHlTAUh5U/fWbuRQSK/hy8IV3VXYdtXwCwIGSyKCzaESDRbw+OpZ9lC4uXjqjx
0CY6vxYQYIW3DQZ4I9k24GW9Iw+vNhnoy7vCxwzcEQ21thaz28h9uvSZi60xFoiYuOZO0cvmlHU4
wy6BYAZp9spzJd9+B1LZPgk3RcahTDMoc1MfRrKgf3XU/xw7L1/V9eAeTV73V7CioZubNcFn1Ihf
ws/YU4Di5x4wp2oNkbbgs3SvHSStP5QDHGlf83pX1372ari82hvi/VEtaY/PBQ5Fw6JRATtr3cbQ
bJjEoR8DEAyy+BxqkES/og5082TdotCNsfcAVJyiNdiSakk9UkGufnAMkO85UL/1mGwhvQbhP1GZ
7RCDWhgO6syhwneFsOiyo5RBiDuEgU7kg8nptgKpgjlK9Iyv7Ud86lHwlseewsSFLht0nLTa11X9
HkKfrV6rPCALgmT39n4rX9X+yQF0w5Cg2mRAxyJ9Gq6As2xuEEp1jz5Btd8hTXNz0yTGViGqNzbq
eBrisH7hHWyzhj0Mdbw/mUzKPcDukV6AH+gfGxHgXSeAjmlAtVpCGtk/2sA0n303vbg95RGkpCOh
0lvuQDqoL2N9rtLEeeMDgeSPG724LKqePBDVIqDL3hw4W0DUtgxhw4xRNSwJthM0etdRDvDImFak
3ciUMriLw3gBahrlPsM3+8RmJapmzL2fuee9hlFFX0zvtqAbdeAnxWn/pkHJsgMGD9Ahoml4NXnQ
PHRBvqyQvIJN8UjPnk9BKOLlybYckDHOWRrT82gSBzIELFnlwDigLF/x9gD2ys5eyninAzi6YiAj
4u9k+v7B3sB22TOsi7AlGFykwu3g7z8ZhljesDg/3e+sRAdJpwIWVFoRQP9gq4pEl8fgItCy/eQM
WbS0p/bgYkkDm/U5nkE18WEUkOEDWGGVZQ1/r0Ou95TjDQOQL3/vWBMuvWmM9zZqNJyuRBG9kkIp
pMvwAYc1XqbYC4M7O0BMkQ3qYgCDekqFqg+iyv8IBa5MRiDj5MRBf99hqAxaQgZSgxU0nO/bD6hS
+PdgTsPogpngwW5G7AiQuH9x7muYYWI8T5i/cQ322TbIKn9JfR/LUQYJ/xQ08tkO5uvMNm2Ae7W7
hIsMCgr/jLNR3TQT5BXmTuVHAIZ3+tkG0jD0D5FfHLSg3sar/QqiAR5mtLwyAB0M5kkxKndgb/gL
UjLzFPXDZ+AoA+RZLV6ZEJ9gMMcnyJ2J196FLlgLVYGDDVahOwteMrKzURRJ21Xag3nrQBBhmfnQ
hQvSOJqWUR/KPfJqQA+mZdbsbTspcPbdvI+0bacPYM2FQgN2W2Cz7cSgDk3GQaah2Y+wqYq/sdE/
BgIsDEuMWeqmzZ8cAnUE31PuEXkMcG27qX5IW1ZeOiemkMbNi9cxRU1TqL74OWbBDsxk6PBHyL/x
xBn/oCz7k2CL+q4K6WPf0/qPpGUoL8ZhA4e0ZtijDAUWlhv3F90JH6jmFMr0s6hE4rJkB6oifn5z
yVl5KPX7AZT9vWzAstywBXblwGRULoa5eX8fFoIufR9GlNe+ts4icEZA29tQPwhCqkvKB7inzmej
64L14ZX1Zuo5+qoIcv6uEsHK7TEf2YH3yDxaIEO1UQFSqaWq2A77A7nyAcBCcTKibz106jeQ+ck2
U9PSN7jiOssuAGzNm5tJE2ULbwzkeUSK+03jkWorxp77Kg8vvPvTeR2cuYivDwGBYB+AntXC9tnD
FM9EahseoBCH3HfqFQdmXvgAERGdNMHNp06wTiXxt7bZMHyZMpaXuoijVwqWnQ/rjRsJUf7410UG
mJBtppHE++eiaOqiSxuV7SKtwvIl9Aq2LLVT3M+cSJUvoCLQpY2ynHydfY8TufvZdMXR5qjrEJXd
VpaQZGn94DXvaLDFr4WsFJwaX11IlNfKiTY5YI7LEGqsL1qJ5Jjp4I8/txSQ/k8laso9w8e2jJTz
ABGX/mqHNnlu4CIn6kPNjfcSjpwv4VC+1LylgPr17wGyHb/8MvqMiGlewHnGKimP2bYeHfI9IDb+
Z1gH2QVVwxjq6dnB5sPsoQy8fgv0l4GKClJmtg/wHrlkcH/a3nNrnpQPsSm7M3bJiwkCKvsQxLQ3
d4TgCEhL70Ub4lGblWmw4cnfmXElpGUeVcDHvT20qLjfz/7VRxIpqsV3uID79yYrKpjjlT3Yzh3P
8GCq+tg7DVsnbgkBNr+rgNQbkj90i2RufU4qvJInMT3pViZ/lOrWPmHJZ+NAKAtbKPexcwEq8xoV
wZRgqM537Go+oAaeGUhXYoMAIrwwXbIBfdWcmOM9jSPQ4BA6dOfM2PheIlUNUax6OGiHDO8vNExj
eOY4/WqiEPb3HfPSjzKfC83ZA5XJ9EJJ8iMrpupX2aqPrpr+e0BjRo2ZpiRrKuF4VLagtXHZXqok
lsd6Cvx11IIlpbu2uQoGQjNtYB/gNGIPmR/nT4WETIr6yQ+HKAoOJygAWDZ0fl6JpaTlk9KeOoFE
kD1D+N2VZ0ia+8uybJ3LICqxQ2rP2YJBSR4dULWXoPqpXxWUkNqBdX+CWuYwG5HFa8t0sWFJ7h5c
EAtOE17z606r6qay6NXVZfwwcIr8tijHgz3wvvs6i3Jq7n2pcYaDD0MEDBINgFRYsGFUD9eudW8G
LOq61tsDpzGtCFQ/PkDEeum0iZ+w4U+OpOdwDIS4BwpnEdKKSZhfoaMCL7JaaSzicAGg1xW0h4b+
1Eomn8wk3u0FJmYNturQsdB+17yCo7lbvcDDxj/kyShOPKF4sJqwkifbjnJYiZAJ9hGdG3i72OQf
Jd7FLw3cEDG1yPjPzimi5E8zYeFUp4S8jILEa9YDIz1b7hHwBh4AEC3ekjzeVkAlfvC4F2sI/ya7
mobFGySRtvgEvvoT6BHtJprkbwBwbkfsGhewp6rx00zEtld5uUHmOYAoahkskgLTBaROwhvKZ5BW
mN4YUjFQUTFslZVduCxalf+ckmkz6ondQp2LbQEw8sMglfMa6vZkBwCUXkKjCGKmuSCX0PW6lTOQ
6On/EXZeS47jWBp+IkbQm1t5ZUpKb6puGJWV1fQWtHj6/YisafXUzuxGRyCIA5CVLYkkcM5v1FEm
+/99hIjCzoXz94XkVwW7yp3FWh9rFGf/RvsHmkBxGUoeNbKHglrho+1YzlMrcqSFrBSAT63ZT2GD
EApfPi4XRo1HD8SsFQKt3H1+hyeiBm4Y2iq8zgTvp2OqQAORXn4MY9GdRy8yzmWHGJ3iJ+ELJYv4
J4++gj3xfxqfZ/E7EV8EvMvJPSfHieTMPgNG+dqk9n3MQvihRbN2XRhD84YceYsq9VvRuMPZjuAD
I2Bgvc1lj9/OUPu7ehkNBFQSHjfJRQNnvZykZv3Xk9QonMr/elI+sZXKM9d5MBdcTtIPLt93ZO1D
RytDZL8czC+MAsHWoaYfSIctrM7zUnewTMEsysqL2jmHhhjXKWS3DZYTIVnVJ2kMqX1CxVqfb794
r1KOSJlhqGndIv4HiWxpjMaHV/h3o2KTGOxDJKX9rBkmdle1IbdZ4VZvbW3rrHSn6UZ1Zx4o8Gvr
hyBAq3SWGXa1QfUAb+hW5cO5gYpd72FiqVLmtcTiZhVyn1VRPN86bWvOkN9R7jLK0d7rbWm9zEBa
oZhY9p5tGXjAf+9eRw0IrC/otDgb3h6oF4vB2KQ14miitEEkAIJ4IBtP4boo0eouB+polXR/95tl
jpqYBTUps+U8dYo0UvFwjf1xLd2X1Dxc0gUdKj6AylWj2RRGBITonUJvea7XPMgaCx3qGdW6CRAD
GtPN9IpVrf1Sa09zL+K3RtrRXdV6P/WlF2Gze0x8tCXUoOhxTTPnTt9Ly2E0jSrI4HvPqptLlBm4
x3jyhgUIJYEl1Px9lPjl2rGL4aTidgM0WS+n+ibH3mIrqyrYZcJLX6ouTfdDEsR4F7G49eO0PUYu
2V/DNJCVt/QbtRp19Mca8txbYzjNSbMWfTO9q7aydGLQyrh1VlamoSsRBns2Av2h8YfsybGxlpFp
Zf/sNcg42JW/67Mtt4M1NLeRU1R3XouapEnyZAtsvqfK2r3b9hA9myapnaJETjKI2upbArMjrUX5
MbsdJf6ojs+dY9Z3SWHGa38Mio+xnU+oAFZUR6pqLymTXfhdRXfCxK5rKD+LpSMtXwNxtgx2hvyR
2wlQX6F326CJ9NVs+cOlkBjmGH3xaAdJ8Qh9BzzKhC3ZKNzfsd3Jk+OJPyt970ePwm9rB5twWfYY
ExUfW4+ak+r6xiYB2fQWhBjQ8Uuo74cJUWkTONCjDs923/KFAkCu/YtE53OTDKP41o7BLfz84VdP
eQbYfvhuyF5sWhRNLhRvm5sURaE9SjbFUxug1E/26pjw0ni3XcyknRgsCVtW+dpycxUkOd8DCQui
zvxii76OgIE/dDuSyMUKy6fgpICYZmVQXTT84VaLg+oGDEzz5mSAzwu/fwYHPD3IPrh0lWjffI2M
si5AhapZwKqwFCpMZ69GM+SfV3kwuef4U5/vq7ogI7MoV83LOmpcmi8hqyVm5w5YfpGQ2a3a3wP9
0KRUoZaJ7jJ8vYIPzPNoA5ccPHPgj/dCeTMsjZ2YknzOZ+f58zHrqrEAKUpINddpkzpNBfveuCTs
5s5wVMdjiIoZBfXOeLFsEySlzk4wb1zjpU9M72iEax0QB+9mVtldrKevsRZOh8FOu43qNmFSQrIs
uq2I4+zVkWSlDZ1kuxrVWhxmcQJ392pUVqWGliPYQTVqISq1DrMGS6flXNfG1FeaQ3dSo3Poofyy
TXLPg0mAyA4V1I3qySHzIc3QXLu2DdqR2hxMFLd9IrPlPBlLkxvxfREF9UWFAqOcsGGktu9ZHXTI
rPR2Yq68leuM+a2+PEZVN0Vi5BhmALeR3Fkp8ArKEcbGljCJIIPb7+ipK6CuyM3uCL8BFeYF4hLY
+oeGw+dDqxvpfd+jAaumXc82h/l6thV23RGjs3RbCVx/e3Z0m1jD/m+sQ2fXzd70rvVsJ1OneMjj
fnzw4nb/9aqIoj0qDaBZA17LhtBuHeR41uoNG1BgxVkZsRP1lq4z+VGBC7sbulVFnucmTWJz52aV
9WwapNUqL/c+BRKaZeHmP5wMJV1cMnkTRyN1g5aMhuX6JN58hBKNfJA//NZ+qGsImSzsJWwvqJHp
EPQ/mv1sB/JHQrmK+kbqHI1i7J6jNHnq6wozRx/vIE6JzqrRKViPUYrHcRVQEDbsZEAffSpvoiA7
OehjfNOl569NaPB3HlZvBwko4ACKprvXZ4QkZz3JlseYxbcCiA30uQVlIWCpP2XkTxfIfNeX4h9d
NWr3JYi3cpKrUgzzJerHaEv1eD5Wy/eHaFM2BNq7hw/r0XQHe6PC6L/HwORgSFh69YMnhbdK5Ayf
vgRjnKXxtOoW9LCo9Or81fcjaEMRtb6dGlGNz5Lrpsdx2hpmv4IeLXXU1PIfcWjU+6AM9FOgGeNh
4Hvd1lX03Znqrl5Hg/YzhK5/klHbPtUtfnJ6Kct1yGPqScUqMhhFNk33fWa1OHt01jblabhVg3E0
AAdI27UaVCc5vOGbDOJVuBpZ7BzchoTvigpYvBFkoded2Q233CR4ioLg+Tr6I/Z1iqibnVZH1CQS
LD7ySnu12PAehxyFqbEztNfesqetDtZgr0btpZzijCKjcM1krRC3peNDezPb4Sa0PLny5hBsBELj
wxq4+bz96kf26K7doWhRN8CxhFWmLFHD6DTBKtUvT6ofC2msjZZNt9U+qjAkWk8/y9YXPNNxAgyc
9FE1syu/22Y/3noyzx49b9DuU/9ZDamIIxz7yE5KrFTMr8J283uBprfuTRDUEYkJtgijNk67Aljx
rSGld4vXUL/znTp89PIZjnlt2j/mAvhZlBdHtwZ074/SuFXNGFsWCrZL37B94zYHXS9tJ7m5TlFx
1XWqbSTFyuiqCGyhWz8lZtE89Y23b8kf3amQPRf4F0K/2aCBjwtBLFCXR4UOoJiw7v3k0mqme5cY
FUJgngv7ytDM8DB0sXWfxUF8CEgdb6GV+rAFZXmJ5tDfVVQpL8Id/3kU6RmG51p6H9hTfMrQdv1q
kICFQ5k26z/i+G7GJxVLNUcn5YM7YZNaJHCXRhthpLe28rWfP1Rcha7NH7G6CHXkXJHFChfVLT8P
zIMs3EfVQ5IMha4lri1HqosEhn0qvGPgFdTSVSiwh7+E08cbOBXJnbs0cTiMW9nwB+ZYK9ypZjJB
d5ptaB1LLXtRIUPT262H28Quplx/1k2x62OdO+/vJvKLH/i7ljfXEPqRwVYDdbSuEqHvIZtXrH0i
79ItjRNrL1NTDUcQ0sJamYXpXpImMXcISjqrfwTVKSF3UF2ZzQYtlAzDjUg71Z2NzgV6cS912P+F
jl/4q8zuc3+Qn07ijCvkNqyjO7I8KihHrtq2Tn/qJRq5YB7iFdpeoDN4gLLj2KfDkHzmtfyYA4Qi
3TCP1mnWjc/oS7KyhCWYyrp88bIo37elF2/jpYvxS3ConQafi6U7VyhE5Hr2arEcfUyGhXQy+HeK
30SCRrvzpX2nGC+O48DPRBf9mPHKegAsnW3HOA02sAtgFi2xULTZ3nTRDL7G7DCfsArBZEKdpgbg
xbWnHlL4NRQaw3QX6wVlJy50jeeWtnLrNLu7xlkL3I9jr92qkLogQFeWcu0QrxqtxCnRLKpLhOH0
ykFCc2dIPdP3eegA5YjiZOc0Y3uY5FxBkEG/qZqm7hjN5Oq6vrYBcdrpxTT9aofCQXefNy0SXNQ4
H1l4euvBdceXAuw4ON+4fTfqECdejn4UvfMcFs30aRnzwYCoF61yslE+mhtwFUprS/o+Ay0OCjPt
rPq1NnjmQxyu96orFwGnJPaqY9hnzWtlUpzKS8Sq1Wjbun9ZrgbJdTnVMEHSRWlw31OZf2WZh+2J
RmkfLZNb9KmNbTjpGGbVifHsCjEd68VTR9oGvlHYy1x8GT6qQRVaQMPT9CxtDPKG2gID+HstkemI
k4KADA+5qUVrfTbI0FX+dM/OKjnLTKSvvRY+RVnofvpldRoxZ3vnw3I3ELzR+BoGfVNG4R06sw7e
Nv9qrIVkYSyNsC3sWsGUAkYsKbte53hljTxOrV8A7VLbcVFXGezBfEkL1/vqtgu+2om8ZMOC9zNy
524TZAiK1p3Z3xeajlRgoscfkx+99lVRPzcOHiKtcJsdPIXgpRIYLlcZcEr+W/2nIwjc/8do1W+m
AmoUGPS+1H8BnXruZ7P/HkOSoSBlOC8Da89NHTb4mMRDvMs8xzuzW+ohfWNgUiROe1uZrrsvu8K6
TBkLXcOL5kcxteZ6nIT/GoZOs5rs2PgBsPFutrB2iezurR/68NYsYn79io6hmBmKk6EankGGEZm3
KlwtDjGOlT5BRXgJNDKffDwBq1VnAtOdzA9WjAcJiUnrZ8WCEpRruHfFbEFoR9mgX8SFpR3+tHzb
OrAzta2VUjvQgt7dtuhPfs3rXOlQM+d5c/L13+eakwPnzaluyNhTolNFuQZ1whvTbjZ1lwZf1T4V
/6MrpB8f5DBa5Qaol3zLyGltCk3L2IK37TN42IvCJbaS/DWSvdktn2X7bE3eV1zNhysa73lPfyD4
O5Ce6HwwZ4GAnzqK50IAK65YH38EGD/HFhXrlTDZ/va2/Clc8l2J684vRo2u7mC5w0k9DEOBdJLj
eA9qE+r/3VuEDChXdCsHVZSLNznJQaYl/P2lOwaTfVFH83JUBsGL4WMvDKAj3eB2Xe3jtmrO/G8g
UbMkSVlvwogZu2jP68960xARXA1xVV+sbkQ6OTXx4pbzcVjgbEae9GtAY+Vl7K3qUrZ4lsN4ST4A
CB4DU/Nfi1K39wCe7H2HwNdrkiAZ/O9nYgpQX7JQ/8eZvZT5uih6naczZTK9YcvkNlANugGKkNVQ
/EUJA+ZBMb1kcE7u1GBQGxtLat2TPwz1y1A8ADsaXvVxbh6sMjvZywVKw3bOi3oxAHoGg1Zgthot
ApLLqD5HMUXUFmGPZRQ2orOFqart1GhPTXkFM2kFbCkB2mbGX821y6e+rqMGJYZlxjV+nWt7r27O
7mcEj1kP4kXWZvkynYxFD2cNZHc16JX+NJpGtjOaEMqASOWJbPB8qqNOnij+ke4cNAocS8xjL7yJ
KQ6vCwpmeJOYS7K4OSfURCmPE5JGDOgTs6IOTQn6asSwnPaGmljHbp3SyVxmvxu5dGNSpwd+FVl6
mGvfx7QnWo/8rTiSiegWhr75kRYYO8x6Nb+NgNmQePLDx1R3BWlOLdpFiGPsdDBg2G3NKR5my+Ho
w9mMDX43y5bHS6r6rI7UPHVUm5axNfwet9rlBBXrrRTsxdhO+3ScokOfSomdfBG9e21DYl8G1HoD
033DVE1FwW6d0lgHoLJ0DV7R29YFDW0m6Xag4NgeEodFUBG+zix9nhq343lnn1Rn6pthWSbj82Ki
2aS6DiiYUxV6n2qGSa7hKcqB3WYCnTzZfausRl+h1gBYNBDWo2NbmB4Vsn9NB3/kg3OH72IQr86o
+58OCDOhCcTEq7MZ50B2QtQIItPoP2cp30UzJN8n3kJAHcL4tV4g3rUAoISZFc7UbELv5DR2ey0V
Kf+PWIkh/jDcWklWnVUTp6i8Wab46qmQrnXVeZYmjmpf8wyz4ndX67ueP4uyF2aVkpcGcAAq6ZWP
bpE6ouDQ34AJDo/qKIpm+ziemxBkIFkz49CUjcBHisr/ttSeNbMe7kTGpmcFNzRdZ5GB4E8sg/ts
tql21HGP7Mjw+0jFeLR2L38c2YnU1qC76i1qChuoXchClyLdjCYuevNs2XdpDV1YX5RrKAQ99HoQ
v6DzCJepsDZgdddW0eCOI7UE7RZ7vAPda6HTRm23o/hoGL37qdtAIZquODj1mNwqZQGlMXBVG2iK
vj44Xf2gQlsHnuyFz6+xNsiqfh+CcmPHvv4+UAqoLBF/pL7ZQgaRDZTQtrnHVw++SO/FH0jVYKZi
dM94Ge2admqenNr7FYaZ/4nqJkmyBQWh42oX1ThoI6i08BoN9yVlubTphsS9c83lqYmp2Q1pHdI1
cRCiuRPoK7uJMKZT5Uq/8LDR1OU9yz64z+bsYfnq4YFtwcBaZ5OznjCMvvh9E1OQRG5CY6k0hcMT
9PnkDYeicWvnE7/x1nVgMgQW0ILEWJFRmXat5wJdihstPfgtH2+YReUKbnNxqkbBStNDV4ntbnPw
jRyvNlYh7HHATcep4zzLQY9v0F2A/5PQZUtBHbXUX9Sp02A2T5XzUw3NIguOelNj8GK6T2J0E+B1
7lM02unPYLSf0pHtx78N/fucZSjTvPrSBvA1rFhaazMX47tmmm+GhTTnavzovAgPeycxn3V9SL5l
fYdjLo6yD63QYS+wN4B0G4+bGt8lVtWLv3ddxhfRC/BJ6ZCvhgIzBQQw811ptGzLSlB9/jynB2F7
DndOEl0MADrbFsjIS6bBkzLMMP6lyfe5D71L2EzGfBtrUb03oEdOG24AZBhGTb8vNRtp06z1XnPN
TNGKKpNPN8c/zWA1thrZZGbSN366iD6RdIynV99AIiTKNXFf1kg6tWnzMTnVh+uSlcQy2Ps+ofJf
tcgjrnLEppYECFYv3nPtzd23rOn5WWSN94gCSrBFZ78+pyiKQlHsnINsknI3zFmwK9O3qSgKVOqW
2o8HmqaEtdGP1G9IimR7pOMO+tBbr3Utm0MxaNBJZVF8szK8XAZgn+h6+5sR1PdtL3qg3vb0q/RL
+aPpKA021cKVL+VPZJPGm0oY52aBepSd094vPbW0/rtn+iBHf1finEVteNHfA15Q7svFiT1rMyp7
LXLrd1H2aLTkMbaF+5eThBY71qco8h2U530t+kjxCcdnEHHv0HWitd2K+JuYQYA1uq7fAjNK30IL
JQRA898QRi6OrLWyrepGnYshZYQDBxVB64GV7Ku5nB4lVbKDnRMddHI+u5608N6cpXd0S8pOPOUz
Uqx9ZO1MXqWsqh37QTUJdeHNwHZhN2o9tvKF7+FBHIQllYfc+ZrTFNElL3ygLuoy1NZjOSACMJf1
0ahh1gVehmoeAsXlsShqnhd4VAxtC0/UaIuH0hc9/BRZvXmNjlsYVk5ny4vqNw2JHquNIN+Vrn1v
Dh44/r5+6/xygW9b3robm2lf1Ejuzlkf3E2tzf3Q++4uBi10py8xNTDa37MUW8hrWAblcOhLPsQu
6tdxZIKq+H9Tgypx+Mc8seQR9UIPjjmWDbVjLktmY1/DPnDOfT/4uzHFodNxovx+gtUJ3tto33Vt
pAoROX9F9hM0lfIXztJwNvLEeRnzNNkmduHsLJG8c8/N974B/dTgKwDKwG/G7+YfiV4XCBlSJEad
GfWvxk03vdqRevZc71LoIokDTJbninikmNXd+ILKkOqqximEuxaDLEAJROMaUJNAoiBm/flDn5tP
PkRxK5ZG2tPvpoVQ94+uGrjGKpKAuDgvpyDaiZpvaZnhvW9O8mKWTnJMPU/Lj0HWRltUoRZ5+qLe
gVSixJ+yvUJZEq34CaPwKfSPMyrlb///jMnWqp1bNv+8Bhv4V1eUCK91RYDz3bFOUusFRd1rx4k6
bSuC+aPiCACd1qJFl+cr0bTiLrbaNwQ5yKR0pbGNqNwATIkRs2vCWJ4irPBqK8015LycHyPKvAce
mOFt1fvg8WpzXlfYpj1LNkXrKRP+cyXguKvYdfR6pOap0Wk5o4IYIDGLUBWdaKzjfY5kKcgjyj2h
XZf3qJrthPRsMgm68xQs6NEqwHM2gbchQHAdFs3Crp28c1iU3jkZvd9HKsbOcF1N6JD+Ea98Ma3G
xiMTPT1bEp1No/PFSRd+vlZyOqxSsOgDqfFVMW7Dr1mZP4uTAjiqQrImgn/OStqXsOp+X6sDogzh
FPBjIZL03691neWiwwYA9B7odfothfiymroy+1bNXrNSsf90xDKrXVUCf1g7HYNT7rXeqQzEkxMW
xqO3NLUs0w2K0eFuTDz9Kwaiou9G7UFFihZVvIbFC9Qb5rPK7TZZhfnX7Ouojyx5R9V41lTCeezc
Z2CUi8KSl52CbM5OqCCtbEHWu5rSp95x2Ii5cwkQWsCnAj8Lqs8BLWEuQXX0R2xQE50BVfkKKMYx
NrLkIS7keEtd88lFzD3CaYdbCWatDdAmQ9ftrZybZmdWZXgcpfAfjKbo8GsVrEpK+KLpEL6aUgBj
GMqGt2ZrP04ZBhtqhldMD24Vhi+orbd74YeQRVvvxTBQnPFQ2jvraZue+6nstnZm+gjE6+lZDdgp
CJRVNNS48ZEV3FPClmdb72OoDvVDNJryjFgR5WsTOWVE2FBado0w2oIgNd/6LB2xQJcpBOIaH3oH
TsYgwyd06aMHaHdPKjzC/DrokFM36iStExbLSdO4ETbClNgzb8ZWB5IKDX81qLZIM/M09BQ7ZTV/
8gHfcHeG75hIgEj3Yc9GgZhPhtlk23nq23d2RSerdKbPxg9evT2qaPU3ZyzDdScTcWub4/zaQx6M
A0t8sxM9QG4ha3aqW2psCgNhPLFanc+FTXJTxfuia9ck++Wpz6X/nJX1oR/ZpYwFcmAdWnjkBgpz
FbvFdEnKabrMvADXluzk9mtEBdVwigRynsz6rQpdG8dz/OMg9PvrRWrq0V+XA/w2bKAF1Rt1gulB
q+AweipjqufXeepc08f4pMXa9hp3bwfht8g9VXzQPM2cdYlO6jsvZPD99jDemGhFv9tBselRzn4x
IriPjYyLVV4NIEY82zsJiQBWPOoa1IOyfbGq4miUZfE9rGq57fS8YtPnRO8hWH8RO/l3PWwDJEQ0
mAzLNFNstSqZvoHyEIeqg16ozm56JH4d3X51nDRGuh2N86+rDinWVmP+PBiRdxvG/J1fV53Gj9hl
6RNPhXtuBKghNV+3MM2zk264s4QR3pkmuSv178YdZj+Wa7dnMcbVIx7X7+pC8PaLTdE00Q3Sr/U+
8zLtQTXJUuprtRjRdl97wBq+OQ+Ne1Jj6cgzRYeuwp6UOjsAJHxbEjTClyNjLNpjl9tPSSjExR3w
5gOJYVZgI1MoIFl/EWPfX+LG0A7S7d9USDXTMqiOoGuIbd17CNJM+BuTWtgtv4uzGhxZZ65816p3
tu10Fy93NXsTpc65HEYk3f6+iLqcsDrrnNok3DFdSQF/veO/kVAX+4icDm5FmZXnKEIPvrCFvVYD
pv1J1YKybmdH2xlE4q0wRwvrKhaGakKpowaQpNG3OGbR7iyPCjPJg7Vs6uFd5LuhsvJvJeCXI9cM
Nt3SxT4qXrSi8vs+BwwwZexelzj7kh7yrO4d8JfLv0H4X/kQp986vahvXWtREcjz4pthjdBWKirm
1lANTza0HnXZTmvMXYIpF7c3V9PM8jAOsfUcD1Z6BmCYrFXc4YGwdmobafjCDF7M2drM8wSbwdMv
6LQEj6md5XgZlDx0nTF4tNLBvrCyPqqeaoJuDNfcfs1enYAQmHFfpGJtmpNZYnrpehs0WbOdmlz4
jvnoPLS2Hzx+XcLGYk2SotiqrhrIR0SLJyd+UKEoHkiulgvrbUoP6eywPEZFhCzt4J7dpfk6iuxs
bUR8aH8MqMmUnOVJN35d5/9xDeCw6cYLeICogT/+GRUzZyo8Tni6nnmd2o9pxYYaOLj6168D18kj
lT8e0s22dsdqBZvxpszt6jZn3QJ9COGmdT1pNf5iS78vQ6o0Q6ohtOTFd4nnwu7Fx2hEiSBHqSQg
AWokz3Nph38Vor0puir9YKELzqbq+5eCXMOmQtHjrsKFeB+nhnYzRhMVamlngPYTEhEDwklU7brX
cHZwr3Di8mdXxHtwISi3W2zVUhFXv/JWfqQg2t57CKe4ttXpoyPgvIMKDk5DK26dpl20vYvq9FWa
X47IhFena0wznLhbRXq9l5HTH9WAatQ8pA+xky0nuIx+2uABH3jNyUbN6ZQhY7aCC6lt+HYy+5z6
1e+RAUjspkpGzJzjCTSoOoeCfL4e0Erfd+aAlWySOQ+gCo0Dm1HQpZ0vH0WbT6B+3Okz7oDAaPP0
IYZBon6TyTsn0aubyNPMXZVP0UuBI5CaWhbBHnEs81tF8QhZT6iROmrdJ7fIh+0gB1QkZ+1OTfU6
85EMT/RWtda7kUieqdgfLcrKt+qoqIcOA9ylXy6eSOoolZGgsuc/iW7ItpGG7vF18Hruf4qp853I
FzCOwQ/CxduDZPKztWvG/R5OrORHFRSP7dL0VJIBPprGofQteQiGMt6a+iw3mj6623k0nQcjaJyH
xgcgKUfHO6huF8sFR+i/ge2Xlzov5cWa6xuW98HN0Gjd4iNLLPNFhb5a8ap6am729wkFzLK15+s7
HO7jLZza+MkyHOfBHd9URy+L+jKk8VGOIOi/9NOU6lAoqCd2WgTICL0NttyvRhaR3WQDe7Gx8lqj
/TR952YpV3bdzvfuMmAuA+FIhg+VjuRGYV6h9z2l+sznvoBmFeSVUg/ZcEJXoKwxLfXOmm9rwc6q
+H8JqRO7wLRP6SgufTUmJAPKtRf3MEpQmzLWKBOHwJud6gmd/eE8hNOj6sVWVz2NWQQROx/Mm8DP
6ydZ1i2ov3pYqSkqZojgrsss/6xCEvWLfY+qwloNqpiRL6LkxnBhz4gafo1nscq5TEvixWTJDjjk
KwKfayIVQyNrFG5Sb0oO5uKFUCLipjdUrRsb2l+ipSOPjcTa/qPfLH31UWgtL7R8QIUIUkx8b5T9
R6lPyXvujBVrxIYN7dIdfTyaal0MF6Mb3RfXdVcqjqc7ULyRxL3qzjU84DzvcZMBfubP7T5EHAsW
e1DFiErP6Ker/iKBfIic0loFnh/gUlOF931T5Sf+WJZANqfo8xTcW/siiNz76yQ0ZO9K4fv7ZDmQ
tn4vnNQgccW7U3oU+1VXDVSxFx+zXitXEskkSMT/mtxuI7wrv05U0dQmaW6QjzuomeoS4VSiIgbw
eq26aiAYjRnalHWTxaRN7cq11rMMp53bmcVzD5gdjIPofrHZD4ao+/RGbADHlkdUbhQDCTPHPcaW
wCozQRjMMHLtm9nJY7tQV/RYA9iTuxcwFA+JPcfYKVYxAj0t1HZR3aSa/zt0HaySJl+nvT1v1Vw1
kC2nqiP+HH2XeCGlkCV2HVCTm5E9c5oVG/9ngB1XuorcR+9fB3rNQnmJ+C2JyTwyQazNcXjhRY5F
Wl3dqd61yTMRXqJCvzVtO7wpl54KqRnenDQbq6g+WcOBicIVQVkbZLmFuQ6q5l/WBVdnhH/0y7hu
tmaXWl92B9eTbYDPuy8t1wpcxAoO4TxRcm2LbYce/vqrH8aDOPNLB2S0HPlNJI8B8JBqNJmtYnBR
BR5yNJU/UCIyo/B1xBagkFb93nQ++gYhvpXYoIrv9ejCWx0xXokGiZ0qroiu7ovvxdgf0F63X1zT
6m4CjbVRn3o5RBLtYa6NfjdQL1x1WFfYiKP0w8q084Ra7tI3ClJFZDXiKmZvYw9efKh7YCxTJKaL
GJC73BStiZGL4Fs2O3O6qJFYOJ/cR2w1K/bLoDvtc2xD4rG6jDq5xBzXrfnmRO9SK3UNe1eE6CFO
SHJtHazYnoai0Ndj1sjXphrHlcDj5Ps4GW9m1PefxTDtPc3rfkU8uigxbK3etB7smS1gLdKfnZd+
mPpoU5RfTCpRfduU/pScVJMMVUJFz/tnV7g+NM+yL9cB987ZsZHBHYucgnKk6TeNVzZrklf9qzHM
2j4CnuP14sblcQJRZsBqYpwW6bP/fYwKmIeFAuQ/YAU06pRrt6Ry+TWQ/330n2Kx43XH0HK338LB
Gf/yfOdXFEbjK4Z0LuYkvbjwqJFHZ66LQ40j0n3dRwHbmyR4NzvtIadU8H2csX7o85vlCXsJfWE8
RuRGbhAqbVeqO+By/Yh+mrNKRFgcVcyteYRlVrllJ288qlDra9O2NE28ETwypOuyifet3hV3Egnz
x7Gq9SOgAblSXXUG0g9gxiisH9VVgiTTeH4GezWopsGbBahVofTcNg/lYD5T3HMu10bkwrlkjvcL
GU/gKY0Na0ssStmGY02HNLI/1VzgxQB1EkO+NGk0HL+6fRDO+9AOa17U6a7VZ+ghSVBtkmz2EUnU
vYvAom0NK8T4gPSI8kzuvUfeXO5qJHaPXuHqj0Hqpis1Y+zF+2Sk3XNRQSKPyMgvRIbb2XWteycu
7Pt6mEFuWHjIqJhqgD3ku6mxsU1ZpqhYAzMDljEk2XOe6N8TIfcJsoA/tBFRRDcYtftBmkA//oex
82pym8fS8C9iFXO4Vc5Sq9uhfcNy25+ZE5j56/ch5LE8s7NVe4MiAqEOFAic8wY/qvZNlddo1pfJ
yrem8D0T7iVqTP+fEKwzr/f4u+1P7dJTW3cl4lE7qJa2iU3LuzUo3bxhhgT3am6X1SFCbaQdgVgH
OIy8RaqKVmJj8e2fB8OKm26tziowdz6a2JjK2QIj6t7KXNURBir/ns3BJ2kNagdbX+sVIdK/JxxF
pcoJp8Qej2NPYq0XTiT6ZSTadt/49WWYhbFDZBWQTEerBDxXdpNtog5yvBFG1jRU+I/FXMgrrdKD
o5cX4VFe1Ukew+H5U5dj/uOWpk0jngAtu1iZYPvsD8YxUPjmNKQ6VkpE+gdx80WNRNZPFg1cery+
finz+IcxJD9ccuRo65X5Wybaflu1aPoiTIaBWY6rhRR2zGGWpfYwfucskWJhFbV4v9nOwpzJ+/UI
QjN3SwfrS6qyADzzEfHnxgCgGO9FlU7nXk8uzwGpAGiiZ5pLMPBfNxFQ3NRdUV1ZkU1WNmTMslIz
1zgXiUOkTtl9mFiP4sRuP0yvey+SKHpTGzfcd6IzN1bBPsluoy0AXec1Fn2KlPvg7Qnmznm28vcV
QswDG/ien7tokCSsSTEQHjEOnXXqK70G8efT1LRKfZR1MV91U3pIkM3YtRkxbcBX2Y++3ykw6z6C
DDiakSCXWiZowuvIhrJPRXXwfw8IXDe5sLt/DujBe3zr1PtzEjlGfoqkK/7bJFFQm+sCDj7iRMEP
tR+UL2RvAH0VjfqSJ8208Xhxnix+0IPQdWUbKUZ7zWDBrCp7RN6ZeKbuKcPC1JLpM8pi8T4oqnzF
IXj87PV2CYbZ6jayFx2eiLgF0pUAcqAIhQ5CEY5tIb1FFSTCNVEr5yY7EdWptaL/hOGfdcfRE00E
xmg4C14UvflHTq/7o3kY+6JaympcDOp2KJRiLedziy4B+9LeiqDELqDISCLFWXXi6KLu0Qbo9nE4
dic8+6JtquoGkugjL1Nh16+ljYaGkuNH0erE0qdCQfA8iK5aE9i/mqpdOCSmV2oaN4fa6jtxVIYC
vLCLV71fCgAtXkOUjO2YrHWVwTkqJdaS2G65k21k4twI2ZhzZ+2fjyv25K/k2fiDzE+wg+3GybLT
zxNRyWxZxe28DEebus79lRwhvwq8uNEJ19SbbMqGIdnDuAQQpRTYudi+RyyCHYFRRupLFIngwM4d
S4JU914AMgMDr5XPvpFGsPUSkxzg0PrbAQu4uy5i7+aghqug7gYSq0TWGrQR1JTAN+8IjWWHqrKG
pT/6/qKqiuau9W59b7zJRZfDt3aympbIN/oBERt+C7aLiOvszJldLgsEFeqr4id/d8g2tcW1AjY2
IFKnJMHj4EbVIgBylwW7k+00jvpF1hLIF2fYzqcJ6tnJUqsa4+MBpDWEvO04Bd65a3UX/GqOYaU+
dubW6NzXKhLql3Cyi+2ANOPWxBPwHYbxZIT6N/CM9qYhX7CLqzB679KPNur1b0lYNmQDtWhr2s6O
FzKq1HPejpOVt2pbB0OZDA8CWZ1S5I3F3OunLEyyVw7usFrqreA7C2b0xa4bJEJsDBuITu76QgEX
VidvKgy5XzoQqKEiAd2Q7cKlxsfgDK/xlYbK2LVE5mibadmbOfAq8d0kJuMONtDDbe2KqaCyijyB
hLBVexyvk/CbcIo33Ru6X2H0M/Q6Bb1z1CuawSnxJ0/QzKpi5XMZx5wtoFexi3b3RjKO0KF042tI
OmfRj5l/9nCefKsVd5PMwzIj6In1uQO5YKqGD/OnzAzjOnTsA4x8uMp2knL5Vmdtftzleu6bF0X6
C7zNEIoX6bRU7+BCq2q9HPvs1sFAvFQjjo6R3YlVN8bddsAjDwc69hgVMu98ypS8KWqIsaaNQLS8
FVOMd+iUGEvNY528i9aZCRVOzqSXtnLgv90tHr2T2+Hr8eiTAwRCXtgIBcpRzl2JyF3nTquvZW+F
ks8pqsDvWa4z1ci7XqyCR7T3+p+5j6tSH4/VOxjjHQLLDijtyDpF6NxIAcl3ZaiTZZIG4TlWsuEN
jPjeYC1YEOuedkS2l1DNonpdGLDdXMiAgHln/BdP2rgpVTCBpWi6s0jKA5A3/VaVABDVmQpW1i4Y
DKGnd7+wSArZFmIqc0fit0sDzbmvac/Cl6VRsqtQpvtS84yQRC33it75uwqqmyDjBLKHnXpfgYFN
wLN/tTp/KTp3+u7jX4oaYwZBujT8F2zYIW+5DR+MlNB8NvZuQzadfIJ8KyUstffOXiLqkLxHDcu8
NgI/62NDe3ej4TXORu2euFhROMboLPrAUd99NBUIbOvZWUvT8dU2zQtZSkJstbXNcPI7FHMhr8pY
LbSlvBQidFMOMmN3+N2aQrCyOShuWzVW9nHr1Yuox8Bo2VZ9tay12XkLh/G7LFqfCEAf3PN2RCcx
n9TdOMTB0k0L8pB2721SnRyTPlSfDd41e8kSeTTN3BBtyoFLiElbQDxl2FxM8LiMhdHmK90tx9Mg
q7I70jlNOY2TsTVhoJxGTjiMYX9O1IhHX9iXCrr9ygmqYGViwn1mL/O7sIIy3WXu9PnZJK/kMEFU
HmNDHVudPIjHDUoV1B+t+TyFETvjwUNdzq5Q094++v1+QIW057zXE64eDnK+4exHJFMf9/41uZFP
DlltRGOCDoO8YJxeRJdNL/Wk8oAhr7mVVdmhBgXvGYyK9rKNCCDjkJsGg5Men00qhLWocppzx5Ex
WnL8XaAW41/lHHoFj64JX5/DfRarM+D7nQnODJ0Jz1aPHH4+y+HyMxRb/UXgBCEuzgtrHuXsi6Pq
6jLU0uEgq16lvvRW4t/AFnWfCjVeYJCSf0mCCsYKO4NHFTsLsSNQraxk78wTWnl61u5l1Wn9b67G
VgIycvIFBeb5c/A1bq8cmb4X83xWlNb7OkS97fGpNSkCJUfcXlYjjbXeKbPsIqtxCISOEP+ndmTT
gwP2XX7MmBntQfchnBN4yr8InRXIqlkAZa8JZnfRt/NZbO4dogiWYaa8JplT3a1OO0wOLqJYfa05
lZhXs1OrdWwC+6znqhhjC0Y6V2jjFYsiVhtoAP/WUbbfbAAAl2czaff80DUJYnRCQ1zX9c6D4tbI
E5odkkN2d699dXoZmnJ6Mb3U35u5esy6xDjFwDfPrZ77RGtcn3+3V++mVn+XTTOlA5eWuZcndTda
k3kwLXLus5Z7oXTN0YwH4xKOnr0UwTR8eNVnqOjxz7JDybBzhXLDQkzdiwih0iE1wk95ZX0Po/CF
pyDctCJB6EGJ9bcOUZ2zb9bfUk52b73WZK/+8I/skoXVk7MP6uQma5FeTQt0OMKjrI6IlOLHMgRb
We3srtr5jq08pjbMwJwFzoKFnsz/dC3DwMQqrqB69TNeAd4dZfZhj+2XzlIP3XqpecVPvy4Bt7QO
YW3Nnw3NfKCFUafmyy7tgRb3xFrx4+5IsaDkq6qZciJ5p5ycuRgCsFWd55JxmTuAsyonefWsIu2w
UBw941tVmV9I5ZANCdGsVBEK/ZINztXpPP0lyIbgdeB1KkfZeZEfbCByK1nVNKzoVdbzfUKwjtxq
+tpkvXnwelCAENXYds+FvJKF7JBDoBs6Sz8qtbWhKP0GuPK4YfPGV6UFehaEYjpWdp99Ib19UGon
v5vCjN9EqoHa9BFozMPo7BtKv5A3FXlCKL0KNWiZ2LfahWjXoTPbHFXZ7PLZxj36UVzKuhyDjJpY
Nw6bCll1kz48P67mGWDaYbVFwJQ8oF0ojzF/Tfa8x1GhARce7pSPj5GD5GfJMbJqhlW0dqIKuw05
7/OnkGOUQO1Yadt3G435nz770bvb4U9ltTYIaMcIfxSKnr6EIOFPbkGy1yrLEcYVRsVBZSIwF0JW
TpHwQ7inY8ttkIEHJR0ceV9R5VxyCtIC2WpqYceIyG+MpaGbA+r9DlVCoC/G+FX2yVER4JaNMer2
KtEKNvVG022jIEthUWONqdf6S5znP3NwZr/s9IzgpvLTCzG/Giy1fUsqVBvZ3menDrzo0QiVbNM4
bfhGJJptVQf03hPf5M1FIL6HJfQM0ccol8LfuIzplB3SQZkh2qUFbohoGChK9TvyoJsRb4pfWptc
bJiJ7x6a4svaGUPAiDFGK5gV7rRM065DmkRwpAPlK1TKm7wJ0MBa4xB7FUiHLLqySU+q3f5wukK8
ysKy2m+AIWYLVhX+doU4yOAIrD3mEYDfqldCdEsiHMGLbBrJ763VLsf6Yu40k0K9OTVv53l8ECXl
WlENc4mBGmd6ZAzqoywmhTN9MKqXjBVkiwxgmW10h8O/7P1rNM4M9TGDBhzv00Yn+RLPG/m5yuJ+
RQ1QObmkMXdBOiMeRxc9X7CwL/gtrR61uYmP/Rna3nCy3SJ4ywH3rcOhG9ZyRK/52Zkn7qvslE3k
PjbwmtSbrOmlZQH368lvdTxRQ3LFFiC+yUL14+RWVqxGbpsam2dH3M/gEJS9hFuEgHIsW191domQ
f+guAs7TRDPK8tizI6j9HEsppFqOz0LvCTitdGcqAIPr9cHQkVPnG6kjGgVKMG0C72p7eIIXJaL4
lpv90/d4N8WNcbBmN6pkdqzKY2Eca+Q3xspnR/qvZtkn24Tj4y9Q6YCD4Vm/5DimeGjvC6xeXlBO
S08AqN5klyxiR4htb7kDGKfef5FtY4z8no+660bexbOq7R/WJRAWZwRiSFgrSfIXIDlrYTT5m+Gp
2VuED0IbusVFNqWWI1BfUTs21Yw3qmzC1Jh14nGDYWYvRYNjUelgDhe63b0UpFblWFtxQe6gJR6m
E1A6gOI7z0SVzCh9yKDo8W9RvzTRHCOTwGaX04SZu4tu7IJvg4g+TZOX/Apzvo+JQPs/1yDT+E37
U5jaD61oxA2/BcKC/iyjynENUbNkZWdlqm5lNa/T31X2pflh0Kx3qelnlu2bHqnDJ4AiLBl8KXbD
qKivftr/eoj+MQAU2u8BRg1IVFPCX1VijHciRfADyazqTjvdZVM2Vc0KKi/mneTO7t5caK2Hilo9
3WpSSRfcNTCgJ6wWQRvhxUcA8djkWYqvhfpmTn20Cly9+sw5tF6orR981FVzAiLDCTrfP355JOCP
hReJj55wMFmHQUW5VuFokxTjS6nrBKfsLDv3SPns1RBeoW3EB/IyPc46vnEeqjTdRpaXLgqyxPhv
zY2yCOerqALTE4ZhttGQHfEPBSzYqVJ2uq4dS5e3J4qcJciRucCS6/fVf6s+27J/Hze6/j9TY2Bk
raPxnTdqtPIgcB6j0JuNu+bLXLYq+ghQLEu1NUx2LL7mnjErRbd5XHo9+PHRj1YF6maYQVPoqgMb
z9TAPIfJoymdr55VzW+hNT3rY9u9OoNQt/J+2S7veM6ZlOL3VIJI3hrWMH60s/N0+aewdSypEY2i
mK9wziY1hhSEHPEcKztVy8Wg2gfzsxVm9lMOQYk32z5QgJUFqqE2/WjHdhSOVN21qEj9qQ8jZIu1
yI3f/RI4zb9+4bionULdzd7cCXPLsLW+ISrGF1HDm1gb6/4uO6uEM147tcPBaEz0AWdJIjI84yU1
M3+DTSJqBlWf2gBA3ZEjoDnHBUtcr+YxRmBUCLfUenOxz8guaZvId8oFahEe+PMZxZ/zFfGX8rKR
Mh8oBB2dhxTIXOcHymZt+aXiFEBmH//m//i/yn+217XqKsUxdqESiK7O8gkpnbjeKNC/VnmGca+i
DOPpP67yIsVUOXajnbz6j14lTr0VsfMPoBsGCcB4b7Vtc3sWkNMSVHSn9K+OEBzkth9tdeFBhv9r
sJpOS0ByBVEd6/ckMSNgW2zHVETbImSbUubOi+al0b2rB/02pv23am52wEttwiGstnJ79GeUnWb6
rUPCECD0K/ZkHh4BQNC9On21K9c+93Vgv/bgoNeJJ/BIiHnNsBSKBUxY/J8dp7/rrZoRT7KNRRD2
/d2b28o0ItqWx9FetuGtGmPm8Y+suHo+3JXQz7aNqTpLMWoKvDhhL5ss3ZdKD5gStMhJQZy2AaMQ
+s1CNlSqCW8UaVruM77i6t2dnu3Pqrwabeei5FZOaq0q4dErCJgKb1oiz5AeH1VCQ6FRWp/qQAwX
Y2YUy/YJM6lNoaK3mM53ldiRwIIM4A0ide0p091Ez+s2mZhCm8iclzNEQxZoVeZ42qblXlbdGcDh
h2q6isfeXdtBp93SYuE7mrjOKChCt7/iGoPuwrVBcD3aMXWMObqdZY0/Px1jKZaKriH4ON/0vD0d
ilUyOgTD5vZnpztU69btDLQA//VJ1Ux2mIJug4xFDVH6X/PIdkOd9VdKHCf+zBPOV60r9l5Um8fn
PLK99IJjZZTt8fFziw4vnFzHUckmWJbHrvW59yBrkfEONulcbRJU8Kw6bPcjRNrPljFlC3IG1cFT
q6PfN9Frlo3vOgstm10/XKq5N11CfCGvluK7C3Xu6FuT5Ho33QsfoDy+ScNKtrtEkSpjhDUIIWBH
YF7fTG7bf8uDrezvqijY6F0u9gDA9E9CReMmMovvZcshzdTc/pQWERaIbGqIafNBpgrsRyMwduvH
ejiTokLZbu4QhfMSQRh5c/GVOni6JdZyptwb0XqMiF8E8ZuhGM5ZmwuSPFBlM35OHlOr2bZmnZ/V
aC9HQLwD3zW7BJd1rS6R2SnWqa1PF1lkRag+roiBLjwP5W/ZJIBRslJXRrd1CzAjsrGYBz968pT3
BPY39fY5l7yaBljhdjEsHuOe86tFJdaql8NGmaeJBuWOzwoxohnS+CiaoF51hQlXhSP5o81rtVSF
9MAY2WjHTXjyYKL9uUs2KxXgSNnmPyCR+gyMtBzIuNk0TatJq6Nm8Rwlb9IHT6QrURrq3iqHzbPX
6nEOUDpvo4JRuhVa0BBeit1Puls3YEX18iMu0gOqemjD9NMVNKf9KxrTNztVnfcEPA0UHTaCJV8C
MA3aBbfH9mDxH27BbTizAYt2KT1ko3xUVtePRsv0/HPsHzDf0i8Kf3x9Icd1vcIb0TVsdMtCFxrH
4G8U1CqPsW1i8ZuXvcYmNGXXmuhsvtyYRkw+4k1EAmVZNSXoXsQLtuxziL6nVn6AqolAhaxmkX5P
rR/TXJEtauH8ShK9Ppm5H79hBaev1Z6fUVZRgURSC3oqsvX0yrtsVifUQ15lS0XWfDGRPz48+tIw
3Pq+qq3k3PhVJpfa+T1WNhkNqndZot1URSeF4nlYU/eqhTki8/cAEHfNOKlLORtczyXR1v6oZqxD
dZqLdRGM3gI4Q4TjKm0mwZz+r7rSdM2sDcf7+M8YOVAWzzbUeSe4vSoes5XNDI95noOqwXYXFTmq
9bNNXv31geMIei1EYIu86b//FHKkLDhgfPdNEly4ZUCu6r91g9Mfyef0R3mF88fvq/+zTYk6e0/a
YPm8ITOS4fi8VV4926wqXbctmhOaY3jHnkDVo/BEbMBuin2stSxPrJ49LVwdAW2SkX9dyrqcA3CI
utajoVoYf6b8rwPx7YPSLW8Uwocvlya758fIuZ4zyA6gKAVPdKedB1FvQ7Ue34dBc7CgG+2TN4a4
lE8Qg3V0fb5h3ruZRraYTQvIOrWn+rWpInCh5C7AJVc5qzf46ZYc6M8mLpeZb9cYCnxG6iJ/KWdd
s7Eb91VUxHwVqaFPmgAy6vYTOgTJ0oNgv3VyG+36WfBMDkmavJllMmBhznfIjv9jEjlAFs+JVCvE
yOz/OckQt3v5AarKEsxxFz/1L7jf9tFCIaCmJcPwD2/CF4ck2XeXL+qiDgrxNVHIioB4Rnw7gJuG
vlJy1+OqXY+mK66YT4XbSq+cUzOiGpC31nhIXds75FE27oy2hOKQW+am80LrSmgnX9tjNt7bsUbf
MGunT8Kq8AwPA/drHSuEQAkXooKQJDu/cBC1LfDYWQRtnK1RHANqkRVFcwrKuWuAjRVPjrUdIfeB
Be9XldooQOETpJKKLC1W2WAHCoDA3j8Q8P2Mh+HBBcE3zZnu70qJHgxuqziB17c2L16HcHQ/tyYm
q/yB0qXsHIYy3ZpBjJTiPHbWk1y1iYL2zFztYzJ1g7CySzffW1tipY3CfzUNQkaDpqzllEpQ6OfO
tfPH50GxjfbEXogMzHMUI/ipMHT77eMDbX4DIGLOAngO6bGId5PhVKiyiHJrwgL3P6KoT7ax6n/p
LCx0922Tom3nev94sRK9GiGmPVZDNjrCEM10HYLNAdnnaIpesRpeZOY+B7P0keqVu5xlRs8pu9QL
srfoPs4damqTLyX7p2bBsNFahHjHxlKJNeUfNgTnjzwFqIyFiXr38QvfZSCG66EZSYt2bGoIzX6w
j5LWaplvpau81ZFkLO3oEs3AG5ZO/yNtP3o2m98z0MerymErg1/fr0LoHWDvwYaWVp8t5OVfqrkp
LHLj6KTW27PJH1XtEJRoGefYVM6DZJ+XE6UJeSEt5FyWKfJVPKTttm76gPSYaOrd7/xFnLanqSXu
mMXeztdnRYM6ttbQvq0PRTVhAkKnfAurWMPMPS/OGYpHywa8/qYug/H4LKau/F0dU5Lny2fPrNsW
Bth7cKS0BkTeMqhKoxh9Iqvxd8dXnK8iyoBUsAK/mlZerVO3Mi8q6k27xGmNA8/SdDR79EnChNCm
yz96leE/A5NEsRFUayGied6rmWkTf/MQF5/o1DaNfnvQiKn5dmzcJBph7gOZqt/8ZrhYINhJu+/q
Is2+TqHmHlPCmEtZzYEFrGoShXtZHdBlNqoke+vraro6mvqr7gPcgrNO3wy6igS5OzJHm/9EpP/U
TLq/0PF6eGXFBbsaFG/Cb71X2RSLYd4uF1dZy6tMX5kG4s1uIXB6Tesrye79pIYayOi+vsqmP+2Z
W2nHZ5McEYJOQBuN75Wv9i+hkn/OrMr88PA6gpmbj3dCYhYQUMjbRl+oX0lhbRrXMT5UFeXoCBz/
VS8RujVUd1ih7Gt8wGaoAv0jeUWKqjiCwayOBNdqYJCZQ36yKCFl5omAR9OIY2LYouSMSP0xqHEm
c9/65WdRo2CDjmv3KgsUjzYBINGbrJGtGFBhxVRZVpE20q9ZFeye4/sEnZvONeuDbNP9Cb/jcV4S
5imhbfSvWDIRcChBv89NaRxm61AM0QZ1AEyjACezScJxFAQeqtrwiGURuEKsSTF2s9yP9mgrfSzT
YDVf5YieL/7e8oB5yKolUnUX60QsQDskJ3suMkTCsO3S97L2bJfVRxsgrYVSxOVR5f+txV+iaKqv
wdh9jBgSQKwtE/J1PGWGGZVf3LIhbuEE3k5WkwoLi2oW9tBCA7UtGwXWxmo/EZz0/yFjskgNxIQX
I65BQYZpkdJjilAO6fsUebi1Ef94JREUrgsd+Gdeg82p1aw9OqZmHYQ3f7P6Rr2UOe+vsAt2pTVu
B5xNTlXaG2vN96u3EiVA3hlB/wNq5dJmS/yrKOCpZI4H/y/ql76WNy+WP4lt6mjaQUO5ptB5o2bF
ZN2xfNU3IWfe1aB2fLmzOj/0oGAvcaZY9zRPoVQFGSiBSb9U5Pc+iyp6j9I2+er1g7csYr6wvRcP
2zbujEM9FONpTMd042UmGV2BFzOHLe+blyjHWAuQ3vBLJO5bN7/3KtlYUjXncIgBXroYISZj+4u0
41f+nupXlpURBEngv1TR1G9KRYgTAdSRzfvobotKJYlcqc7GwyTvKouE78VSUYtp/WzThnI8szqh
mR8jYpID7lvmmjNuGs2mHqRINfzXemDN43tN+93vmG5/HYvWJfDt5ihlmP2+mhrb3BVaqOzspkpO
YGQT3isoEcsr2YZM6HvZ1vFWto+6aHdItX9piTIuUw1jRGl/I6uW12NPN4ugyGpdFtWBcJvxSTO8
HEVfTV31CdbsgVlyekltZDjCTj9VPtHvdtZTcz3Qx1oavqMIoG2Ejmbi5MNxeihQmEqYXglBfAsh
s32NoHQsfcxS7jbqWSBEde+sCgxJrLbGhY5A4alXMWaF5Wm+uDgAk/Zqmy+dwEcVWQ33h6G4awen
Lh5uVVm0FeQRz26+kZgHUlWBDiqzyocchhHLc3JjnrzGYP4UxmI2jw7NF7M1LATgu/jWauEFmc5o
XWkT4qARdHIyV3tTuPprm9raNUZTbWEajvg6ClGzShJek8MyXfnkVFH2Ek1DdNddk3cKd2Md424z
g9PbY1Sms/hqsXMBVaO96V20sefJPDYWe9SW1JUcZhthsOxYWE9sytovojnIj6yUtDkq+sRTOc8t
LOFzIMX+D/4gC7HO1xOwhHmWhaukv9Lc0badafxuku2ymnTtePR8gJF/xk8c8ncpXntLNqPIf7et
87PUi5Xua+13vmn2UjXr4gp0u0TIJrU3epmOG39ww01MUgt1njJFKLREQNg1NBYsB52mLqutem1P
61QZktujN8oB6mtt0ezs0ZE5QvWWZcLa4NpbI+CZaTfZ0UHXOLutRhpDn+BX2HF7KZR2lZm462TK
eEr0IHhJaw1EQ1IS6q0F3IO5rRPmLzuebAJFGFEEHTGcCauWhR444p0I5HuK6cTPEmImyXwcr8B9
LsrMGn8hFHf3A8v+NpFOWThaqH/S0edY9ZobvbT5NvVCdW2aYXBDeVRbh6M23BJPEeu6n+IXU3F5
cKJee4GEcyWGfw/C0Fp5UFNIjM0pd3dOubNcohvuzVn1GMDpo99OJqy8Mr2Lj8L0iithqObUa8Y9
mmnoBFmVl7pQyi3gXCLCo46ttxpMKGTayOmWyPw8BpZD82bUXQqGjtt0vS9f0mH3nINNYXjMeuWH
vEVOO1mAjf0CHIZkvMux6IZDrA/0bCeHwPFfB7gKEIVNjXugWO0hBGi3aB1Lvw8+rFATkbCFxvdt
L6u5FpRXkbqs6+60HEXXbdt6cA4l1NDDhJPKrLvxpz5gJeaGYJSaRC8+DeYihoD2JiseTmsKkcN7
4EblpzwMLy32JxAHGQj85cfos90kYgc3mnwXJKEISmB5M3tHBSWUqCcL6P9HEKCdNeXV9EWdkBMW
ZV6+6pjMrVNOC9farMVWMXWERB30AOqkDvesVAlOB/jMWwrRcmtU+1WAk8wbB1P05ZDnfRet/70R
Iv2ZajHGFXDOOQCjRk76Hec1NoN2W/ywCzZccYKgVocgcF+0wU0WhRFHV7d+6T1EX0lSWMFNSXxv
PbYD0n0cg/P1QNbAMVHTUNiAuIsaCAzyxMEXEPlpvs5Dv1za4Ths5M2TV4OZj/R13ZgFW1oKj28x
wXSvhbrshXxlWthjxNnStWn38e8eOVwWhb03CHCdsdEJTiXqEamtFvpCafvxkqsIUeiBMh+7mmbZ
h9l4kR3yShbFpHxUkzLs5NgSFWAbt9KhuqNAGFwDBwO5hVpmwdVQUPcNCmTynIh8saYvIv4Wl2Qu
lM6CnjdfCb9B4ncYiank+cFEdl79a5yP9hOnSA2RlnmwLrvlZTJwGPOrBkGVf581JpW0G4r01xB1
37GX7G6InbX3US+unlJ1QHBL4M01ArUYu3Zf87oMF7zV1KsThc1r5duHEpjOV2FGYoeR3rB+3BXF
JUJ+PUqsvhBvXia2st3pE2UXqeDaUVztFqPeQC0rSfW3c4HD2qyVTBzh92XjW+2CTau7G2pvAILu
hOMOIBKcr+QaJy1KG2EI3niaEC4SKG9MGqdvAi3xKXSyH+7o5DgF0eTU8S8kmcnrnnhcijdfgbqK
POe44jBQvFmNq567EdWeubM0w/ItDFAy9UxxlwNs4ryLxEafPtYaa2+HUU2s0QQh/iiSpdmn+uHZ
HqjVeGhDMq2dmhKgcVaiGJorz196bxvAI2WQvWpZkN3lAAT9kBpT6/YxXnbweq4XTjCY+8p1glsj
3D3W3EBb7KzCjTH7iRMW3xql7HArD7CJpjm2XXeH+kq0llVDZOYiVIPy7BFg+Gwp36fUKr/2UYom
rolrmipvyhQH+mBtH2SvwfmEo031mTOXes5GfvPHXQ2kM6hb6u5xFyL5kx1Fr21miVvT19970Omb
cEpB7mYDkp9F/rswAeksxs7LN//RIYfINlXNsQEnYgJFM26GRYyUiXCj8Ghqo3uDbrXTFSc7q3np
3WRTZ6DelGJov0PkauTfH9XQAqxAWQWkMBRe+hPre16ib2p2+dlxW/ukGlp9i3rBYQCC2X4gaHpT
B0XcunEod7Gpdwuti7JTFfqvne8qt0BvewInQnxUuvVaJIr3htiFuusrPGtyTdW+aHa4kwOsUsP0
E6mNC+4BHYiAKlmmeZGc4KfV6zpurC8dksl6Gg0/cVd588JU+6xjfrPu/VAccbwSlyqAujSWuvcN
cN9KDuUxQvC8qS3smPwGZoFa7410sG48OslSN+ryZ3CVIwmhBUsBkOQl6Mxkr5uGuh2bJL8nnR9v
yxhPqRNwCrb4qT8uk676H8LOa8lxJNuyv3Ktnwc2DjjktbnzQC2DQTJUxgssRSS01vj6WUBUV3Zl
j1VbW6Po7gAriiQc7ufss7ZxqIvROKT8Eqmij8Hw6Xh/pgvUS3SU09h81nyYx38159GmJOKfonKY
W12DWHb5+W7zG4+ScgXkJC6ohVXWjdYlDqlnDetCUmSjRafIlxTKqQCw04rfotaJ6K1r+q9T3esH
e6UkRvq+aHvlYFVArnFdRGICseGpzJVwzVwpHkZHip0cAJNIR83OeIDxqDB95VYS0limEEa/YGt3
CzpzgOa56QYVJHWuvPHw8sN921lswOeXviXidZIoG0CCIXYisr6WWtBcM+m2+1jW5NinvvlQe1Q7
1KLoFqNe/tGnG5j81ghM+eFxGS4myjlnbSKVSDmxSpYHKiegSw7aJHVuap61WB7CXcErOZM/SXGv
NFwFvvWeDd7TTox7mQTBhohHfSKziUbMHU7Mu9iRTAfsRu8qkYvdry6HNzybaIhIbplpThq8//nZ
zCD6kDoeybmy6UtrXXkdqf1ZREruf23b6sWJlRSlXblHUKR6i6YsF2gF+Bzc6ugEluWj7Mk3BI2q
j8gvqD33wm/uWJDnQjr2lslS53Eahy9RWWPjYqjlvUE8uNLj0XxUWx3xbNC3DwaMYQwtzSuBmXSP
S5+N63pm3HgeF0vd4p3YUr7lDlLBNPreAosgzqUT8m6N8luQkAAHl8sGzPZ7rFYs95KBQydia0VH
rGdIVYDG33qVqB7zpCxWdmYRpwULwj1dud+iEdZZq8M4KQTgEsvvP+APfQ3bsH1TAioiTEo9b0Tl
fughgjDux/pVk905dWGfKx4A8FhiCKZhsrKt5FDvirhK7vO58ymlEh+E1+dvAGy0tYqN9REJdbYw
a59FPVhWe8niPTvCoi3lI7OMt0iMujvHoekuE0H01wg662hjp7MIiyAqlkkQXUSgfYSecxcyV9Zl
7vRveNZ4VPOOJsuzQLmlgKw1rxzeyObb2/k0fWrmPhv6+TRQKOht8TQYe9fARaS/psWkcSBFucqF
3h+p/jHuVTBetVx0VJzg0ms3FA+O4q3IpPkjYO+DfXnn3xEdim2e9LjCVES1tSiF9N+mj9Bru52F
Vod/o5E8/hoIbfMJkbZ2mLuAG2jbqKqbVVHd7WSMf4QqNwy7A50NgcgwDurjg6/r5Lwzt1o5cI3f
6sF8iLAL+qh9Z+9iDPRuBp4L01oZiPI5zIZNgq96qKnXpIhDvPIy45uBL0EyXaQM6bcwL2Am9IO6
KK3oPSM3Nf1k4WAHubebmzZrl7AJ6qfpiQpVgZAbFe7WW0iGYFUR/zvMp3HX62nsvVUqE7bNDmUJ
z+4xzqmv87yeZWaoImJ3LONNrdGbBuMYHOGI9m/huxM2xpvOlvrAtjIAvMpJmgF5qrWamC+Qel5t
8mijZBUhvn3xasgA86FTjHHbWWq1jIPYuzmSgnIFzBmVrFSXzM15IG2117h1qaqdLsUxDcrKza3+
+TaqlHgTa9F7yG4pXGZGO27asUb+Nb3h/A5eFmbLlNt9O/fN76NZ7lmWFEnPLYLb0WMQMkFN/475
zdUWKmlhldgd167YAscqF3grGgf4YMbk0mMc8EAo1xEA/KWC1Hdr6OSuYpZ6X9T0ZvXCeFdGLNws
vHR3hPXtV1bsy7lfbVR1nZSkSCwlL3EXklvhBOY7Ps/KqlH09kBtjEVeuz5rIjN3BB9dqgqd4dLD
jt0aQ6MuRDtQ2zb1cfcMF8xx/HXDipDEOs1fA34NtCoIm2ozD8QA97aE/HwousYxLTX9sa00+fxn
aw4N5RFcmU466xJf3RFurhm4B7YD6kXa/kqxNTwjXd0ad52Oe13jO9Gtmg7xUENxNX2KAKbmWPTR
zQvqM9MkqImplWAo8NCipZ5b5bxqRFG27QIlX/66COfsCsECfprzeW2P/1vrMceNmW+fyspxgZzr
1m4s601vVmKyzUwBIqpgQt0S+1VdOXg6xeuq35evfmhq63GCy86jtc36M61bUOrTaKHF6MzG4dkM
MNAIy+p57i57G4GCh1PpfBEGbgZ+9abGsoyLbCF+2JoVXyjyD1+rb3MnS2ZoD7KKKB8vszOrRrJA
ZMufnSEKYD1633A1xjlADRxEm9rzPGaq7AL4+mDCaGmyNsbRf1eifMVsUH3vUir4yi6vHiugU4fY
wbDMTpXhzeu83XxGCiKCCvKQjQGZ2uWYYRSJRPY+H8ihkgMkvXCoSzn12d6xRU6OvYoSf54ypM4X
ayyobp2usths74W03M8z5qs8qR0JIaNcmS4KEIduwaERh50umPtGGOsoaX5KgRugDJWjDGvlGKVt
uqkaad5HgceDMVTm99BAO8Hj4ydOEM/sB2Ht6EMBl1NLLyi1o73aDewosWZ47NizLet8CL+4SU4M
n4uEFKvKTkg+VGJywnOcW9pBEVD9Lj9mdQE0EhLUuq5qg+UsQMCiyZUfguUuGa2fcJy+kgvyXk05
QV3SoEFUU+uohjxslVPbflRCWD5t6ETvyGABWvGvdLjfGj2H0EsOEb8x6d0E7OVtlbbjoTeH5szU
na9Ds9GfM40oGjMrj/k99P92pVoVi/FQtHc1EuR8qPsZp5YNGHg16IhfCN1399ST9UOZ2Od5sHHT
9p4xa0w2l8Vx8APzj4xsWw7VJu1BVGIixLPK9+NlrAXmc2pOkHsriJ7tFLiJW6vyKtCHgZlTm8Rf
dX3oroZekechSorFbAJbVapNRRqRLO7x/DUjb4Bwrtuye98osVdsMBYWXwYHpn1ri6dgJBTeZ1AW
gi5Vv+RF0WN8PFoPptaF64pPfJWCRJHgl597BIQX1xm+F5P1bjSaznawi2E9N8mREQnAhPOkTUU3
00Vt0MNgANgY6MK/x5Xo1n2Zdet0JKu4pLpGJlu86q1PGa+m+Mrxl3Z3Vu0qBVlMlYXRIvQS6hO9
Sn3xPPwj5lfx1Ddarnip6zfRapcxX7gIXE4s/Eai9HainsZMbEKDgjZV2OEtQPZ1SQjTN1lKpInJ
0doJwjALLWc9m6LaP6YmSTXF0/svniKJ8Gq4zOqINz8ND8RkgGD1WCOzgsMJDRn4pz3CPDASqse7
rNeXZIfjhetAEABGYB4VRbQrEtjjV0UDLVODqbNGvpRKNMaWW3NH8gihNZbC9wioIHJUJBZzMxF+
di9LySyfGBfk3sWV7aexzUnbLlsykRg+KcZRr0mzlGEa30s1lVtlJH2jB1Kl1CDQVqWbVo/zqBoa
HTkvXwX8MZ08HfL+4NtReYviMb5TslWvi0ET63ksgLFzjYrXX2djRNGsUqXQN5/nIye/mDkaSYmu
oxouKeGxGxm+s1KaBUDLqeVF0FiIIWJGM7DJrAp/x8yAzV/jl1e0istWyz0CCSPLhUjxbmHiIk8O
NJZJU998wPjnWKQjyMepK+ixiKjTfDUOo3rSE0d7lDnEfzCD4mXk37N0SjO+OylIWzIBKEB9aBbY
q4dna6II5WPyQZn/A4s6/dBEOmIjDNjvCqvge6iZL5YfQCeWgbNh2q/XVjcln+LQPaVwmZ99rVkR
5rXe7MIwd0CvyrU9NZ1eCxYQLXCW4Gl1c5PmOp+GsaKxESCSt3MTUD3q6Ds//Wfq0JL3nv9S7JAN
CooaSt8NtyB0liXvnUC9LTTVP2BFq79YPRLs6Xw/hGCm1Hq1o3gSbnGs89Qc62rpxGD2dTtoFkXS
Nu+13rz1Nvh/FFn7voE6hpL8W607SM7cluU8ZbgPUeNN9jFi2VRC4bH2Be4JngVlo5OnC9iEpuRx
rKoRP8q+uAfJaH9tvYAHthZlXyzkO4uiQgckKWJdCuBYmzoQybZRiw+17yH39vq2ygudNJIcCPgj
uqgJWZw8CrXWqtpor3pZXmKhFKt//Nf//r//53v/395HBjxt8LL0v9ImecyCtK7+5x+6+Md/5Z/d
+x//8w8bBwJNOtLSqZi2pa0LnfHvX2+wdDlb/V921+YBePz+COe4PERufXMyT/kAwbeWjXS+JrlM
UGT74uqo2F1jVqjvQ91J944Jh7lPqmsMMxbBlVLvesrXr2wsy88+IplQhYSGWyiqoK5L/KOwu/wx
rART5cQxaepm7eU2vgZJ4u0cG4cDN7e8LQ+5/Au5ib3Xx+OTErWY50VOtAwBF3+pffA1mbRNEL2p
vvpMBf/9p6Kazl8/FtsCVKKZhmpSpuKYpmX+9WMJZWSXbR0nd6GrAvWSPpyodB1OZdDCgfvz1dwn
9X7DM5VizGlw7vp1hlapcEDmkdIix6JXHo+CP99Pjbu1Lcb6Zjthu7TKQB4aEXmvah88t/WI98PU
0pa9lToveIGWj7mbPimlVF68UjUPrknMYW7meLltisJqNnPTnN4vSkp5mJvT+zWNmzzOrX716/2U
vLuYPpH24NEsehB8Sug/VTInxMlCbSPnpt2ER7Z5BBCF9J7mgxmt47ZDltL71oR2UBeSZ/DDfMjs
OHyomMYWxTgOm98G5qaGvpqZTY0fUEB5i7we+1fPpCqAKllAuVMzt+EnZCjcj3PTmB7PJVDcEGnk
VZPFw9ydxJV/sGwXrwolIXvbFvm+Je1A4F77wCoAoYwzvKs4Yy0t0nSPrkuRYNmZNfHU3Hq0TKeG
TGK0X8m5kbPsuoceZf0yTKPxHjvWE/lq3Cs9fbgPMSqNghg5eFMGIU3FV35C+N8EFewAj7mgHxyi
uYQ0L6IVLyyXX4rWU7/YBZhMku4YVBpR96Y6D049iC9s/qtd6vqYxMUJ5ugCJiakN+sM9sQ6A5m3
IZPCwrAxgJr7+S4QqkBxWAaCMjhBPVcsC+uqhYp5jUcftocYv322pv5KU5KtKSC9moXGaZXwz4PX
n41xQAxk1RXTmAgA6IOHm5txUgbHLFEdyvNh3lSsnfFF6odHovTaaQKbr7ALBPdgxjt1yFxAPiC5
KKloF39/B8p/vwEdlfyLbRi6Zqiaaf/1BhRNqReZa/Z3BW3DUhvBs1lEsm1Re7fPQ4PIL4ivOJh5
Nz73+ESa9QmmBNuAbugg3xYeGfRpFGQLaEpNz3aejsVqTTXkWA3XmnLUa9+N5QMLIYT8+VaWLrtc
dTyNbgmsIrUb1kcD7dxGtplJ/yAnIk07wWjmV5TRvLhja4FgQ8ASTAc31s3/8GE402zzL5O07TA3
S8vAZsw2bWlov03SsYOsCYR4/OxohTj2JQjLIikHUjTZG/tNiCCQVoBPNfo6rTBSKjXgEJs+7fCV
rJq9TtTfXcq4QQiglQ+Z1hF+neAciYJXSeIJ8YjJnzihD/BX80AVKFtEnt6rRRwDKkGA7ZU64Jcq
Ma3MDfFSndvab1+arpNXR4THoknUFzm2+Tmi1hnKMefAVRn2UVQpy3i+RMepkpBcwYZF/RGXeb/K
+u6HSuHVs2nr1pk93g8D0/tn6PP2eRrDgM7Y2mDptkKvEzj9hvblt1d+F0ePJe5TK3bl8bkgr7v2
ijR+8Rzxo568DnLjNcRVdW9MnJcot5lxkuA+V25p5KOfUiqzNOQ+17lroNaRGo94mSOG3/wKeQVD
Ig4oc4lTVgXsERyphyiGwqjod2L8mL/ZPN7BPd51vppLobDqr/IIf4Pe3kfzDZZWCYJZhSf6398r
5m/P8OnnYfGA0finmH4fvz2s6kbqNuSi7LkLsH+FkG48FWpuUBWix2vMaY2nIAcJ41KI/TkqdHt8
8AhjFWoSsjPM10Fa2B8V6Cq919sd//2kPieJXZfphyyw22M4tfquI1vX9O4BI7P2kDY42WIT3spB
LniWjutfruHzq0h3vDOwSQ4CFK2VoMf0KK44SlbHMJ/FHrIIBQSffZGuHi3c7VapqIpzN7pmtEhJ
quF59/k6M8QCv2b+O4ix9urLVHaO/CoxD55qxg9//6lqUv71rrNUTVoO/zNNqWqqrmp/nYLcVGMG
wJ2V9Ir1ROVgt7HxTn7KJJuWTPeyjwIZhRvG8feyZJtk6CK/knskX1C06k5YvncVMPiXrG2Mb0EE
2gGS7gcQJOQ80rWf+EiLTU9ociN7eRmjNH004yFFNYK6ijrp49zl6WUEnQb3zLaqkbR6zeQpzDqo
cdp8ofU1wrk6wrtoaF4DiRajdKjs3AT6eNaiIoMI62YPn6/Sjkq07E2ZrOh1i1IGhYDqbt6XQql+
H23ff7TjJlypPdXrDjbxat99+ATEF71i5s8jhqZrSNTxOShd44DxVrhNPRthWZpTsRyE8muKFVwP
1P+nHShHJtn4PQmpgUzQW07FVM9ZlldLL/f/eDUGTfvc2xHPeb2In4zqlAWt9xSjeyJCp6sYMdMM
KIt7rHVr7WMo9jR35U7xZjlZfgYN4T3h4FivU7Ytm3mQlaZYhoJylIy4NWIphzo8P0JFWLjCOTdq
22yxXggXqYUd4XbuZMm5Vp28OH62Ovbhq0RNi5URw98OAnfDxGSRYYXR1EW71PG0TRVTGYYZLhNo
9NlN5RjlWW1oX6CrQkOIcRTF7vyVYqzsUItaW81xBWFI0l5VfUUn5V/sHNjUHFcgSy1g41fVPuyS
9yKsbthFUm/ajsG67tvkCtgsfcrUNFzWQhn20KzKtSZ9CrUUSlHaMn6a+dvYOZbHvC1gk4ct/t1Z
8gKRKd4JBeVHQ4Dk1YiTbefW/je3CjDiIqc2IkAZg43V9wYy+cR5wq6uczdGQ5W7JwsMgFSn/Gra
48UVujXlOfU9KVgJRbEtv5b1yUCV8F6YvbZx+qLfaS2FcWHoEHUuvZvVKNnBArW103ob/IKqsGlL
+LUv25zvLp4mivlA9Zt3jobU/2yaeRjv4aic5sG5P/IoMQoCLKISS/fO88EK1ENHUnf/q4ugvf85
OPfxWI7WbkXKzHMd456ann807LFc9GpvoMTnEKbtcgihJ0DRtiPRnxzLb+9GTOS80QNcswVu7Cwi
AYNp4d3zm/bek3Re+bZEEiarVR93JGxynn+DpcgH6mmoHPbCXeA4w9sIVmKX4GYIUu+fpyVu8/3v
Zy3790mLXMv0HHBY1TlSs3/fzwWlkfKj8PzTxPA5BSomRYu4M8xj3vWrxHNht1V9SA7P7Pdzc+yt
jzz39Ye5VVDZ3HZh/FynqX2tc/OYTdfEaRqcKPO2FobslJd2LNpt6aUjxVD/fEcmsuHzHdlqfmj2
mpJScxeLAV/kiUhzDoSpnI2oaVYB0L2VmbrOuJg75+HRHpX1YJlravGoeJw0mX4XdusiAiLXTh7Q
Xue0n00vF/yuCny5gNNZKCwtoMrFWIBHy9KFZ7gIiyNL3A0E6jvfixFETE0lxaxxzDeW04j7Z4+j
AHkHI0IoPVXviQa1tW7tfvHrFA+vV8dLlUd1VKK1Rch9h8HSsnEz+Za6brqNiGfuEJAlr0XZbGeo
mp9BUgrKoD9RLGI8+hmau7//ni3L+OvTafqGVcdU1SmdZNkI0P/6dErjwGHAJ26P+p/pyL4ZuMP2
kJeuc8ufYmUuJPHV3HStyr4hrT3gqW0sHJxk177dpOZqAH+20km2Lc2pHn0+EPH945Vm9jfbRDPT
gsS74SQ/J0gQ0cbPQ7qelbPj1GBkbkSaNjciM9UeIcJcCcCKA0riYaP0rvvUKerPWWmpoZ5Q7G7Z
4rKla0V8o7TTOpVs6ZZwYplWA/3rb/0yL5y3staNez06CgGINl1HLZs7S/N3bd37L4jjlH2mqvxl
89Tsh7usifyX+XyBH88KiTGuMGV/Dk1ACE2MqwoVTFAhU83YE9bHnafHjTMLg3FR5YIYw3Rw2GW1
/9KeO1EAbkdbZb9H2tDL+Ngz07i3LDMflJiFFALe+3yIIvHEChhjqalLS0z2mdwH61b6TESD3T4U
6A0D1bbxvyjbci9UBLC5z7JMbwN919j9wJ6R3W8nqycobuODaFv8Bqb++TR2rf26cMJtr2rDMWrr
Pw6Gipe2BK3D5M2ArmU5JmTTS7Mhg2e76KY6/MEOTHvWBiCCvJtGWi+CPmw+eHYJBNkfZQ/SYrQx
E4cgBiLQ6uIDnoXqvuoMyHRO/d3xk/HdHXOYUKFARcgWKZy2QmQ0cL300mwz9/Xh8DNPVG+NkOdR
DVr3jAShvTP5UPOaV+0KmFlzj7SuvPmkEKcxdMoqnoalsuuZlR+VSVqTEGSsMptQxu+tTvArLgKc
CghfdIs4LOqvymg82D5094VuwDmYUCeOE+0Lq1e+4asAaC0rk9dhNM++ppsnlyffZT6keXA1/cY9
UCGuWmShKNsuhxpYJayljmzKvhQlejdrrmvVcCjWsUKi6huGWNDd1UKNt35KZb46MghlTb1FCQ5a
1nNlOf4xVSNyh6Vfp8vC4k+zjM7BzkPpLPLN+paaD2WPtTNWpBOdwOhce50QC1/P6ALSL9YGM+AL
hJxuA5+JTLxiGA9Sl6Q7qio5RrVfLn1d5jCqG5MSruzZD+vhIULPiW/X9NK3jFPvkJ5XpPqVRxor
+/lbS1D6LmWjGJuqVJxb2TbR0bErxFVF6WK5Ql9noZizU5kf5uaAc/xJQbHYExDJ9KtXNs63oPDe
THbEX600/piKyd+9osVLtcUM76nfg6x+xCpUni2tYXqJ/QDN9tROIVItEZD3VNFV+vnXQPuEuQeU
wkrRDrKPTN5r0DDcmNrzK41I6priXBbaZR/fYMnwY48SZ585RoQ1SBzfRLxDMNde54ZBivcwEFmY
xxsF+rkaZdHeslnEDSTytgrb2vebcPX0PTLGYhObL4MZq4CjOMyv2Ger6zbvBsDWADixOWVkjG1B
uUjUrfGOc9con61lVqnVDeRCu3ZHPKV7lVmbGyU8IbXRyJeRDZdSLSmeAYHKwpNapxwoZhnV8lZa
+Fs3tqPcXffHEGn2QUbjixaE+mPP0B+H9oceIEWcu9O2Hx+RDUtY/rGjHKE+Fl/sXMlWeA5qDzhw
UnNSFNG2TJMECoY/LABKD98G5yN3KyROfx4UweZ6AWhqhaBrPM4DTYQKCpMzZ10xma0y3NL3ZlnV
6OKpkdXkxzDg/ty1eGIFaZgcW1+PbjLEettPR+OrDUp5odlOfQW3hbABAt9qaKHMWb12GBHLHUj4
FKSsFdwAwh4PgEWgyuowt+dDYAcjAuffxj+vIoJyToVKksy23gKIFqcsibqb4qTNGfzzg4/C+6Z4
HEpFTmkPi+l+OmMeiI12hwE05qrTab1u2gfEYOQ1pzNsy+JSuxFL1az77XzKPECFupaE6nVulCXm
SAb25qo3/ihJw+wUInZi4Wat/wBs2n8gb0qeK8Hhxw9i6i/+HJhfZUmj7nxjeJ1bKTUE2zoGBofB
Q0P8C/VUw741WCaIfLaWoxfLXA3ktUsbeQ0pAmMjFMXruW8+EG4tl7GfdFtliLiOahFcJqRbHuZL
muk6FE77Omn086+uW6co6nV+Bx0LnbPexPv53Lnr1x/z6wofheG2G8Xf/EHzyVUu//iDfr3f/EcB
kKgOn3/k/+cP+rBq8fsfBLFBpSSGGs9VrxjBsiI6BG0CAeghFANfVCd1jLKrPCESXQ/LKkJob5Jn
PI11HCKJLI1ll9buAT1/snE7IXa4WQ9vCvVpiKuad3/0tY0Ba2bnGMH4pfJ3htdN3TWKlwKpJnpk
84bpiLvoJ9SkCrt23xq2u5FUeT87RfLejr3/I7CjSyrC4tWM0ZW4iu8feZonSElZU1sNXtShrwJA
RLJww9w7vCV2d4vqoj/NrUZ6xqXudKjHaBWq0MvDnxRG3ewwSUKcyImlsV1z1p9tFeNG/LLwXwor
c1t07N8TnLPXMtWaJ0sh39zkVbkwpmY/9hNaMVrOg2Tlm6cAs70BTtBl7iIMWy8xOQHfM53f2KO/
BbdhrObRpOmKk9VT7zuP2txmd819mt/n881iF+5gkz3Mp6etSsEczMrdPNhlqbp1dMRkFFgxaw85
QlESnSL2TXiXXvFWEOApG+O16FlMw/jy8Z3mrLB1xMozum4/N2uKacagZHFkpMklSZyQTDhXp3BN
NobE7X0+DZNExC0yvY5Fv0w6I9tlKdVzem8Wm7JqipvPqnQ5tFr6pcH21ukgP+Bi7uIszT/NghQr
KTqLIlEsoTv9Vvgx1hd14J4UXw1RCFnpjtAlltAilKvSrkCx9BQiVEF6iJQiPcyvfh1+9UnsglRX
+Acy1c3Zbtt4FXm2/51wC2Gy7xQFBSuh6mJfUBqx7gkxGghAsvyi9ktRF86DrcUsrLROAdItg3NU
qfEfZ4yecgBMWh3n8/1uzC+4lFKt4ivPmlLjSzR1Ea3ADTm0TAKWAIvFWDzPh+Ib+tvgOU16Fidt
ax7McVx2eWjd5mHFbw9G0xS7eFCKXTXC1h3dFFNyCn8vsvTVi6KV4oL255ZL/UCNWgtL5J9j86sO
wUXuBhc2tS3s+tEnwcF1A7Z6iFrYf/55uvAKm4dN9qNKqUhY1mCEDibauENOfOmAeoU1kZd5S6Vz
yqPSetE+hYr++6t5FKZWuP+38zJqaP12ZxWsphE+tF/iOFtrU6LSSECAii5zdvBBig0VLo9tGvFs
sEb1Mh8cLS4ubonkIlcvMcrZHlH2JS4AlyupF21tggEvab4xrBV1ng+ZkOmPmBdMU+V7DsxloYiq
vvlDqWNk5bfHmi3aKaiMbGMERn7HBxjfrS4xTo7Mf2Lwnj20ucEOz9SLRebygOEpob2kDaoawoz2
tYNEsIdlbh1Ngt7H+VVWt9pCEDVd9e3wR9+YhF25+HXO721f+a40NUqmof3Z5pQd4grwHalZvwik
5T8h9/Q3umyLk0Y2d/v3u1zjr5tch7CrMAxBUFu3dUMY5m+JjwZKSxwLhPNJUfs/1NC/WBSarkow
5WdFo6Yg1R8UJaofDH8dE2EeG0o8NMjKV49lRF2tZGZUF4tZk8ybQzpeZPV10JTF0BTsPKRTrDLH
6nZ9W20DfNlvCZ/o52fbZg/uqF+Rx/k/ciw1sbFOmAc790MBRt2JgvCTkj6o2dYoexVlU9BeCw9X
VLu6KcLQ8LnJ8YAM/eoEKUNbxaMsNhZIJGotPCrKW02ewyL80djhuYpc/eKHUq5To7HgUaO2jUW0
+w+f5u95AstwTNuQLLYtloXq72mkJpCN3lCMfPfU/MMSSn83AbfcRyRopXDsR3tqZbKzVgBKus08
KOrRY+6Wj4h94K5PZ5RV+V1HfnGaW9JFRmIGpU4tdersAotUoqa5ym0+BLK61Uadnw2t8O75WNV7
ZvLJBkaJ9l0XCNB3SnNMyhTc3dBnBL2NkIowveqWc1NMfRkmptwVYU9RG4ID6cvLjCyYWkCs5GXG
GbhJ8Tn2Z8vWov+gl3B+z0uqQmqqaWvEXTRH/bdUnB83BhssSyHPpdvrzmz6c98uSb4k52Zq+ML/
KOoIC9UJquG45oqkugroBeCGQsuqbVq+0J4rF8bMn2NCMVZNhklR34XpSRZVsALMk1EjisRi1lQ0
ef9H39zUIcXMCx+tiRN3AWo1h6Iqk6c4tDygU1Z5MqdosYv/1hrOHZZ206iZVqB8yCFfCncAKWzy
Tb+3MVYCSts4r657ie0u+Rp2Wbnu1Mw9UBhaX/0SN+7Z/SYOMIuIKwpmWPBure5rAJt5a5Za9Jqb
4WE+x2oG6rjZrV4cretPaadVq3ng398dWJayioijGW9jJ/1zlmVE7YRxdaEEPSaG+RYQV3zrtV5s
nMGKIHgTPJ3Owgs5O6Ckuda9zIpFa0fD8ddBx69HWQIeJmwrgVOWFrT/iHhsJZvkqTCCVYR73tWf
ugoV3aroa2tvRmZ0/PubzpqyRP+au1VVlZlLcMfpmtD5/1/jdL1ldn3jheZDWKvo8HzkfXOM7TP6
FtvtCoVNdvot7qZWeLiBqPIM2X5zM2eZi7j+gukzRJ62sPaSjPeNaIbHVoMz8qb80eRdOdUx9Pu8
jXE2MTbx/LlKNLK3kQJLfDWCx6QgBkrdarr1TBjJ2dQ08ti/E0vmCwev79bmT0qv0nXjjiiGze6F
aFv7gC/YDyOvu5eYOpFj5WO2IqbBEK/MnWb7zgoaTfRcqSejqIdq4SJTht5BMhxGexatejOql5GG
LR31n4hnPZjI2nPXGNbbUOPZ6nXKcEWVg/5NNcZjRE7tmItdQN0Jaz5+IlRoR/ZpQC5smgR51llT
/aebe3qc/Ot3ZduousigOrZGWJWZ8K/fVRVjKJvJIHvy0H0vAHKrXzKV9I8n/ewcJQZhHde75JOk
Y7BU9o2QZHb6dBp1HS0+d09JG4JKi5H17h0031MgYA4JfEYHqqgLSaU54UPTCyqCyU5HQfyOBbn9
Eo+o351g1M5VwO+Z+n+PGTWINtj7+ttAb7JXOzYwp+rc4dCY6Vnk8ocXmPZ91DGb9XsXAKMzPpIZ
se+WnGKdmEP/P+bOYzmS9MrSr0Krvde4FmbNXrgKjYBWGzcACbjW2p9+Pk8WyUxMJaqbqzFjsQwV
QES4+sW953xn8/3FtINdL6zMkO8/9iw1CE4rInpEhHI0SnNCWF9cZUJYXCFdyy7mMPILPF5ZIl5Y
chydaekNe8B8kg8RXb2dRcToKHAN31AHE6XQQJth7BXJEWRrcdfsJztb+5MmaAoPdoX6VEXJee6V
+UakonVSWqN0zEZWiN7rJJv0qgFomiAQltg+pQJll05QR6hPSGgyoZycpjHIYZly3c2CYqRcbxZe
t4ze95rq90oqSivq35SAkZ/H1c33x/j//CSUa78L597Kam7iMOo+/fjfiEf433+tf/Ov3/n5L/57
815evOTv7Ze/dIrfmrItP7rPv/XTO/Ppf3w796V7+ekHr+jibr7q35v5+r3ts+6fgr/1N/+nL/7t
/fu73M7V+99/eyv7olvfDfF28dsfL60CwVX49i894fr2f7y2HuXff/Ob9+It+tumj1+Kl89/9v7S
dn//TdCk33XFsiCZKrrFFkVngBzf//GS+ruGukc0JEPS6WBoTLZF2XTR33/Tfjc0DARgIBDYaSIu
v9/+1paEHv/9N/l3STZE0wKyKtNKElXlt38e/+U/HuZ/XLg/F0BKPz/zmi4RWY7QCGmGLpsy//z8
zAdGidbPXEJnwrZ1ZHH7NGUlwAlq1GEf0UGGnta0L9EYgaxRBMgN6rEXehlxdBTbubxIf7HolSD5
/DQO8Z1Qoq0HJmsqA56srq//IMoEQGsYOm5Quxaag7oa56QiRRCtRAzI0D7B2ERFsVGSRmbiN63N
QHyCJw4vZP9dLIkCHw2lE/S5pAaP5spCzexpGugOrOwxlfb5sBQboezC7aTk92k8P+nhHG0Z8Gwp
1wYX7kXo6235rQi7xqkpnfjWuIChy5ULGpqCA3Y9spMe5aCiwnV/wdZPNB1ieNtIrM7GHLWrq05B
ibNXk/aR+uLdjOPStsLhSBUn8BuUX8B8JT9saaMjZWpn8Rjn+riPFoqvwhK4rS4A/p9VkqIUfCQT
GPDIvDVSVu/Yyy+oHWDu0yvLidr9YKF/qxkw8iVYvGCs4SIF74nXCUt6Papb3ICma+ryQZ8U7TQr
hF3F1ujHUk5mN76elnKzNTEm50pjOXQbCUmLrjMtnLfxkJNN2tTXSmYWMOQWKm/Kyl4AcubFy0Du
bAWvUgxRea7R5wtgxWYKYifJh95dFJBYczFfQV54KFlteL05XhJKcDTwIjkCSeVuKuImgRZaqr1T
w/FyraZPNwalCx1yuYPtz9qP030lYwdIYkBU9FBTN6yWg6wQaimNdJ+1/jLKyE+H35/6S5K1XkgM
o0uZPydGwJvn+S0ugpfUVvjErTCJZ5UFCK0HcYQZdwXtP7M1ASQjqqZXfA5EyeSabypUpxSKt3Op
3pOFsVyOFS5rSSmZqtJ5r5ll6xhSmnh53HmDbrZuueACkcP8MlEWsEu6hSWkZganhRSLsLctSlM6
7kJ7sqQbwHjJSrXH0qGGiMMpc7ME25dAY/ZoFEXXeooQeWz0SP+GaMSxoFa6WmtMtqiPfp3JiZdN
0kBBtL5GFEeoUkTgqU5Ztxq5ArE4DnYRm+9yi8ew5/5r81p3wlQqwEahIiq7FgCeVdjGNKOlCaXc
7Q1/0IvLcTTuTa18Y9USuSCg+t3ijuaj0Svv4TwXrmroCHsW/A3pSxz3ix8a3WsOudruu+YmH6Ln
0hrpE2iFGwzLaYnojmhTfcWnF9V1TRaGSnKArQ3doxRO26o0zhR16Aniy4If328ldaQJY7zoMoks
g5IehaC+HHu9o8UA70oXbxezeVeXXjxPdXMYNZ+KoYSwAiPLIs5HaWr2aIg0ewiWbSqWPXnV0Kxr
3DwukFZnbXW7gphfBQQE0ZVhdOsCQikDw3DFeBsMNbT8LiWxgf6Xg3DDIvoge58V9bUbNEQCs46b
n/Q7QTG/gey71orpvc1mC+0DyJ9BV9gFv0xztGFF9YHB7DSLi+JnA9tDkcwVUedZqKvADhgXHJKB
EBSkOKpZd4lSVt+OFh7xyZpOrShtLaB7dq9qR9SPAzmomPhnPCdb5vCH2nKCoMz9hcWwK9YaxXnE
GraI5BbNPQdgSOpthU7TmtNvbVV8k+IuoS4sQAShqTvUa4JmiI1PTy+J5J2BlqjuUmhuG+F5FJT8
nXbFbFciXdTACt0hjd5NTT+ZjS5eLeyyEsD7fmyw1RSlEzzd+pg3+TOSJHI9wkcDGdmmELWK5wio
Vw6o1a+GPUMZzd2hcEvN6MhzW4AHxDPeJSv2ZL1MWb4nlR+lGhzHNNhrXd3B5Te7h34YP+ql3CRK
FNNaDN9jgJN2M2t3ipLh5J1Ohcm9zPKocsqIwXMyCERU51O44PHMKEbI0kWcDVsY0TstIQaMPVLv
aYAXaQgubhII/jBxAhUS5N126ttzLtEBSjWz9gRh8fPU2NYNHYQggMYzU9SgDrmN4Rjbg2zGO+Q9
z10LKq2dBQXaGP6FPBycGIjozhwwM6iOnAu3Slg+Nw2SjVprbmjwogQpd5XAIDrVvWMi7G9nNbPr
wTpXvXVbGSpOn+gSJPuHOiKAV4+xWV3T6gi4nQvDGbOht8H6Ia4vPvKWek09w1vX8O8aarALWPjY
DdBvm5sf038S8ZTExT3uLsOu0prvUUfVGc7ZgUj0HYqlIo2f9NUMLMo5MXvGYHcV2RDm7Db4t9wB
dvDRkArkZVPPYl+KMLuTNRekpSeo0IrSGCZCYVzGZXVlJXF9xoTcIFLtb0NZ6D1k7jvEC1dGRwRo
RK2YcRLpETSno1RHbMThQ2Rp/tSndXU1rsa3QXQjbFKbSmNqb/vXxaSgNc55sWP37LSKVsGLpiZh
xXem3FBPlvN39ia7kqgIR7e0xzZKyjs2nOIl/pS9LtKTiqbuUTBafQsa/7Fkd0EYyvAwMwCo5Ghs
0jGYbLQKBCzrEUYf8qEUeSMPaeo0IlYFoiMzWxTNAy1uhSYhInzkEpldyUnvaNTcfUsQjhqBfZq1
1aLQsvF3Lh7hVUIzVd4MdQc9vEdS/W2K9DpIQU/FDa11IGAlhFDCOMAWIXFrkl1OZxR3OXnqhZEi
rl3UxE0NNxesE2G0OLHxksRK2PvIKm+HtaOZZ4Zpa3lrbU3kT3Eq+GEQraYB3PvCEB/QiWxM0hi9
gUUYxrXe1g21gUomnrsetXy8dvwH5ZazyY1oplflmkCQ58E3zFEcn+Jo5BV5StK7Q23VPhCJBuAG
G9RyYvCyOqwvwDzvWcx1/OroBtlgbrT8zqxIjLElaU7dKJApCnyvcSXTcSH6fFtJzV40zWbfZMJT
mw0ZaLtOcmPq2/x6ec4iGEJNThYBpegYwc4kO3RYfZ74blPrg2pXk6JvVoRLMveYZtBdOcTnkiU9
T9aqGqn8XJrrE8tJ7N3JdJB6EhoWvE5+a7odLFon1K7zqXzE53PVqpG4MUAFmmN5ErTsxWxiBkBF
sJO8z3eragEL2w4HsJ/A4DpIKlOUWJU3SNKdVldDRxPMzBsHzGrLYIZUP+Lm1Naz5SS9kHvM7+FV
PC5Hkdtzh571pdEGSjkrIKWVlhT6pzEfKwwHDWtUT4VAt7c64KZSKzuNJE8usX6p3YNYukCaEu1T
omHORNwtqD2H2f3+oyGk/iAbauHWmaDsLJOAYTIFY9aD6PxX5JNoqo9ol8DkjpIHwzlxwP2BGbfE
444krfJQTBO9qIjK0XeoWRHK8XYJ4fBB0jftJU93y5peRfZFZNMb2GjczA4hRdF1LiDlCEH/GVV8
kY/qoW5DcxvTbKJfJx3yAR4wnQpszNEduRPCiUwAF63dspum4Vajs0KhYa+rbeWHgg46OzDosMwh
iZqV6U5z+BHqAwwkrLvn2sKhbeqxGy/AmGatlh12LlhLxBZBr+hJikYTKZ4KR5Yo0kVN0rkhcmK/
VMldJ8ye5GAoHlFebeRJX5wC/5dd4pLeZICwxGiLIHtBzJAvhJeTclQiIklxa21WQJHAWgTZLa3W
6APzP+ZdBaqaPDnl+i5AwbEmAd5J6Dg7eSZSr1xAB83q7Rgb4nVnia9lAHKawHsNzz6BpXgnFx6Y
bnwSy8LtiduzZW71XWiCgBby5W6oxPoOfI+LZnBBf1lk53AsX4KKc7UYV2KP8U7Gd3WS9D61ozyX
kSgKB2CwkWvMsnJgW8imKPmI5WlxzSoV/ZpQS3vMB3W9PTm9RFf6xeJGRrOwUm4pxWRtxWYBCyMV
v6s6uUfxpWJ0zEFarX75WBysbWpByw3RsjiJxIJONIubHaejXQkllr8EibyhoE5kNIDDJqcvNBMc
vjIkHhPxDYX5rqKxeilMhUAGU4lS2Vr2HTSMWyRgtRPGpIjmaVscWnWg2kQumZajSs6MKfGneHhb
lla6yNum8quEoC0FJxbJ4jpu1czYJHnR+IXUaJBMRM2mo4Z9chJRArIulGiju6GUPSGmsjaolOZT
uywJi8MKCFuzprDWdBmbXlwO5lM9RgOXexqOlhhjvtCmC7wmIGhE1PmjhZ7fhFeSkSh7aEbhWyKb
H+DA1U0qadZu6dB94/LMbETnppt0g/iK/e+SYNA3AKqVn0z1uIV8WDuKWRieMknqeTAKZEYy6o20
dIGb33DvSBs5Y0Ylq2o/1KvGfcr32CdfdAh4u6ymeSsSvnigg1UhSDWO6aCd4H01ezTluqcYuuYP
VfrGrN3uhmZ6jmo9uhVHZ7GqV3NJ9N0yxye2reblkhUOIV4WsLighqcLK0fGNLT/3sEn7EP0JrE6
BZKSbToWQ5syN0g3WiLWVbX1VFeldr8IwVsS+2GHe9zKegwzkfmWxaTPmmZSuG01+N3EBl+U5QMj
lrypaLvacm81G1mbb4Kl7LdTRNj2qIDAyWRx3036GShjzszFPoQF6EaKyYaBpPGRGteKiBotbOL7
vE/6cx6MDj3CmDFGP+ULZyVVLBeHRseVULxZvtSjttwqcvHWzEjim1BYbE1D3imEVQG9FK9qzQ48
xwy1MVjceppebMcqjxxllpAPiqT9Bkbux0mrnHiq8G4UGGdz+ZFifOzSqajEObzIEknHpjQ5LRwo
v7GTKQp8Mx+JrxHC3gn1srXzKn6x+vBhDTg2IC0K1cxT21e1n0rdzaxXG61kBR/D2mNHxYIB8f+l
1RSaN1VqvqWY4ASy8pzG0rQLdeW5kxJhm9e3c09yqAwnIzRGaONKfcV8wKAWL4Kjshr26J3hVGp4
aDAYz+tEzhJEbyJodZRijY+irCm2GvQDJ7YPm7SQb3QjuEzH6CjIYeaiCyw8qdAogpu6vhlAH9kQ
zwklTHfhEBKdTVabDqqUpavWe30osWopAKXRH38S5PKN1LSF+i4YGVaJcAZ2+EIUMlBzyTbEbIaW
NWVerRdHiHCTN+b5Uxn3uS1g4kOrsh/QbYLsqVFU5u17h8eP2TI9RO2yH8pe2KWWYcs0RT2CNFl9
iCm69zGbINHk2aEKQ9r3kAjrIWFV0KFrH8JgN80iawAxr0D+t9gEBpmxWDQvMck8cLzX8KbutIQE
qZaRcZmskxbId3Fa3KEvt5XctHb93FNei06JinZ1mORrAgQf0Q9ueWzMPR9LXYEMyFSSOz8IJpIe
RNxWfVdsQZWs0lNWthVKwXaS4JxKBo9I5pF/x66+a16FOTR8GcgmLjFqU5Sm230dLpE3hcTHprMU
bwWar7baWPetyG4q1XBbjp1VecsgIhm0rKfCaDJHR1VGcUNkBxRSOWE9XnesFpJ0WSve4WPe010r
F8ntY4QAvRDsuya8wtf/HofigoJwxSFomu7E5cRuZuy9pSvzcyMGzp0uTv2hZ4AbI09f+n2JEtRO
lhoneJet25fxgzmoxSg1OUYzal5k0WFWUaHE1K4mVUjcMCFolCr3WheSnxlC2cam+KKwFVPUSBtW
1MuzIVbGlWndgYq+k8pWPlajYlfNgNEt6YtdS1lAF6zbtJdvoBkR/zMFV7Dhxny+7FUmBzEluLE3
TVfK1Xcj7Qs7kDsiztp6EyAVmpv+qMxYftAkgmNIsQIRpQLoKtT3ecHqQai2k65bXllrqRuIxXOR
R/kuI6p26ViIxAriGtD6fj8INFfoBCReH8NK0g1B9Y0CFJOq2HjZlrOSXw86OY/VWMc2ey48NY3m
ia38jhFK2yZd5wbTAIk0XAywgQwVbVh5dSvtJkG4KkdFdru8ZcBUJIT67TYILbbxGDYL0oxHQtLh
adfFjklLPOMz/2Bs2hr5kJ3KmND7ZMzuRvSkNTcX+1GqrQ0uMEFCTVzWuXHodMWZaatuswiXkpg1
Lg98i8ebdHVNHO97UbpcZkM8tWXyzcRVDD0AbrEqsBwmOoGOINh32ESpsXjNUMA8lLsHNLMQXmEX
GMa6i22Mq1kFqJ6LYLHDdbekToGT9gnxhJFxTSwo6RoR66ExkA0X+0xhi9pE9F01vOdW4zUEXLim
oW6IChg9FgazHbGKAZZaHyqpZHSXEYUH1uSiC6cuI5ftVomvJGJMtLjmzWIx3rAwdJSy8AvSJ/eB
hI24j+m9wIB1lcqyvDmOd2jmR1vP2zMsk8fcUu+HoLwM+rY7J+NaRbQkWBttTLGDvZI8TBvqFMSe
BS9hV0t+LhL0EA6Urk11fNNK09djgkECdXZkUbjSCS/CTTU5vbJsg0Y4d117QMzMFm3ice8JgXRZ
q2te2PLo6WXzmkQDpULzqcXZ2eKQysKBhJaXNY2LKkxvOdZwN2oUAbtiuuNr+2pOX8ucrpMeGU+n
Wx9dKF4WHdknymw9CuXc2WJZBduSePsoSbxJqRs3aVS30XJWiNZZREOBGys9g6Lcj92Ay5iZS0c9
r0qi6RYo/Gh0VaULOhRwSF0dF4V6XhHkhYv1e2Zjm7iFXMxupgsr38iCuXtKKI7PUCpTYzpZdbKx
RvXS6IHyLi0MvDwNbvum9OughP8biQk09vXpvlni9L5BibEI5zKn7JGZmNAYY0f1SIX20CpRdxSK
8ZRUwy5Ph5HBXPjW8pRIhGAhr+dgK3jB2lq2Fe0xZIPBPPoiNltDGyjG8Qt4GK9mIbiRZ+2eQZkN
96z1dpxe9yLXpcA2PYvp5Bag34tFvjZQ7JarwbqJ3kPZuksz61lGDzLCRROb8ZoezTUmoMlJiOda
+KgSIS/clcjIDogWYdW1oYf98xsOqA3VtcDuap0E2KDhie7YimpaSUtBvmhBjnlxTk0PZw6lWrl8
lFKKPmKC/Leqwt7VTGiZYDSbEDNbzNU+JXF1P1TGHUl9okuEEIxEfCEHZdafJdPaClL5OsJPscNi
OI6dMjmLpF7R/NHgsjFXo7S41ifB1U3tKdBUuJ8i+G3WBDo11bIu90tOMXHJAxbeI/uuQK5PSq9z
yiBQ7OKIdWkMMFgznoAMAUHTdfwKkECRoakPgyrr+76a35kaDa8byitjxo3flVdCGTAT6x91bL33
HTjOQqfQC9zPK83VipT2DIcGXYF48BuhPMhZENK9ALarB6UzrhlQVJ0bmxwIIAHPsZm0rqgXzwn5
umYvv1XiELsTtctIzyn2MLnP8YfQ1c8ktuEW6AYILBxXjJvP6emlpM3DCNA122UCMASjoE2A8B84
ZOuXAYDFRUcGq0Cz6mB456VlV3r02rE33rCDjAVV2YLBuIfTGPhc5FtE2iSUC+QjVBLxn5EeHxfh
PpHTUzABcSCCinKGodXojTq2eSbwmW4wtqNJ0QAL6Z5AmntVDXEzTPplugKKJO0Szg3rmADmWiBe
KVUvndpo3ADrujZ51nExjUyZkL+D5AqXRW1XsTSuxV6nTGl9CCr6vBpcFqVR8UIKjNAFlhQw5Of0
B7rwHzavPxq7P7Ur/9VS/g/azr/sKP/Uqv5Vc/r/x7YzneAv2s4vWZq9FN/+tmvXf7U/dZ75y392
no3fqe1Lish1xSiHG/JfnWdd+l3VdMM0JBH4De3VP9rOgib+blm6qrNOBlsji8q/+86CJv9OA/u7
KVwX2XlJ1v+m8Sz/LAwiz1I1VEPjG/zc3NWZ2/qxC/PtnGS3Ka5dmrS64leyuP6r0EwXnmViq/VI
svObaJ6kuL0Cr2ooPOsFnQushXQJGFjM/EJT/Ci//uFk/nHP/cgEUn7GTfzrm4mr9u2HtjPBTGEI
jTjbVhNU19qWMxaek2+G0kalILZ+UX6c9WIz135A6jL+dXjFDkmhvp7KLkFf7Nl9iKtU7hQnVRP6
TXYBSh1cG/+RXBCD3kvJpKdZ702Fe77fT9K3qQYRo20WmoR/eTDqL07zZ39kh9F6EuIUekWg3kEY
8U1sb0okXQiR6Pdye50Z+UYeWanGjCC9pXotbYpIA5ffMpIQe/JWI6dB3bg1RAxZVYxBDlYi1ecE
KRKwmFIWmBmz8iIhHcSD0Q6zK31V84W05zk5VlRbHakrZDeodIm8mKVx1GY89UsVOv204IbJ+xdl
Fp6aNn5FTcfSZ0rxP4Tl7usLul63f8ua/n09jZ+vZ0B+BxXxONsmEF0BWvlzqoCc5QoAhbLTHgpu
vLhWYp2+/rxf3T+fOBSBqY2ZNUvpNgbVo1E9XE+vtigsWWX/648wfpZt/PuYPkkjmqKOBzaf6TY0
1dcgZMMmqkSmaFVrL2OJaFQRnqS4yp1Riw9L2Hgi8UAo0gavmtTTIFpINrJXs4pfO3IOgjo/r3eu
VUs2eshNbFrPgqi4ndzVx0I2zkLPIkwL7xpelLrwJU5Vf31XebGokvW7QBhexiJBrTv40pjfhHWj
nMX+QdbK2B6HZlta5rZY7+y2ag6y3sf2PMf7MErucKW8pZ20nTPjZMkzWPZ2J1XTzkxCH2iAR1fA
T/OEPzRu4RfT7MsxVbf6ObJAC3B6L0G9qx695gdNLi6GTHNIbHOFUvWlkFyRuCQeuIN8pF7WU/Xt
L87/L26p9bL8MEQ0rRaPeVGnWzOVNoh7DuzLz8VC3apGP9Yld19/zHo1/+zOXV3uP3xMmxdl26pV
uu21eqOMjW+yC5PN/C8ejE+UoX/fReug8cP741TCtED9YSuElkcW164ahdc+Ts70aujUotewmiDH
KWpuMOpNjlQYFKvHE02JLSHC93pqrGc4QLPch7tlAf8Qqw7Ka/gJOSltenNRlempU2ePxqkrUV7B
WyBsmg6dBfnO28icXyz0sr01EXNgeqXRHTPZZA/KrloK70GgolIVR/vr8/mrkYBZ7cfjHUo1sLJO
43gD5ZohWhQkSm7QeHQnJ4syaq8Z2L/+KOlXo8Cn+U1VCJpGOJ1uMfboj5pqlL5OHjLee/OYgUuo
5zr1SDxpgQnCBcWBU19XY9psJj2KnM6i2k15mIWXuJZf0lB1vv5iyp/PCPp3afcPF70pgp52FPdu
hQgkgfbsxJQuDKE/Ti0F2kZzo2ncFSN1HVBdV100nzq9PZRRuCOJBtoZiNDJODJ0uxjVKttqrYcI
YqUQjYdlMn15rnFtLLdLk11Uk3kGZrAvtdA3kVbF07z2rwNHG3X5P7qouvVJuWa2bMbJxCEHUw2c
kA0Ot1kCuaC9kesablZ+lgEWwSlNzl+fwT+/srr1aT7JUjbyU4ieYO6p109kddpZ376RpniRV1Ly
F9dJWt/u/3349e80rB+ukxln1FdHOdlmKYAzgRgiCODXtZJQ1suVY0HNJ8ni5/VZJHLmOe7yu2IQ
HpnGmZjHyZ3nxKWrbjepdv31ga9n9M++0adJRw2nNGj4AtveMAk6Hkq2bDTPjcCt8sxpeLBlaKlf
f9avjv7TCItasKROTTMHZeJ93Et3llFv4zLcQJdARVH/xWP6q2v5aYSVZmkOhoZDWocCnN00E2HP
BJrlazO7nq+PRVvf7c9O3Poo/nAphUK2JoxcyVYN24NRpzfDLDzEM0KkvkpfpRBoRhuBVVaMqnC7
ERVm3ZjYFYYhpHE4L55msPGPG6nbmRa9oHjaKarodoHwQFHVm8yhtCd1Oiu6AY9cgyzAFkxW73g+
KUSn3/JZ3yvEIsZ9fxjrFfFfgZaHy3c1Uxay9GkTGhkCT4mVA/7m3bDkF4mVP+hBcTMrk+qrE4vD
qm38UqBC1E9UxLNvvcJzJkbtxhyzFz0Z4Psqf3FZ5F9d/k8jdQZ5dsZ/UmxF8gBGhAcMzKQesDPQ
rGstuCdECGE62YGNfgCuj8P8wcgv6oL2AslQQ41QBJzEif/nD8nB2C+66A+BthloPiJwppJ3+/XF
XbdEf3pxPw30AKqTRCpp/yxdQhtoOlWFANfZoAel2doYPawoVYt6JKxOJrnLebhtQOfWx7bSnGqW
kavoN5ng5cVLmjbbSn7XZHImVqA/oQtqdaXRgEBigzSocxdBdIqUAhDkg6+//5+vMXRznSt/uDcD
jaIwhM1ym2gFopHoirKit2jR03/29p9G5wkMV0cFtNzqVeg16EmCOnkG3735+u2l72LgP3m2zPUO
+uH7r71eHR1LuSVPioEvk59lESdfGz00E09B1ciX/ZBTJjLPbdJmDKTc6IlARmhngqONkS6Ng07B
TmlY/gzwRHGTqI18m7fmvpCEyVaBrnuJ0HlWtjwa4uRT3AycKMGMroTj6yBk73IGc6+hBzONxAxp
ybYKjFOhW63dsh6ldEdZJFIq6MsiHWtDua0yIvysZi8hAuqS8NBk+mUT0KudzMxVrBkfu9ZRfu0T
Z6n5doIl38zVcDtMzWQzzD/U1bxXpepB0rJ7dWY1rtJwUVLpI4JAQHFx0P3J1F4IWnVNWrV2k1h7
00hPmhECBZptKpY7Ay5zXpNhamQjm9Bxhlrce6C6HaEbPbmI7gpN8xNBcjKY66mYfxiw/gDD26Xc
7YwB2WIsBvSlrE2NVwOElo42C76SRFCSmrWguiMsCyF76NTsn8mt2tQJ6MKsPCdTjI58QKtkCcdB
aM9pml0GbEln6MNWEt4TC7KbCzSP7RqSYB0sKswmOHRtwfm/sJmhqXZRCcINNKo7DfpmWuasZhLY
SZ1KfsZ0rWndcTAyohR7ryN0ry8EfMPzZaxFD2QmkU2ZXo7F+N7zqWpES3U0NmpN57W1vJobVedY
C0x5dVd6Ck7UkGfj65v2z5eh1F9+vmXpe1WSpizlti9p6idyv8X68lxlQLn78nXBBS9MybFj1Pr6
836xzqcl+/MH9o1SUpwA/Bmx/qrJBUFou6nAo7ONcbEmL3Y00GkW5fSj6IzqYirj/YBeZrhUUuOy
N8p3JHfXSkMhX9aGY6voDW1pJaQ7B/JU58QlxbJX4QzBtB7sqhTedQ21UlS6ViB8QBG7x2hrh1ye
QJp31TBuRY6SPL3UAbV6hT/OMVJx9/Xh/mLuMNe5/ocRYZ7gc1opQ04QwVhbYeT21Pa39GI2VZF6
FYoA9+tP+tUa7buD4YePIm+KykKtl9tFDp+yKjoYfCzCVUxm8XtU1a99hRg2Vw+ozJ9Nc7oI056U
9GmjjZJjrnNYpwKc07dff59frGbMT4umUDXQvVcVR45izM77ed+s0hEGsqpq/moT9avT+2nJxGYh
mZee46w7E7I8wmAtcywpmx0cYOJaGv6L2/ZXM9OnVZOsom8hMqDcEn3KTlByDEM9EO/0H94mn5YY
K/wHyToTh4xcr86iyoYsuQdrckDzC2Jmvvv6okj6ry7LpxUCwoNIFVIeP9i7Af4L4VKZzSO8bG9A
ROp18nQM1ir8KMY8nTrVtALjMxgSi00koKpqM4SiL8sDrf/er03zW7RoqptnvNoWeAeCLjlZau5V
AmjVXJegOkzI0hlve8sk2jE12HVN3JDCnaXEh6CbSHi09Lc+GIk/mDLacwPqlAnZjXmo05nsXdJq
OAOhJJ9SAbQTxETGa3VwQ0O3nDkUrqg1n2Fvw+KYjI+FWYjgJ6wEIeq8GLtDPYpHo4/on5hrz13c
51hjqJk+dSruXk1VeLspeSx7cDhZEGHqr+UrYaatDn/xHs5ejLI9Opgdgvu0vFE0FfFmR2Qz0ckK
zl5TbE+Z0O0nMTipqzSgmpkdgBGeolh5wkN1acXSYYSwN6QFqXPKvkdlWalQ9edib5b0Y8wyJmSL
P22tpVrtmUz7ucNkeguz9JEkO7B+tBMh956CPhxs1Uxbz2zEdgcpfS+VRJgzvVRmfy6i/K7O1jon
07loWOvUe4G/bm+p2mHp/ag18MovsXbXldX1OBBrkIbv5OSQ/Jri7tGzV6tDgEuenA0+YF+jHEgQ
cgaduY0aY1dnqOhq5WDE+i7u0+umaFyrkPDWWzfr1MX0cRuNxkXNKqILSrpKFcbQtXSjJn3lWNXS
UUQ3rwCifJ/iQ/EtQTNpSh2Dcof/QhNr8gCavSzKBzFIC3rjsmsCbQrEyu2galOF+r+cnddy48iW
Rb8IEXAJ80oLUqK8K70gJFUVvE34r58FRcyEmiOKEfV4+3aTIkzmyXP2XttdYT9tz5yhT7zb5tGO
5DZa5bsVEiusKqu0IIvcai/trjmzEH5OEb6pCs2jPcDnrEQLX2dhpo20zEZUYRJ5LPooNMw2ZC29
WVpdvGcKvzUda/3zq35yo513/C/7QTwSu9CkQ+GZ2BYauqykY9/7Q/038Xmrp4EQECCNSZTs3KR5
KbGuwGvcIJ3ddhAxC8RfGpJTW69epva5qbO14/IiaOR+WHH829Cyu7EuXtOkeMRJf+kAw2+0liBj
CcOskJfzpqpTDFaOgnjB2ad8azHqiA7fzTF4l6rx9PMP/WQlfHN9Z3/k1x/aV4zsR1Wl6taN7awn
B5Dl5VVTL9y2RxnUdY/8Ih21BGnQxGx4SEaBw+fpZTpAz5iLtbk6AJ7NadVqJ9JVgmFdxoPGeNi+
SoXzbIYZvbGU5oIl//z8Z5+YhjDe+u+fTbAdU5dMIWUJZvGomAvTVqAod+Fh6vStKp+wuq0nAk/c
FJZA0eKHn0dN+JTtfa04f13ulOUjCXFvaHFtxvhVtNM6I9JqLPqVkXFIJni1eYwVSEnhA2HbUXIT
IoDXML0kiN8Yla7K1PXsOd5ecW+tPjoM1UsbDBeh765CSzlTmpz8qUe1QIo2qgw0JyVHSaP+wZLY
rXs9PKA23eruwxDeYBW5KhKcCxnOIxuVA+M02ZdLxd/aY4VXzRsGc21Ff0dXxUSzdxKktVDpHMNZ
lnaxyOghTqK8g3Cw511iJWH1ctgDEDfXDMbl+Jznd7H4nWh3o7yJQezR8eDAC/fv5/t5lFPxvw1s
yz6qRUSNmUJpZxBxb1y3mYHBwDH++DTOVpPaseT6Kzu0EeIREamlG1oruwTQtCQ3Y13RswojdJ3a
ZC81zoxLJEwxLpjxAGVx28aAtJJa8RcaKP2xAtgUG5fT3FlB983wqOm82q8QQ1rbuujoswBqGLul
U4K6i+uHWQFe9Ai4WmR1ChanSIOQnK1KUyzhPB04b3pDUr1qVk+7fdjFkeosC617p4Zby7ykVpWe
k7WHLLdfRE1vcxboQmpGY9ivpNJddFF3j1FzhX3swsjDDaiAzed/5JJRVQfruaWF7Gfz87X+5H1/
88qLo3opLkp4eaORe8LEqtNlT6FRPwlNWxUoTKMK58t8JJtHfg4bNUw7TLTt35+//MR2IY4qKLei
4KyVLPeswrqrsEjpkwkysT/3svD6f/PTzKNlO8hrqKjGmDMkDTkyOzcEkJ356HlB/O6jj8560Hgw
Pto1C+UI0SZqyJzLhkssy2QqsfX/fHlOtcs+6Rtf9p02A8OgtW7iVaJFKWuvRVQSPY1CaWzxAxo+
Sssx1x8g+DzWQf2g099JHH2LuHlA3Wu/pIl660faSgE2PqVoiLHmQlJjgY4fAfwsi0HclzFSorHd
dOi7bKZRZzbNE/fWPnquOigE7Fn87SJ8RH5Ih3lXuWdPaCeuv3305ORAIWQlZIyr49UgHHLdS2v2
3yYZpg13lUqk8WH6FOELSrBcoyPcZrK4JLbut1sg3C+0rU8d9fN9OvFTP5exL7cJP1RE77ROvGRK
D5rd3sWmdp2W5njm87X5mn3ztB3HhejWyFEgY2AYO3qxhXC+EWW7lWOxtSblb8ykxm5sXAwJfJsx
eO2C8ffPv+yII/B/K7F5tN2Q3JHa6NrQzA8ZVa6Ck2ycZrQnMyaNZJemfc5bZ02kmL60zeTR6rsH
K452GuAVepDlmStw4nYDRfhPXdKqWa3i4aFvTFeTHNBiVxvtrkyxr2GK+fm3njgAW0e1a0JSnSMF
m2GLXUBY4eMUdNZabdVoUanKW+Wb52JgTg0OPk+UXx6YUTStbPsBKQotNccc7zIqunQ+CRBS19kO
Hn9rA8l835pkYgmnfc9GZzt1wT5jXAdgUKzUolsNTfK3UWE5w2XJ8GAwyoXCiFWRoS4eRL1aKp9G
Zz1LAekUs4sHJ1uyrAK66BEJ3eynTZgv5wGmVTVXkSTf11VwZpVKzlGPA1XaU8Y+O/wLbpTM1nfy
prWSiG0La6vYGBF1g9I8Sz4tpQ2EopoGG2Lo9txCK+YV9btnf37pvlyrBhcH8mrQtko/bFLysVW7
v2wRFa4zR01X0mjepcaxULdu4UQ8OX7LCQjBQyfsW6NwHgcb8fY4ICpoc9TBCIZn928Jxp8G0hiI
TWnic0kyeZkjpW8GgXwB9UoOwdZk+GFXEDfD8i4afeoLrHApTgArvClR0RFg7xmm/0SS+VuQ6V49
2E/zvz+a/t/EiaFl9/Qj3cFrY9ChNQwLdHRunG+auLiYIn1fCe6/G2h3YWUvR/Z1RU2vILZdRHl4
ph2iz6/Id9fv+A32O4lypEk8S9bLtmR44SvJc6qh1RCFfOg0a+PbwzpxJXQE9PsuAp+U4K5FguCa
bJTruggeYre7QbqzS6fxJlbpbVj1rTO4F/jkiZfq/m3L+Kx5v9xqcmbaPJ/LAYMDMiejrYAJkfvi
jIBn/sXfXYmjRWQMW6TYOVeiKV9KcSjHc/v0qZXjqKOFWXfA7sYHy+rJBvApsfn7zSGoPFd//rfF
6Wg39TF2MMFrE2+I7/z0FgJD0CJ9viZ3bvXzN5y6Okc7apI46LiL+RuEeVU7Gayj+kzozInVewbh
fH2F9Um3Dd/n+phDujQ4UuCXKYcXYjzObA9oFL+9tZ+Lx5cnR7SapZKYC/K0tVaaZNl2KlT5SfOX
mK21IH83pTEiYpxhpf5qK+5NbqevDecIZZzeAJeQpcUsFCOKNm1Ho8VJAY7v5wt7qmkhjjaWEiY5
cZdU2H7HoR5K4d3omxdDDwGMQzyMz2zRKtWjkzb5IusRyp353hOP5XFwkplwUG4MJZ+nVlsh098k
it7mRvaoRumNQ19xDpLEGV5f68N4HeEcnecnSqO+Rkpyn5YjWdsDHg16KWf+ovlZ+uYNFEdrue/m
Pc54ZqpF6N5odnUjte4i7/xmC+aP4XPi1gs9r68nR773HE1//tpT1+FoBcSFmJmBHRWeVocbGVvb
IMg/JpAsoHq3EwbLc+X6iTLtc7v/8hRaAqE8DYfcq7jwwHZGTynyOXrylwqSdaHkytrswaC4zCoz
RdsJnom0gqgcS7w1Q3ZrZlAstOoiZCblSuswkUG06IvxYZDFuVLq1KtytFgFSmGj2hW55xrt1mXs
2TrmzaTUJNyQxpqk0d4alU2bGn9/vvowTb+/68e8J6OBkKeheUPg4F+QJrwvyTOrIuUt1ojmqbTh
2qG3mYQpKrKSpXNuKSsT2Xcw6mNkVlsii1WvELnFCMrBnZtP95ZpL9OuDm7m2gU7W7dQkpAhaWF6
kxU9ulm3HnDqNsg+kNW4vws0j6SadH8TaYeLVETpItHgLTdJQJ6NjPF1xjUQjHE4OLGir6HFWDM+
cCQ0cfIGx/wFJmEbNd0v1okHABTY4GONnXKE1aJH2mMksJ8oSb1pfHunWea6rMpyWaVYWZoi/Gh8
lx2+r3dRR3z9WJeXIW201sQuiZttlQD7jaif5lraAdJuluqu1rRfeKpz1MbD9SBo98yvqGXXBxje
Kz3g1ay1IvSk0tDkKdq9pg37eZmD5mEuuzGA7yKq331ElkSirtsQC6ZPI2qwsjvGlOibU0w0M61u
jjZjPp1UgqZPdQiMaIceyNmOHTSp0P4g+uOWMhP2TFmKrSIC6Fp038Ms2PkZhGnXuXR8ikUg0yA7
ok8KSbucRIuduPBJWAlvQS6uXEXQTcpmhgFBBaFYiXK8tjFSr2LGkACSX2Y17YCSQ9QpDfdR7qZS
/iqb8snVjeeyy3MEIVG0DMz4yvTr6zaUz6JWuoVRpe5y7pT6k/va1sMG7OdTyZsOJnmjyOKprmZ6
yVg/VPEIJSowP3CRSToZKr4iwCuj1K8Sy0xgG2Q3OP7XgATChZXS+GRbJA2CSGA0oDQXexQf+axA
sMjGW0gG0NPg35G15G40JsyySw38vdPW14j0U5Vwj6/mBvjVDknSW2L52wqW/jIFA7Oya5iBEXKk
3MbkRYLuuvDVhyEzPnLS69ZGYk6LScPqnAFYTltgvCYD/8Rfh4kK/gE9N+zvl85wP2ymDKau74Jk
mpARWMvG7qrtrC4ten9dqd0hJ7NwnqN7ZWbfjVP8xyHUrjQKHQxLv46nBpAFTbFl2DJDssgf0usA
TwjLjwxST+rygFIUjM04vTuAb/ICL3KBqTLQiF8uRbvKRHCbOoExiw64aLYWrOj7FwuzVS4rlBBC
wu0ZJulBJl/3qJvm2s6pgpXsTC8X+q5BhtRC+KHP2JJQBaomd9TnMcrJIGZKM/+9CX04eIEbgYOc
IOWV5QfqMjWDt1jHidg+G7X9YLgNZFTerSJI//oSjsfQZCuzd996gb7JIRxxMlrS+poJ1gE97bbp
nY2rczMnY3zMfSPlEJW8l6Yd4rCrtBWzyudk1HelCw1AzzO5TB0AOPWwChPj0GUD1l5rYohXoHRm
0TYyLLYcOEhkVeOnBjZEizhd45TUgq9QwaxgyisfEr19Q0r62/TTX6na3DlaflmYprF2LGcbaunK
jrO/HLreirwGHhW1BI3LTamNF5YV73o//MXwbNsEIoVWpbw6ebMp9Py+J6AL/bZ/gwpkWVRoHjTC
JvQeK244iD9lN37yuLbQf6uFayLzsDNj2ZQu5tDhIXfjHak/dDYza2tn6fO8TXHWgj9uHxRGU8yy
3io+dZByQ1RetYyUiN+jYh9GZdYvW9aF+ZuDqbolYvEyqtq1RpCM6NWbjoROyDQ3Q208CiEewrlJ
XychMBKVKBhdVH+IafkVdc6VRHtioK6Z5+lCNvcMsW4RdhzmrUHYktdfTIvWT641vVRXkusLZyXy
MugtC72iUaqX0csQZ+tgCHbgUPemkmEwY9W3O5vFkqXeatRb9sF3LHLDBlCgvaxj4S96Nbl0Cv6k
jBljhnajRAJDvJqELVfwCJrZXdvKWZHqvMpIMxexhUtf8ZPbeSZkZMlB951iyeR10fJ7yzA8lH3p
XnIE3BghjOPErhcqFWoDW4+mCpS6yflTmd11zn22zOiQMXls1B6Rp31Bg28XMZxARHLRML39/Mxo
UGgMWFdVFl+MUNrmfyFQfDgQkICMaQ4i4fnvzOhXOz8dZQRUImMqM79GVTsFWwuueKuxIsfOc1Wp
TyXW9BWJRXADZEfDbCjvK2ZKbjBeNZ/rfMz4x9gX3fCKcvUeFfdV6colXpAnWuRLTUJG4CP7kUz1
0c2WfJxYAmRtF4FSbqEiGgsQezsiHE3sgwT3jG/zyKgMiPZKjXvG28+NdO9sYT3Q8MTEqhzSRp4T
Ep84fZhHR6cenAjitJwGdxdvMGdvE9H/GsNhD5/izCH71FccnZ3QQ5lcvi73OKaVCzHC1CAHyK7a
HbqGM+ezU03Az+Hkl+oy8qmO45YyFsf9NZBX8JXjtZFat5la7fzE33Z9ivVS7gmNvXQDZXOmfvu+
ejOOOt1kXbdF7yI+6VODJg+KJis5+5tOXDjj6GgUQ+LJmcajBWnScoF6nQ1uIulBM59bOy6Xc01k
onCtqBhFy5YMOXadIMdmsKhvAGjT2q71fVE6Z1oQn/rIb44on+6xL1d53g1Mhga512bdRQq6Kyoc
8nwq/6qX8UvTJY8zZLFDHcjz794aYf80F5rsAr/sVH9UJ/OjykyiE9AygBpWJ+ceR96rUfYPal3v
7Ch9AJ916aN/U2T/e5yTKuFGgX6fXFr0s56UHTMy5XrS++tJz3eRCyDYZEPFNNd5nRj9pRaUO7XD
BgTUHONtoTy4ZbMx8w4AdnPAv3kR++IqT0C4DiK5DWCcydr4CHKf/VxjAdLMbDfMVa9GkzplwcFx
fFFYtWCE2+LjDmdEw0Q3sFbFMrFYAnUHp6vZ3GjQiD8342GidqI3OKCLyAblMrH1X4EVXBp5wC4B
xUoj9MQpNWjNacitxYo1wNtqyz+a3l19/r8J1W6l2IwV8+a+r0DlxLr5+vNjq53oexlHZ82qifCZ
N3rqRSyGZT14YwfNSgvXjXs99zOT2kFK1XrEisJXIAizR6TYnDlynjrzG0dnTrYdKZ2Cb8/McimR
6xMTCgLHX5rGxuDuKfZzNlzNbb+ff+6JM+5n2u+Xx7ZM6UGGKV3SQf2jo2slW3Ez7wK2Gqxt+xxK
/IT7xfo0n3z5mqHLUjexzdQbCU9lkr/qe+oEPV6MDutPuqVarYJ+Pc9GPwvI4YpF33ZRQxoXLY2f
n3/syaXwaEn3C7XSSoKsPJMslFD98EW0DaQF2eWKpX6jV2Jh14+28tfCAvTzd34+N98tDEdrfOP4
hRbVxMySDfFUutFzNumAI3O9hD2qmwvOY56lyqtUMz1hq3un77tF4KtLkYMu0fttq3Adyr4lbgbu
IDPugUE2oHg5NMiU6vihld0BkxVguEFuqvCT11MdQklnpO5LqpL2MQjhoJQAzQLL3dC+eimm4t7E
Offzjzw17tGPOnXUJV0T6G3m5erfuHrA2YnPtVwiiY6BJFHCuCPex4msQfsZzjBaAOq2c5L7k99+
tNVkhmtneSMzrwzSPU8zT+5dpv6tgtvK9xG5bgRV38RrjC9YUcH/IJ6X6Zl97lSj/HMI++XZjk1i
hByYg16RYYsSPiOEfDBWShS/cxR9J4coX7HA/Spc48Up0n08avWaszktPS1519Vpg2fpKcfM000m
c7LYxoXG2EaEZE1PnMd62f6ZFC068xZ8Zix880Tq86b65Q/2w7DomMYFnl41K1uDdOGXe41pb10k
T8SNexNxXYgVkgXo4hbIDbFZrXNfi2ZbFI2JcElyVLf1i9IFJFilKOExWwSjcq4te6Lxox8twZlk
Z0+GJOCKugc1A6GnZR8/P6kn1rvjsJdedAM59yKAeJZc98Iq0VvDvXUir3aSjQoh5ufvMU+0LD+f
li8XOQi7sERJHXhj05KNkIPO6OSVJH5Jp1nRAmZx3YIMd6N/HB1IJ7kRYzw0n1J6jYlPrycoqcVz
9x37eAkxUd6nttgkU0FagaI90K9elxg1Fn00bGNHgv5A2h5GD9bs1xHZlV1Y69So8eMpxo2bZi/w
I6gGSqC5OQya/DF1w32j2/SQ6+HMMvC5S333ZB31CG3fDIspRFBeGIdAYr59NPVx6+jlg4rSlTDV
Xr9qnWLj+oJDx7DqMfOm1h3/VFGMixqILDGA004BzZoCVyyZ1WrWDf931TnrFE0SYXLrujag2mFl
hmmiboRlohV/Uu3yTL18Ym6oH+0R+AcIFoF97PHndvrVZH9w2r3KpmGR2hsrtM8MlU7tRZ9v55cH
xJxyTevdBHpIKf5UMapOIQ6BRWZmHhawp5VxuID27Sw6uCr9AGElNAmY/Pnx1D8l6d/cqs+JyJev
zyPG4m5lRt4YJiWkVvLO4yp71CuFrlXnfgQarRFGjwGlRjaHDfVAz6eYJqyR3CZ0Wyt9eExmSlVn
1PAng32sxbdjFgJb0l/ULlWXiKO8vpZXCa7AiJKtHfAJ5A30HLhZTOP7oNySBcKhFDx11kjSThr5
hEf0Lzidbpua08YPyn1wKSfouT1icsDGh3riVrjJJBZ9L4Kla6T3/Kcr2+QEFdjOtjBemiZ9TDuy
qAgu3XSGdqNkA230iDZCpgGjLSrgQ418T0TzPiiYAsbGMoGvkdDXamv6nFjEOk+JqqvCGn4bKswU
BSGbFumN53buBePXfZoQHFDqMSC9YD8lwYGkmyf2mWtNne5iHbuzkyW8nhPNI4ZYAQBwEIa+v1QU
51cmEQcYE+hd2ZAj0+ysyigW5PL9NRgDrIyhvoNnRY4PACvXjwXfihRYE8CtobolCz9HTgVxvdmy
PsZTe0Ho2Z9SCaOlKJ1N7LhvVq4F95NGs6ks1UM8QGeoxnl0b0p9DatTvYqjgBIe6B/nv6ZdSTfb
j66z05RpW2hWvja65ip19a2eyY9+RsFF6Q5jPkg5+6kximIRp2m1SvTwo0/aDZqdfNHU5p+6QwqY
IIYUWgdzlW5vEjz0abQrzT6mXTw84LzN701wzliM7HCJaLq9ArSurYzK3eX68DGhxlwpbREth6Z9
gb60apvswR3kk2VXnl/A9eyt4E2albJNrehtNGNlYQ6AfSP9YITyI0zeZsCEU7FPaQGbqK69gw6O
NhHM3yguJE2LbAZjzd2L8k4jVLhOgo+Gu7+YyuSWlupD7Dvk5NoQm6XDY5vmEY0WDpJuW6d0h+xt
7VSXDj2KZRmEz04LGo4ZoNernOdyavaQCm4OterLF3Oc1e2yPsCSBAvEcWtBpswfqwKCWczMfxJk
aR9tUyK+sibYtWHzqFkwyG1JI3TugnRZ987soVxmtDi7ujpUvXvHQ3WD21Bf6IO88Zv+EMb9m9DV
pVHmOxy4m8wPCY6QmYLsAl4XO8xlphHtpkX70FXXsnJXsu5u5v/E7/HpIAZZ2yMhRb1ii2XR1ZvY
lmvcatWO1NNlEIeMPMjtWcQmrdopCwfY1NqVg06KiN1oOQsME3iokqmtVyG4WYSme0jzCkPWeIfT
B8a+bd8YpraDh0HwJ29FXoieRGXtT8s7LIf0wnGsZOE6yUtQ9X9GSG2S2arHBHshlWqLHWwTYFAI
OvbDVNmJLr3meAg2kP8qcttdr/fez0vkiXmXdlRUOhN/Wd9NFAaZcsus5G7stEvpR/skD9ct98CA
c2JZ0ZmvO1HzfFqKvqzHICnJCCnzyOtZ7qNK/NLG+PbnX3Lqo4/rPRtu2KBgak4y7VZFy8vjZ5z5
7BONGO2oVDMsvw/0efqfQcazc/82ShEMV6u8bs7V16e+Yv5ZX64Mbg7k4wMquQkVDH30VWIFy0jT
L3sLiBfeFcihmBaUxrhTC1ku21x9JXfwxrfaG8WwDryS73YUzwkKBZGvgb+HRh/QMtBXqgY6Dpsz
PVxt4tWGhu8mH3pY+Wcuz6mHaG4yfPnbNVzcY0MD2gPcS4ioMb2r8+bTqf296CaA9SZe/go15cJN
IYT/fL9PXbCjKiyowrBWdSWGPN09VXpwN/M1Kbfogmnt08/fceqZOq6SVLNljwR6MJDJHQDLyNRz
RIr50fmuMjk6MPtWkAWMWCMPzvkCPwRreN48+Hlypsdy4vIc85xckwgFUyO7OKycq6DUHsWc+8CG
gDDxjCTwxE84piz5NNDMEdWIZ3Xl3syTBTO/h7qwz9TZzokaVT1qfxohzgqzAb1b8i0X7MwGkn59
K4P4Oino2usRYBgyItNlFAbA4sLoVivjC9NEeedSeSX4KsQYciaxjGZtEMQaRtrtGAc3cZkfjM59
GpvXzsUsXJYxsg9n4cvAcwa5c9qBMMv2smtrqkZZhJty3koYSmBrnq7NotmJSdlbxEA4k3/ft5yw
sELdabb2bEJyGcSwYy+98YUg9Nn1SvDTLEeFNVuCd6KwH7rUn9GeT/Nf5SQptaYFjTOvX4PUXtU1
DMJsdJ9U/lZ2xFeQkCVTUfeQ6xqojwy/UgYXwDQOIisZfUz6WsPJvOmtwsWAKl7xZ2FNdlK4wC6E
70GmF2aMs1cCsUpkfDFI7cKd7OJaadwXm1zAe9f1n5j13oMgBmbU7tz+H7326vyEflkdoNZDk8VH
7E1deBmBN4cNuOTUeGa6cOopnP/5l49nZNkA44ROX4lyD60XU3uqPMtKSf9toVGPVuZIQFR2ySb2
XLW9HR11lYfmg4TUqGTNmXP0qWOSerSCYsoJ9AaGtDeZ+ls61Gu/cjZZTjRDok2HeDIeVZX4R5ZV
T5MoxdzwTCP41NU7WkWJs65ipaStozn6rc47nNfWSxOXZ1ahU9Iz9WgFJaw+VTKIW14z0BAf7MJn
9Ixl0B7/2i3bgz8Uq7AK/xiauqP8AXaPqAC40iFXp6u6FJA/84TsMJ0VeBE47SNRBEyL+zMPz4lG
iXq0Citu6Y8xiTaenYinbiBbMEhWbRauRUfwQqP909eIY/pQi9BFg9Qa0hh2dyYJMAktWVKmgW86
Xu8nZ1bM7/dhcQwFckOjRc2ah15DTlFitu/zV9kjUdC5sFbEGe0x6m0DJzvzfSf6+OIYCjTWppV3
pRt4nQZUzqygmGLvQFu8il17qxnKgxN3ezDr5iowuLn/siuTa/zfN74dJA3PMAg9vR4jEuDKO1JG
bv7ts49WE9gEfo/Xm9VEmh+iLdEXxeeMkieGLsI9WkmCrrEBiXF/JMaPXpFXvcmM35zEy6CGq5ZY
b8XyP/o+fygKgANFcUd/jeNHH50bKX6/pQr3aJ1xCWm3LIsHkdPnRZKU1z6BL2lV0WuQ+WaKxh5S
bnJOTPf92yXco8Wl7fzQre00xFWdT4uiy15RUZBn4M5+OSWmgyz/6Vwh3KNlJtZ45mRXhl7YEGHo
I2lctchaf34mTrSSoYP+94HL+9ZRRvYwhmS+sZywDxBzcAtrfs3ytiw7LJL4T+b63PJKqd/Zg4th
O0G2NMxRRMTVqc70J6SlMJbTqiPvLaH/adj+me3j+zJVHNNsDHuUUIvNwMsUdUtBdI325MzKdaLD
Kz6Lsy/bq2L0WtzkIKkjCerWTUh4DHN7m4X1tuvavxV1keubz4mlPSR+FG1LgmDycni1nPQ9QpIR
mM6ujbOXnO4Ay8UlpIQFES3mMu9gEvs+tF7fE23zJsZo1zbySp+0xypGxlWP9sJW5Jtjpytw8Hcy
JzQDZ3xeF7vUCvYufCeXrn2tWutqoNT5+W5/vyOKY7ROMYx6azisLkVKRFUliidtNOK9pZZnupIn
3or/R+qQmgVqkqdJt27UOvxdGxY+rcUYRjdpad///CtOrTWfHdEv9y1jpuYgcAm8ILMOIKfl0i8k
RXB++CyAO64tGUXznpA0+vNUd/pSqe01L/8/nQ7EMZYDMrdthrqFB8RN9qTXwFyngE+hIfzjjTpa
yxqCEcPRFYmn5sxO8fLeF5x6BxywP1/C709QJNL+963vfdeXrtUyzR3kfmimxyyq3wWaPLSEZ8qj
U19xtGwZwSgnY8oTr2vLtYz7y6yiqYCvlrj3c3v0qcXhaPGyhRMBZOBw3untVZqbE/FSmViMkfGO
M3ptJ9arX83uJ7lixLiNcnmXO+3ftkK3MQxxeuZqnnjq7blm+fI8YgPXRGuSEeLPXboBkTeqEGUT
ovs0ijtiJc+8XSdKaXHMGZp9p2aNmM2LLblpQmM7OHCvIEiNKEPBORTNpc8YZiRF00rQcVhhvPn5
gTmxuR4Dh/RscON29iGSdrIoTZN0oau5nI39Z9/YFa1+Zj86YUomvu2/17LvCIwaaTB7zLfXJGuu
A/Jx6ytFrlhSBnNimcx2QXjtGI+1E595kE79uqPKSBq62QmdGwjVb92EV8Eg8Y5rYE42RZQtm2w8
428/9UVHVZLRkmZCtQ+vqQyvizTH5n5VTi1wy2A/jzANRBs/37ATr8axkb63NW2SrR54rdG+6XX+
oIznzNWnagb7aPXQAsBQsaYF3pQ0wWsJZ3bt5PU9yUX6vozCDRP0VV2Gf5AnJogEzENpptBfmgm8
X6j+EeSVrVNHhAQSiT+1PQdQkEZdwCifxQZn1ugTmgKA5P99kkqiLqxK56+MQwk+VHHWTdB9EHJ1
2anom6ruwo9L4MrOH8Qd27gG2hVG6z71f8077893QTvR6EH+8d+/IvThopcuU2QM2XfF1G3mskoM
Bei4SiN1ztrUPu+Ro0Gyy4xkRbDYWjOspZokj30Q24vOVgyoGc2zGYEjnsa0uskaeACOvjOdiE4R
Q5DlaJs3/MxVGZXDOs+RfytKFa5ch5Fc7BCaaBAjp2EAWWYO2coK/cVFMwH1sgke9h0DsLm0duRh
j8vC0Q+Ipy61qHggweRCYNVAFAynUXXWMolXbPFkIKjFg91b9GnMBz8T0Vrphn0eawS6vSkW+Din
31Vj/qgY8BjGqrrIa9czs4xAOnfRh+GjE40v5VQ8B/QHUXZQanJDeHjKRTJ0zKrKduM0theWzq1T
jjcjNTWAkWrTq/5DNg4bcHm4V4PtoJs0FJRVKXLSVXs8qtYKfjE5iqgC0pI7mbbTO7wBz4fqRfbE
pqOjRfCHuup1IhMVpHC26qBvrObhCCLDLh7v+pZJ21jmd1NQPkVBc5FF7lblttgWKZi1SnCXehFY
9joqtBUbG9tJRgkpOnNjqeFaC+ylolmXsgVaWA2HuU+mEu6p1hnJfNSHinIFVfy6DDMyDsMnlYzP
vhPDYrLAsGoo0ucq1wcLaTjVpkCkMfdNMC8QP9ZftH12XerO7/kxdXP/18QlbuL8ZdZ7TE5y0cX6
5xkoRdncxf2u9gVJGurW6aa1kjT7XowXbUtqHSrYloxSUqfkTq1ad5HAwQX/ql9MoodrYa/D/LFF
x6TeSX/Yz7/fh/Xipz1OZHLruAbzVTa75JdlXxQJzmDYb04iduIxcqJN4iKDJgBknTOJj2P5y6rM
V6W0IOM1bz+/YCfaAtbRS05qU48yKqC1iTSJrFTSQjsuMblkqnEjc/VK+uMtma7hmRf6U5/6/3vb
wjp6n6O2IPslr6hw855EA1EsTXPaxd2MWlJaTxjquujrv7DMl8yvOYB2tby0nQAqS6p4oYIJJQtq
BZm4WGloIGyn2PMuR4SRBcvaZhXwy+Zj/h9+hhwnSc2N4ecG8u1KvAjkmc+6CUOqoOvUwjbRkxeX
mEVPb6zftt9dtAN+gqE9Y988VXAc8w38sYkcteP05UT9FSp5exHjhKLiaJ9kJUlxSRYi4w3q4uKm
xMznKzhlfr6zJzawY/JBhzk7DkTH4YzXLOcc2vfKmYfm1EfPddzXem3I+6GKWwQiwrzpkdpALjpT
Cp766KPyxW8VNS45hXg2uPtFMXc5sV+d2dPncuS7Z++oTJmm/+HsPHYjV7Ys+kUEaIJumkxvlClv
JoQsvff8+l5RPSmor0pAT+5DPVUpk0EyzDl7r63CY8DsuiWQeJMqySYzqvf//6+X1/TXsFSWVUWJ
n7I5wRwiFLGRgIHC8n/Zvf6w97G+nWlibAdWmvHrJzpBi6AMLoU5w2KKriGGnAqTcB80Uv9+eP68
//81VN+2KEY7jKo7oAGyi/qeovaTCsOR9f2uyYP7ubNvCw73WerstXa+S1AqxZ2x1IzuObT7W6Uu
NlVgfsL6vQhYZitb7VdWE9y4hu4v8R3eT/yThaOYb/hOjuizQF+26dposucWet8UI/WrRPeSdD5Q
uBgqSHM3u8M7zeaIcHlzP+usv315mnQE/X5xjxej2PQanAWis0ihUsX4aDCvtC5OmMaJAFiLsyys
tm3iEV6NPz91HwOjvagsUFOO3Lsf5iuyEZEnWNRDe38JEvfy79H84aH+7s4fSEizWRGibT7R7Iwr
LJtaFv3yxvy0m/zuEVfVKHHTgLex61R7Ucvky1YshWrvJ21+r0YkQmofKrgj1R36tMdYM5p1R1KL
waK86DKn8uSgh4m/VtVk3xA26mtYDPP+l5PsD5f/3WKeNX1dRz0P7ljVD043fJAb/Mux6oc3+rtB
nIQf3VJsYBJdgkk9D/e1ny5zP3z79437g1P6j9fguxE8juKJjRmngMTvt6zAH/lgt1406AdSo7XF
5KdPnaHukinZTtZ0X1D5Ij4EAkSVrcLYGhZSIFrU82J0omNkig+5LZWvSxl3z7mTvbIIelhX9QWO
P9lgYUfi+kdihvaFoEoOGFkQbockz4beod7Lhd/qk6NsRZS1fYLPuMnddlgULl1iYMUfDbiShYYE
N1TyTeKb/AjPB20WlCbAzik/viquf/fv8fnh4P7dld6MBIn0KnUcpFThIs9ZjkftCWrfPnPNh8EU
vyl2f+ommN/mVqK+E5EUBseAulojGn+WVy7C8eJMyITqQO2wJYRrwR5b/VUI+UfD8V+3/9uUOxpO
RodqDLY5QWMekptro8HbMhW3dtd5aql85RH2RVXfii7wUrTXkQAsqUZrM50/zKj95Sz202P+bTYO
1Tl3gJsEWzWLVn1pbWA4/dk+/vs2/pHY/Nd1ftsF9kqhFAP69W01ICYFsn+EsnMmr+I+MDo8l9at
xjGvhpbapOrAKWaiNVFJblIvDiNnp4n9LtVgWFJi8+/v9EeL/V/f6dtGkVNT6OdBzmKdla+z2pxR
wMSruSj21PbW0ezfuXr60E3DsxVop6Et9i77c9+s12UUP1csDvZQbGK1dncTCXhzE6MvbKptA6NR
KJO66Nw2RpGLVTioG39jauP7L1/9p2njOz5NkJkwqlOtbEgpwCHd7AzC2A1X/fCbajzCj90nofHc
GNXSGZxFUfG82E6/cjiwRKG1Te2upXZik/mUR2hmMGLmwTLNqm3rti/dXB2DrKcXqbNs5bMzLgan
eg1d80Zzv4qWaneVZddtVbz2cb3TGLHW8g9tGOAMz+laRV1zimL/syOfY/AbkF/SgU4GKmMn2FYD
OXjrRAQL3i1e7ca9MlEDuUHxEYNM0fL8HJXqRZuxhrbWXWLo8ZLZbWsE7S7wx7MO1g1vHXAj51IU
GRx2cZVxxFjWHOaKxEE8QekG6ehMhkoex9WCpPcap287LQbLfM714ipVm/m+ad2HqmWpmHuCwVjg
djIyOB+zo9z3By2oyWDKFg7+N2Tdw1VnOVc+TnTPNXXiDtKoIRVwqBZC9ycmwPxTPkRq108ESabP
iTmeQ87n+Lj028LXTjib3qB34yHpx8fCiXZVXn+lcrcetPYxFzqbCHbq8xy8ZmnK2x7pn3IW6Lkd
dOjXutzscb2oUt6Syh6XIOS55uFUtNGjwSQOro8umoWbQSuearADniEEFm02UD3J2U7Z3KciU9cj
x9EuyzeWPF4OT1UQnqo8PNLD4gA/kmLZAbFB8FcNO3kslyUvPyoemxRKsSpu+yh+oYrxGequRVcF
cpENLtmeH3M/uqrqigWqOw2cNyZA44seqa/j6+tWSZCgQglwqhdAyro3vyRleEzj8l6M5BDZCn8Z
tLJMXw5WCcy0VSUbLkFknPMCb26rnlMRvYcoW8KhXFt0bNzKebMUVEWmvirc4SQ9DHKCLpWgWtgC
B3ls6dVrrdtrdiGPcdgy7n2warFZUA92Fq07PLdRb6z80oxgtImdFeNf1MvHFhdBGKbzwii0s+4M
5IckoHm1VczaGsUkwlSDvsM1FuCzYpdT4azmWvOENIxhFxiK66kGVTRSBtDh4+yFiMlVBpHiL0ej
nHYExPEkdscmr4l+BFDpCozz6UHOMaluP1rOCKmo5D9lmT9nxnDr0B0OQTgnR60D+KBn+R7C1rXq
EAfJJtOLZndnQ9bHfNjspQ4pMvVgR+lg/mUj+MM26ztBOHbpq2cIrTd0JBOQEc6qbxJ99e857adq
4Hd+cNh0ruKmzJNE/RJ/QLXP7DHoh45/qPuebFG0+o4dLavK/+rN4l7wSPpx/kiQhgIr5Dd84U8X
+e0IV7vuVNYllrksLh9MngY7zH/Zpv5UOv9O7KtjJWdXlymbPvc3U2DtYoXoBmN85PXasAs8E41z
bdbtFnrafaKN7LwC55eb9+P4fttqNFXRZRl01U2Q4HKvxa7VxKlS3J2ZkZKcZPVan0m6iFLxFJNH
qzaY9cA2l7O1ydT+l47uT/UKIc+efx1hczFEOspsuvKJfiOn2aRNi2VqYnB3FNEtQt25JKnBn/Li
bPfOuk6UX+oVP21CvrvNfRLHg7xVpJaqJZa58UPP1UNaj21Y76cyqL2p6LbZKNRdQzTLwh5ix4vq
sNpkVb3vg+GYhoM3GjVGQgqrTAb/fvT/7DH/Yyfyp/3916C0WdWotWqH29GGwiViu1op5bh10+Qm
VdS7YoI8IN3EWRyvafif6t55HfTszleBnTjadIfXaTN0XABz8nOQ0iasOrNcdsp4Lwtfylju3aJc
aS7xmrjt2yw8DKZNbjkUa4O0kU2faeY20TB6Z3b/jMzpQQn9d7YYh7hNrgbwDrLGGXQAZPwoPtCY
JBOlrtKl7kKoENOyHZ7GpHnJRL9xHb5qVfbFqlfd68zKqW2GDxW9MY+oQOe3uymf2/8YtP/juYfH
mzmcyLa9MnjWaNqe3kcmawHj0w4fpW++pZXyVPbKC6fTZ948lBN1R55Gnz3+cuN++ArfHmYWQsIW
8SXANbLPupafgiTd6Frzy8vyw1T03YEPn0cbmxFdSV/nF6Sft6Owf2lzyWrXfw3etypYnmVRF9dI
zwoFd0RDJH1XKpchdU42SVf/Hp2fZpzvNm+MjY0+qx3sjxg2yNCFN7WuXMMs9bp62oTAVUynfdTY
THkJhJaFYk+PFpuQLG0wZ83j9t/f46dr/Xaym0KlnltZj61jcaNDMi6T6mwCTKGr8tvkKs8M/zWe
3yZXDjGgUQZpLdCVjcMuoGwQ4DiTuc8NzE+DZPZVCAX6WSedczaP/760H6Dw5nfTd1SkRQi3JSJe
Ueu8IVfoHbTvk8gIum0hwraBUa0by1rH2QCbKefAT5tp4p11tUua2jtzdNeRNr1MATNwp84bs03v
nCxeBQRDLPWo2lk+7pi6mH4p7f5w0vyT6fXXXAe91Mn8vI8Ab7ZAdQbM2Wio0wZF1r/H5Kfb/e1Y
N/px1fdai1c4ckeE/+2RBBiUdCy51qje//tDfqqJfXdjJ1Y5OJrgU7IsptyeDau29RM4Nd22KHB8
NmzpqrhdBjDY2eLf+1a2NHLnTQ6xVdvnoc6v8C7dmVNzbNT+taFsGA/Fzb+/3k8rigyg/nuZpVtd
pTF0efBohE+psKL0kRZa5GrKEvVU5HFEQ51tXimGdlAa9ytI9F2MZcLG/dkPwUA7Y3yzE+Vlyq2j
EzRnq1MOU2HcBVaZXaU9dCpT0VY5OaXRIF7DwFgmSnYxQx0wDjeUYhURpQZkjKL5KqvsZcjLJ8eZ
7mHgrIqIQHPLTzU4QfVZtmjcUtmnrB1jgWs9rCx7EQTpCeT5ZxOI2xCikjSeFeVwjobmti37naNF
1+lQ/DKT/7Q1++4wj/RGK8HBRlv6cfqS/SWXY5sLSMCuZ0WAY+M5eYhDUXgcffAY16tsCA8B2WL/
vmM/Saa+O8bTSVA1A4C/ncOe7IaxQX3tqwfLUO/cHCOf5VhrpTWpe3XvAcqHKLTfBonS52X+f36F
b1tfQ0vTZJY5CjjbiMILhxgAUnosOvWhV4JHheOdA8sGSHm8LJXoIVKjfak0X8P0m7v5h8nhu3Xc
7A11KmIeW7My7+TuMFXngaXgt+bPT7//2zQ9dgraVpfJp0mSB6kfCTAz5fX08MsI6v+9DPxJXv9r
crMLioZOSTVXaZ8i/OhExXG4X7JsUy1fFy3EiKvG+pI15NBKfztW/LBP+G6nrqZBnzteNQ5Mg9xP
e0Ma0L55s8PnMDzT2YWytcsyH3ryGTt3wpl1Sn9jEP344H6bbxPcD3qcmQrItgizhw3p3fBGjUT1
8EwXb8GHxmRYN7GCHR+khroufgNQ/zEK/sey+91hXU6l7cLqVjZ4Ez0+z870jRwEhlkkqVdM+GZU
6YifWcN066Gha5v7FRZeLPMwvjN7rZW/fhv5FP3Xt/k26ZI6T7bvhOK41B6z5mtmX9PC7FTS6zhz
1nwRAZJZlpj4ppX22Dqf/37sfsBjmH8OPH89do4ImwnnOtXV4ClSGHKb2IChYA3H1mO8cQfCgdLk
VxhtCkkYYiUw82VpnOrIPZj9bq41AELCq7Er1SXpnuch+Q11+wMk3PzDq/nry4WcYgKr1Qgvm04G
aU/AAKPxzH+L5EtCOdp0F+Q4k2uxguNtFQZuorUV3wZoViJSyP3Bv6u0Nf+gmeZzrtyBqVwMZrOs
HfiOxEjHHw12pGSfA3+qmUBNjiN1J5aSCg7WwDkNRoO99wq0LgZ0XOvKxtBPnfkmMTiozzeauHaV
r6kMvRKTQtTtdaFKjglfM2keDfcGuIoYb8DY/bIj/anZ8N3SObcCX49L1mrnRredVu/ajiqx4Wq7
hGa331JjVOfoLjSKO4bgt/rNjx/7bSccUdaIhQqmrMzcK8dWNzgCFEJlGkpS40Mpq1AwKTm/ITQZ
7Zd/P50/Hfn/TBx/PQBqls69rYbkFGTtU5UMe8PBjZHF1lWB1Rq+8dac+73hU7ByLJzR7EJ++eQf
puM/i/1fn1ziL68jW3DgDVlOBFFzYK4c0LUmbXrPmNs9W67TUEbXpCNJGC3469quf1lPf+hd/RmP
vz59iMk1bXsno5pTwGittn1uf5aWe+od6nM2kcP/vsyfPufbBBwAXtBEqOXbqa7OqVr7SwkVM9rq
Ksvgwiq/YbuE89OuV5Uin78uKRwNP2knBlQ3musxV2FcpiirZhvxFJorPxpvAh1wLAo60mgusWUA
LFXXbisO8CxWRNBdsr58tsBy0PRJllHDApHMmA678lQH/loZxNb2zQe1yk5abh9ayewPQ3/jGAQu
B4N5nuDPGZr5DKp65n1VNshN3zRFp92iWrzKOVvtYVlBLFWUWoBxos8OeHER5/YFN/NzC2JkHOrP
qNMdmB/WcdT0djGUyquvZqsqKFb1FL7VZNzBELIWsUTMtQBDZ7ZDS3L59gDlzx3MkJALZad7NVBQ
Kdnz0qtVT4QfeMgBvcJvruyZGPeI857eAF1A+dTEPVwJTt44GeI7MSFAitWlNcpQ13wASzvf+pqx
LutkUzgZ6q/suhus/uiKcOcGxsFt1IewVDeDVT6RcHw9TgUGXtfxNEh2qTOtG4iQii2YM+3iLnN6
wrx84yFTQDOFmn9EcLmr3eld9eNPgLv4pcohAmXgVsusFjTzmfVs66vIhidBhWBZFNVpTIb73ozP
kVpuolK/avHNrwlU8WxjJK9LESSPZCugNLtCxtRrik3JLCPRwczb15zcT0+ZiMuNEY+knXkklBHX
rF1frInRDvQa4LOrrRpXfEhemF0m8SocbHVNCaBY+AgvyNl5AVx8sG3nnE9VQIuCjB3FxQQPonmV
5ja8UAP8SQf2tIfh53WVSpuQtqKw4EkTeLqLYmOfibxFxhjGSzSHj+QC3JksLG2r+3hkMsqwtcQ8
6E7jKTk0n0pdR0nWLsuAjXgdgyEuhmehp58tRTnVohdOdO4jj8tH2Lsr+KqwAnPzoqXVfRt2G4vO
O7abL/V/Pa/RuWuUT9HHBCGb8WesTIij2+F97LRjWXQ7VbWXpsXQIGcjyaFyX2nf70q8imoybyHd
xgvhGu+pnZ+0NHg09AgRdHBCI/jqKhzu5a12VWOZB1hsO/1lMIeVa/qBN08Du52s+pwm8YTpq1/E
TX4pJ7EjmOMz8utLpFYFcCYbhWJRbkferlqpatJFtafQj1+0wmxWGV9IabQvO0veTaI71aFfiXTc
jnBYRYgs1Qmm9TypuyiIVmFAisdYBDdFDSlMjW4JwGYIdWaLKvXXzmBzOjTLjdYqN3rcjDv5MhkK
ohCdFRYlQjAvnNl5tGe1WtMC5hjJkQiUBoPg19m0iPzxhk8FbzvlXia0Q5rWl6oZD64Zg2yZq8tI
LYMwR5Sw7Ddk98632+OA2N6r3Q4Niks+E46Dph/Wjin2gR5fN8gAvbDkpciz4FZUWe2lcFlrVKaK
ndaepY+8IS6ZTVnXrxIluW6oVHdudxPq7DPG9FqUIxIXcVAGmDRdw65bdMc4dlZ51QxICqlpR432
EEJ0Ea56kFcda8piwiUjkSOdiK/RmlzKtiZ9HaJN3OvkeeXR0eCwwnYOjAtHPpzR4UISwd2QSJTK
kbHVAVXb1gwWHNLOddVc8FgTX69uTPJCO1FCzhb6O6mMxy5zV2S8Xqc9LGozjR7DMb6dnfzBlzxJ
Zey9OJiW00QUQuA86na0FUTSxCZPSZ88yCFTq/JOo+ejWxW8W7G0XXddKuVtQZd1Jq5vwdSw13Jo
6bp/6QNgEKFPYWEwH9LSXIheXWphxoRaohZBZJwuW2ZhO0zfY33cGiU+ts7JbhPfP2Ht971YK2p4
zfRMQZ2m17TbnE1W6382jWOBTjmLd52JihYy0bYJnTc/NK41E3xkmnJoLG/oxt60nBHWBMmkB80K
uuVYDC9xy4SCRZ9uR7fqc/6qgydxoUYYIFOyRytjDQ8b4maZbkSboj5wg2PcgYlPcgBAEo+twZiY
UsNBUsywTDQx4sK4EP5NeF18VWf+HdxUwsDyMlvYWnidatWDk9YQeIqj1Q4ezMKPqhU7eOLjQjc0
kNHpypxgECn5lHi9RgeafBVZSOddr9/bOV07aX92GmspRk7cwWzuWR2XVu9uuJe7BtphE476Ko6+
JAdcQpps6iVu8poRC0s+D/hnF7RMFbwMDh7BcHYOYmbPA1BQD8sX9M/KogVinY36ujSUDq/OcPCV
EFYe4uYBdUhVzfvCiglGN3C1iJ54VINa/6iXazbYscB1Nw67hHoraISW/dxMqailv85vDnX1kAf2
+xiW1yKxoZJrALXNQSz8riajzWk3QzU9JSw0QqHjTKbtokFUsRAMDCmf2DAK6OthcYJgPu3kkqNY
MVlIZnRTJeW4rJFyDqqzTlLbS+AI3cuHGarbUechTkz11ZzdZUJDTajKRk2DQ4UUVwncVdLH4OKt
8s4P+nNT9EAOhH6VNgVwrN6nIe1ansFqjTfzUJXJLgHbozYfkeO0Kytvl4RwrsF5b1XdXmkN67yT
nf1wek4z4ymyYIuL+qr1Bzq5be7FJHHXWlMQgWvdh8m4mZgqjZL1i8a0nXdPnQ9kq1cmj6C/VaTr
3tip4MBz92qwk5vWdNZDnpIC2R4bkXKi6XguoN2yBWGx8+evOFfenD7b6QmnJVW/jQqy7uvwGjPQ
sBijiJ0XgOjRUL9c6BEjT06fMcp5jjKxL8Fdze4tXbJ95SpLTYz3jmKtQs5SZZy8RUF9VukdkFNk
eIKcU/BRBdwwfklSVpdIDLu0kYenSH/V8nTnyt/cuGyQkD0vYHeXnmU768kcT+Q8bQ2TYE91ckhn
bNaS9aP3OjU3DukwtDOvawvNq7QJ+YmBVZMihnyGo5LgYz89grPz+FsLdyjuplCCTcNXPWURx0hC
mC5AP7oZbiQeUQUsaeqhpLcRT9glq6wz3ltDcnD94IDK/9AV8UpNrFOhlB8JchIgLhoZpWNTrmor
hnofLtCU1y9EPE8CGHoKVDw4lA5zQWQCCDDUapNn00NkZxsL+nDNmIjB2LlilLrQS0cgmG9HK6h3
XqH2W8bhmrg7VjbgXSXxmZru3EizVNCENzZ0c5kQtkrSbI84Zp0X6rnorc5DKgjgPmM1SoLapfI3
HhxfXEInJ25BpGcjjKwng0Qx8lTdI75tdVm6eEmqrFnOuUrX11Y+ZfsFgqD+MRfBuanKasOqGWP+
CaJ0bVUfZu8W1EXKfll0001D7tBCDYc3hVltHUX1R5BbpGqcIKwqy3ieLz2l70a02wI5RFcHxIQA
Oq8mi+AC+zAGfezldketgTwwkjQ3svCkhP2mr80tGybtZNDjBpxGZ/Ugq2XlaKDZMTw6tGtWVDj5
7IwFPDA//FL7dpOSDKhzDAiTfhvia7g0Irwh7rvxctBDS3RK94qln3UhrluS4cx+ek+KoVoHFaFa
xey+F8xVejJBk++mu6GxziRZ60urbD1pkS5K46IAd7bbkUhEZxN0jr92M+5jg2YkFd0pL6d7KjdR
SeRcmVWWdGOc6yEnHCZ5NRjOzDK3pklIW4mNnlihraPBRDChj9j9E7qlY8WOTSMS1taZsLLqhtTk
O2UUm5zsDGIXYqjtY3HjduRIUV72kVkeIRZvqiLdGFZ9zAL1dYb46iKmCtP4Iqr5sQtr9pOJhxWA
982ns1uN3TnRSKUs+ivdJMaocuoGbJgJ7HN487NCEKxQTYfBFgWrppay7yF4DcPKLKo9cWsPZuY8
RX1Po55Jlvne0x0Xv7P1air+p18aD0XGOitbk72TTwuH+V4ozSmO09twjg+h0qyLXnwMSb9Ls75Y
C8Axnds8d472FaFe7XL9hlyXFFrbvLeS9hml3LVpiJNOAoNsrmNVOPeN469y1TmVraEuZlch9g5V
IPqwmzgKL0nJYS6ed2T6pn9+quU8YzHJA7uyKskoCTX4T+02RGT7nhh9xVGhnD0rDI6TEyoL1deA
eif2uzaPt/ykxBpiqwu3VpJDa803/WB/VFxE6hi0JabUm2vOBY31GEoiYeNwF9zus8DOuSLw+mTX
4R0qdOUyptSSfOMCQajYAzqWaW2G2MQ5NqJONxRYOFa7RNDziY3qsavKR7vGyo41TEdYKwuHvagf
A450cV5Uno/8dzOLNlwqzG+oNGAGCV7etjnpoguPRuUj69B6ldk192yt2SDf3cCSuElo+016iZxT
wBKaW2tRyTUoVo9oalZRANA9RvlBN3SnBsFJDKG9m/yRuSazVKAQlrKY245gZf9BLfALsTgHrr4q
CcbygC1vzNLsFpqSP4uhQ3n0Z9r0h4N0vuhYrCbKrnjAlkrO2catfPLXkKXbRbAhD3PjmOXbPIV7
PedOkcwOtnw/8WcVzb18KIg8u/PDiDQ4dRU3LhS96tqaZjRBBKouLCqVBEvs5n6+FPgXF/TkGqa4
8UPSdNV5+qSNdQwrpnvKrlBlVlLg5ivTvVo5u2T0d9FU3OddwyakfNMbmwm/3yeUT21oezxQzyP5
tIsqci8V3Q9bBKGH88v3cnIMV12C3F+pbqo4RFcWrbIc7X+WDqyILpKSLJpYxLjYZW3ZHz0N2NAO
bodsGHGw8c8J27qHPXDo22E5SODSxA2jObzQ1WntztZFihxrjgPhUOxx0tqty0pJ6TidzE0DFmDs
i3zP9ser23kXjGZNHbR8yFzuN2vufqbetJgoipt2eSe0QtuluglTBjOywyhEBXY2Ua8UwVCkNWh/
vSdChuQP+pjhldElNOKbrYgQCOTl3i/tK6Oo1ilclUBRzIURKmc9Hjz5mMlvXfjz0QSRsNKE9SSH
W43DZRQ1L6pdPmoCMW9qydI3c3CHHnRC1xxGKsfTot4UVvWGgf9Uqixl/nuDZrTFC0fgIM6fdGkO
N2Pas9J374POE8h1tcF4Nw/lts6LS93Yr85UftVl8aTEfr3sGlJH4Jst5d+o/OKhS/uDgymuR7PG
aejiZsWRU9Sm5BaYpQ4ig6johRWqpZfoGnegcT5SFe+polC5My5FnT82vn7bWqaHdovyOctUYXab
1GXXaluffQNYFMIOxsjMPhvjV6fXWz93b6KqdBbWmJx1N2PzlzHM8pHsOoKjwtzdN7W7dGaLoHZh
LDIV/18tviD9PVn0LhjOtVFkJ6uOH8Tc0dJI7qfOvjUK91zlyaocuZ86/UgtmE9qlVzUGXCT4byq
sX5S9ekqHMeli0ET2HlDhEF+VoCeSx+G3lLv5slJhLvyx3BrqspS6kvHzCQiW90GhrUg++NGy7Tb
qktXveUcbApf8md9894h9a21YJdr+tcQGat5hL0dI7fN5XOnaEvMIpeg989jZCG7ZD0u3sxceYoR
bSrZdLJDY5cFUUAylLsLUW7KYRAZropJeWudQfVK4u30wr9HrTas5Wi3s82G3X6ZJv3oylsgf5fU
5nWoIReiGfulnJzJEbtJuSikP199aSfsveyXHNQv/taGUr+u0/3J4+fG4lnpKR0abbfGm5kuqyx/
dEXEEEz7YoSYqkxWDxiczb1ZGtaNeNErzn2BfseTJVFQfchyQ+A6m/ajnOwKWt5aaa7SNr4XNnts
0RHznBXtmWDljTabKxtdp+z9YOF65ACylArmoSS/aipWsvHABSHDzovJJTSiilcO6V82kdDot9Gb
joe8dXlq4uQ1KeoHBQeiNbe3k/zupJxK/dcUlscJek8s3RozJFF24QazbthulXzYKi751wSdenqR
fzDnn0ep1M5NMORKlbgMafalagHnEEHJurOaF6uNtRW7+Bf5L/78LrS8B6NueXUow5iO6eVsq22e
MWlsZVa6Nw33cawGjVkTHFpXAW11+oUQlILxPpOPRbjGeCZiF710O/gAqpvJq/LhSbFQ/8odTlJy
oHSJfpdejxK0fO6nlFmh7hHbVIIrGoaNPpdXOUML4eWAGeV9asIrduzFeqhUyheVkwFwta9rRPgb
IN7KopqqdynrzlUDYYK+4DXZhZF5lQF/mMf4euysx2hKL7Yrtn7o92s1VvtFHs1MJBrBRum+MOpL
3JZ3OWbRVR5qu1YxVE9hD7KuG2IDM9edN5qiZOgTqha6CUilvGspDuq0O/QHipa3sBD3Kqcfei7M
vo0LULBPv8y5OXbOePDHJkIwVCiLpqWQrWMrDtJ2jw3hsUuUvdTvgDlfCdpkretcSpbaczX5q6nl
Kyjdx4T2PGqAmhuOiUiWdZXjpp4v0nHMF33Apt3OOjBAORpLDgZm7u+aMT+q9CrzRBZLVRkmoMQX
05yOXe1SFnUyXENddpEvaKtwpg+z7q7heEArM/Trg55Ex9aMPMcoLq5hen37EofnvDOesyj2ZL+z
o+YHqRRrR2W9Ku1DhzvNVrudQFgN/rAUyoM9vjOpVMajQk0g4t/VwxNlna8/jLtw88f87y/ltqFV
OIIjeIxbnE/+YUrnjZzXU6lkCTe18chvZKgWKroFcwBXIL2vvOE9HyrCK9um7PEZlBsDfNdCwsYn
m8nsaJtfg0qhHwQiv8Y0ydnUlR7GqUXmZ2FQIZzSRS2rrAUG7CCeTyaXRSuVk9CGl/CGBXOiXdo7
n/yf1KUJVHnn4jsFw4NxLzcU8kRb6eaa9ix/i0+xmk+2w0tGi0RmL+Gq6dLL78yKbzOvxVQPNZyI
2Zx4kl0UWvGRvkUXUbg0lSvp98rZc8vvzG4NOFF2jBy6HiENdiyoi7i+z6ySk8Ad6cwgG9apal/Y
RujyZ61zTM12Jb8pXwVB7pnvpbHyuVCTc51oGK6D4ZSDSveCH0pvuzzT9rDkM3/aCUwn3DEuUpuN
jTU92s1nPt0H4sy/lAZrxdUolVE3altM/FfhhPSICUCt9uDeW+j0/I9TVHdSrMCJQt7C2gk9LUFD
r18V8sAY6W/8hD9VrLuhTfeQ0mCz6rvgKhviXVNI1mIWnaNW5TyqjoAd4wd5q3sDZQpPuI4CHkTP
3q2qm3L6NG2mJyTz4aBQTaSLtSAG8AWIzx7owrVU3UswAX3BXaL3t/Jg3hs8XeEwnR1beEbXXNEm
R5YMdd9aqNyUwsWsx/KDC7TQHhWGvmruELJ5CocX7laFG67q8diEGxUgkVQ+NP9D1HktN65rafiJ
WMUEhlvlLEuW4w3L9raZcwL59POhZ6rm4uw+trtlEgQXVvgDEY7/IW3T7MAQL7me0jDg53wl7YW/
pzZijLRJGt6Zzgf+Xb0oimpuIc8B+UF0m4SacIKcypLjAIA1MD1784jCf+u3CuthzeUFMG4zvmFW
t1O/LCEF5tUI8doOsIdyS/qApb/qsxfP1B81j1j9ZpYdsq9SEEjqu0T/0CyP/A4Rv/fyFqY0brVp
hUbnwiDnI3XqOHk7HYqnRk7drfBK6PNrYZ1lBuWTSZL63LR58ShICM/unDzzYpuJpH7hFDSg0I0D
A0JnxevD28m8pYzMVTEM55F/PRh/aMrw9LmjoCDuu8cKTfEAlYtCzKuOF0Ef84MdvytBM65/iNrX
Ec0M37+zzoORfU+4bSggRJNUz60M+0Xje2uJYgR71Kve1GulLo5foFbm3wM3L3ygehOM+qBej2pI
r4XrkRXJfaLDNeSj1X3NkmQcyRsDs253o6Xv7fjOWimNlChKX/lbASIhdTBw3Bu8VAIpXHpzzZGf
pFZ4DfOb1fS/xJ+6tQ4c6ivLeVKP0jYif0U7XWlepBBCVLzkySiOC39UKOd7CKDbBMH/23FpU65s
jFAita22SvtBQV+AG6XDWeV6isbMKrq92PMH+4L/eoZztinKBidkIoEp0HtXhECzX5RWFsuhgEt8
M26qd2XLyGcrcZHe/wa2wg3gmripbIwzsjfiKffAlSn105IU5v//NRFuVD1MLpX1VjGNn6ntnTPe
UXFsyLs13/rfR6yeJ8i/9TTMKFxLWNcNAECxQI56URDIiEa18xckD4d9lLKsdi84Cscl5XhG9DTd
d48DSIVVYZ4ZE/44+pmrUw85TbQdb5Jb/9f7SJLM85/LcDeIKkbS8UrtQLpeau8FRrZR5T27wTS3
SYj0uYFVBO5NePy8I8gFUHODGA5xSDcxR5xQ/v2HrkrfAS6rqodWjVqCSjAd4ZPMwN8wzFYrGIQ/
OiqEIhiWoV+sk+w08J4IXp5IhK8zRDW1Su2vOtBYzym+/3s6+nvG3Y/NrerOcWAs/zVb/3lyqIOO
jZIyLMF0BBwTC0k8IIzwQeow7tofteq4fXhReOcS1KKH7neG6bbK/hPk8VLn3mkf/NpajjiQXnhR
1ZuhTg5O+Ohq+P1C6MwvumLDr1D/jG3P3w/NS9OVdOV/ACpCd7+p6GfF/8BH6tmpvaD8Q9hefJLS
elMbkd9Qc473oNO4npiwZM547NL/VWqEfDLYi4UXxMu6v0NvXVSkDtwWiyGNmkTZ/eFXc1/qfR1h
jprNmhOlpTvQaB8VqDbijdLSIdgZc7MN461JWVMBTKgq8az2X1QqGBZdv3+7KiKnIk7yiZzKA6fS
3GL4ap2Rxl+pQBh0r5Z7FJ2xwd2PrsC3hBTNHx4lMcJIhzai2UKZNpZyzUUKMnqmTFclykAhjf0F
Hm11SLma7tviM076lSoVPLteqYsgXajcI4EuZPLIM+d7CSha102WKq42njou1cnJz1x6fWw2nU5c
DpVMiagqCUumYwuunr/AzU3cHBf/z2enB2nP22gFwADFNht+KiAATcgEs2pOcKoXtvHK8qjEg18b
cL//e0U164hLsUo7+IaKQGwJPp5dwUrM2R/f5YnwTZUZxPkZb9Yt9jHt+Cb6YYub0qKHxtgHWPPJ
BezHlQpCpekxlBpP6nIjEyk7Pj4xuyenFHeVDRruUyRxm9U3Re1CRhjvc7CpU+bOrr+qcR2QAZ3O
X4Be2IqwMu9NqK0i73dmIpUAdfHAVdvuZQQ5FaRPXnzw8ouc/ku1CjzHTZuare92qzS2d31pb3F5
G/QO/0AlZuX8tumfkXCvEnaKeVERNKV1M1JdsyEjOXBstNeKhsSAUbM3wUst423MI4t4CGw4dVNq
8cwL8jKrmUQE6/CNukX1iubVRR0k6hgOAvvEwqldQqx1g0/HmVZWNEWrDKsXA2OHEIUB6u0x25b6
vdL/2ggykHvh7o0AI5QkfrXJG1IaMz56FVAvP7T0V9j6SqIazr9ya3Rpsm2mxCbSOjoxwz82WMmI
sD0ynvPIbLOEQoEMxYZWmtMYTnBslptC0YLipe+ITTe19wySaTR/MWhdlEyjk7k6GQZ0cIvR+S//
lWhGFja+gx0YJr52+WA85yrKAT2ggQzcju9y5X3+yRX2yLckb3wgEgoLkzux0xceZ6j/KGsJA0si
0VlvI2jy0sh2zCc2kyTtdLAblhd7OsoKrjK2vmwKWVnMfC/KPoZV6TBx5CuHl1yPiu8ci1gertaN
Z37o4mPCVyll0pRt1T/kq0wmV/4ATHTjr9Qxe6go/hu7P9SfN5771buHqPyDo7dt42orBaXXn7LO
039dL3oGI7CVqX/rTHmL6Kd6iOBV9sdU5o8opbBOo7WbyHWKhZDAKqViQM9Ngmd7mtA6BC9D2cE1
Orja64FJfcZfkAUUu8K7dv68Z9G44z6sj+GcQvYptwaaTxvIcWo9544WCZP9jp4UF99Cj6YictSP
qsw+jAXabbrYBmlOczPCvqQDFevt/j2J7srzMQdtIR15THgvuLVGR65P056SLNh2k4Xoi0nWHV8d
RKLdCwO/CffFmFjhDwyq2mpbEcts5MjUds9Vx5+cuSFEAxelBKjm8O5F9sLz39jl6iScppNSIwsi
cB8Siap+T8ixeF0Ssv4gaU81fr58lg0aq6nSb+lZ084Qwl+wze9liVBRNp3JKtUEsjERw0i/MnwT
1fqxTmHpr+fpyq7ovfirbXFQKdoDniIbv4Iu2lX7JrxZ1Zus3pMMWm6gFrczcmyfnGON4UgkPFDY
Aapd/qFJ/yaeeha91fLCm6HceJzx4irUaHGrWMs68P59gBiW+vg2679TiDy4mZ/4VOWfwx8stSnk
c6g1SOz6aoeqy234F+rV48sOlAR/KQbzALarCZ01TmGHru1pVlqHYsQakYEmpfY56o8JQDFuhQZJ
1HlPmWYz6eHMxwvTjOxbQL+zMvq7Bv+Mxone7XM9+RvRCWbEwbACWJRFYRkehF5/6UwL4qgEBcuL
IwL6M1HVu8qx2V+qONswEzB8nbIs1X8w7wlXTqSswlPERm+ibBj+dE1xYEqwi7ye6ioPr4Mh/war
3IE4OhTgDAXuUgthE629ar4AffgU4/BoUv3s69rRDosRNyA40o1uQIfCOZxx3SPDskqfIooKOXz5
sMVoCs573aloqOJ+yowRpE827Wy7+TD9Yu+11r4vQCrX0GYaWGUg0OBlJzrGVHmgL2xvXuaT1wKe
weQZOax8OSFj14LfU1fhl22xdPI6QCqvagCE++IfFMknVriZz0uv5gptkyyDTK5czqcLAub+KjD1
/JwDvzsgBbRPZHFtTeM/U3TBsjXry5wbv0EAZQVxcGSlewa9jgPdyhrI7UMX0dH0JzNMDP3C7Gp3
wwuD0HbZjfTftG74pitHU5kSvnL1/8IZJGMxIy0u6upQTOYWltY/xInbmajOpeKA7hbYm+yrtqd9
F+QrdzSWLNB15OFmWvRuUpZMbfrahOUXbcwHPVlqx/6zgEGjImeJoVKB1CuMgVUU6es+JhaNCV2T
2IsOnpF/kDbf8oF2DJOmAa8czUb9j2BVDZWxyJvkkylEvgrlRKQxYauXD6cLSCXzuzlLtHYNUtLS
jC6JVTDKrkmJsClD7XcZDBWdJkwyl1Pb0CoX6wCRJZQd2mMXzksz1q6M89/s0fvzfIKEXd0q3ljN
yI4M0RaNgdodQwjq5+kTEBpoL0d+yCZ565FpNNP0w3SzNwXjrSsd2T9aY20Trv1CgCs3GM0TsMFB
FSgn9A6DGg2HTMc8+4ln4PcVTKtIGJfYyk3iI1ovRsjYfnQ28dACrZisp04XZ/RAkkWoo+xhOOO9
mZw/NPxRNgyHV99KinUs828vateuG+9do7GOY2phWWWiyRq8jL24GBQHvIJsj7QmhpKJ9xOG8iTM
Zn2IkeqkpVMeRpv0pAG/du/dGWMGhnSN6oa7KFlkNb0PbQTdwgrWm7jxjyXT1mLU9/3s3Ts9sRZa
6OZrbSrJLLz62VL+U7n+U0cN3qjOsvCx+504jtgGod+2i9Si8Own9NjL0GuWYu7XSZd0S6F8teRE
u7cL8w9nYs5v+78eqq91A2Ia2489EJWVzJxVndAZL+0kpLdJhe4G4Z5ccom/VL4Iy/mB1jBN894B
xsvJ36crGTPAdubb6MTBMfC9o3CQQqRSFVp0cDSNhNDMcYQzBiAd894Mhg/Lrm+G/hl0DIKNxtkJ
6V48z1Pjyubg9fMqrPX/0MxY27z+opaMCrVweK7qfliN6LouenZzCD4HAYrxFDBCmwdv6+fdV2dJ
BFiNzyTlyGm0Z2ec16OnndNuvLtUbpaNxF9b1N+ji2KKIRx5hqwVvxpC22m03BdOSaqeAejzMlMu
e6vGX8G2UJJ0u61nG//JxrpretottcZ7c9yeZh4OSak1zzQ9smNriqe8cYw1eK+H2eVvmT+E2zpE
wAkjqTKd6Ji7gghINpuB6BnNbtNMyaqgHlg5vvaaztAPDavcq96OOwwTPRbnkiGmKjRXMi2N140q
Sobx0Hf5n6aB+nQd4Bf03iI3OiJ8sOqj924uD5Xbv8d1jdzQmpH5ps1HVK6dsxcm5zp/cO6Biv3I
mmqduOPZheIHRmznYuxWaQ6bF5xzt0YuhSyCXIu2Mh2S8aachg2FG/2XqOcVvRjxltNI4bTlexlr
kPHimcym+EQcRFdk5kWTULMOB7K8Jr9OiERmsGkzkYJ+cPbqyAU0NFlMWuRlrN5BKC7UWVxQwySU
px717+yAD+X/J4CoRhcj77zNn6Trra2+uVngiMLG2wfJvNXCAGGztNiWXng2hDyNfbcPsMpUSM0J
kI5KjtIwPWON8NOI/rPNoncLoTzpU5RY/TdF9JvdmMz2+48RpeelLKNTk5sfdlrQQhrcpU/Gushy
Y69uX4GmtBZp4TIKn3EqQFnMA/+uH7ox9Nd2OF5yku+B7iL2ICczBhubFclXG9j3BgkbIMaVtu2R
RVm1VlehWFs9kJLyUbGMn2M9eauzOT0ndnnzrYF2wBwFiy6YYB+H1h7hVNDc3VUm5X9dOjwSzuHZ
F3ITB+7B97MvZGmJHP7Y0bfVwWmzeK5RBQBpqwEzpImRvorJ1Htj4q4d2zlOfRvvMiCS8Yz7ZN14
1ASJPZ8zAQhoIQtRQtk0aDwB+Z5T4OL5IHBVZZpUhNY5c/KU3wcSvq+9E3WktcJ7r9h6mbVz6Qc2
ibF18fBDZYxIMxv1R12Bdeca/EiCAYu9AwZsn1aUwlWWs1J8XQWcWqmRXrvI2UwlMjvIGq+ighSh
ixKGEmkTrzTXgZ6L6EKVJ78zaJP7PPEpfb+gFj/rrXGM0ZlJJdCLZKxPRjInSxLKsM0+hin/G+3h
aqX9IxHJX85Z3TThNZ70bUnf22mZdrt9+FcaPUK3bTEuAslsKPSDA6F17WgxBxkjNoF9u9qxXcwY
3ksydCecDfSNEzag7bIX7Zty8Rae81vHdkRzJDjMcFT1wjjFvDwYkW2cMPiofG1v6/U5LNu9Qwzw
fN3jtqKXZiTcAo8E9ZeO8mHhl2XEybmr2ndt9p4ww3s01CimwgcN+UsKq1OL9QtwmXs6xK+S6kf2
aHSARplj/VPFF1v4RzMDXgSd/Kzyi9btl5mXbfU6Plh5s3fR8BnYZK5poKRKomG2uMMVGbhNAphK
1cy43aiT2sRxfZrqk/oXcwFEkQPoElWFRHY52Pk0T1ZVNjGa8hyau/ox4rjBlZNyULoIndPrSV39
Gal1SJ1BSn+EuGRGmGMabkicFd/F5DRLxhq6AvQBfGzGPdOB2oRW5QQKeDJfJ5G+JaU4O+30AcWD
Ezgm65hZpCp3H1Zvpws9jF1mOONLHhjPRREUi6C2IV7ouNR33t6UwT0W40cwak9MW1eYCN8jHPPa
8RsvoSebH8+xGkTmh3EeP9NBfsIUtWkP0ynkuQOMXYLU5lD2t9Dl7urroW0Pozo928Hj4g3tYSLS
Z1RFtRxpam/0uLk2Utz9vKrQ3ULyiDkmsz66xLQyjwpkLFvxyDu8HW2GSX6sP6lVzirP3g1l5vPE
RLAq6xES+3gxOVOT2vtFMKteKgYPcJ1XJDpfgt46W+Iv8Mb3sHOSjdWzOAMMC64+Eisz95gtijCl
vJlvydSfKJl2I3HLy+WxDcpnZXGq1/W2LpJDXxiHNrWZpZTDcqz7P1hnz5luf3dsQdWmMavyI/eB
ZfHoz7UQmxJbUDdpnmtKa6S0n6K8oNY2mELjiGAY+hoH5r0RTbRd03xbp84mm+VxKKyb04FUR++p
Xfedgw2ReR1T6tZeGMmSjEguQtM6DBatsdCP8bbEA8N3PVZNIpVmWqa11sAS7nMBED+Xpbdqm1bb
NDVNS3pRowEUJbKtcQ+VS9IP7k4N+L+FP09Ydhs2KtTptsNrJKEIDLJpTaxX9roNxyfi8itdq//r
2naif0bbT3LAitDfBJIemVNby7r0tkYzT/smrr99p3pxrWI3A7vGM+vkV9DWiu45TCyiqv0SDu0X
jOyTwsfqBQQgc2LmF4/3ePC/mrF/U2eLn/YfOIaCxcxIT317E8ztDXr9xRjNHvdVhB6l+B3KmNfZ
Cs9e5b6QdjwE+HaVjcU9ffnIOoVO+1cGgGxiKOkLbfDIbD1U5PmNQMPndxBHpOL2X9AD4O5TmCE1
jerEcOEvTY/Q87Sl59gfRdC+ETnWfThdjcr7lMqxxg2H3ThQjuAeeTSmKFyqbJkZ863vrWIxTg63
3VzbqdgRB5alX0AcMFdaibaLXkYdWHHmnf9A7QrEzmkGmSKf8yX6zeg702+ApERPO9WJZ6yVHKhy
VYUDbZVReT9TiLX5NpDD+9AAOZ6UZIcNLlZ3viySeu74SLZ4jwJ3b9rJuzYCDqscJEv85lOZWOgo
bqk/Q2PGyLR8HnpxU9WT5aKigNefIhRobOwqRm8sywRWGPP0nM7hj2REuHInezPL6lcHSFsY9a4q
/ZuvI5we6f61E+3NM3uiJk220A4/O8BotqChNpQEyVAAFqV3uVLIe3ymTxWvG85lvPhuttc0Rnec
02vPmo8m7EOS2XyXhfXBnlH9QcAaA+ZkBozDccpM7dsjXxvgi/Q12ngeWraVLJBE6vObGefPmmZC
GmmODkBzoxn+M0mc0Mu3l3ZsHBVdTsTzskxydk2GbzoZaQHIM5hOCuneyPK7jIaj4G7LdvgqWt7T
iNnIwm0qaqRsUzfjo3abA53+XdRUb6U5PoTMD2YevtloGLr5sA51OGPQgKyOrT519HVgGoac1h4x
znDzJ6vv+mVDArUQPWWvHmqgCXNGB6L7cOLuJGfxABa8Bjy+VbvJ4wULLfAZ9IRQx3+deJYDfcPK
aV4DR4LiMkZwRnQCOm+bIGdn9uXvEOdPOP7u8pjk1A4wn65EeKsRZ+rQSdLxgsYNuYWTSMejmqed
Y/bwnCmX4BNuWea+BQsywrdtjG5dkhbWQ/ifizbGsgm0owe/A2+EB0P3XerLHj0K9BbhkS0Buh+S
tEX3dTBfUfNiPOIbGRIv8KUktQHAmo9Q97/SLj/b2Mkp016VlxeOjfHR0G7V0nU5CHmDSkW933kl
mL63Nm5caseFPpCmaM5ey4Z+eNXxinOQvrv6/NKPFB4zJkgq3VN5GDzlrVu6wM7C/URYyzhyJrc6
jjHik8XUfzn5tMIC9kmr5k2uzzrzn5Ykn+t06WflzEHspvwshL8vpxmYUyfPOS7HuaKy2O3Wb42v
dnbpkGOVyfarl8Uc7UOE/KkMQxe6I4sf6QVnnrvRZzwIctd9zouaSTuZku1Y7Y7UcOnDRF4mwfwm
AUtUTXbGAXoXckzHDn1lpfmBwC0qV9FqzkC/TuZV9+PzXGsXu9Kgns/nIRE39C6ZSaXveWw+ZePw
kiTIOVf5s1t0myydaJmwBEmY/samftE9Gg18Db3woOobx+n+VDCY6H9aeZkcpNEeOKrNFYn2Qtbi
XBQ9s3fzRfHWvDR/qiWWueDxntVqAyDee2CKY4G8lm7YJwSEBy7d3A1U06Ccr2LqILeTl6rJSJfY
z8HYHII5vukFeBaBbuOkQ26ovPIItuFutOoVp/WTube8QmPWsXuqCiZWdJbEHN4Y3Dzj/AicJTgU
woMulkDqokuaNOMJ68hXN8Tqjze8kMazlbsXzSVo0jjcwzdZ6kP5FASUMzyYws6AOCNCPFFz2zVz
PhYI9cxCfmgZwKsRiggdv5cmmHt8iMKjQxeigd2wGHXjDn9wBlQg7jBt1kxYX5g8PowYIpSXzR+A
KznCcvnoQCc3fDY9ZCKfg+eAjszkogGsTIId0ErTDFoFRvfdjekZINqnMLQn+pGvaSe+kdYk0QJq
m8gM3IJq+c5g41pIoLsg6Z6moL/Wst0Q6fZO72esOFoKuZQ3dZPqte5hN6lTrIvHH9O827oAaJK0
X5ZtqcYNCBYXU+1VWiLCF85gyAK7vIgAKXrXtonQkLkgd537YPoooDU62QzPZARSoJze5w1gxWhl
hihM2hlG6V3w3lUJKU1bMHYeRlUZzP+pd76uxUskm0eYGYdiiOYl1lSQzlLjYg+h8qyleZMU24hN
4gw8Cm9S3AOgFWmPVWYVy3XPjHDs22apxfarKh4q2Ju0TF9pm62nUn5Zk4RzKMttH2nbdkoE04Xq
SQW0xDcOlewOHVdN0w29h2nZkq7Eif4ISosnHF8xHAWSkc7A3sFMNnPLKDBci1nqAGtA+oVT8EMF
szA6OS6YPG+8mv5NANNhGcPeS8kpB7YpvGqEXMyHlpTdSvPMt5SXLqrDdln2yT1W9L6w/etC855T
k8W8gXqg+qrRIZggEGKPg6m6C+PGbNNygd3A0qwIxyWREXm361xNbyP+DQt8QH+MfuB1mHf+RJSw
aQ/T8XW7RYL411JR3RUnq85JnM0I3DggBE9LbgXp9dCp9GF+DdKZxDfeACRb9eP8OsFT9a3uA9Wo
fZKIZ2CHjHuncqfYL746MjSMfBZ5BG+wbawbt4A6fTs8j9RhBToWYgqOUEmYqIXrNrOWLRYmoNM3
VVU/VWnwnz4np6Zj3UIiqhXlTCLt6c8m91MUWWus/vTCep6gJJYhI45Kpz3OmTJryb6WDUAXO4DC
3D9MRKBmeChmOX8XrpiWkpn/mOpvtt1Xm8EH+9/H6VvFvSZZYcEAL7+SErI0Q6l47g9hWzhw8nCq
R54A6DKyhAQzg4ZnA98wEnQgp2ZaZiKiPTzapzzAEwyQWZTb+8il3KD1A9sTLn+Ryl/TZdLmj+Ev
QP/33GF03OQ9yXIMkqfamnVwyfv2aIOSN7z43+40NYYffTudqhZuTDOOCAsR9ApSwKgUpHQxuLFW
3IemSdfky3/E85OqbfUK3+JREIYKwAzZRtY2JpU1uFplQaB0FuaiBeghtSXV5TbG0ARbVfrbUdjD
ZY2kA6XbfU0r+EUFTII2ZfydON86fIO9YQGKMBEhCVuYC3VgaftizHtF113HTPosJ8WYLcjOcGfD
lVqtVpqX0XefHWQ7LTP9QJzynDr9DRbakqPHXI5lwFgye5hlsvUd+Sag+GVut24n7eFMxgc56QWZ
rx3KWq+2EOucCVGPagAbBqSMKajLJ/2XkOzD0bXA9Yuz7cQTqOUZAI8Fn8CynwsLRFauI6U4+IBE
Sjih5nh2cu0amHTK26r+1ef+w0H8gEYQWyDIO3uhfi0Nw1tS5pzBUU43LHmi+ORt1Gf/GMsZ2/nE
OWtj/F73ISrSibE3XXuAHzxetQyYbNgwsciTjbpDkpp3F5bxwlDLrVGcqgOpIoB7bu9RMwMv0XBm
ZJxvbg2RfCRTBdgkHL5Q20ceh49oNEnSGlEukVJVICpbFCEIX7UYoVOE6TL0NNC+ANaXNTV6ZpnH
2LauEfWcT0cmbHR5qBz9WXrwMsL6D7dktPY5uMp84kknTzDAdsZEE9syqzvNgzMHGWo04WlEuUCP
2q3UGRJAKaX+sL7msH34cvxEYfeR1mDa8V24h0DsVz1Jpt5NTwF5EFpP1042UC/GS+k021TGFyBO
yPLjFUiPGqaS+oTn1jEfIyDTJSPPmvpHA3mEKsHCdM2DUdVsU9QDIGEZaznosBflK5O2g3SSbwS3
j7MDeCsyaJQEsripG2xmiI4p3VTgQY+cpBTeltjNcRsjMqA/tRGPOO2MEwitjfBK5h/yGlneln7b
woezoFUtylPxIzfphg3MRGWDKVOEGsJcetmhGeqD6U+HFhuNXAfIR1d/nRn9a5GnwQJDbbqXCYlj
U1UvOc0J6lf6iHF/6K3w0E3VdUb7UEmK6NpMgyHcjT1KHJAqgHnWL1iyHsY02iVoNVDH0MnP4tex
sv6yBj6hAR/YS33oFOPZn4uz9DhygrFOFhhlNRyLAPFEi6zWmC3zfH6xiqZB7hNC7zSDVJh7Nk9Y
FQ/JzztyBqOrVnPM6KVm0lZ1nbZ0rAZUEuQbE3GG2ErWzdCZwCQ1wF2eeB3iGjB4REucEy0zu6U+
DRsKl2NU6MzpcebVSMgiumBKwgNtbMxQ4OMlIWe2nTyNROYqndZOCByV92MRszrbbmimE9re29SV
u5LcPukdfWslrtwkE3Ilhl49krmh4+AfRk4DR1QgXVsm+AN61mZJGJgo8D07X7fSOxqDcc1bNh5s
YZrMDUkpE98bMRl0dKL9iDI5kh++OXW27+IeXVqMr4bO3mdBB4hwTjcxjc9JZZINPH1yD68nTKqu
Vh9RMrqHULWQInsfZ9NPUcw7sPA3e8yZzNbvZSFg0+LVSr8M64tn3Z5voZGtYnqctVW7aznm0MUB
zEwMj6AWKLgtgMDc2bV5+FM07t1350sxaneET46mGz6JtnimJwcoG2KnM44LDQDOdfRpteJn4VgT
wRStkh6pcD1+Ek7w4TjJ3tAkcw4JLrEKdTDpbnLWMf0Ma5IqS6N/DfuL2W4FH720ULjXXLGTVrvP
HYfuwGB+M5O+SAUJsNsntiK9vNLel4JGWuQmN6Mys/0USmh5rSbXUdS/OihiYRSOsQwBeUi1u8vo
JkKAZx3JDOWYWP8N9OoWdZA8lciCxb31KcohDNC1sHiSSQtnzRcViYr/QQw9ZLr8VA8iGdH4N4CW
c+ptnZwyaACpG2jnlsw9g1Josw+ZqTdb2xq+JgENa7CdA6XC3vJgNM2mMJc6QlWLhrnj2tVpEIzy
q03yc5jrwCPh+blhOADBo2GTBnW1qHpkfMzR8BcxJF4bAJdtjk81mxcWxdbF175yXOaS43zNJvep
lfASi/6tqBK50pHRmQwaWJEnaPfo5lGPIEQ7ebjL/PJNn0dYroXxV1KXWZjMUF/i3zc7FVIXQLAH
Du3OsN7QcX6OXdEv+14pCDTQJEBTe9G3mthqNY2Eyo+OXpev9QLuEXxfFGH8Uzd21abSsmMkPR5w
ePWHz9ay/2At/UW1/Z6HXFSZkydUgJgXYtSvaItFuz7zPioTFKOeeSvXE3stghSR1k9OU927rnOX
npdvkoFBV2j9DNpM7wIArtZbz/XYcPhJ48uehlc9cy4prJTBQtQNYzc4+Al4zDLVnpXgkLDjc1gH
JwgqjCD79DXPuq3ZCgslCf857jtkNrFQsOhZlq7/GQUVQaX5HscZT8IJP1QBdAkJ7iFaIrK+z2AY
rXyqMp+5NhXkW+vBseoAIlEQlwL3OEJ7kqcRnRPDWwQ+ttTgGD/T3PtLlYJCNXrfVmLfR7Z65oqj
E6MpUxTbSZhHyx33AZzPNMBOyZdkVKXn/8eA45vHhy0fZocwWs+iHAlp1lUznY8UbSHXFycHcchF
mBc6g8IIPGVn/NAAQTSMaJ+1DQ9WvwxSvmJw+ag9rAh8rC8Fs6aFFTofSmEJTRLSpDm7CPJMvCz2
vm8uJAr9Sxp6b5ZZ3NSGN42koZlivxk6U5wWfDOjWsTJ2smKUVbQvnqd7SRmUH8zkaKZwL9iB0yt
Nt3A/xF0xGqCULzomvIWTd7LpEExgt6g6e59UlfcZJQacXvQQY+sAA/vjVCj5+rfFTzDRLwrpWM2
kM5ZxGkFw7PK9LvrxXtYiGXqkX+g8rtXdVxKXw24XP+kWfExaiAzlkjUNM54rLP+rPQ3osH7TJvp
qWiNb6sx3+RIWtO7j6gywWOb22hyPtTDwooPD0LmQDPjV6Nyr5lpPGvpdKk741G61npy5CpiL1lS
O0KC+6BU5lzOUTmOpoerNkFs94JZVf5leAZurZyqzPhKBK+iqzZQJxmBcFZZN+Bmnv/USiS2opWx
gKujRgQoaUsNT6MeQmdd9Cszg21jpec08pg9JeemRJNiQieFfpXT2v9Bpd95U3bsfHmukS9fToa4
6q0Nl2IWC2OEKl4xPpgNCwy5UZ3m2ILVGz4GNLvU4uQ0FOFATqcUnlCZoYruNn8jMh7KrDKEQFD/
D2fvsRw5kkXb/ssdP5gBcCgf3EnoCIaiZnICI5kktNb4+rs8R918lUWzHnRXd1UWiUC4PGfvtcN2
P1OdnLJwVYd9t2w6NgpruHRcHu3e/NRMtnih0bvGhqL6SVYLcWmCV6EPPiERqb9MuMwoLljRTp+t
i1ghKpxzOzlvnuRy1zjyLEZ5G1CqTjztYIIsUuUoL80+uXGfChj82UCr1PRLRDWwhUif+m34+tKd
yx1Rn5soLRAwo26O4FVYBtoQALqYMAa8FpEUN1of3EVsfBgMkCkM3oNAHKF75RNXzotlcMyJ9Hkf
WrWjGvg7rYGNM08nSCkRSCbrwzWczcCG4jDm6ga3eYGGD9hP+wP69i9QVv0bNtPGjGumSJt3rRY9
yMnbh539mbXdD4zsv9BRdYXN+3i7i/Kg+b//x/j/Ahkm8DdI8vXTdMc+eGhc66f0xb9gv/VvGHW/
za080PyMwbSi203IhzGcQpP6XE3xzsmfE1AWToJRlUr6v9P+/lBd/4EyqqvX+B+fR6e0XcUDn0dG
8ZU+FNCPh5Y+HxGJKJGzV9VmGN36Ok75AxeQW84rXoMSOdUudSoewNjddHa8TnIU5oqBR2DQ1hBz
8sO3Kf72Tr5BJluk3ITryGynmuDtWP1y6mBjE3btI1romRxYn09W5n4lXNJ90W4Ub82fcTxTzKCX
iuqQjBQ1DcrYoiaAjWYZyvGpHkuGbfo7spL7OTAp/HMi7WGuDVX1GIyABMGQvRuEnP7wSdT4+6cX
rTCv//GinbBNkpGL3k4a9dXzBQ2VpkYM1ay5BvVobBKyB+ku/Pv3avztvZn//evQRXhU1rJk52rd
k+jbexXvo9XhHQoLZKMdqy9kjib3HrNe/oS9/tsv/ZbLVaYVxKqJfHZNBO+lGR0sm1vyIMMPvUUu
HNghdZPBQhxTnpo4+WFK/m3Gq6f5jzfbOJruZISR7AQC+qZyvUVU4/aaRfsDEvOff4Elv3MqC9ud
8tmNd0YvILqO2DXLz46OxL9/V+rH/P9HhiW/rVh10+IaVqn2upfekcu7Ue5mdZLqWv4TJac/4J9h
/IGg+rdP820Fa7Gt6NQU4x0F42fc0pyEKKDZ+erfP82fsIB/+jjfVrF6hroosj7e4Zw9hC62MHOi
O9QUzmusU5PQsjX5GmxmtsWtTKrGYDS+lwEdqHq6xK5+BX5EmFuIgDqIbnSsB4YU5yRC8QZEQR/0
J+X+bCsDjynkPDnUp7zDzaHrH+hd0dqQJe0m3WFy6x8+099emfr7/zHCyi7pkHBODIA8+EgARGOG
XGuj/cMAMNT8+KdX9m2Ro50+Oj5thp1AKuBEMdQAPhyJYJ9tpgw8qrrv6E+EynCU98y1JF/037+t
f443gPr435+MdhcXWl/EOycdtnrsr8KgvPZwGKix/Y+z59tKVAdQRBqhxwA2tIsr+zed0Ig6Tzb/
/gn++vK+LToC80OBSC7eJU7xFNB5LR2xVtRw1SVCyPKhbFJDMxwSKuBm7f9AXf5nTi6Mxf9+c1mc
Ec87+/FumrTXsg2J76aw7xv1beqF4ZKimvHTJ/wTYf8P48P7tgBZFO+zMKgTlDf0StHLszs5BQiU
wHlWTucisD4V6gcKEUhYQY9L9EHJ9bV673TzkI4Z95GmwvEnlF4+5XqhqFlOX5xCifvbrTAQVxRi
+nY6BhOGZRMfV0GlPKBm58Taa1dndMJzjiSqy2AmE2IkfTohvbsLw/Jkdd2qRwWhtXj8Bn8AMVUu
4RfkCz2bcWZ4SFi462oJ8lFEGrn7aGndvRl7vxxh4h/IE/QZ3rL3LQiWzWNe9M9V7O7lnL6NEjuw
dFdSwD3yZlTrAy15mJ7JfnCjrUKgNLa5LzTzhSbWzgtRoKaJexOX+aE2rZUG2GkiNYgZ9hFYcJls
NFCVdL8GO//UEpJ7J9HddBnEYGoSkNliWAU1Lbc6HPm0DRTAuX4kdw3dgm18tOb8Dsl2q4XDH1G5
SOJjkgT3ndY9uO70FRbuG6m1V6713OiybOva4002tCeBoQnABycjqvcjfAuKW72nbkzceOvGfaw7
/dVW6oPePtOFOAZGfZkpeCzQCl0tcugMi+xIOHNRM+2ynsawQ2Su3d77KLf6cVjZlNTBRRbc5ex8
7SqDU2XRvUqwHo2fKgAZoOO+j9xL7UBRzIjlTDxAfghiQ+iYacheXQ7Oo7CLg+EVDzbsua6DHIym
TY7p3oyrU+EH99i8QPL3XE+xnDhW3fL7HKrJ8msMp2FhZuJzHBGTEtGBB2wBR+exj/JLGEhbKWJP
HoGwcVFgqAnI7uEr//eF4C+LtPdtG3W8FOcdHuudK8I3hZLBjc9wm36Y738J+LS8b/umyZYpZMe+
VlnIQh2iI0HyHhuvyhfx5K6ED3FjMLIXwRJD1e6q0gGCnBt1qIdb3KVnupE7FEJweYzdmCegg+Cy
WEQ69gUdq9nomG7Ez9GwjMsFpuBtn5b/0xEJceN/L1ZjFIfJHNbs+XbwYJXtNZjDt6IOf9jA/vbq
v+2P9BGBbbUFWz6355y10MhcGrvF//j037ZHEZRzbPU6ORgAV/0G0SMsxsCNfrp3/WX79b5tgrrM
/ZHqDD8/TnCJQ/iJ9PxkxeldHYoHrTOfAm16lUBhIbA/+1ny638bsd92xiKYWKFjhM4W+iobH5pj
+PdDWfxwavnLDuV92xgns9WbKuTHj1VGTlnTn2fkI7In23M2mLWF1V7/tw/ybS8UU9P2tldFlCfD
ayi1u0GXD0lQ3f77j1cz+B+2P/fb9od6ddYa7PU4MONyJYT3iLp+WDlA7tQ6UoluZ5Q/5W787Zd9
W0aaBsMAxwmCH9BLsjdEgu3Rfsl9d2Oa8wrz3kabyh8Wlb9MHPfbmqL71Vx3YxLvqEreqzlpMQow
qvyQ5fKX0537bdq3cBC7uY3jXTOkd547rpV7Pfeh1Gvh+t+/G9d0/vbGvs3+tOzCNBi5UOiNZgDJ
prqYGOW7jdWxoRxvpf7aFuGXHVSACwDTS+rDJgAVejqkV4UIThRoBRX9w+Dad1U4XYgN3zgZ3XvJ
MwsZomusrFuBlQCeg/wlkummhuFURVAFZRl99LQxF1Zm3TQejU/H2ifa+CsK2kM3cBGs0zsh5uXM
zSqoxp3JHiuMvF0GqUrWQhu+KFRzSWojplQ6VjUoWkRgLjBSGR1lN+5S37iFdlG5fqOMgUc8njx0
Ex2TfrpxUtddjXEMbi7AeugVjwGltHaQB6fz3zyrmJdTNz67bBhzh35nDKgGagV/puuNZ5H4L74O
qFgGp9nqD1Y4cD2HjupUMQjAkEqfaOBNYFSJ21xxRsuCPAAHQk93klV9Hhz8mcqq66SKY4WGxcVD
qOe3qQZZPJqf2oZjWJuTWoOdckNdnuZ+VOGjzB5IiV3LsdQWhePRKHO2hY2djbIstoeopa9Z13st
015q17kMzrg3eZ6FXnBOmErVsubWuMy65N0r/TcnnIoDeSBPJR1pu6Mbm7gGCU/dIdLsrwBHmRGA
1ibI7kZxASu9Zqewlj4wMd8NdsSWDwtAjGunAeY9jRCmC+MQRu6u0WAIDXZ8Csb0t/Rh0yQ2Noyo
/pr0+RnlTrPNCnutzo+JHd2oiwu8rDU63AuHTAUBIajeGh4VDqgKxkugzagoOQSKGQKpsLr3MU4P
YgjOJoRYTvDF2Yzg4xY9BlxXX1tef/WwXY2aT4+sxQc4HwmZyOA60TDrTPeqaBR+mX7kpnaIHPlb
m+bfs3pBju69Bj5kklY+6FT3MLWjk28N58an+Ywc4IokekJKn/2yDXowShQc2EgiJK1BgBeOYzz0
XnKp8XzST26Q/vRIQyCJqVeneQGWhS6BMFpoHCvt6pc+N4eZDaRp4pCysXdvjgKPZeweE1u/NV2o
VlN3V0lETWITlJ5cVBa4HQTklyosOjhedUOMRrW1jOyeFNFKodBfpgahmZEmHwqEpM36WREFKwcp
KAX52fNPBtcAIqDTdRACM+9MTNf6kDwhJABiZZ9LIuyWgh8U6La1ahv3t07kL81M+nVVeR5NMoUz
Hd9HN4WXqNJuvaEEvULuoVfQKouCM8oopOpxuctMbC61R/fcKY5p2Z7MMj7aPnRfD+8iZzA8XaZ/
Jq0gJEjEHNboWM8I8DfSzX1mHdRNG8Oik97XQX6bT9ajeksWzZAmDC4VO6LGIR7nA7rCIH2VmfmI
FOCkTxDQw/iQm1W8UoMA9iWtO24m2fwpoSonDSKz0Y3v437e1L2m4c4JLp0g3ByI8CES/imM6Mrp
GtyfHqGBm/Ne3OroFBF85fBgsD3XWHXwSWBNhcn9IkP5iGhoFcnuhsM6lilkWNMkd5UMjIUjTXQq
6eiu/Db4UkHa49hvGsjBWZK+d2N19lm43KlKyBKvj5rp3lQmXsxsQkmNSMnRLR07m3+v5/ppnog6
wGLZ3SiycEfpKXaNDUKEXw1qtVVsaqSNWfiLabFsabxu4eWtIrtDKsjKXaOPaBkh6P2vJbsNjszs
Ex8V4qtwvs3o5drYJpZ11bznEbmxjhVSViadRaZIBaxbyvUvobJB6GNQbWRqP5jmgJRGa0ifsBGS
2RI9cFwwwp0nGtQnc8Y4zGIZsZbqe+LJj6ZlqHbmu4XqmikdrEb64SqdQcWW64guV47o153t/J5p
kJQ6zgib7JWmo5Pnlq+ajhDY0o/paN/2M4zBEhyK29hArBBrG/VZWiJdTGF8x6WmWPQhC/3sfig4
9+w1G4vbmpy6ZztE5Nb2uJSdwsfhTd0Be/xzaQtUWty5XSxMkE6+ssy6SpndNpavNPoHQearWhC6
LH7XOVzA7J8pCAdrD2d84rnhKijdOx87S5ViCw2GGDLVYO6qJj210ApsLboNaoN2YN0R9Zt/NWVI
REePK84/yCYBOgrRtU1Ru7rmkzGVL2TG38y6eYa9UayNplkT7/ik+e5asKahNsGMWzTB0TEQuGee
Dr+lJw/MbcQlbrjRdKPczqO37ckEadxtow2/Dafb52mx1OxwHQmBon3AZF1u6hj5e52DsetFvzA1
rL5S/LIm+QvEO2E/E6rqNup3XW3u6TafJhFvFRy8atuj0YRYEkzrYpYCQr/1qjlEwpPpbQdZtoBw
COjOoKhTwKup+gI0zIzQOURbHg3dRjPsFT++oAZpoHQdrmJw7nwmlXBiJgUJEUq07rIXDWQ4zRq8
lJDJ22bxTcmIG6QH/SqcFujJ8DAkaClHQK54QhwId/lrbfn3mj4iIWRWthNu9CDelk51E8XRpp1Q
ceiRvQ+r8pqDd0chjUy2pvubesUVTAXqfwDgEHESoqFJ7eC/PO9sZvTtpgEDsA1YnRCRA2E0l4ww
tgUvdlX4cjF7WbkMEDctLJK2wCM+Bmhi+8E7jj4/qvXaG9/qXwe3a5em0J6I+6A6UNLTRUe7HN3p
aJSw/YUhHl0tfIXEebErPGVqV6+ThAbphGEG7gBUh1yjwpqt/Nx97uvxpW/Me2TXXEwRnjXJsJes
ubmWfviwCztjWs9t+1sbIKqGGBya1GmWMnEOsUkHXy/bGSVRj2NxsG4HVsBi0BDrUauDlblUU2ma
y3SptheFmc6i5GbQ0kBV8QAw5HIrBv8u4Q3sE3Z7aRSvRTPu1Q8qDfdV5fN5HeRjPLhvIEeR2AZ9
vvGb9N6Iit8J7li1PBkBHtPMzM9O517Hor/rUT1AywmY9njqeyPf9EJH0DOC3BUoYPijrWYfDOoZ
6sgAQ/mxFzXkl+jeBbhTYysgL0YsXdzuHGEtBeCsl4gItyjMl33VFpCUR6yUbXzflZYB6pcnpTEK
qYaUAF3cEnGxq5LgnX4CUEn7WWv0RztkJjlOwmER/AvSQGwken7AZb2dzXDf4UzrOvQpaGC3bYom
M9ZdRFH62ffMF3c2L6BT3oYgfiwcSmVS91dJ6L63WXXMRu1kjO5RT612iWbkgsDuivfyWauaF2cI
P9zO3SI+2Y8ZxSTb8AH3M7v0VtL8KFbqqwopxLtV86XR0VpYmrevqOMHDggENV7VCX9MqtVo0GRO
7T29rduoLIt1buK8n2yxbdAyogoD+lSHHxnI3mUdRO8lJbpeUze7EPcLCVVjdLS5bzWatp5Ag4LF
Ik+Lue+VgHJjq7qLM+d9Yv3PLSAyQ6udo9F7d2bjbHr4Kf98Br5g8ht3DlHFCiBJDmq6CesQdRAA
05wRxjqSLmz2VTcdXzMoeJ423g9Dwok6BGjU2L88h3ANRHTvweyeENHhKw76A8WujafV66CQG4jO
LO10GnUnYpVC3iAj0izsYsFV5sUNzRv0pxwvsDTFQ458KWzFJksj0D2I4dQA9n2mnGQHQcOn76oW
WuoMbLsvcL3SpNkIvjCn9e6RaOQrw5uO6p+SM7osI1XSFhageT+9s2V7VDf8hPgLdbq3fB25HO7l
BMqHR2vWIqIgFcx9kGIeE64SJ8ezUSwOMI6s/MZ1041633YVjsuyqx5Lj9dbYuWfAdC6NG5wauwm
1M3lPK4hQDypj2za/dNg11cTLY3FNzY7xr7Qh8cIqhUBvrsWsUbHOuoTsds3HwT4Dpm5V88w29Oz
kTYY+tOTPU9n9S6kTXFtCKKDk9YQxsP30Nc3M/wTY5xuW04aRWqtzT4+2dl8qAyWW7fa6BRua6CB
2oxpzZ9e50Bfxcm8Ued/n7/HsRk4YWQmxNwkL3gFwI0TbdX7c7+CH/JbSHQXVci2OqX5C6znvca9
Jau8p2w2yG/RKbzWibvLdZ+6srXJYbFVffpmJwj9vHT8Ep1+P5vZLWEh6x4r9GIelFQDBWgyK4SX
vbM1PpbZrnreVJ9Uaz/NHtg+dxQyzlUZXXMmJjXlS5vJFkc5YYb+nXSwbwekga1ShZoxTHlOLMIq
GMGhB0uaLUItQKzwJ4jUj6rCQwEZNpJGiIz3pNbESAtu1PBRB0nHKTaaKw9kfe0sNuKCu54l3UdM
C1yByPnjUaJohLLdneKyeQoH7xVwRQuXKNzjgdLRA0AWdPAzKYza7EB0MjPzKpPpgG9r3cn+0+nD
cDMqdKAVnlhktyF4KLObdn2AX8iz0cfk7IyoUKgYNIy8djdi0uk78Nk9igMCcG48g9BQU39GFbhL
0+zeGSOOq7jwqPF0nKnUkRmyySYqJi4843vIzPT16sWuqGLnFKszLRoXrYYQ3WWQqF/Y4HIfcaGH
XrCbJS64fJtGNXoc8eB6/lPtiKtIwXFjjkPxQn68u7XdEcm3STwKAWqvhqWdyqq68RhRmt3eSJFv
Z8C/xKPcNW2wbiO5ApW7HTpOTDhqdpmlDKWs4sI6qafokNrP5m1u+fbS0FESGVZ6dH2xEuVYr5jM
LwjVDkkcctJGJtkk7pPuBi2LgAHuQDLvhzoFClYfzbK7V6qtcIC+lMqzX42cC2MYGWJvmfJGHfwU
H7/PkDyPnP+FxR7nhTqmgKK+2C5+z4ybh5aFD7MJtD0wVl6dPFUV4UkDnQHbmD7NkRw3v2wPQq9P
jQol95LhnkTpVxjsxz9x33N+sCbrd11Eb9Jz0fgVh97tARy6y85zTw5bhTqC6WZ5W7cmGGCed7K8
xdyTdeLTF0LGpXfUU5z1hHeEg3P8SHofmnI7eMtlsSX2ZJUb5SUf9du4F2dhszXM6pLZf7SBvcm4
w46aec3LmrCvolxWUEmsfNpkcdCu0tpR5Q9eV3gnjRKgfBmvDcTwhEQBGRrf3DDZWIF2TgtQRKn0
19bcH6IIIxTngF+4AT9nO544gycEYcCWI1PKfJXUHMPMfrA9eGIFZUgk5POvukguAVSSqMEYMuBC
K3NcwKMBiWKM1iJzDsNYQE6KTvNQvFUul3jT8UlXy59MNRY0299iRKsOk98DlO6ftNiwFxDhs4Uf
pIj1iGHEyVPdham3cISxzfLkz+CZfWtjNBZXYsafGuRNb57c2N0WrPmaL05q066HYkN8Rrrm+Hwb
OSRg8HupYux0tTDU5q9gjO5yp7/j+nWqAu7hfg6vY+65IZHEjIKzPJix85oqs8qoLwO94wgzddMm
LQMAOH18dZVonY7nNWKCaYl+L4Li061BDQpzk4LXN4EYF+rY7aWAFxp5HntrX5vjxgPIg7I+XaVT
+IRM52su+m3WRleX5JOV11pY6OoMSQCnL6fML0nXPRte/THjtiHxbliDMDoghF26UcEFNRhXQ1Tc
GGWQ0lUMHwpikDIAcbban3n2KJtfyrY8pqa3V3+lpf67GGekweOmEebaYPjUTnZpSgIqgV6OwnuN
JvswZdEu8lJoLSgL++rNMJMHpzZ/56l37WPIWVn3NcpwU7bmTc7vjI32xbM8CNAK3cjWFAhMErqt
7HQV+OpiJiMynj8nD7F5i5QZzdSyHrz7mnDJlPt2yvohsvniImhTI+EDVxPG6r77IufnIUjIc5zk
Y5D194Q1cx00Km7xPfJmdaDp+/uuwS4IRNaRGfwU0X6kHqbEqHpMMhv+BI5K9IHe3midj7Rj+5Q2
wmtw+h8cAiG8EYXhY0Pm4pNVu0iZenHRYhy9Fta6B2JgTSc7zF+FDgEhq95KStcBKgVL4Pf2dP23
UFfkrssZ+NpBmMMlSztlf9004JDYaeYTMTzInwJxX4+IvBvjayQaWROcV0GGEO3gXXDZX8xZ0T+8
JyMn3YjkNRSJ4VM5IDTDhbjLakpiY/+QoKJemKV3DYNiNdRcg0IX8aIZP+OyudD33+kieCL56tGK
VeJT1iJc5YW7di0BQfZbu3B2JL9gd/CebQ4eZj0ppye1BM3dYuekc0K90O6OcDGu9NE2Rj1Cp6zW
GbhYISHUud2NTvZiXhpbs0wfw1AlyDUHtUaZHAy42jIOw5eca/SsTU+p1rzG7ONz++S53sHowJaN
zLUkbx4iTXzGqSsht8SHthhVaHV4VY/lskJJlU3NAEmksYham2AvpeFip6mCaK+73ktDJB4SN4Is
J+eJs8IZt068IFtyk1YFixzl46LwGBjQXTnOWXh+FwSLZ8uhc540N3pmPijwEkrnEC1t45rvfoFh
qSUIG9HBGf//yhyJYExB0DUDdHYEzlj2NBe3OrYJg285I86zlfERsv6iK71dXX+Zg39hM9xNQUCo
lXydsn6Tx9Er2TbnihNMnjW3WHRx1MYPnVavQsfesifjyklP6u3bBKyrvw/ibZVmOU2tLzPJj/hP
70M0+IN5jl173XmfswN/O3JWkrNYF4NbVucktY2qv/r5M033B2gIbwaH6CC8TE3+zkE4a1T6HJwX
FsycTaZp39SrkiWWXxxbEyA1kxEzcFQOWYoSwepXm0jglbKpIc1BPKsPDmt3LKF/xCahkfhxwEis
JVergf2qrIZzTLcBlwlEz/Ksx+27GdqbupM1aEyVGxKRRwsWoZy7heP1n5YJjSvyVhUrim53q2qE
mO/mj+qcG3IE8HxmsSKOl2vdG1epI08RFVA7cpZeql9JJdmqBzRhBKtPqytmXv5sNNGJ5wyxdEWp
R/YkGRikVxWj/zBSBOAf+Zxu+EYt/ONToj8NHg2qMV3NfXwJhM7shxzJI1B+tafkAqcOiPWnZz10
nA+rqf6q2pMmwIaQ6WMzVeF7wHEq9l0Gm5mDp/q5yvsFf17tWXwChB83FMmhxOGosMPtbGgsH1a5
08LylwRTErqUIWbvEJr1isqbi7F50spN5D6VgE3VZWYI+xN2goXRh6swne/U/55hfwVUf9S/rafa
EarF3jZekmJcqSGlzmgtfQVPrh3y9DyK5zy5j+114VIrgVm4SMCYYlHbOVO+4nFzh2TBMnqhmrzx
HMI1mOKhJZbqATqGWFuO+qIldA4A2bEmJaYAYFdjH8bTuYwM6i5Q3O8irTyqV6wekRE4UkNVh5Gh
9veM6sZ2V+pnxVK7BtR6PB4lru5KU37mRPhKflViVKvS13aGL18DvHMeJ2L1r3CEBkVnPRhOT+3Z
5+bXPtlWuk9mOk7mdBAVR0jxnpo6fC4hF04bLgPlc8Sp7SQvHjVIuFx8Lz2ZXKSudu2r7DvKfN1G
oWe00rswOviTCmhp9c7eb22DyGXtoxveGjZk0EvW2pnxqoK27yQFRHo3lNko0GobXddtboHpJbAw
EtCpQlW5UsPZtuOjWigJwlNlsiohOJTFRnfsI78uscwXNX0dae3HNrtjsiaD80vCRWrNc8ahROT+
Tnc/8Pbf8+fVkOLaxl2ibXTcItWRFWtjzvIOYNp9UqVPFecO9OjczwWGQms381NnZ/5QnSv1Oruc
HCIwJrMFInGqaOrF0Z06vQi7vVWpVQazujFebfGuygujGd1ZIxB+1gf1KDzDn08E+97X3kciCpO5
2hqx/ULkChcDqArua5/ApWJoGt74lIXheSSIke+PUALc7mriRGa24idF6l2xkFQ+ODVy+9IgPUUR
tXUcmUd9ovEBRZGW31GrgjXfjOijnV5NlEAdTseMLFmrTwRs19Ome0FRisC9q0uZRKfSquDp6imS
tqfg+a4mdU6DW7jeda6iNfvDjT5lQIdBHEE7Pnp8Y3y1qFlWEjk6zxI22aZ1vtSrAsQELsh75/92
g/+mVhtnspe0+CmEXaSVbyuibgi4OMdhRnJEzQuFKU8xdM7Dw0jbymWNlwSKMSlUtY3xwBuYbY5V
AQSquFsou0c5zfuWQlCZWDcqEa5k74sm/1AL56BWuZryi+mJK49B/M+RK9Vzgbm910IE6ufKRTDF
Txmmmymg9AFw3c2nC5kIa3WKBIO2Z55PbX1Ux91YA6hlPKtPR1IGy2W+nzHRL9Tctzpu7bCnYr7c
AOOrnlWEwHCIyBqchNo5YQvQUnujKh05+6GNwCSy5C4Oooayf7vjRgXH21OxVsG9lVbLxqk+80Fs
1RVqtLQdzwoVmwKe9aDWPRcgcTnnO0u8+zQYONNuskqceX8lg6PnBFLX9ID+LCWxcVNW7Vp9FVBX
LVACRetfKoNiC0fk3ijudBl/qNlSZw/8ICA6GymTl9zLr3kH1GgKIbGU/N1EuMegwFrv8EDd3cSr
KN3pM0zHD7XDerpVr/SawlHzMPvezhy/1OhQa6WwnlAxL0Y7P2Vxd7UEfpeIIjErLzI2iAr5Ignl
C1EAok7ee27Rlvvq95iPme2SwzOPp0a13pGIRi8vJlGbqs00ihOyqYPNYQFW1moKM1SM4lZdgaY/
4WLxlh7ovvZpCPBiJn4f7EbUbtxwlWWWCFzS6EOEz21C/bNberZ9ZzJaS8/c4WV96or2PAUGuR+Y
cFSh3TA/8HbR2DyrVUcNDjWwq1oRVNivs65dBylXM3aPKbXP6jeqB8eEw4Uimk/YZA0YZxyiugIC
HMu+sPwbvZPFamyQBfYaZXD88NvS6A716BJSWep3gBAgwAhib9tdbfRHx/mMKYZRiV9pZI/pVNGw
bJ4b1/5dYeRtyN1EcWgb6uR6KNKEUoYTLloiXPiEzTmd608iohFFjhsDL2WtAS6OiggnETtKYdn4
DestAAOgEunGooHWlAmmP5WNpB1nattp0O1iKTEURSeZjB9JbtzqzGBbgnXNHWqj/eQ/cbg7wX+H
IgabUdAtyZppUUSIUmUy31k9dnAOVL2VaRR6s+pQBPj+JozXC3OkPOHbzVL9oZCXp1FXyDhpZXQ0
FAh+bbFA1DYYEMou6tqjTjYydBEzBtONhMwVc6iZXONWZNDv+Qhl1N4kQ32UuGsL8Jb3nYC31bD3
2APCHoftqeTVBr12wJCQ/AJpy519iDed7pirticQxEjfY531k2hkhQcw9wkdn2oyf3cCiW8S0A+b
lKvKdFcNlXCfa1oQ2jcspzqbAYqTtzLqHyQgClrK4r5v65qFMOBCr0g2Ca5fWb8UoA+0DkhOl8bN
3lQFTRFWfECfdbDznLdwAvclqTQXgqvbEMNuVda3Mr8z2nla5k3WrzI9tpconNG6EAuBHxCLKUdZ
GQErwsa4SR0YGrNd71gLqY0FdXqpZyxfXgMEOaPC0jXOpuWGq3nV2Ua+F+KrgMrgXwl1vLO7duVr
80dj9ocU0FzUI2bh0P9u+hi/nFZfGOl4Q12AnTcqH1w/umoILDR7IFKa+sxqGrxdT0tkMVbDwQnS
Y6en1H8CicIUJddIF2EO9jTBD/PU7aAB/uriaJ1TwTQaesmMCcNBksuKrUZsM2t3Doxz1M5rLFnT
fQ4skBTxYVMog6Yr0bIDMitUFoxu30Wxh+CIV+Z2yY4U1NPYfGROAcsnlhtH3ZDS1uSs4RtEiESv
CbuvxQalY1PsKYwuasdYzYarfH4EhjniKc3N54CS1sC6FY04NTAcPetWuGoZn4EegF9i2gSZag1T
vav6L7qgNLQp1o+le8i6FCeVLvHGzxm6SfGqi3kdlNpjQ2fGjOVNW+OPVWWT3DmkWcIMs7Ellund
TBp8bYNBrTVtT+gfVvgS5iP/NIyLNyw9753Xn72MrGlX0L2YEE0g2Jnekpj4A5T4y7mzHLTN4pWA
25p0H64doslWDiGDXlEj32KjhvCcrWl47Jywew9aMAKGx5nc1jD7e+b43ERyG3Y0JRwSIICZv2Rp
v9JG+UyKwFa99TKTK8HlTVJH7dDor4qYONDZeGr07HZsYJYT2RhuWnM4kt7Dj5bVo91Z93TTPwGO
vKj3GCU2/RDrnOfmo1XgRZ6FufwT5Nj66atXdbej1nAJKdGF9kANGBMu54tEDGDJ0INUIekP00ot
Ezb3TK+tyYwBv8iBYDHi8erzcWQEjatOa7sFSOJqqY2CVWR+c+N+x5ay7Wzxu4uN55LE0575ocZe
lYE01sf/x9J5LTeOLEH0ixABj8ar6CmSorw0LwhZeO/x9feU9j5MzO7MiAbdXV2VlZVJl4vMMbZM
JKw0NLijSUpk69mh8avnFbk14uOVzJMbdMrkpKufFM2dOqNDYE7iAo0kUV0gUGeUNNvAmjvgaysB
BCQFN6Vj1Wa3QVPfLXgvyE9Y9geKqzdabmBR0+KcyYVeI09guS8jLs4JgCBEFfu5NgsUN0J9N3nm
Dlb+a2B3O+Q3bwQ2W2w2d1DgxyEgPWPYppWs3SU/1Y52gfG9RpB0DbJ/yAdUzBVau4hqvBTFcNeE
VbOeVQ1eFl9GUmTZsGOvrfQpRdNjvvaInGIfgSUwNsNxeIjQ5dRoIIUy/knXpqqrepUo/cHlfLoM
bmCi2h+6Av34iXlDDxWSrtr5ahh2dL4ug1YdVOjuhwIVH3NAiaDeSNVg2h/UdltjGmi/9kc7bbnK
+mZla/Z9HLh74JlzqphnDK+ZsTyF8/gelJgG27HoWWC/anQN/HBznVFBYhKMPIyGlKCH6lTRTVhy
crAzRXu5FBtDVi5G4lkiO4NtYPqEHTQiH22DSkhziw3T26uAMS7UWMHgE1zvQ4exavr2GAAVsPgx
0UD+qScFdQ3MAFXgfVkNM8HLsIXTUkXOUzdOTMC3d5bxlcwWDTWsOFD5cXzEQE2mKW4GAFN77Ng8
EEbYHTGWIR6VsaEN/wDt9fghquKHRmYDCNaSZMUYr8h2azhANUWUBvAof++P1nbEgdDGSMmKnRen
hvzXK1ATRE1ulPGQAUyxKxE7uK1Jk/owOM1QGXTj0mHKIt8ecOYZ5mSL/AXBvcTAkD+QfeB4tcnx
cN7qyUZku0JCHYkNrJVQcN3TRrhzgHQCEHi+p0AdmosjbHJewojb3nNvBnFyy+j2UsY4tIMleBRD
SF8TuJ0TOPL3jv3hUaqtEkQA7LH4DdURh8hwzUfW8+axzKZNxp3ikVw17trxhbOJ6/WIQr1m29yQ
mbrX2+wUc6V2GGdn9QcYyFup2wAJtuAfoqYRA0eAgd7rjN1b4k3SnZHXZe4MpKz1bHm32e43kiLI
1g1tzpHECKNLzy2XhRY4/7Sue+fVKz//njCet5jnKifsVjBxi51ybyv/jCTY2p4nEUQe77gUFdd2
8OYG+Kx6rCqTb6s6a+utvJ3EKBQvX1KYSGSQH/+djPI3TFHgnewHC9u5Ve56G1NWNlE7ZRT7WAei
sNq133zP9fhUND+WM32bfuD/BXTPjneIrKxaQps7Dz8V1rs2sEDDMBi+tSY6cfSmrYDx7hFnIH3F
GEF43xefbg8lVdOqe66Ex3yO1w4jSlvdc58jEziKY94F6SniKRKiV1WFSzH7/xKE8/1CALHQSgjg
GiF1zsMbjU2eDujwhPm4RpYPnaqKGRlXxweX2DA70GlAs9/40r7pigpT9ep1Iw7Ehom74wQREgWQ
8xya0S2AHh4xs59urQTYTOXzBnR22UQBVCejO6oRGqzuaB1tJ3SpQFcQFb82BqSSqdh7NcaYf/wl
jKSUfRgnr31LeuclUS5FKZpy3H0gfcF6tKv6s0b6oeP4jsgLNOyKIHGvKrSDc6LMjxzqFLAaurPJ
gioFekQ1/X3lJEcC/niDgg0SAVZxrzVImlNHbRiXRWjfjLbL0IExxj1mLOTXZZM8DzzMKh8VwMyI
OZquTrG7/GRF/ETuE0jyoric24OBkxfRqrsyptitFifb9naIBGN+mMheVMxQk0JqTnn4bvumdW4K
/cXsXpa03KRMK41uOLw7GWxCYpZpB1fVjszqL/ruc/DHat1MLUNe4zn2KVvb4pwZxtWwk0NcM+dp
6fluylfhTFH/3uBN2yvr0HZICZE6YtjwA5IKPBYue3AzdCXafjfbGOHlIdxxs0aTYUDtwcUkrVgm
BhWG+csyJLVWMA39MUMJtW77ld3o9V/1qDH//db142eSG/Mud+LwI0/Yykp3N3Ak8X0c4ns65A+D
jXVkatzbmMSU9DpXTI/ROTK7zZjjpdyYj+iGQMjlhN24xnIl1p68uriaI4lFSSvIbL2t0SFezjQA
063DmrL3VUOeuTWG89IA0OG7mTYFHifU6Yt+N9BBCWZYCOjjFvr43cfdj+qm+7l28ZUZ4rVS5gND
OXd9DxvGRmWwX6aTShj7NAb8E8N2ODjDsuYoXigB6PO3YBNoKiDGsi9abbkZMXUpx/JsBJxDmEW3
iCkgrxTvfAvyka0QhRppP4SnAKenyit/aor+IfTTm5q0se3Kh9HoTji5HItYgzSSZgzyh8DlQwJi
iwzGyisZR1fF9NW1/pfmYPY81NWXZXkb16CUDWlZbboaBc4k7vZVC1hh6APDb9glOd7VZAPeAGKB
ifgDo2eTcTQSFEYRi19poXkf6P2pwRlTIRDD4sLpMapDZA3AIqivONAy1nGBTg+dH0A3N0Z1EEdg
zaxwD54RwGpb+2rO+b8xZINwy8nZpC+Aj3vkU0CYXBXRRvG6LmqlrV/s7Dh9KsIKpdFwUyNb1izV
ranZqyjC4pSja/Sf2pzdTVTdghU1uvrwRXILVirM3gjZfv9qIcGDPPSaZW/uBqxkC1TwJoXDYRKf
mBwBWnB3bJSZQMkdJLGzhRfnttzTMCztILrKn5nwOdaVVW8k43aJhG5EHs1YTkWHcjYvctf08BnT
Id/MaqZj6qB6UuO3sMeyYEvLeddi2KVpYvfQnfSk5OINn4dI+zQr+9Yo+5d2tgDpe+MN2Z0FapID
MAxfaQlWnSy3GRS4rwf1DZI4MHmKLZjIT2Y01rZBEB2HOZjw/WhM0JGxgSm7M+q33z1fWL4ZthUH
UJtaG24JyFOEIInpvYwlMxUTICIyMCKOB7H6w3c7OhrtnbQIIxQn/W+5yBEavRnQ7nV5JqBl0TVX
2mvvMhcemDsMa08OUkQNHVLHTO5zY8GJ1D2b5EstOF6Kq4lKq3eyhowfi0YUNwtrz+qBrrJyw03Y
ghdpZnEmKcWavjxWrH7Qmi8TsbZg8FgR6OFOaeXWMgDHg6Tcjc5944Wb0mpfpejsFzjXtQam/dDr
zm+FZoHjeQ+NPp3tWXu3cvPN4dKXvWcQt1XZfSFnfNvU9Q/5XNjmFPXYsqnyKGleBooozy3CB7ex
gsPfkkDNfpKfreELrUjf4TIdS3zx+nGkc1Lj3h1p5x5thj7Tv+YWypKqnqUkLQ392CgLmWSw6O8J
vo0+hsfRTD/9CNqHMRmXDEWspqI1CFFQ87TPqmho43cO/LS02jtmoK0yu3/DKqrcwQZ6kp3rTBpp
U9EgaggxhqXNuPARI8ZckXi+MJ3gT4yOGAnaNSpSzavZVu+FW19THZ8EpSfANCD8+O16DDPIvJl6
ql0iHbQvm+/qmNi21bRUgga5rbTb01n4l5Kc1MSt1sDDncm3q875CXv9vmogXABVlDRoaF6NSfq0
JNHzDEvKj8Jnc+iA8lrrtrayLzPU7i2j9e6TiIccuku0rRPky3ILsUDmhfBzIT0Z5v4LB3gUwZ3w
SIP7OzPKxzJBpLycx/uCw4HMwqNXphcoRNZqSaYr7Pp604X4TUxmc6uHpKNMJiPTmlVbK0w59lmz
bAYwWLROEUUs6ZZ22qlcsEyvqhylpxmremDkXB/e2l6f13BG851BtRWQ5GLXZe2VGn6n2fxnZDJv
4zBzImFfpekV1HPjltCjoQMfhln7GP0BoafFPgRNgWcXfx0tlY2gYH9BnRV6soJnrKn+OV+qtey9
IsqupsVtYiPRx1xjvo+C6ULL+kcfQV9Kb4UN92qa1KbEqp33CZ+yKbjLq+5dRSgu9/AoB7P8mTT9
ilzP/UgpTfl8cYthXw8WPaWkfEiIyo3uAjsDQzUWMsnKmFc1xZPtIMVstXdJ548bhOwIQwSqbKlP
KLSdCxNae6boU5Uby5yujHjSOVpQzxqafZK0W+ihW0ijG8tBockKHqkYYnPcdvFn3dtnyOqn3se8
g4wPQu/DmLdUwOW7P2rRQ1rAgee66zKFavB0zjr/tte57cnS2to8sVFW7TxvA3fYLnr2Gmr9RU5G
241r3XLWizk/dLb2LC8uB7an2NOa4lgNw9sSwmO3tKGhNWQyUW00OLtGe6dqL16htkyg8RbdRw3v
Q3GkJPw3Qfbt1sZXyZw+rAvmFuxOf0lSNgXIjJPGTymkiImISP26krIPzXs60ONagmBd0iZNq/Po
4y1FOdSaQXeTF8hC4Eqr4y1M+nuvZfdLYa+yPjxIhG0W56fps4tJZGSSb60NqH8l5y5x1v34GsNH
zElYcAJZJRVEpTn9kXeSFzTih3HxdjMvJm+cx+WJSbC/sC//LWgKWx+Wk5OepPfW4brmQzQKAYii
FJawhTYWu8qiaE7LEpkuoYbVNwtoC/FjbXFq6ta+m3ubBJj/59vW6IChgbJuWSIukMqlZ2h/6Khz
AUYdcKox4JfgO1/BO+4jwHwZ20u4hGkmoAnte+HRFR3KFhZ6MH3OilEVrlD58nzpQhn07gHZ5tT7
7ln9tmBIafJwa55RqwKjia3iLDholLlnCq6dPC2KTKq+FS8TOxhDVTqT3uZ9DOnCDeA/Bz2YCF37
yjn5sf/+/08tDyRAUQi+oQb7rz3/lcaYwLuFc2O3iQ2RTH/oEJELWEM/g+KcVZ9jM+0mZG+bnudq
uy+Tpj5KfwEvqzYBDglW23+Y7vwvN5nNKQSrUtTv0boVCMKpN3BJQMGrdJ1qzc/oUTLpyZE0Gn32
3NoNnfZdIp7WmIg6B3CYIxy4l/wNdsxbRlyUy1zB5bPi6dBoqK3qKVF4+hwAKk2CCErfAr9sSyYT
Six8Y+rquHXegxxUVEXTj1P72SojA4ONsBvxiVTuwi3S11/Dwj08iL8J2DhCjM9QxlcZyOpI6IGu
fkfbDD52sMJbgRGXFF2GoVvbNmQwHuQUtNu6XG6nMt+1+GRPbvOm6fVvTgDpSBbinKOHHMXXpGdP
XVcgLZSC4WhZ8d5V9OuK4XVwAwZ9fPwN6nBn+0znoAT6FhUTipfG+W/fII3NEC7QT6Yeelc7FoZ/
LcUx1g57tL3Mo+wcZhsodXmwxK8A+CnulrMXqnMz+uuqnSJAmWmje85zGHeo6U3vwuYK24vta5uR
zzA52Zor3i2b02T0LB6koLqjg4TQxI1d5wc0N47pGKD4M29qA8hZejy8oUf+atPkHVrisyjaca1P
oI3L/FG3+dfQ5iewa+TBs+iTfhijFCgexmpT+PGdxIKkNx6GUT8V3nRrsp1zOsk2Pt2qCLfIClN2
+p/xZB2wyLqQnCWEoSDO4Fs7gHX12q2oXQcab9QVN7oh/ZwyfSkXe1P13iZqxn91j1cpYwx0SWWs
DqFWJ29u/aA4D6HxXCOEwf35LJVWK4qqWLYAZLQG9luSGba+9nea0xpTWslC//4kAab2AyQ2wuCQ
aNZeViA3pn0b59tgbrd6lf+ooX1kHHaz9NaB24cRtX5jkTR1prMNwvTa8Lm8cPrt1PTQA6jHg/HJ
0Rqa5HegcAr95BoYsGsx6Ahik+OW3y815IrAfoKedQqIaJlLi84annqEQwTlqd0Uf0koQcaDpLg2
Z0tTyVWHEKMIy8aYg9I6iIeDy1XBc4lZwh8OFAU8U/MDuGATmIOHnCLRCWfqfGmYuqH31bMl9NEv
hcSJ54xJk8cxiCFZtUtNy9mR2o5GD8WbjdaXtKUsrfs2p7lZ0fqmpHMe+iXblrWn3TiJcddTGSR+
fEzK9ttZmveavDZnxJyNSokbt29+Aj1AvkJjjbR1U2TyieFRck768aziaR9xLHPANXYwdPQNqmvH
pkpuMcs75Kp8C5xaP8Rkh2MRHGK5uRr7MDgICuRqm1vxfCP559JrH0XP/nYK3NTmFvRr+g2oT9EX
vk9NjcYSm3yi2AQVr8Z63ccVYyqoy8RQVeN8ONZJcyi6cp810ZNdoZEMoqWTlDNXd0dch3JUxu6L
Hr5Y6B37ZgBRdf6HTNzK1Po7nFIB5xJ0pnp6XaUJEABByNDnY+r4V49vmfbanZTt/RAcIoquQpve
OJCQelLM32lgJ7IrR9y8uQuksG60FsqV8UAr5WCNCh2eFLkZeOG98S4HiyHjldFm8BQXGDyh+Zj6
jOHR69Tt4uAp622ogksSLrc1vuGMRWLzIYqlbDmrcnZlFtxNiGUmmJukSQOQouh0IC9Uwg7l0Iz0
FoII6p3HSBHHeeb/8dB7mJQp9qj4TOP43jGmGNGwxzRoB44ZDtNrWJUXT2W/Mn5Mqn6o2m4NAI9r
N3t5zMg5AEgRioDpOT01ucdDizdSK7p5++BBhWIXZPRTmgWx17SC3hINGyiCO6ni7ArVceC9ujbW
lYr3kkXooNHUs76d/pRECV8mTqj/cqe4CHyfmuG9NCGK2FnJ+mFyRU4YvmBQspMVHwrmOayEz41r
AKGQVuWVSQXGMNM3uX6jRLsXRpigxSmnnuNIBFzRyVnnQ3NA924rmyqtKQ7m/KWd0qOrujPfohQM
Jcm20reYIL7IqR10GpkwxaNqEYd1UVgN0CVHPKkhXkGcX0ltBPcDpHx5dYbgaORfDamjj4eBKsyP
eNL2dsVsaQxbNLayV/DeKUW9E6QdPQPGZphcjrnj+PNIlS+WKxWqWCe45T4w3Y0zfSkbciCoGvqG
y1YKeL1RjwxRngQPqCx72wbNEXFRMNzxSwp2E5fiyYRvqy3GZ0CwFTRA8vkC+rVUnPLCUNceDS/7
ZLB7J30iJo6RHir3hHx5XT0cz0VGcSTMcNKczp8/K8PfFQZDlwHtcgWQ07TWBwO5W7nXOl5DFsdY
oEHmzChJO1+5MYqgxUbBk6wM81b6pi2PUNiqDMLuNTt5FDqBNUO45NmjvL1TlORNU22lXy8pMuwI
fLGQY+WxMmW+kdTUaPQf5hVvUO/ehwU+sbC+hPnWhv1DF84X1wI6z7Gwb3/47LJOg9fsKXGZ+GUa
WyzpeCdA0U0/T78wNn4Bk1duNT0I3JJYNvAqtD+JBU2uXasp7iFFA82Mw0I7EhF/ZhggZBXZMSNB
yjg4PdM7/204IcNyUctDEehdz7+cCTvSMnyfQGAmomIbaKcA7NCkzaDE/Xbi3ITTvnJoHk/TrRbn
l7iASCuRciId8KPsENnlp1qil4a8ds7LbYYosjstiEJFjGKYWHWQyPBszPyr8JJTGwdb24w3OjbY
VRJBGQn26IaDGYxHuWyNUj1bJZYFQWf/ZKGzl1BvdPhSM8N7Y7AFyqz+tlJmVcbhxU2ZzDXdr7Ts
MXGann39TsCGzohQZ6W9JZFBFsxYQvR76SWS4UiG0nJBNIl543Ltl8l0Wyz2h9bnZ1gIJ3eCMFEM
60JH+ZmmU5HBTUvdO0ap/tCWBgA4F5X+jieBf/KLw7nwSw5g7j6qGihBLHzeCWRVZT1HPO45ZCIW
BWIy/QW0Z4kqepfehmAtDwZa3d9vcgD6fhVhLSfC5mOdAmQMSB/YNxMvCUkaHJXoJY1WxywfO81e
mxIVgm7aSY6qmmwjHgH14Kz9tLs4ev4gu5q2OZLCNTnNtGdDElMmz1812rJbvAFe6vhqzuNv5C4X
6GufTOw8dnCEbEsduELqAaVDgnDAk5AabbABbh3OBdfCaeaCNCGUSXvMwnugtX9qhpTAHTf60N1G
yXjhhLjsc6l+CrZmSk7tzMuHZQtXDwN0ED1lR0f5O3hI8lsMx7IZhlt5VCGAvTQVSyM+MuO9WrwU
LdnaOQZj+5cWSjXl1dkD18iIxPDUARIyCvWHEKQMWBJd5K7nU5jgeRBqTcRDPN9FsJnAQvIGq6w4
6C0bLxUxAJy/ZgYYaYcLMguAHmFYbu8sWlOcWIlAf7zeEhV4Ms0BANYquUTc+j6dEU2gvjHQKW+b
+lFuCK0VFRL8KUiSTf83MQDLYW7ZAKshqNoEJUJ2Eiqrx78tEDGYx80Q4H2SKAxjmClGoxkecmW9
ymuMNS1wnnM0egcJv/pg7WWF0a7ch6F3GrPhY2wAvbg+5dndhwjfmsO4YtzgUfdG7Evon/jTRSIl
NFT5jXeJC04O4S3gpCxZepScZqQKks+mVLuW0Mb+VaG2l+IIAjK/nBOjD/LTslH5TTYJv+lUyE7W
/cViA057augHK8BQQD4/UDojEAaVETVz5M/zDZMEJgEWkpjltfe2Snd0L/8FuncX8ZIkdwhnpNxD
dG1wqIn+ybXvtD+yJ5qs3OvEPv6hVrw6ek3otlGKYaALAmqPC31iPEVL/uAa1Yck7oNlHl08X+ok
3TpTgtcLSyaFnSylSf6c+d0rCHEnXtd+h52aVED0brCfu6D0feA3g2w941ROZnlGtmIn0ab1myd5
RPao0ZEG7EoL+vraR1P5TGaGeO7YMHL0DS5VtyF1qKQpQhbUUB93q1fT6nA78FblwIAjLVtoLjc+
BQPfgvrwRevsq1aPMKaR6QdZAwduTiNtTp+2v2RAHFr8usBFYA76BBBZRdZW+E2TP20GqSkYqZEn
0Fbo1rkGIipjvpJGuldWW7uEVcOqk+345IvSe2/dbO0E3mdBgVGGf6vc0MnDD4JasX9tfO8hsayz
tkB0450j2keo8cNj5LROlAa0p5VlwcAbOH0Bv4A+EAmphmnjSZfWljlkZ0+ye5K0uTYPdjhcsjFi
+YjepIR406mCL8e2Q/T7StiqgWf+ik0AJYvmRkUPbxYjBdk+9JxHdAr5qzRJtlIjyefghYqm3zfA
49QwaF/fm0bx1Khpp3PGmSkoAPkbJjpK5vUsKKvQJO6ShdFHiW80T7wYtRGbOrFoAsix2tbpnpU9
7aUz0mXYM4/RmabVVSJ50B8RpIcWL29agf2hvs20pxPsYdFfF1hkkQSiptzW1qvVIRlCEsFukw8t
Pf2piNZTr9Pu/pWCVng+RRFdC/otRpFtDTLyquwv8ucA6J71nIMnWtQNLsmMrldHqUYQpt1PbUP1
UB57agDd627nMjkLW5VCGrwN8akjLg2M3DJfADTHhqF9d255KBLekSxDYCLdCIOimIKr7qevJpwV
/vkU1C8D566lAyWbiU/hThhhA5PlhCl567kzjgKAcZyZ5EpvSj5S49jXiquUAcrvyDAOGmQFcwRH
ShKYo3F0ddMXivi+HFGBrA44lslxC/SOuczpIpNtXctwft08yoGH1tygYd+ypChZfSSQkG8YCtjN
vOsCz44f7YmqPTifXEg5g0t8zqL+SPCTqCN9P3L1jXwTuYhUoa+FYVhrmCwNyQaKsknMI81+LUzu
p+4lies7k2xKftq3nl3HeMpVejXBvaEAIp3oWtWJ1DR16reyVkdTkD5t0OQrKKu7g0F4Simy5Op1
uuZbzzXoM4j7c8+NAEDtEslQC2APLvP4IARgAN1ZHqnQRuTztSZppmyXkkYe72TH5oMc0QRYUyfd
rKkcWq4YoMVbKecIwTJjJbtX4g6J/oPs0mIuLhXIXM86y90rzNKKKTg3LD+K0b/LguGSYKaxdukV
wpOMVwUoiDkCnkDxWMvpZfOwC3D//tZ860tgsyaHq20Dm/UY9xInUT6bX5OCOGXQ6c+YVSAEw3pe
Hsf2S5sQNm6nHFIOaRO7uB37Dz0SYYuYUo5e+YTzCSywU8sCy9GlVSQ3iKmK5wZtEF1qGN5xZno/
j4vPEoflxmbQjRu1qciDEkZaigXZQ6bB5ToNuSVtXFxikwYAxCAHMIaXJpbg1UMfsfvXYmZqEGXo
DuGdFOwyInNHVOchzs4woaEKD5EI3hQz4NR3v7g7CUP//yd+R4OOql7egyfTkjR5Xvk7GvA32cWd
HrwhfCuDFTHS+H37xLSXwILsjQKLnzFsrpJfcp2BlVASSJGe4G+go1SkkqPlxneRNv+RewtrfIbS
vp9IBpep+3LH6aJHyL5QfmXUjLIDBvIf2q5PNQOiaYQxk0bdnWFBI3FHT0Ip1JpXt88+QMwvTuR/
/22CaADH02DoRt2yqhrMopKx3puh+xibQFsWklRosqMpSMvO8H/lRC0Nw3ey0Qz/VsBXLyk+ZhfP
jQaklj0aIDe0MTsERmTfJ9wAPH7BLmWDyrNvzOYenpBnLfcuqSPTxFvZ4pFCwqJGgFRuSMkYpZgL
InWRHwf7Spf8zgX6RBrpmRxqa4PaF6Dwgs9I8CooouTKErwLF6ddT3omcLSgLFIyC5gs49jQSVY+
CWSmwfOUG5O7inYho7P4ujRo99HP8CC7xaLY23tX/DohUIAmhJl+rjQ8a6fqddCyxzptkACMjU9n
dj9TD3WwztW/5ZlLsCyc5LYdKjSkunxNmXjr5PGVAhbb22WrqLPiyDgzSvuF2iXYl/mQu91zUS37
0U6Ohu09Igd+8bMg34YdemgDul/roajwjKIXWZrAv9oYHbu6+FkGyAdMgHVCFTtNtW5utDiOZWAe
hKrxgb6ZKmh81DTAfk0eARwXdr79hazwpgbvYAlX5N8TGl1CGJT8mU0p+c8sAzYO9/WlZMBIkPu4
mX0KHuMWvBiNjS26NYhLttuxxvS00tVX3gcohCiKvCZD6izbLclyH4/pvAoD42zDHtA4NnKHNBmT
/2mJ/BF8Lm3emIZaV8P4HBpwg0k5NlPh3AqOLck9lOwL435XPVaMDrvVWkboK9ZLvkC95EhExDvJ
iDhxqJvs1did/WGGlacQV6DtSRAvHXOLyMuKjEG+VbXYII1SH9Rr3PX4FaykYyWFGC0W2eMkoIJn
u8ZLkJtHhfNZB/QjPRizNrde9SrMQmk+UcdJpwFN5rWRuX9zLv535WYv6oMJuN9amVd5MWHy2m27
l7pAvi687cPf1H8yQ1bmCkNW5U42v2Ox6DGXxUQqk9YDM6T+eljGv60uTagKTSPuGzJg8it565Zv
IneDrF7gRyt9HFaF9z2XwY7R+K0sLreLPrlXJvEVE/Hdj6wwVQwEPbwZmfpzXeyrmUIYaKqVXraX
VlA9cw4kqmWdTaYfH8PBjkEuUKnWxvuKxoakR9yWfkzjkq4rES3m88boqIUQX+xoukuYPs6qmQaK
DMCxOIO7MNiNZlxKSzwqtwUGw3rT306t2/09Tl6vJ7bI97Hb7lG+Y1c5P4FVYm+KyVZYx6cQ9bQb
NRbPaFNfqyj4mRTPC5MYOODN0O5BrCKGDNIaNx7rNlLVV5iZVD5JfpyUpuNFW0LxsR+kQvXq8FTF
Jj6N8bwOC4aZ+/m2Aspz7eEjDwC6S9RC0gWRkCZ5QNn8J4s0TH0GlJNaH9uTNtfHG6dMb2cIcvhU
n+MFrNODKoM6oa+iDYPm96O7PFrxdxyi0Djcmu6Lw30rQ5DonMLVglnIiA5h1ma0VQXLvqm7e3n0
mt6uoTzgoMxD7/+pMb91EGmQNpdgGlwpYVAg8DT+9ehyZ3hy0E1RtQMaqz3JVpd9RypUNQMipeTP
zaSuHSVDrnDCkUnspAqf5YHI2wbAlD53DK9rj8zIORXtYrpIi41OPAuYdfeaMz1M9XKWK+yv9+n9
I40jhuR+cZL7vQPBl1WT+EMD4DBgRTWYSAuCF9L5oEZiz8meBGVooExyL0sUmsz4AcWyA9gSNEtf
ZlsNvP0axvTmMTxYVLOG0Rxj2CpBjWq4NDSLeTpZ1oTbGS9HwHmsMw3LeaZx+WkTkKMkOycJZGN2
BhLviJsOTiJHNIkDtFIZyYJ81FCAldFywHDphg8DN1l2b2gqlHYYRcjxgRxOQxhCSkDaip7hnQXz
3Ig/LC87N6X70en2FdtvEi/vPU1YLZ4El++21anzyQiMrr0kM+2IYjga3AHSjSinBlI0OFcqvfFu
vu0TLVnjYpxv+qljFmJgGgUVynsmGHbl2P+bVXY3OhRh5NRR3H/XpDV+kFhrl/anyE0tfUSRP2bP
kg/LCgWBBwMyfZVJT/qggPeIn9bIV2F4PCIwkY33wOR3iFWSP6X2c1QDjGnJO+ZTv/YgYP+87DBn
u5vwMabix/sizrN/fVVQXi9PMfRlNo/zOAzq4o7BqwupZqJZZgfT/dAQ9VkZAkgIubylZwAiOMes
ktECWY8vRh+/QcbolrDm4VgfTt++e5KEErGXiuRrBiWOJlTZvJAhTxUa46pOENmYrWerif7lvQeR
1GOq166e+4zNqYTqVF1dLbwqi42oy/gVO33iDgk97VuDFOLHBnN8WnZBX+0WeSXiQejfJA1hNdXC
rcVQxV6eg59Cry4TE1OzkVsdIagA1dOWiw65822UAswheuJDDIuZtQIJ8QVFZ6TpLUmrTxIusJig
2sMQOc6IFVk0YTx/XmE5incVARKIL0g21VJ9FEbCKLRb7qYiP7WUiXarxbA848cyGB7olpOz13sk
q35F8zvJzWUn81ZQI6cb0Z3R9fK5cdgxC6l0ngX3TYFvpK4MXAaiPCULjl6nAtn3KBfJkaH4Cgfz
K044Qk7aWBzX7upWM6RbRo6GBAQAGTlONiPg6Ep+u5B7EWhF+ofOXLFpFEUtDIrpBvucXcq1LvKm
RZK8e7OCcPirD3TU/Ab5JFcvYlYsX8vhxKP2GI/oI8da/goRlJnVeZOhTcv3WC88oZZoIQO889Ts
Ww5kG6ZvaJpv26W5Mzz7qoMthpY6OVyhDA2xuVT3mc/OTi4S33J+qj5HmqzpuSBQQmJstEzczdhm
x5hVptO4miGHVTRYaxdwTzN6bvy4e+6F2wXI3vsG1JT8hAX467QwcBM0jKdbApLoCdQxdH+CABay
O/u35qIgHcQPfTs85in+3ktR8+xz/XXslqch7Snhichji9AgXZ1s1biUOoocA4LpE8BFg9P0HKCR
S0JniywlOHUokNSJjsLRTyDfpxbzUfnRydJ4HZbjgzwnFda3Vju8Q/V+TJv6Xq9SRI1Aw3qIJ22G
fBWaEsMy/wSZ90bT8ICmzNWBamc35Vvf46HI8/Kr9orE5es0Yu1sldHO0pnOxfh93XSEVKOibwuZ
cD/rnC+PxA2FEzyFfYTstXi+s4cCvAwSbAvK5Xr1vjZe7QIeFat7CGr/XXHRB0MYbTIgOPRvbrMR
JBBxrw4yNOSFw8xKigxC6MTbydTPje5cFZpTGePKvUpvFQOkUY1XloPBGFbo/aUN6OekqJmrFllo
ZvgdMNCprp88hkVFAtBA+pJqZV51RQdPX3toCibJpm7UEHeauR7a/IIqP2S14kR5uc/hjumdv18Y
AcTi+811qEfnsAUq137tuLxUhQLGaxh8i8p7m5EBeF/pyazq99RRjALxnmVk3pdk1W6GlWuAtGaV
6P/qhk6xrCNXe8m4R/4/zs5juXVlS9OvUlHjQjQSQMJUdPeAFEUj780EIe0jwXuPp+8vdSe72CIZ
cUc7jtkEkGblyrV+8xV0uTxT/7lA4XDhV1Hyr1VaSyRIlTpc5MUhEBNy9IQdSk+8/5BR8uI5FuJJ
iBSnsgV/7WTASNu3ICG1qM2HAdRwwt249gaPQS3XlNwf0Zb+1CzQbqIUCKlmuw5CROhOF1ow7cau
WcOC/ijxQSmpwvbGqNHVdBAKQo3Ro23oIhY1mtAO9Mrdup11U+fGUvYiosgC2Vm0yDLl78LzH0Yf
rpEpUcsB2Jd0ZMDapQrbE72kZOZgzdzbpsMtvUjXLhkF5t+vtafDAHEuwhKsYF9592MXfNlcBRAT
BYsBAiAs6GpBqUN4J3Po0ATsvAQtmlw1bUNw/NOXrJH0SCHT1wkUIw5hlF64e2VDt9BwgrzHTI/D
RSRs+KL4sNzgEp2995jrIUsWhgY9VDKP6aVAX6f3om3cUA/lNrvTld6ILIF0Q0XPqUV2NJDqqT4T
xfhkEDxUqlbAGlKHZgQPSp2ptPS1QT7EJKVZfd/24Z+8Bx42I+bgx+3rBI8mqNJdabWbyJy2o5Zf
jF69C9No1dMiRcvD5YTCypOWVgWPqAeq3G0HyhMQ2ZWWhkxBudPqrz58pFNCQ144mvnSj/EN3t+r
KfV/XjXUACBQ+lAqa1kNor74VHtfD4NPRfwno/H420qHwE2DjeYDNMSCQKkKSKQv2kk7q7v4PJpw
CYHW1Cc2g4Dk2ZytlIZvXQ2PQi9u3dRdG9O86SCQSlII0WITQl0cCkgBHzaxYEal4kbFe7e+T7xy
O/N/jANQzgaJkAgGlCTFVcXniuO8LoZLitWeEORc/B3VLYV5fWt7LYzC5jJTfWTF57cspa8gqfWE
4Y1ZdKjXJhd5FL26bYc3yb0Q6Sqr6iWD1NvhTnUeg6H/w6spyw3+MJUaL/+WjDCkLzrRSoGNqYQr
lmpZuRTtnHm+RmrwQXOp0rUNt1D9B0BmkP5lNfUJJJ7aXp57qB+Elg4IWcWVr0KiBdfGX8KTcEe+
0qE76+xvVWCwiUs/sv/oopWD/l0MXIDS6gEJNbDM8EGmzLlXy4z+DrlpyQDwx4SVh2tlFzHyFiHj
paQiLOdCyQ8qRRGkzl4Rn7EJBdD+/xlyIPQ8VZePloV0LT2dhRMhEzmWiFTYq5z2EdjB9wHaV8UN
L4JpBWpuw1m5tAMldhJ8KQ0MWl1bAwCPWmIzvN22RbOGg4BKxqqnvPwz9CAXuLOEyDQBU7zTuGdO
mo+zPIB4NBE0XT9XkkMMsfoVtRhHB4tQug8ohwHzmjlWJtpJXAiMa0EReJ7bp5hrEsNmNjQLuY0C
Oz1jEjXbvS2G+slzaJom88pDRqLoh8dZiAsHjXVEHXrP/oLIf8n0nKumScDbNTEglsocFsrjGR0J
vdWXYya+pF1dKb19JbOktoES642IB6OcLjh9P9XvZEQYQZ9GfSlSPhczidQ8yu/Gg4vrx1uLTqcK
vHEUPjp1R9HiGtYLqWyH+EChX41A1JJyfFRqeyKb7gzoyOpZJi1x1fi8dry3nHIt5QlYQWDi3Fe9
67eFGDZK/SJI7/M8P1N7tRXjTqkAxehF2uhJMt1K+aUEVuRb9V0TtisGkApmQ+rn3cYorFQocDjJ
9NA0kJjVbkzG6E5ihppb8bnS9/jZrHwdOux3VIPvcFBbR860ZWtMIZnQEDbgIAZMsaI/MV0sdQxX
BeEKYSMAjADv8g0CBmcGGGvFrLDKuypMXqhi/iyNAe6OaxhbZUtFARE9G7EaOC9Q1tAQVYrT6Vqp
dZTmlYT6DnWaB2CHycWgI72hJnRbUWNGCXilhsjiQFAqKyq8VqP4JJeiPoQVegteCzqF+js61Cmg
PPYVHMb3CAk1JeUmymptD8MF2GlVUadkEXLdQoaZkCWD8BkW0aqBTOF0wVKt7pjjSmFElRSlUlZR
w5zn9upn7lBXQmwQG+vwaiZcqGFPYOsr+Vi1ybWxu64o+iqtkqTFt9HWP4zk3YL9HubZtdJGV4mJ
0idSmsA6qpUVS6kzkuuMrY2m/jmBbOG4xGsRXEWVQ9VGYeE1bqfNA9XiWBvPbN+/Npg3dRKpt1Xj
z8VVjVZNpydCg3IumlWlP6fK3q+HyeZBm0g62kaAeGzdeCkpz5sw45S0qgUlO8XiOJ8cZNPsNQ2V
jBJqbtlc8Xwof/6lhsGyzSSpuCZw+sRaEmEeCm9llj7PgXWlFjj8rG3E66VDfV4EzUbHgVVzmZUg
uHIS+yqQzRkGdy+Di9NADy3OwP761W6GxybRFp3RfFBjIIJeh1mtOmIRB4cLIl5VDNTyG7LkwbHd
dY27PHcTlNF8FqG0sGOM4ide69Lzne80Cc/VdCJUvVXSQ47RPYVDRoF2UMZj5z65oNoxsYWPsYV8
S5XAkVa6V4i2YNJ6R9GNuh6YVvNl7DRGQ2JgaNx4dF6MpFSoq55mGkubYy90sktg9E9l8w0q8aP2
jXiTNfFODUkrWESydp87UAT1AOzZ78HNUJYNuXEOYU2vth2oA0UolHZegDaYKM+TvuVrm3QzQTv0
DMyBtJxo3fU3hmh+kuUornxqe+NdPpTb3uNq3EY3KkOLe0yPI/zHfSvFYyXc4X686mjA0pUHuYZO
s0VVfURKCdMuoHTK3wC8K5e0mLU5m8lXiwUfvS0kF8y1bQd3LppnpuP9M4z6RmudO+ZmjAEEm8nK
9I0rcwBV29KA4ZxOLoWhvQ8FRsyWQGcenzUw6/jJ1HJj9tY92nI3XRegoJRHn0aORdjoWZc64zSU
2q3sjZygCeXfvOqNZDu603ueiB2G2+c2Ipsx4lHq/zXdblcparqqTeIeYozFTVEYIV3weDtMqPN3
EVu45QJS5c3GdPqNROpKHVadhXeUFRshR7AGzB7iVJsDIhgaZZW9xECASORc0hEGbIVm2tjFqyIK
mwWRjYB7OxcRSkAuMivNtzrdTK1RGv/bAkp2HHCyVpq+qhMUDogPdZzeajGwNiROZR5uZzEUq7nr
YGVWAPk51KmuPinde7uvnrK6fTUQV5qAVYNoeCRWf+KotbNrWExRAJbCwnsgStAzIJ8q0G52GixY
YL8qbVr1N1XzsEYoE31wuvW43vizvalmCzZUA54F+4WFTygok+DSCKu7nCxfR09vbB10Tlw4xzpG
M3mfXoZV+D4OyUZloQHSzC1iS6ZGOzoeNilRWGcUaMFcRYGqJNXYMWojkIm4bZ/DwHub6/x67sNL
aQ+bwUzOlZfj7MIUzUweqSiwgeMugsA8g7dKwV7dM/DEmOFfJhayAuMTtn/Q9zX4zjypQS4wt+Um
yrjUIYXdBCC82ct0Ta6UsFpM1Gox+VwqLfoKkq8x+NdgOlbU7m6jBmOLMOF6ZdbBVSHnBsvx4MzS
yWpNo6IKOgENBD3Fnf5Mn+mblhBpyP26Uqwkh7sP0afCzTU0R3/dlqK8jZwgOkP6FxJ+JM5dZH25
CN270fBYuQP8NvMMBzxAz2grp2nxEjI7E8kJpw1SKRh4xEhumHNw5SMnDJ0XUSUEmh/dNN5I/FAo
ugBDAweeIyGfofZP651MCm+HSU95V69YKQdQqlJ36k/uLt6/Jl9v72b0qUoWXWL4aPJEwTlAlqsi
gReZ1SmEvRRaO9S2jVa556kdXFhV/6kUrQPyBFTuOQD9NbADpCXDOxsXeIeH5Jh0YyKEXJTv6Riq
pGch5kcNAUUZ98jSpfWDs5g2jN90Cl8b2a6lCO5qLjVzoPSDUzDQIzruhRl/GZ77mczYIDAlUIXc
GQsZGMwLPZqJr930JKTDVY3X063hlVJCDv+gf57sEN6YQHKipDif2PG7bRW3elguoLSuSnAME1Ip
XmL+sZv0Abls9kOsh5ROyMIECEI8B8q1jp7MUm9U5UmrknNRfY1A6j1DYZ04IpRXmZdRmrGJooGs
d9C0r6TXIaPaz2+GJx50EaOIq10U5fxscMBgAXLl5R7GT+CEfWQYSiwIDbu/Mx2U0hPWMA3xkJtV
/OUigUBfRTqLMpcblTQIV+pLQxc7pLU+QErTIjA7Sm/9hoLaDqmXjV2PlxLblJr1PzbaXZxysvrh
24BHKLuSggT1FrqMaOsk2s7h7NKKTyTwKG4PNpGV9nrgGatggMdSA83yohEri0ne23rzMSEQ5jHO
dGcvyxJzIyuriBfTzZhg45TwOn3ZbxgbNAUAbcaRcZVO7eVQcZWG1vcelbWB2mFxC0/20mpMBBz7
29QuxoVXmpBchmWbiY4y1gj7OzR3wqGF22E3uhAu/V/XbmFHB1y2GSAfM+gwDC5yLoWTUhglMZq4
eoGTWQvdgYylhKSCrdYIiAmiDs60ILgwg3ab46HkwBNamaYFhlA2HZ0P49tCY32d6flV0cRolzkk
k5aXbFuFc1AqVZoDNCIHImQiZTT3r8MwfWlGhxwW6XfGgh98Wl+aUz0AecZhNoOO2M6Q2+wpxEDW
zi+5/X7V5YS4Vv6dTt3rSCM8ITL2PoZTht4uHNKrgHVjKn8DzgIbOXMVbA0BCl/VCPVOvI7Bixr7
3NXftRowHwY4TYEk3EAOp/adKBHHUTbGlelfzGjem9gLlGjh5yHqH8oY2K68DxceytIdglu10NA8
mQjE4GTriR2QuxVXAX6qAWNfYV7Dur03dPQb63DnwmXVgdabnv5q1fpzYdEQSwVqgkGaL1K7WnsW
RSa+6dsdfB9U77fKWwEx3tYpONXasyiNm8O9b1hLCXB/gSTmukriXSPcpdItnCoqMKjtMzo5HBFh
16/wcTFF6s4cagloGy8yujJRFu6wUtogXfqgVlmPzpKlvAeS5C6p9eCs1rxPMRE/PfeqIHNXq1e5
og2G9yBD87WOMdItOuNJ2Un3eru2OfDYR+umx07Yan9CZTea15hv7rpRu+O4WDVacKP+RBIDWpJv
PIoCPYTUsF78yL1CMCFBtg+NEloC56nT3mSu9tA72rqxtLM4Fze2C6PG7tZanVykZnde9BTKKDV9
FyimOj33Oc14s0f9KRid27FyZ8r5dPio53LLrM+dgSwkrfr7qA/+AMvhAo/LcMP6NNCRcnCVLZp0
rU9DuayV8l3ZRl8xSsmST0BdDOxZX4H+HbtzQzYfKOsNXKRdbVHX+kSphRYL1j/K0MpzvFUGx5nc
ILhMwW8ZoiJgw98ji/E/sPulr9Y8IpVFMyYsn9U7lX3EBpvShVvb1FgLqqVZiauWzebOW//Ot9Ec
7KnPYPoK1/AfEPS0zuZx2gR6f4nUcLA0CjRYzNEF0JMbj7McHmTAGgNma0WvTaU/+bihdWN5U9Em
22ZBAJmUkpeOFBMkO9zQgINlqGiYGeUrhE7MFOTJAFCXK9PET7NX/+AgjnsR1/GOQoVd0zvphf3c
tFCRehEAx4e+MilnqwqjEtymLrqkX4OBQwLB5FKlBN0ms7ioJOJaDOsUhIBOov4lDNrd1NsP6pdi
ZUaMou9jxPkGV63cgPq4DTwallDuNvDun/HUCRZist+grnewVb0bUXI17LM/CR4v1BV8fWlCsqsS
dYER8X2RW199MiASDjSo96gxjuU/dUjnyytH5EY8YvDAxOtG/QhiIVh4QQAaDXk/k4VNyNp5jvMQ
TtM36kh/0hG1EiettyW5y9CXbzhvXUQ1ogVFNEOU6nYTrsXUQwPStspCyXEadkGQvUdzftHyLLN1
l6EGq9XygXdwhG/VLizJs3BSA2QtUbo1sa2ITfvdku6775i7xk8aEJlVhhbyz7iQu080pP3Egvbp
glSZ9eDej7ifx+GlZ9VvfgnVGJgYhGQ6J06trYDwe1yDKUQNI+RHpXQuLBPbEq+7H1uDDjkZZGyD
BrCK7mkqQJ/JzHybXAp3+GGrBKrVYCarVV7WrYKD55de0Xz6ffuP3lMlhr2qL+reeegTOsfBsK5N
4pBphK/+mG9rzx64InS7TjruMoI6spCe8cfQqMQbdtis5szdAmZ9VT7s2MDt6ih5xCXysfKNi3QE
sarKV2brnIf0cujGhlzUynWPYmpox8Z5hkFPzA0CIcMIOhlmbr5C5MGLDcih5iF4Q8SRbY7pU19f
Gb18TIxyK3oTmJ9ffYLuT5SHMngeRBCDmkoTw1Ak2UeURfdWWfgrT2InBc59i5UP+AVsg8yaqKGq
qU4VwndjMAf4AYHRvBYEvoU2hs9F0D/p2XxX69rKyPzb/0r0sq2nwfbXVg+XSYbUZA1Eu5FVwmJp
fo3m5j7CunPKckQdho0JAbLnNhiYNpe+cqX6BZU5XRL7UJM55WOsK0Pc34xy94ySjY7FIqSVbDQn
u8rMyV4blgmZ0b32S3CxZAhOOe5yss/UwFtCMwdYLcjyUpJA4bw8U8GJ29ybFol4WXcgzjB1XESA
xhD5S856mJiLwekRKXGDdy6gKatv3Hl5btKQ+5CpfFVu49CcWBbVQKyKIuyicIYSI5xut7ABQ8re
W2oSSNU8Etgox8S4HsAni2kvzq+5gIlv+ru5wl48jhFRD903pJPTiyo3ELXIEyYgvg8RijNdbDTj
aDMUPZ3UbGP75Ys+ye+0VLdN0GdEs3wrKDHliUdxqA1evbZ8qfL8ru8byu0bW84fdQEFVdmlmwZq
wmTN/INLY6I4w770Kupxrq/dP1bIv1Sbxg+ia6tuLtOCIqQ9bdyKyvusd2e9lK/mgIivZbTvjtTe
uTyjbzzRj8yj+KGWww23J1ZIGjwpJ9EspcEs6+7R05HzleUFeCxgJZH3T1L0K3oV5wH53yQ+NC0/
YdV7wGxY7q2OpHRGiyaatpaUX2EsT2chOkjIXJpP//kf/+v//u8/438HX8Xtvxbaf1BruAUY2jb/
5z8PPWDPRzsw6IG7JQ+wi54LrK9BIJujz8JO7VOW1updf1vhe4/gzhDNujYmGxG1qq7Wvjm4dMy1
vbQU5dlMP/UaAIOTlMvOih4ArV220i22LOhPPeEupeVXYa8niGBp39KawTREGj4GbH9P5n9mcFWI
kH52hceNyasRW3FJrppdLuuXUBQ3oUypyovqWe84QpK0vcl1Ko1cs8pF1sqnKJswV545LbOl1lFG
aR33LE6rs3bon+ageQlkeGtmtD9y6YEOlMWd05iQMpGAt1y8hDF5cFBRaCkfQ3KaBvluje6Hm9L1
qsvnkIqtkwy73ggeiwKLX+fBn+ObGreNpWubj2Fmb8sUbIcGWVOtOW4RdKrCCfY4Pp/Hp9k6ZCu9
51s+QFySeJhGGzon+irzzRffHN5nq72K2Ql6Srk5zQosyhzYKjE90kVcFZKzzwW9QEmmxQC6MkdK
71V0rRUmZE0kZd32sk6HL7Oz4cHCHKucgclF1y9ougDMfIHeCfjUheO0z1btPTmRfOic7E7ruj8G
vj4z+nFigIVp2943PJlnIzNbEsfmMqGggErnFw0d3HWa+1y4/9TcLfEQYfcfH5QDJthyb0y4FeK+
MGQaLbx4ketZDPai4hqNuDoay9c5prpLt/fWx592YAbknrV7ncm6LkDqr20nxUGjPhskpaxw6i68
tjoRLg49Y9/UfbRzr3b4IuXq0IMcVV0e9IKhGgQntrM4EDGcve+wbDiXMSWrTSv6p8h2HxqElh3v
RRUBp+kVJIRR32Aal+QhpRl0puiPi/oGyfPj42ioj/ktnux9ZG76+iB1Pdn4ZXNFW23pmtM/owe0
S/cNdJjZ+UW7jM0Ond4iRWzeVwkDm8vmDl30XB0HXGGtMXtM0hmYuw+QGlD32eg6JzzcxYGVZavD
/s8HnJeA0Cv+S9KwzSbAzeuSDq7iLqSyXMcRfC3FGKIFViBUAAUHhKHfdrs5KXdOjQoyMNaW+qrC
7KOfslAC88cHTahg+8ug/RjB//VGSeaPlkD/Yj0Fw7WlXLkABarUZhLdlWvS5wHZAAkIGD49Mf5B
EYWOP9s4sGJs53+OxtyP3ZBog7OOEJ3zEO3A1oxOLyhkJ7AeFcAXKyaqCYDbFTOMQcGvQA0NWOwC
zoOiM6iBrKGa82aOd99I6r5QaRQDDu/P4+95cNbUrvprjLC1R7zca521X98bUG+s/s2A8zhOFwLc
JW9MUkXh+geWXJhkJVRCCkWu8KEomwS39ERgOjhbaiT/epOqaQNsULG4NdGFX6gGWJQncNZTSjxo
9lDAUd3mMg9uexoUmVVuI29XaO3l8ZE4kJPae1lHIaqhMEWkrQHbnQ2ehgARDWacs5kdjs8IxVOu
xcefdfBb99KDuPTwlwFNvNaBSvBPO9mTjzbXjf0dZ/553duXrEhujbQEU+dckWSPP/lAsLT3wn+Z
APOxowQfYcwBFHY0hKSp40RWY9Nx/BFqhf+26/ZipYYhbZNFxONax9MTg1g9a2961EeUgx4b8sTp
fmiD7UVEgTmLqKtSw4ugOYdqPjTyfkisE79+4CPkXjArx1kf7KplnPA8oKPBvbGcuYvqFE3qyb52
pX/ibDmw7qQKp38t+ygvZQ1eXKM/G185eMcMbbILjP47C6eN1fiAAG1vN9CTPz49h563F5hAv+Zo
HakjGahQ5E7nCdKgMZWfyaA1qRxkpiF86Wj+/HtLTu5FmBCXnjBweWDFEusCFLJUb2fkvpNA0Tnx
kAOrQe4FD9PQsPCaWQ00YrgejvF5hlpGpiR6jw/bgY1j7S2I3PZrO1DhAdVWoG7VukPVr5TTuhDp
x/FHHLgzWHsrwdEwbphtgkJLLYG+piINevLEYXjox/emPUmHGOkA318r0w2b3nabEVH/vRffm+Eu
nEXVVA6ck1q/cGu8dLtMaifW64GZtfZmliabZth4LK7dAPwWbkRI62wMjGKOv/uhed0L+1ppdkk9
MS45EhT4vtiq6TZdy5nWgtDgjR9/jBrmX4KitRfwnWZwOV1mfz3V6Ha09qtfDFsq61cj/TbILady
HuNAFmbtBXg/n3AOiWgTDtmwEwN4bmwwrMCpAL30r0aQPusiXTuxeC8i/U55qym0ymj77g+tPFI2
IfOM1q9AzkvgNZuOwXkeFeghQ3OihzgsB9lCvEaatPCqR5RH/pStd9k3/YnVdGjC984PYOKhEcTC
Xzc2XMBER64mnO5s2d0cnwpD/dBvc7F3ckByTrXOmpgLDZRqJp4UbXYYqvAsnU0fiwTzS5knuBiL
DCHA9aKAZgck9Bthr+VYOjsdhepY1GAtPGcRz/CxlJ+gOXKpMimOHH/NAyvG3As4aZlqU6XRmpYZ
pCOQOlR4hvK8zauvwUU/IPOcEyfQgdBg7sWdSjddK0x7fx0JmoJmGH/2kfXv7V5Tfd1fpxsInno2
EeiEyBJf9qV9b4Qa4Ob4RPp6YLWbe5HHBQAMfRuTLZTLUHrQydbKdOVjjcGB85RwBEy6+Xx8Qg6s
S3MvEPl2KvWmY0KqAvXhulk2Q3SXyeFExmEcOJjNvUgUiZCmxmB7a+ShoGkbMFC7yYGuPA9L5TLV
wVh0oowSM/YL3OOf3XS8r5XkQGloVy1i35niCDZ1hpZZ2jbLPJOviipdoPvuGs6VqXnZuQT3Pyoc
3JCY6Asotpty8Rr6a81tTuywQwtqL9iFut4XSJp569kLzn0s3AqMhf69SdgLb3mH8aqcNG9tI1oe
FN3WUcXXBAunE+fkoW23F33szq5prwXETxqnoGomACE0bTHliJYptXx0RL+Pf8qhq5e5F4emeIrC
cmTCLTd/s5LpJk8a2GbhJZKTw9IR6UsUNea58+OBC3EBpfCIznxzq5y0YmA5WewgfheGK4lTQNua
D8df7MAQ/CzQv/ZsGyAfFFaM8TTSGgYtrtRcbfxLFe9Qmcwef8yBVfJzgv31mMBppUwzx1sTEt6F
KW49DHmO/7Ta/r9EeGMv6oyVpRUYd5HszM2dE8XXle68xn34DwTbE7N3IBoY6tF/vX2i6dmAsgTe
Qm72PCSC9izCRM0I7O74N/xklr99xF68EZEoymhkFxkhgo+msx3w/LOE0t9Ci1WJqNEzdgE0zaO7
imvI+G6lv8xadePo9MOndqPX2neOMklcJgWeMVO9cKjHarV9VwbdDYLTkIjJ2FCn4nYDtZhyEq53
MEVh4kYDtIA0h/4xGxeyoSNmJxnuLclHAck9S7AFxkguiYzV3ATrPo0jApRU/FaNbAE/gJKsgf4+
3qhKDVC5Xx0flwNh0tgLk8Nk1X4XmUQA4pZZjQ855Hkkj8obI3PuJo5mrRdg3f334887NNF7wcwf
46Aj5/fWylBFN6wbIOsvraMFJwLOobW6F9Fg4pUCHU7k+MFVl3BGK+l9laJ9Cqr2xE47VG74yYT+
WqwOIg9GYIQOLrvttsydG0XtNeDTFdiCKFq3Yp/Tg6Dmkz6q9G6Cq6pZzYkc+9AQ7gU6PWhGKCHC
gWkISwaNxLgwt3MqTlQeD/y82MuUujGo8UqZnHXspn9aNEaUDpwS2T++AA6N3k/8/mv0Ws9DdrY0
4PuHxjWacR7msOwYRWhRJlwjCBJ4pUq8hy0XC6ThyvTCC3GIoO194h3UavglGIi9iBbVrlOioQPh
LUZlJ6eKD8Jcf1M6es2IcsGAO00TlshB9AImvHtj9JkCCRnb4y9wINESe+EuBRU2ahWNWmVl1diQ
iA3L2+RgAW1DjhzAFj5OzngqJT2wyX/q8H8NOXilum7j0V43XDqUBCzlY+V94czbEI5VfT+K8vX4
lx04hsRePEk6I7Q6nFiAlb0irEJr3Do7/suHivY/C+qvrzDKHARuyakWxskGmNlOaZxiYpTDVgTg
K4gpSZrfjKAfUjq+0YQnVV06L0oANGNoU/TxDadxtlywxSLvOiYdA3hEt4wTa/vQ1tkLPp0TGlZj
RXKNIT1MCP07xl4l8OYTOe2hsd1LpnBeb1KtEBL1RKatGv0HzYObf3x4D+7LvbAC1ozjHGrZukbo
eQrFTn0E2M4NaDRkULEVCsFmxqO59cBWTwOuA/SQzyxkG05sywOZ0g++4a8JnkOj0JGOkWu7q1M4
C9ZZydSVeLXNEMhjczxxzTkwTfreDS1PpJa1pSHXUY/ZbZF3LAbI7I3TnviQAxOl74UXAxxVTN0W
MTWUpDySBGWgeXyaDr37XuTIa8NqBepQa9SYrpSVnRnjCBcn2XhiHRyaBPXgvyYhKmLQso3mrOcu
+IT2hm4Edhq4KwbMfjhqt8e/4yfU/RKCdTV2fz2nnLU5TuDKry1hJxtZA5ugh3RtZQghAzqlwwYA
0sQqzfdxwgklsg/62Lz3wYDuIFV2pUEkqunKmxEqP/5Oh6ZtLzdxhzJ2A9nySnry4pW0q7N+PrHm
Dv32XmhAbK/3MRd31zo+bwgxf5QwrY+/tpr630ZyLyx4LSjeqPBxbyBjrNoalINRPPamdx966cPx
ZxxadnvBIdWyoPNyupE51LQsRcRR3Z/Nwj6RU/0+PKa3l3RkTuJMuk1O41IvMVxcYMBNnZhWQ43x
/z9Apre330sM1AM0lKH1A+YCW6hsCxFQmSAyo76U2DbivbJnVU3fmAKNILKhJZQoEExcBVJXviRO
tR1S+JCOfhGO3rU3i/vetneu8hXU8Jo/MZOHRmEvbkiorkObsrlbLlg9AuW6V78cn8DfF4np7cWN
OnfcOYv5ae7jT0rra1JjAA/VgtBy/BEH2vqmtxc6wiDJUbbnGXOiQ7cvNhl17FUYR99zXY3LIW/f
RlH3S+ivSKLgAYrAognE0UC5F/WO/gxASHV2/GV+X7Cmp4b4r/Di97Aw6I6wl7kOEyvO0tC5lsgt
Hv95oRb+b2tqL1aMbtki0T7y+znYSHU/w4Sco3JciApldkfqtzNasbneJ8vEmk6k/odmUa3wv76q
AoY9zH3jroPKXAWuCZcbwNxgrfM0/+f4l1mHFuFeOIl0zSgqY/LWEvkCOndraPrAjOKWdh1CzVJ5
UeF7YUVwH8omX+VzvTM1GCzKQcv00lvfQ9a+q1+xlv1A6xmolIZHWfKnUi6IGowLNL3APU0uBsF5
uIs73CqT6jYzje+wEfecCwOKYe7bmCKBjwIGUKPx3OiMV+j013kPI4XbL6z1L6fUK2iAWF6L8m6I
UXbts/XxUfg9QQfY/z8H2knNEsoF8inxSK8SAQTIhPmlWwHgrhK8ivI3E+ji8WcdOAo50/7nw+yu
c/HRQJSGAYaOJ+vbrmuuDdjP3dyc0R278XREauaxoZFPvwkpjH6Jn8IL5YFcUZzzPN3YUXEqfTmw
yty9eGnGdpgJxws20N3P7SF6Ewy2l45nCA99HP/mQ4/Yi3RFp3ldIELIO56H45cWXeENcR4USnkq
Xh1/xoGF7O6FvCnLZAkyNtjga9zg31PdlmW7Of7bB9aHuxfqKuSLObAwecYGoV4Y4AcFpRIRY0GX
wJK3zR4GjZGcOMEOjZb6wr+2/SjnCfx6HGz8WqwqX2NiEJADpnkRmfh6H/+kQw/Zi2ie5/JjToOE
l8DAMuufU0/pZSDjlBTWiSNCTe8vUdPdi1852MR2SBOGTYCQ9Uw0FH0nWOpINy8mHxoXFNrjX/NT
rvjtUXthDPfNEew7TSTDCR7LPjwP0NQJImQHtcHY+GjL9ij70xe6hwNyTY8MS6IYVSpNTGd9VMIi
w1IZnkZYIEPCpQSdSiFPXP+Frd7it7fbiy8Nys5FlSXhxvfHm3IanvWSgFtA7s7M1eTEz8p2APfv
HF4pG4R22Z0SnomLal1WwR/D6ZbSDLaTMe0KtMsx5TubxuE6hYKmZajfWBrVyGo2nvzS346O86pL
LE0r5Uel/otBNm2MweVg828wuX6pCTognp8Qq/jUp+5LpN0mGeVtqSeovGvZ62ihIzgYXJX7KrgK
RiOF7Qmx1wd8TuQvujOEdFGVpDa1kEP0OHnuizChvE2IVikCezxptw1d/oWh9w8hYu6NViBpNRl3
qFPgOgm/qylwgdGi58qRX5YxAXvFQ8kV3yKUqN+KG9forrtIXgZxehOY5VUxmbsBcV78uDgyUEeo
EPrtvqRh7bQ+/kfmxUYJz4Wpsy0c6612k1cBqrDT5FsaF0ifBuJ20scHDxcLd5h3buG/cD5tSgLt
Uhb9hS21FbZ9FuB9qPHYVyvMjZWGf7yp3KiAZeJbgZ9Du+hFcZHDWG+Q2EP1aYSWW2XnI0yqOJqf
+wnlMqasU10lKGok6ibszX6rDz7iXeha+dNbrEPpVHwhmATvPbZN8AsCfFmLZB0H+Hh03i4AOVXC
QJcluXcKy7pO7zvXv7Iif03j1FpJWW00AaoYeUoavs3a9/srCLbtwoUmZjvGp9L7B32Byl8KV0nk
Lh5smnahPAM8uFKdh1uoYRW4JejpQpN0ZX15aSH+cXxbQjj4feU7eyEgjnrd8F0ItPDVboyguQsl
vAG1gAvcLOYh/GNE5XkZiicun56sXrIej+OywpQA/xsTRgiKJ7115Trw6MTU4godzi9GZwL4mrZZ
oW1MS15kgfUhxumyUCmLskZBOA4+e7suanxOnSl/HaGzFI2PEgKpSxrN8BKR3EygjLeoMYwss67y
8cSQ6U+3YO7FzWw5UJZd5DOdMwHSu0iDm6Cpn8MIlw67Q/YlizZ+4kYLLCgvY36uqSjUKEsidPhu
TPKpRvw/xs5rOXIkS7C/stbv6IUWZtvzEEBIBoNaJF9gVAmHlg4H8PV7kN3Tu50z1TVWZWVFFQxG
AO7XrzgHyFFtM9g7QspaClmfPJ1ebbxA+4FTRw1kvF1r0hQkmLvewlCNLXldIwHhyunI3Ekm3alC
roUjV2HfAvf5zRjrtYd1B8StDc/LuYh0OddOjAIdrFqodZqzt/OGg/Pg38tEP3rmwKsAWgXcJx1R
A2REMiApC/4SJwdkY28MJO3cpTl36Cgs6ARVYZ5rWA+ZVypSJdbRWKcZqn5rVvFNrpJ3iYglg0hS
iTQOjc4I0Wu85xYYdVO/0eG05gte+Xk2I3pQntf3Zljr/U7q/uy7+UHxuhq8iV2XX9YyqrNihYA1
2/TWQGV78g25zzq8Up4xXGK4vKG5mLsa/gkcIMCC/NHrNVCm/WdWBNnOYt64p2t56qxyZ3LI4DsP
xZBvk2K+6wPiLGdxH1G+cfc/pBr51sJjslVStI8gZjwMnfxe0/im71+WxLlNeTclbqZ2pbVV2p2E
byVWMwsTAC1cJjWPx0xYO90zvla9rMv0XS6rMxPZzNOyuXgAUEuZkODQ7x0MAsz+hYy+QCUQDcy/
Ev1GjnOAPhlH9U9yNB0wtAzdx8I7CUObN63rPMJrfDUl4zh2DPl1YaCBKSdkH/7HsMpBadgDDNEO
T24JQDiYns3Wvhb0Em16DR4wk2g0pcY3OgKUTmMokvvgQVbpfWX736VTX6lh+BCq2Adtyoyqhoq4
a/2rRhrfpWIiue+HH/Tvw1Yr55eKnbMgMHeDjHN0lV1WZHcuGbvvnPFgOO2Nk9mIYEbth600amWT
eUsCc+/10+cYT1vNT/5kTfmDWMz7LXwuLTUwZUiHy5xZHC58sfcM65iLyd2oYHlpY0QJpf0nW/cf
/bL18/9fKNYWTlKiU6WtNnH20+SROhiutcmdN+IK/E/8J7HrHwRj3m/x8TCXo3TETPNamj4nnnca
aXUuEvkZL3/WuWj90Ur8W3ycDF1gVElBKxgIyjBtxCXN3PsYlgabV3ut5vLBzRMUHMqVmyHrSIl1
TDIxpD0V5bWZWde4Gj5ka9959FPQ9HKqAvdgubwWdkb+0MGUJ5KDF4AwoC36suj9Ie2cb9cZLj2z
+0y5HDNdf82t5qH36JH691vMH5z8vd9Cc38So2EY9OQmefYgbfXDMPyrZNL+5OTyRw//Wyw+VH5F
JVnR4Sa1F9M2PjoY+DaX/b9/9n9waPF+i8J92fdURQW19to7pEE1AmW35Z8FxX/05H8LinEiTFjU
g9VQkF0WE9wTfj3OmUI1171YQ+MhUiK+4mwZWzcdWPDFS0+WdU/P/L//+9ab8r8JfL3fAl85zUbt
lJ4AjJ1vFh3jEF0Y4NR+TgQ8PnFiOqbXgKkO//7X/UEbkPX7GEUxVJaLn1UchDaCQ/6IkxtNYckz
LxDh3EJsQIPxQaHl+7q+XV+Lddg5TphgTvcZMRCDKhtJyKtc8Z4V1lnE1PxX8EbHvCrpnpopdzr3
g5QAu1fd3/MP//tfhur6X0N2n3UzdzQEDr99+B+Pdcm//2f9mX9+z7/+xH/sv+vLe/nd//5N//Iz
PO4/fm/0Prz/ywfbakiH+U5+d/P9dy+L4T/H/tbv/J9+8X99/3qUx7n5/ttfPgkYmIW9/07SuvrL
P750/GJ0Reei++dY4fr4//ji+gf87S97Ob9X3Ip/f6x//sD3ez/87S+a4/7VWYEf9GEYhgVZiOhR
ff/6kmv8FbiS7Qf84/qkS/g1Vd0N4m9/8f9q63Zg6LrvOb5j2wE/1ddy/ZLxV4NUHI0lTK7YDAHT
NvOff/rt3y/Xv78b//0EpOX8Wl3+33XtuIZhgtow4Wh4rqv7v5c1OOBWdIWArYLndd8D/K8hDR/S
3v6AXZghoOVgVQ5M6EIfDYnDLXorjKjsjb2qlgppw1jtku5CC0xFMyURiebxMDI/UDB58eu9tE+N
nv5sO7BWflaWPEZ/1lzzmKy6ycAuP8E936C7yPalhWzPqJl35M6OyyVBUMA8O5PThQDeHUz6VjXL
lScmTiWQhTZC7rua7g/lhw2in11GJBXSZxi0X1Wd0MjulCDTCF4XTT7Q1n5qKwVO0+3BY/vq3bRs
MHWg+iohryzTvnZiHWaUw9RHwgwOVCNeALfhbAWm4EkOwPAbkldeN180WgEEqXTRXa9t7fOstlT7
Ix8acDECnsI9DVTEGq9Km+NP57YnZBs1HFtg7FV7ykmab1Mmd9H++jeZCbZhpry/My0gc+jkN3WG
CqBXxU/PqSN4OAgUej/f6D2T7z1oKcf70XaaH0pveFnm5bZL7QaqiPXmF94bwcWt35s3RQBgqrLw
7HDpf7qFFFusw3lkkOdpzX2pYlYLXaM7J6vfCJPUBlxEinvCzULLHR+tpvthu0nEqrI10hHoFgnk
wxLjBGx8rE2a+e2lAAiLQ67XP5o0VhyajTqC4YRwVHdpS2CoVJAqMXqq2l5zWToN5/pkyhPvKLRA
CSWqgkQLgzPCevbElYItSyfM9ovgRz03vB0xfXipXeKMnDOMoDgbWlO7sp1mI6b5pw/KFNy48VUy
CdSmLWgBsDYb+ZGntRe1DFBs0mocAX6VYtf6EFTSLLJkd50Z+l43abxmwvnZqFyojvGA6weUuQFP
1WvSjANacdaYst8va8O8SUbZq2mx9Kpir6VxdjU2j0j6GLSNW/L1HJSoU9hEnZnFeHaJFrNX1ile
wYh1Vhj7OmFuu0nt6TH3mfF5TMeew5NZKzo3j2DXEYU2tC7NyQSjIvvhVAEEUnsCPKFBU9AWLDoy
GcJSdXmkUkKgXFFSDBIQj+iJwhku/0A9PyR4bPHqlPahCgquMPne5i/Mles7GSOEXub21MqvoUDF
obByoX/BCz/TwbV4gDXFYldRO7jNrRY4UaOyOTQ9Ax9w5jwIEWA701UeObYkoAjxomhMPA7mZrbN
x7rwZ7ye3inruRynDHJzj+FAziI9QN0dmIAzvHA3zL1+BcQKGkO3ZWCfsqm7Kv8sz6OADot/AoAS
FllrHKu5QJuQoj6DZoXOwTh6WJIrszQAPplmNCaF3GRN1ZNe4CpNhK3t5xLwWM/5mGb1L6OnK2cs
Wy+ynPHZXw9WZsIRcuqYdunjKtuKFNhtbJ6MXc8EzE2xFFtHxU7UL6RigJDe5FYPu5KjDUYfARex
Ea+OoXGJzkBxTG4YHURsSOhTR7WTRnGNBsHUg7B2iuohgwUfl9fZOHA1Ujhe+UFk5hgKt2SS7Rvd
5PkuLiNeDjASvwDYXzCoTYPdxnPBUyZdWW2Nuj7zthlbPIEpgr7lnbetgJhONoXcWyiVPR/IEJ3G
NEX5t7RkS1gvW+e+WObxXC72Y9foxwlgzHEw4b8P/KZQSfAegZjukwIOcmLnx8y+2Gsj8VLhU3Nz
vd/3XGXTom2HYcTyF1dXRjqt1gLvNPu6vxFBfkV+hHZr1segP9h+Kk40rvkoa4aPIE5v05K5Tj1O
mOIDdY7wlQwc1tdzqZfr0x0cTrABFLPmc47NAO0mxFXVIRezUamLDoJKmZWXyhiDiEioKjTM9U6B
kxgqoNlzt4yDfYy52fcaU/M5DhKpmVcc8aadtNSZks4ZsR8d1GtWdPII6lH1VnMDfqyDw55f6wqX
3WRa2N49+HGVXUCtk+MYuVm5HxubBRdPJCOqNs7rpMeHqS0tk6vWg62tx9nRB5UEFCEySqATA351
PxE758EIlvsl6+RFGwJ/B2GTPkh4L9SX8F4Fs72tNbqN/MBhGetZPVxrBxlmI4YMkcbsvOos91g3
OZAyxRGN1Tql4RU/a5rnuTr022owaNAU43SonWbZiap9ml5styhXhi8bkIpvJBnMUhPbMXFPeouI
ltd771ruDzj0D/lYgq+QX6gagl3iptbGGp0X3+jDRdXm3qjta1kwyp4QcnojxqdJu4lV+lFJvYry
HoFt2TQ4z7HweUaWHZiHh+vfIAVyev1IPe6dzVGGunvrsDy/mhzbCmf6aZvuJXZrorHgPfXZJPOm
SdiRYsZee/d5hrJaLhMZm86+6xOQb91VYiwZkcB4Miyv2bJ2YO98osEGltLswDsarB7SX5eF+uge
2nK4R6hOQ2sG0CyYmPGf5ZgcY9HfajMNrj2YJZoQga5bDjzOkh6agQ6o7SRX8Boq96aF/OGmXJXa
CMEcIhdgITSVcdlv3WkfaGV7gOxSRd3VwC4b+SXwjW689K1Dw/jE89WN/SLiU1plMEmVsdFtecyD
BdSzCS8D+P1InqqabhJ3ubd0GvwtuLe4csKsXO4zr9fXdtk3U3WvRm/uaaN9XHH7+FXP/ajfxkkj
uHp1Zzv0QDHMa33srkZAI23KpKgd3JkTGWetvJsqHAMZVWv61sNBjtvC1R+gkjxOqMKmYNyrsWfI
mPAqYIuWdnFm5uexdiR9rnV/zFp5Z5RdtZHFrW6i1tG0+ZgN3YFmAtzhDVduTAO+dPrHVp1sq3kN
lHnnNc22K+R5gUcV0T4fOrYPR926OEH35HXuD5XW35rLUlDHwWs8dlEx6c1D0tj89Yy51n79qVkV
nJrvVk3YvOB8Zi1J06ZTh5ENJQviGraEBDopS+RLZIYTT2nwsjRvW1feAQDDdztXzLcbFhxBFCwY
C+wocIWIhqkgIh0h5Rkwx6a2gaWPQ3uJ1UlHGZIowjfcDqd26q+s5Wx51Y0+ztc+hpYQGRC8lhxW
DiWayT9p0g8ZqA+1pD12qj1bgjKU0DGjt2un9ehsZT/XG0aa1zhx28RxsFHKAq+wwon0Vt7UbfaV
TorGbekB5+FaB8e/BRHpX9IcxZyVCrEPisitzGtpo+xbvZfaKbeGJ0i/WeTHz0dXUFewrZlpj5wY
fl6uVaZ/133+lKj+qo3xK7kzC2T1aUyxtc8q5rRSf6S4JAlH3aJBvSajaomP9tM0atemOR+qBDz8
4tkxY6dXY8xWZ+b9caiIbQJbMMRp1fuhKMewKSiSx8W3Dulsk1clioe5vxdWelH922w0HU3Gn6ZQ
aOD0IwW018K59mID9LSZ3wYiZhYtvm/NeISDk0XwGny2ZEwrJkQOmquaBorwM2CBx5xWjShVy/Wo
eR++70dTDyJqKbVq00sPd9IdHLT7UQS7NFheg8Qd7qfOvVq4nlmbB2Lq+Mh8zc7rs+85Z/VIH8vK
l9Agk5l7qTzwTejCeh1n/axheFHQm7MuGoN65UlU5H3KPhwbekNTyaxXPmYAOSUC7bEJZ2LqUGsh
uU1ogmC0GNiZK/11VCVuED+7s8ntr5dYPi9AMldCNigsVZq8yHURJYguiOTmk2amt4gWPuEk7BsK
KJUp1p0JpllNeh4Jie0ClTdvtbE49Yn5xLVYxJ0NuUx9gFEFpGKfO/rgaoHpRozDxZsGa8Me9N35
8pKYay5/Ooy1A5g9qVHE3Vejfg8v/c3X2Jat2opMd8XPWfKS04kVOqJ+1dJdXCDGzRUeODCSJ4P1
3vG+jBkwm85JA4rejD6VkoRZnYp6eRryZsv8SLGp256F0Rmeq1mjlld4HyJDh5FPwfPCNF+Ny5WK
BIY78MKkqfEckkzeu3b+kFjlu9Ut+7IRHse+9K1pUaUwqr7RzAXWbRWMm7ZDm0xJpESr58SM7TsZ
oNxS4/I283E7v6rF3hH4EexUvNL5FP/Q7OQpmxU2Q/9KWxaEs2p2t8z2IZYd3eazKQqElXlhhjrB
MD1qbzaXBmUugLGBtWxGtFGMRXD2ILuERknQ391ZwacxvlvFcj2tBQ1HLsxiGTorhfna8FLMg+5+
OJe0fUPl8TVbArJWl13yRq7dPfox1hOLaty+qfUxAukmNxMn5y3B19kNZrCPg3vjSRDKTXVMGuO+
dIbvGjbd3reSPXkeYx/kzk8B2plwVYdIuVe9Io7W8mOVlGYU1EEXoTGstgtoLPK0BkcGBGZW626X
RObbol3uvdpgG0w08ZL18Z1rWswUDW51LLPWClsF/kxbBPN0Jm5BqkVuqVlRDV7k5LQPweKWW3rf
iWqbrcquPCefH5GEnpYZEIuB4IsOLrifccrMMUGmlk1UtZBrKlE/V5z47iAnck7VzCC0YgPzSBOl
eebuRtufQS0zdFSlM47fttuJIlBsEWypqrShFsfoq3nFz8HsPCQj5VwcxkSkNV2mHPX3epHOCDuq
XQmP9eUIOT04zZ5NlNXMdUgP/SLG/FA1JUD8aiZwsmH6xMmzyAnSDCudEV601bZ0vBfRQ6PLs2q/
qHjYeg2VlbojctEV9FDZVgctEPYpU/NFEm5evKHe9bpuHszVRJcrKgnY2chpLVFhL7jC5n2TzgJ7
+1rPHH0KsqbI9i2Tf0kg8vtYwD+EmPjaa6WFu9FnyeTeGerae8stM5pzVyF3cuCFMb4ZNbJ6L8SE
c2XlnE7LucVDFU6vQ2bpZF1caw93/pT0Fq2E1E5o/8JKjaSFc70crNVvZEWK4J1nQXPUrx25c2Ud
jm31YjW1daVgYO+7yXhJctPA8pPm901yyb20O4DQWznXTstLq9yrbNLZ/dxcHWKWoc4i39AYlXw3
Gg0fs/wwqdif28Q2zr/e7LkPyIRI6YUue+mYm1TCTNZad1Hw9CUK76z40Sm2e0X1rEVtUPsuoL9E
Q7Pk1QDRGuFeqfib7Ye1rva2eUCmwiz9vTayhNguNVAvNc5r5mbo3OyIn4YNrctIZ7CkLRU4nFTJ
ac8iW+0Mswb/aRnntgeLlzty4BjX3AvHpd+DguA+rydUm+zs9868k9kcQ6jEthqnQBPTpP/p5il1
N9BAbkm/bx7M2ikJrEMNB5uqEn9hxRXuTQ35jCYbtxZTxhwAGkzUPnKztnwleMzp6UCSZOkH0+B0
Z+puRtUqp7As7rnews6Y70ot384Zl7A75HCBjca/qofq5Oe2dYQfgN4Fzseu6jW5niXjS9q1Bj61
HF9mue317JsTibk1M3FsCPGgACdvTmwB1TSc6lDgCG4zFGOu2wU0jYL7TZHUaIMjIotWrsIaum2e
NgOVwnGJIPCdtLhHqYJ9a2PZmb+t0lgHKCch0Gk3mo28JaUQWOgv3Ly3Wt1lgIwGyXgYMJukXERk
TOvPB6igbe44Hfr5Plbs8VOznbIOfHA8+MeJo8m2Sgb1MsSY31puWbNmUaus+TQPCzIchIyWbS0n
j9OTK2OI3yVtIGXlwkUu4munXx4WWGXNojvHhY6LBtK6dBrUyLMXzaAwt2nWMSblGvDBFk7rHBYq
pZtIXRINFO4KKHOynv4HiLoZkTc6P3BhWq/7kTDpIG3ylsOpVipYuHct4x9h0CyRFhft3coLnOLV
4Ssk2Y7CIktkmCytRsLQQF06qx3vWxUGB0qMNtsOon2nUBNl2syoUds+DTV5Rm1S7FIEmfzJFi+J
rs6DFRVYa4t0WvNR846zkbNpe48pUfIdWl4vdNFyjCt6FTU56188Fs1JX1o3zOpxJ1VT33I5j/U0
b7XZ8a4n5sEPuXHQMSPeVM6TN9bFZZ5AZiMEcaPsBz2PyQ52Gkxn2d+kdvaR0Tn6FLjQLydX3I22
FoeEppRj2v51kZjUG7a10J2HH1I686M/m7yVQz9TgOZ1BgmZHoXpkpVIY9zuQTtCPrae6UlYpYE9
qA0OgO1GK7pqm3RLvQvoRsLs5nnbJMjeS3ZcbI60X1otv0q3t7FptTttMGl0SyxvV07qZ8Ky96hv
m6miyq7La+ULJgUcvBbOYsq7cXlweoqk+jAF/E4zI5xpL8LXoDLxruDqMzRrX+Az3SQNOLPBRww2
T969yhrknAkwrooUy72dERXVOnjLkYAw9O3G/5FOyS1XL6B+VRKszfGXr5HVzF4yKx+/hrK8lp1Z
vNp1VW9ze7KPRe9v9XgOLi5HzVBr+vYjryS+nrq/XeFeUzF4N2OHdiv3ykc7mYDzCkQ9cOe3eTPg
cmejDjm808E89Nc+SaGwaa/mwtfPlpr1c+VmTlRYwtqP3mxyihnlsU0z6+nXh7EUnLmRU4Qq0f3n
zllwL5R1cC2c0n+eqhUNGstdZ5rDLtAyc+/7HDMQiU43ASBDMob58JYWFaaB9kWUxUyyM6YtCZbB
fZfM/t4qnfJYNGV6ZgwVUjJnKwi844vn6goWR+ts8xYscl2ph/g4p/r4VRZKhH3ha7eoXBQmI2Sf
hr7Aq6wKpvBSUjJRasho5mK29bp+pbUqD80mGx7NomLv9AWs1t61b53iVc1e82MORv+gIfba/vpQ
xiJSw/xOWnw6CF1UtyXZw9vEqwa2eXKeHXE0BiNXOpuelOapbth+qfC8eFamH5PR46X3q6dOFFTY
U6GfWzk92iPaVHr5zR2eAmsrWA2Igr1dQcVib5Mwuemr4GgNyKooNR610m3vOabaW5m45YXE/Qsx
I46cusux2C3G20yDlKHHz94AUozZgXhjajbSvc7Sz2w8ryz3/t5t0g6Efd9dG6jJNhqf3GIvBsXe
aMlVs/5nXNyNtFL9NA411cPFkqe8GmkqG+4b9HktQlF489l4izFxIlHCqK/haO+xq8RTPPZiP+f+
cuyKOrkTcx5vFtWVn1Nzqv3z0qMqI047J1Osfv3P9F8+88/vqSlorGLDnyr59qc+hz7RpBFtNPll
bg140VCkt2UOcTKB1ojsjKjL67LqliIswdvk2se2NcUFjifjy6BVq+l6KpvlxkhzkvFWO7439fiR
Z7VzX3vkGms32OL9Ne78juUZiJR4F3N8WJql/0mgfJyb2X3T1lvXrJLpLrV8tTdaBplXt2HQmNbZ
LCv6SNK8uRN6t140/vTcFnIlt7k8B8P1d3Ci56Ob+yR1dTN9tauMtPXIiK0zCOT0ifIOHpnLUU72
HVXK9rlunionFU8rtdUMTJ+MXe5uiAyX98V1X/OmlQ+JApxHDhShw0gSOCvu/F62byYntt04mW/D
SP3Iqgb1A/KfPSGlnZd6ZBmKxe7Xh1LoGE20iD6Y4VI50F8CAcHY1dvpTKrHerSLUkRNMN2Wrabv
jKlLHpAR43isOMVIK3spdDY+kP8TBxflPtAcFMk8YOq7tFc3CFoGAvklSkQ2bdEngZdmDGdLIUdw
+MZoQZcqwD30XWUKt5ykcuv7w1XsLpuy1+jL0bVXfWmul55tLJYMJGDNwGBTzyQ3NPxvbFzh4mXa
kU30PI9jRQ9XHETSMGJKJDbt34yq0xZk79nDMlSU6bdK2gv4hB0rhnkaJopCEtsdZa8JfvAeveZm
TPWGpuvkNKfOEi4jPGZGq6LMsOCOmzUtTyPeAaedsRgWajdXYrpehh7SiPCvJw6nm3pxDobJQR4O
OUdpp7wxa2HvvTneSWb4d0PbW2H5JYcF5fcIkrDpkaVyHieHyVSfZF+oU4jUZAI8vNnE4temqm5j
v72SpIyMhNtosB0GRW07Kt2svxFdmBPSFxYZI47h13W/HFvfuNBzYxKlMqxe1iUUSgeTQ9OACu6Z
gcpKaa3xAFWvMjgP2E8QY7zA5KJEKI2FGQkgqKNBgyeUWeemmDKxGRmnH3Iilk4TaqeRVS1sK9ka
bdHtaRqnlKOZeU1fNOXLtTVRxdPDcm/2/hcp8DHyJfMHRL535hJsJq15sUxuFD5hbCcUN40S1Ld0
JC+Z556DUW+YZiKbYDjZSWbkuqlWZRtCK04q+jfT8g/St12GCXqYscnJ5RC1qUCn9oxlV/SLMcDS
vva4fsOin5+NPkAJtSK8AzTIO3sn/H5bT6K7U4KTERmmNVNCVMTeSl0ifU+CBCVQLngcQ1zLdW4B
59ZPTmg/g0ziEq0OQWmXR49W46Smg40SsbltMsybWXNu52Zr1hxErCX41Cmm88a9ZsVyWusL4Tjz
qhkJquZJvFFEjq9UXv5QAwMm/ex/g3rJpryJnLQccJt+JC423llQCdNEe9ZpuQyOTXL0EnJbnv8J
WzKgEDZAexh5ATmit2bbhiJzbgvrzkIPuqWqKg8DagSW9ymppwN2gpeiVK8iZauYEigSc5QYzN8h
oMlDT5BCc4JPlUnScCYN211FmDVqIVTPfFesARv/t9bPOQtTawdDucCKoFJOVuDo9Np3w/wh7a1p
scrkqJqn+DFcmEpqlm8M40K76ukYSL4saZDRSEnmq09X1+2NW3DleA7ltXGR9JSTnUUy0rjwgksf
vHGm7KiluTb0ZycHr5o/QBTc6dNiMuBbi9COAW7H8Wde6uyOGSdiD5J3y8JIk+gYTjqdAn2vh3On
09cQY3PIPztPfJYqVVHApd7D3qe3E5K7HDhV+azNHct/WPf2uWdqOaJtlbUVAcuepMkS9j1nPTJe
siYMJVFDWbGmZ9PgMOV4POsiEPeGS+FG5xaq4QeeclcLB+GhiBsae41/mu2wgscRdW+djvQSY5HB
tkvIl+Q+zhA3p8u4JoFZCv+gYhDzGc+1HW+ZrLCjJSUaYgZ1B/2WfqTCJElNkkSv+C2uSXwxQnDe
JIJYbLH9MFNwfdt0oP2WPn7U7vRAIvgI06ylm7+k3WIooX6O8GINB5y6uhfrNHXr0tWauT2rYz99
G278wIjaNit0hW/E+mE5sXEgxVBHo3xE+vzqOs1HNo7uzjaCkK6YG9eDhCst+zL6ookqwhbCy43h
k9TJnYWDEethkJTg1wPzYdLqg5dZX1WM4Wdu4tDy5mw/u1y9lkWsw55COOq/meMlyXhnu1Yjt5Af
E8f+8juQ+oGxpodG49gvDacpke04mDVXM0CLnIpCXhCLeM1HUFC88cUXULyNbixX1LvO5djp4dDF
n3Pv3dqVVl81rAHuRC/7pegL0kwN7fzT1k31XUzK0UADQjKcN4KKCr3sbwpXmREwkAFGHJ62X7x1
td6HGr3Snj1u7IpkoZaULbP/vNdi8BTVJvsqTTNSzbP2klKPAo84Pfp5GVql2A8KsdYiGWaucRiG
NVD2JPdC32RAosHB19lMBBRJtRMNfdhabry5cKD4xEPFjbfjWBPsGMPBGxmlppxuYqmSqK6ds1aT
6Kjbot9WzN9KZGxbvWxpSXbcw+SjFnB5P7ssJ7+WhYaV24c6oAhotcNzggKiS0UdGsVMW7Gl2CNM
NC6lI7Lt6KRfw1pRlyP6l27WYM5Q3ChT4SOFUTxZMxtpjPB4Qo4Hpp9CPRXMgtRxXVdcpqzepPTC
dowz4rbpIU6WV2Pd82Lz3rS1F+EYt7zvzwvJRRK9ZKtGdT2MJvU4hmNDID/lprKXxylJJvqXWeMC
On2YTOAas7Aa5gHMOgfMv9n59mYT1J8p5IeQUIeebC5Yk96PJI390LAHLcLRMIWWqU6TNZyA3L8t
uDw2qV4nEZBsqtGKmzSnSU+v9a0wqVECxRinPvKKXOceJrhHyFXTKP3rP15bXywxfCAd/unlRkLW
r6J1wLnP8JE1swFAbmQBnUp6z6n0j1lxcMry2OB1iJw8I/yR13OMIrRrl4B89HRr5wP0ndUG0ruC
dRAUwraV9s5ILfdg0p9EBegU6MEHZaSrtJQPsp2+6q6vcJTGqzlR7OWCqMBiQGRb2Xt7ejX9GzwR
y36i6ZyOoxTqBJ1X0cy0jNNa1WFAK6OL9GhM6MtKV30YYKgG3AV7uouSMG8PUzwbYVJ7etTMDbyg
dp/qGCVxOv9YDEka1c+fyFvRLvKNYsDiCq2/A894ZpQFrx41iP28pM+WcZApD+hN87M3Tjf2TAZE
GigMvYV9xaePIou9iL2H60ZRa3CLVuF9PBexv+pARszX1aEsy9sZIZpgoeHF1Q6KJEFmr0muEau9
b19Ui3Ne+Gezmh5oBNDDxLCivlQ3cTedWo3yKKMPXySjKlLrtAIY3bv0l+c08/uo021ygq0lQ1hn
/WYil7ZJUsM/zjaVeZ/ZnsFscNepu1439GNTJne4YWEq1zQ1fDnEepvGqz44399yziEDVjDooTpr
k+sBNdYgKgVlz87Insa8vMEtOjIFRSwVDHQujahVCq+KHEORzvOpdvjVTduX+NRJFFgtSMKAAQmG
UXMoGPpmTOS9O1Cls30lj+Pw3usBWdu6YJqqStGKMN02ibVOUktnm9GwH2dyCYGh0P8Ahtqqh4ge
ZeZtpvk2HbtTXaGCjHF9xo16tuIYPxyxWscLbxRPrtE/1ZbJqxcopHkFHSVLaFTEKHbgfsKcAn4/
ux//l7oz6W2VC/P8J6IEBzjA1hgPsZ3YmZMNurlJmMfD/On7x62qRfWipZZ605volV4l1yHAeZ7/
SB9eVaDQllnFpTWzFz3JvwbtaQ4RMWWqPMoZjqrjEVub9cDtgCkSxMtapzJac8tfk0jQiSN/X0S0
VBRZ/anxDJ9nOz3gOd4taaO9Ul0UbvSIcjjYJzuo7fCxkLLbioWmXRpWRVwtvjSmjHEnf/RYPRFZ
2ZsBEeamtqsQTOfZzsHHtXEc7w3KNI45MsZDh5Hy2hq8keuyKz5khVuzScZfW1K5o2Txdxm5AHnY
6U+WoZU75oD4jGzOPsmh7na9kTdPrPEYRprK/nJgav59uyWs+7Sxpo+5WFENzxTXtFy0vbHWc3tu
X94XA1gjeO3wGusW2th5+J1xpS7Nb0pX2CZq4uLVcA1cyMKM7tkGtaPijYA4MwuvY68tPkuI89Eu
86VdP3BRtUHhhcOX6a6+C+wIT27pTLvRSJaTZY4lnZJMFmM5uE+U0+Gq4KX4NyJj5d+3I6m/labp
vQuLE5sxLqc5rmgPC0M3Pr74aMXRizAlPjq33kxJf6lb94dHON7NOEzmZO1+JybMX3R5Isj+xkZA
4adezr5UHA2DhuyiUZw2kLMj2Ru7sBy+EuE+10b+QCh6d8uHMSHVgBuaYfq4lDqaUUvwqifBfCTG
1K7xuuTEa9lCo8wySn87QDNOD2pPyWqCBzAVniISBmi3U1blbu05uhKFElSReUdEHx09hWZQQ2f0
MCQUa4baThGW+b4k4ptbd+oT5CThJQappEGs5G1zACWOg6qnMYing9p3a59bnbulYemvbaMkH7g+
WckkWGuXWWR/srGlXqnJf7P1MOwLiFiS/PHCQZISRO0zMQw70caPzBfVIS67X2RncAdieEEr6UH9
D09EuyUYHzhbvZBZZ+BtM1nMwZ7LNg3bGhZReq1ZqtPxZowMOIWp+PWr5k7OxgNlcmaSUnhjIbqL
TXRQ3TJ8uDxA3AusfbFp/h0q58WF4Mld5zXpdS+gsZeFDeUCwrH8OR6Jd277PtD18s7L4jFQGQg/
I8Cr1DtkNYWdBc7wwWD1NqamfRlcnSK8UtzmxfLR9Gxdo0EzsU66BYWFmKCsZwzduFxprIED3QNb
IrmYsE964L17N0cameitQSiUBtyUoBVVhbbt5K5fZEtVjku2Uq7ua+mejMiYtn3U7NMVyYaVoweU
WIICucEmX24xepKzV9dt0El2bsd9r91JPCTY/gvRyI3qkimIF9MMHI0Mimag7MSIvLdyGrv11qLj
y4y2orNfcXJ7VG3/LgMEZeV6bxOv7KJltWzz4amYku6YVeGd6F2xJROqRj4njq5pEYm9nKOiRGM2
nhWpqZbhyoOnMbx0xXRbDxyVt/1X4XA/WDY5UlyJwM80zTrWnRE4ZUsELVtgOSdIj5KF6t6RYS6y
qmBq2aPV0c3FEjQqvzM7I98WiLlgippxG2N0BTDaAEs6oOy8d6viaCNANggUK1XNWQBWzOvBQezn
IvJdWJUmQWuOqEKkhGshfC5vRs6Yb8ypDjsaczDWD1GpceAOebVtp+KQVzqruLFDXkAgVPLuOTRq
c8zRSXKlYJP9blqjzZCKago6lQ3FClukltn0NMLO+2QqgXswTNRh84C+ao1dGUb0lBSyG8MLCCey
z3K1/+ju2bL6HwlLSwd09p0hzaTLjhzDmf3dxGTmJza6aoSID660ntRsjyDy5plIjG1n/y3HHg8+
ZTF+Ttq3Z11blT1W9gaauUGgOjIZjS/Gkj2YszhbCbY8kp3tcrh0qmDocaitnMLMR/BKtTE4Ri/K
T0NZF6HyZ7MiqY2VVfNrmmciV9m+tK2NoVHfsfTNKQKkH+uk9Nm2M2z6zhS+UR84QTOP2cyQJwKK
nZ5jXfuJVfjjufMTVOyh8XKNxTx5jj2qCGXhSgQdwmRe0vkc4zmkQgw1CwiSLvVzUmoRAs7wRVTi
gF73mGb37jzQyx1jswwtm4SGByreXrgQ+QlgkISjyXurJuTVsjBc0JOIZj+H1OxCmw7a1F5kJPY2
kDaDig69Ouz0Kvtu5/QTHOyVpHtW5wobskBU1F7bkQU3L/ov5TKgFGl6Wxyq5oapMTc0Mp9QDW90
8zxSGfPcLmkX2P2XZ0zWZsgl5XqznA7J3D3JiXde3ra/aL+/NAeYdUDiJDlT52XiFesZf0PcToeB
cFw6oaMXloMvIVBgzzqKv36Bqdfs9I8JXeh7Syi2uUqo4RW9Cnr+Rj4VDXeuEPmWwNxLNqNkLaxp
IYnTJmOE9llgtseF9WMIQUMqxza3tocSYeTOASoHCwInh9SvUf45RK+P1iOC4ykoR7YfieMAYTVp
8pNTX8cOEWrxPqdEiIxC+yPAtnn6N9pWzMgrTMv9W3XO1bAjsEvpU+OdbpKpfGgjg8ZH3MnrzQZA
6/LpAeTr+FpCDKQy+qr7/kSm3rNCY9HK8XPswtSfuvxX1oJFkuVDS4Yn4FbO2nnybaKDIDOXi13W
D8hpyxRGbKITkLuL10NGhN3qVMQQZ/ypLV5BzWgtfmx8Wp16Lvm9GsN7ZgaBXpQMSYWOrRnL/DCQ
klZ6MxIjkSif1EtqzNJR39osUA7tpNAwgEAAll77HU/IEZpGC8acgSQW/WGZ+bvMOa2r5nNTT1/e
xIRbL0XGlHW20XrsygjgROJR6LGoIHFC05LX35rVkB4U4VztPURR7HdYRx9Ms35xFk6PNsz3KVry
TWP+tmVNHsaa5pRlvLoLM3qo8X7Dx2LuV+0TVbGSybM/kwrErIwjpovSpxAt9F61zrtHl63qYNpI
/buaNlrl9bL+qTtyI6QXc6lrwQER3Uej/UrgD1VIWSmoBJQ3jBEMBaW6tN4T9i+HX7TBn21k9KsV
3FJZhkbKtLeGu3xHFX9voueCJhN/PI0f46JN5H/Tfhlmv+lUo+QHMMdnfq0jd8WTk63Rl6RGKwJ4
5HfiFC+54DdQyzgEGkxIwmubEnCQsnS5xFqrtkOhgI4WcUlMJn2HCWtJzNeGPO27uPmZB3apcSrf
qEmG4u5Glr9ueKgjPd1Mo7yXdHEGdd1PPJosXONs8zQwjg1ZxDVTNcuybk0bu5yV3xQ2ng7eFiIE
iEKPdlL14DfuzNmZGkWQCfusD+XDMC/UoIvscxvx2HkEJpTO0gaL6PIg1+JLPJm7ZChANYcUt64F
FrBCm/xTdnhvA6xt6gEQxlH9KbSL51lewoIjZSE2JEBhuZ4ouoN8qLWfmsyifboxt52TCVQwZumT
cPkwVtOPp9dHu85fcmd4GmFcdVv8APpDSiKZ7cx9aZHBUHf1C0IXNNX5kw3m6bmx+sbvsyMq4BPD
fYNYixe+GPS7ulmlSJJ+DEqrt0NXHJsWZUBns07qKXhWWQyMzGHnU6x2rK1w3lpGNW6EBftsy2ux
aDeKciASjGy9s+2tN0zWY8YvOCyP+iY/mGYDjlnO596t1FaE/dUp9XNk1yPO/fiYUNHke9TtFMb8
3tPDquXItZAj3c9ze1YSXfJQs08q5L8O45qfcpRtwhkh49SNOwwenJuRCHf/+ZH74k/cltWOEoFx
MyGAFUZn8UCSgmcV6q0PncNQMmvkBG0lQJQkUGJGnxRt0uaXXYMfGjTMJ8MMCK0ghXl2+8i6lCQu
+X2fvLQD0tbnpdF+Ok3xGHvJCSo8DnC4tUFfJyhU+ib2J8Lycarru9ThPTI1sRHAmIxzdhrtkhCv
iNS02rlfpdC5DWrHDAUYqkHXh3YVLDoQIcBWtQl19+AMTbj1kBP54GgNh3x8j0qBrnoclI5uaYih
R3rojUfZp8y4hs2/nKdvXadvu8W4A//4jHUPNA79vN9SSOrEtbZVNSG89ljdFH5f6rnAnzNz+IYu
nqEiKlQzPM+lHb0JVZ3d+kNfmS9XC3TT2g9kWSOKK2i7TunWmpi30CXc0yt4hIMh1pdPXmQJZpT6
Q3nTOTLU+zQZ6d1Q1OewSg+JS5A8vGWDzYZDJAbfs1t32CKYw4HSAq6OFutmfsztpgpCI/kMQ5qy
Io+We1pjefurCT2JvvgEQBxzQuUzoZ5Im6d+3v3LEcAi5WpEQnQ2RGbyyqZDLbxHd27mbkXZ27tF
1WR7YK9vQUqjI7sEtfVO/2IlzkWazqu7IM6w56eQhxfA6CiV/pBg5DKX6LFYlZaKsk7C2emvVwqW
ILO3MZ1bkA7an/VnNB3DWqOn+4G3tJ15Fy3MPpsE7aFmej+Zdxtz7ZIB+5+soRuCzmNbs/bxWD1P
zvIQYvnIJmA+TvnJiO4Lq/0lQLvx06Xe2xRlMcm3r0KP73X4EUcKnXgbNwbwIraD7OxrIqEDSl3f
NIK6r77Ngiwc4bfzL0WEz4YkGpBRLBUzRKjfDSMiND0VG0WxbNFDnhca70Ii72jhdVilyP0UdvS9
Pp7e1O0qjZSQRYob0imO1La7zR7QkPQknZxIm7Rh+GM7THvlXK3F7NXJi7THKYl7ZEkhmRdz9GI3
DPWGy4dpe2yLtp1EJ4glf/2rF7aEiXDOVYMbSmm67vfudGmE/kLZQkmHJR+uH6Y7gnZWzWWOWapF
PeDdpTmP9NJi2Wvh0BLoFt5tPMKjJ+/SCDV9W3yLIi7p9hLnbA2cwtK81Rsr3papvGjDhG8q52id
XHsLPfddmjkt5BnbZ+FuG2M1J03ac1GNxNR+0B+3Efupz/9KFT4kY/HcyAEBLRMAMdObvAlB8c3U
hw6FDFoQymmaxGlYcfTEsvgm624rF7Ie4qI6arVNLZFr+UME/mzMUxvk8ez5SC6MkEuJ/zvehjGq
yGkxNV+hXfHtQWDF46cZNmkqaZk82eYcOGo4WKhBoAqzZGvngjpb2Jq01ngocWFrWsogv1GFZLfQ
sC7EGo3QY/J3hH5E0BlHOyckoDsvqLsFlIORju6l23t7tdhP2tD9kFSBer9FFG8uhXlHeIo3LvCP
Ju/0UoFWzm654hl9dhdL/TAIEh+ttqj2WXGxbe03mWcwMbwQRgcrHIb5eAKVAVtGgxlaoIddUVWM
r7I66jaDsCdN31oiUlXwj2OZIF4ecCvKAJtH3d2tk6m07L9hbbLNz/POxp3VL6N+h2gl6pcg7wSJ
SXO/MxSUP7FOHDDST/rM3JIkBCPOv111nvEIF3SXR+4V2fMChk64j1MuP1VoBK0pnz1EladV42AU
tuVrxVIfKyqkxPRd8jAEHnzgFj4i0C353mvQXqP7DC/Tgp7l29ps2YkzVdFrcDalCyezRL91zPEQ
6iyzyAq59w3nCJT9obLL1IrqnoeYfswfczHyw9JfMi+taQgnllnBF/DvOaT+rjvkNKKO9H40h9PC
Lu8jUmmAWmfLdxN4N6NlGk+1Z6G47lKhKSv9uP00TM84RtnyYWD07L0i4FqcFcAf0S7xSxrbpr9k
gMVolXbE+tVUCDsXQhQvvRQPZBIlvqy4TL1HC/LqKUHwhLHHbU9xSmdr6lTfpZuCMmBmS8f6ZT0E
Og2gVFTFNfH4hM4I/thgGqFOr2kDaAetM16EXl9CrdxqRmfANLFMu1Q8QQBkh8hZRBB64Ve8qB4J
Y/mfIfv/r9MDLsnflmb63+5/jw/4H4kD/z9lDLj/x4yBp75NStIG/kfKwPot/50yYP4HtfCWCxpP
jbptW6Sv/FfKgO3+hw7Fbnm68GyLLANCU/4rZUD+h46AhZQBYZPQYRlrAIH675QBNM6G5XkEBghh
2obxf5MyIITxP9NBSBlwDDRLnrAdV0qdn/o/U2gSyBK7VNIlg61q/cFYcyrs0ULHjR/B1nge8nRG
TmNcE/KBopkjRYTLfdmiPR8k+AT5nhsHTgioH4Zc4rkeUwcWEI20iyBMMY9uzS7zrTYazq2VXCfT
Kve5FwaujqHDM9BRqLRlKYYjFChqXEQKZebpO9kWexwbUIMmcBPwyUPqFUtgphgTtMneh06JuAtw
iLX+1+xVtXMzdXWQswTF3CL/saJj5AUEGGi4UsP8UEQQ6QgUUeI+9UYFApA8azpvRumFz7jHcE3S
LO+HiBJ3aipQ62JSd1XCCGB4xOh7eQ2pPr17U3XoG0YaZE2vUdaEzy0Kh7r/6TwRH1OM/UB35rCf
S23EZzn/mEa/E0vzGRkPhRk7uwSSx9eNRrsstn2fy85vwc2fzHRJ9uTN/jFXM0gs6Te07IghBNBo
jjGpuUm2acPIYpZk9+dI+pcEobKOgd6gr8ycsBAtYts1+dNYF+a9jKLed1QQhXNP+xLfEREEsNen
l6YjEUJo5nAsZn0T9fw2eu6SDJCNPgJVeqGmVAuq+37CIUUVszt0IF1gc2aZItfH172gIZs4EwO9
MQRRU2/QPOnGia32YGgSIXh3TCQou9dl5RYtwgGLeskeEz7ESv01UY9sFhEVR60vGOJtCzi9o6ea
itGi4k+IH9XdZfqXZoxcbdE80xtPhDeuFWuo9CvN23fUZ3QboZaDPpt6YBADiOop27uCU1vYKD8k
pezbAuK9bvAJogrhQ8zWvEM+zMu7YSt9tee5OXmEfwCj0rQtczLQ6xBN6Ur41Y0l7/sUOggdlkEB
y1ZgW61zr78ToZVDzPHDCHvvDpXeAbjWZ3Ny7ANFQagkTlNI5UTZiX2X4g+LUrXLO2rCawH6ULjL
1lXpaRRFdeqxr1FkJE9ck+1EtVtqxfXRhe4gQYcxLsoeW+8zaeiYjZrQ8+N+fo9N0OiEyc1PpMiD
xCY3WLcJSwuz+pKCORP3uIXTVfCFJqdxnMA9iJo7jYRMyoqwdSwO7rEl8vbuqgW1064IFqkNgW3C
GPJD/3QST9noMGyjzcrt5aE1DB+9xI0YEbFp7ZxPjHPoYC1OF5g6qnh405C6au8W80cKWvXuRG0S
OGz4QyPF1srCGwKXj9x+y+37cbReQ+TbO6tPs2CKSjZE6pUsEsNqHdefzgetzeHByOFN8iSbtrNc
0xRZawuVDCz94FBaAG6b8VIhICQeQWbMohn3Y4OsiyjJEAZ+JP+25KZ2rBcZyY3laXJHkRQPoDLP
pakGVLHFAUz+WupJ/4Ay+x/d2XrtZz7Zf0RZfA+RMWzBGpzdXLkkQDbWu+00wdgUH07nLdsqwnM5
2FWCu3vut0kNmTKMgM2zgXGf2MU5Xr3ZC1Bii/gFTbd+jRCzX9zIC/1Ks/+mS9MfYid9SSvAV2+Z
g7R6LBqDQGjPnna1Lb5idzHY57N9NPAcjwMoUS7j15qkBTqawTy8Wq4ullVRStqjS5KsJK02dQ+N
ZTIKTrIFt1CnwWrf+tgiuNT2NuQFe77zLUEGVgRb+N1oguOj4dpHofeE1RiKYLlOMW3yBXTsmr+w
Ms2kVsugcUZutfE9d9LjqMh+0azu6onpWq0eeVeXOFC09AVFfukmd2Fu/jaZd1fL/imvHo2OQdWk
9cxHlv+DXPpEP2W/lRAKcQW7K3KS9NgxL6soaCqjeVdWi8LhM5HpPOCeHV0q0id8WTSv7FKbm2Vq
iRnotBzrD32KODKxKNALflvquEUiPd+nqSRyeizbXZbf7LT6kUl4dT0aA03ziQWl2+i98dlgANdr
HM9mNhGLixF3rOeDgCvzTV4WfTXuWMEGX81oE6Ocu006TMMdGlMSSbeNo/24g/yN6nBnJjd0cRhz
h+qWG8JZD9KfVtfk3eLKNwsYDJJr/WtW6Fos5yPm/YM/pDkgmRYoCkN8qoO6kHgXg3NlajeMWLEj
4Op5Hk5lg4IhjpgzY3Walfshp4g3Qf44rnEiQnPtk25Yt6kzJyohx7NlNNAYdQuaox3SzPsk0rE9
LR5BPaUm9e0yey9a2772F01PwN/a6EH2xh4JRD7l/Xr/mvexAkSJsvadZabcJsmKaVvtHIyuee/F
zb6YBPaBZEx9m+XMT0o0uJjK9nYd/9gQr2ZHCx4Pc3Fqp6csCS9VoWMpPZSdNSEGMh/1fn5EI/BQ
OP1RF9pnpWlAD9mPVnAK4slahPWYAh/JsF6hHUo7dVAGOTzy+8IuTcYMmuwwGMTPS6TdBGvnEM7Y
kZfDXOp/Ig3VgSnQmCbww3QSdhUePzB1vDrG3tS17zKDQ2LiOC7RfMk4Ys7DmJ2q5NL0xEQU7huC
EYiUKb4OOTtd8Zq8tv1ig2hbpByGuIK5XyCEoxdCgYiGpWRxRV6v08zRtCyXRdhPWTvfqf7iJN4H
mSgEJQNcbCuc49mI/NiJFEN+GnYb1dTnUSeSKAf/XmNNjQ0WA3drSWIcnSUkRmA6J3F3Fy7FAzuQ
F6xpEMoudsQ0YJtq2m1mVyke9xtRc+EhqpHcWbP3XnVwt+R3XuPI+TUTNAOzPTzahfXsFGrXl9ML
Cb1AT+4L85vnk+aGGL36U0TDoeNhouzyZrgYd8OBiqrua8xC6WupY7ODGMbW7cAl84W/SxyD6cJ3
cG4ePOwKvKnMeyHix3j0Zl/K6kKAyA7n318L/8KmwGoejNlkUP/+pYfEuwhr3o8VSTSjjQeMkCCk
JmS+i4LY5dRrrmHpvFZWCzezGpfRDXLrHVEnEiFSlQkS+CkgTim+pFpf37VQShZstxs7yT4vkZ7Y
XMeuuulqVIeaSZ2/7wxHr5o1YIbsp0g1p46prMzHGfhkGQPPQSPaw2SLUAVOPP9kjlXskT3CvIwu
WTIT8yIkZrzXMrrha0hYjAah30YNFjGs4syfTpB03g2JJQ97NLFDeksgRPemBnzgubMEca92WWfY
uwk8dKcsLRgU+7QHvwbR9W2Ok34ZdOOKJ+fVRmqx1VzJq17HJl3EgLBxgzcVaKBuCueEDzSCrQQR
rgb6Aklz2K4dcj0k7Qt2C/QnQ34x5ugQ5cOvazb6Q5025XFSmvLhJB+0wTlqeLlAQhjtTCzRfcHV
Gle3q6bdWmUcu6gOaBRHvhstDuKmmeDapt9aLppVQ4mfuSVUShOK5QBYY5Sg+1aBwK5aHjoLTVYZ
vTuOhi08qY27DM4Jh+ugZT5G03aXmu4z5ANaNWSwVREzMuolznP0xjQueUHC4F6WAJEJcSodpQOw
Qpl9R/7LnjEs5T3WnzW6BoZFNXtNkGBMnCp3kPUzEFhgZBAig8WZMBXzlagocwpvKSZ0Xy3WU1NG
Ly52j74U5bHjSNvymG9q3ND8SPvFbV6HynBuefLH0LBAdhFvGoKuddgSumnjVnzOYSoQf5MBMVsa
1gUpTsJqIraJ8t5tRztwC158NZIK/Me/SDx5X+lTsR8tDvEkH+8G4gaC/tHRp/70pfQQ3rMqHtTY
MyJMHM8Tj95UU3+eLOhXHTP/6dvolvVaSIxPs4vqxdiW+BiQ+7xn2SoD4YbextHZioQK6PGVGxqu
Fa+fNkcd7X3o3K+Qil5N80YI60ZigU8372sao4PLZyM5wNnp2xZ3QpDEjrqDyUdKAkSIgpoZKYv7
L8PkNT/DERH56figYsZuMnigyIEugtG8cNaWB4u4GC1Eh8zRuEasoQ5veMViu8Jkw/IWwrkC4z9m
qw09rOIL3MPZKlzvOJQucpKatA37RWeOQq/Njd2mB5JTXow2eVxq9y0k4sYdwLeIYU52o1PjvRWh
fWlH7YhUC6HgkGabeprmE//srkiK/LSMBA9rCTSXCiFn0DmPQe45HNC9djQ8/S6pilOc1PDiGk0G
HggOCAHRmqoo7hDA8O10NxrVB37BKWhlSTzUlAdlAfpc4PRFLAXlSDjA0SFazCACWK85q1PV/m0W
MnHJzKGY1el3KIt6cJ8ISa7LleogA4xSZUe0f6m2xlxTZrW3Z1dhEVjN1mYO1punZ+lEN6Wspw7t
035O2A8I7QkDE6VOU8f7sFkIsKTXPiBJhiPEE3yBX9iNRUcgeQh+Wg9Qxo6ZYMXQJ589960pEigx
8RwbrXaoWvnpNt5EQLb8FAs5Z65WsFZ1dlDF03WG5vATmtMePdFB9yft3rWHJ1Mbml1amfHWiYbm
yKQcy+QtlNmfMUNMhowQg40Na2F2VbjT2LotbacNaJ8jkmA96YL0J2s+ApL6Shfvs14FCeA4KVbm
hRUdQwazLiXt1pPVwDKtqzoQcIVCjQCbKS2tu39fpCCVHY87dg4Ctbtz6fHLdpPoAqnJzyh8t7TO
egqJafHbglfHTNS1qS3JZnWq60kZfxgHOrk7whJIOIpJ9Th7IrlSmKrh31rnTSq6fStW5B+EkN+9
o6gHrY5mLfKLKFSByGpM8aFr1VNlYZyHe6RRdsC2iTr4RoxfiMNuwk6QfeE4dFdhGV7JdkwfRAmZ
hKaH5t7R4FAkvwfZa0eO/exe8A9VVxUSISFJSkrRF8XERwZq4YWWhkt40gnWQfHrXPvKss/D1PNF
i+XZtfAWbgy5LhmywLylX8i5W3nGvInBDwz+k2uCwM/bWBgxjy2VRmTxG9H533/9+5LZTUkBdvoT
1ROg9/qlmSO8ZCqGXMqEfi+SnFRlWYXQwoU5gEEn3t2/L92Ik/3ffxltfN9S6ohj1ygfB4fMKFXq
XD58OJNe5acq0oygoFFl05aUG4hiAuFFKrDpQPG38OkPM9PKVRuye5xPjg/s3+4FZ6talDjYsd4x
AXiVr+vvFj6/x9yaB0JIMn0/MrdtoyFl0tUVvawperEO0eaDpUXRya2sUzglR0oU7Ec5TdaphNf1
VVz278QwRFp2mEc0BQQe1Nd/X3LHQ0lrFvMeF3azq7IGNUkeXd2ZpvnJGmcSrRKWvIpXPVCbm96b
+FjvbbeszxMxdNiq4m5jyqE6R7AD59or/8amM+7g+YwTG060bfoYCsrqolOuGYi+S+gMf0yXVG7m
Alh+TOqacZI1nBxFfFFxAh2ajhE2hphydOGeJuRYrwz5b4XbGWcIZILMLFCNhsCHU1RE+ibmsUaF
6DV3rTAUHhaOgwb+hBgq1NiLVz7y9A47pRrxwD38MXGXX6WxyyQfq1JRcyrkoccU9OgxY9JBg39k
Qpbjj5wPeItFiNUz1p4jQmuC9kQRQUeUmTs+uDlgeehgxMKbS1PPd6vshBG7Td7jjpipNIF/swAq
eFTJIE7i0PbbCX0Acmom+1J4+yaE+u16s9smpYFPFT3+dsL9eEPQVdzrUA4mAIyv20t3qgYv6I3Q
RVxiEdOC59BKUuzI9+hokpPWDsRRUKjlj2PaP5btEGTsQ0jPRvrysK7fQuuqRFshJG2a1cJfPNj9
kAeaS9ASb8CK58281FU3HUaz7s/1SHymIJ9gu9j4XqPFjBmew/NSpkeZiuLun4/RIZjEb1Ii/5fR
nO+N2nlkbNWPSdrN5GvzZQrJDkClXF6lNO5lG89vbUYKhpF6/QmwAebDHJFPpMZFRRrBN1Bdcemc
Haf7cugh3iXEEbxOvLqh1njjsXRml7Z8MrK2Rzqc58eqYQPNVdNfurrY6wA4sfPMNf2d8tHZMZKs
aOnU7LqJx1GmJE663CK5oW80N/0zrZOuu8YBaA3BAOEaEfDHILDiTtea04CYhZFavC5rpsCwpgt0
o4A17rrk6EpkCYuZzzvXZK4CeZyfOeA/PNVrbCPr4ZB77TuhtAGbdAjlNMQ3m0WejNfhRWbxVz03
5OyFUbDUnhaYr12PQmj6l5SwZiYUDG844x8UbZ4Nbry2H5yLU7DJ5gp/a1jiYu53upNLfG4u3QMK
2E6uOQ0NF33phmVvGvirZBp+r5eRWC6kvJPTwynbV5zEXdSOZ1bvY7smQoTTmg2xpkSExEUka25E
M9b10cQlPuRREkxrukROzESz5k1E1Fn4Rkaqh+Ui0LadiQT6NaGC+uQ7WMHm5mJXr9cUCze/QfaO
6zvG3UZr0kW4Zl6Ua/oF7vyW+NbVGLzERCUizSEo1WEZcQaSM2AS0dri2GjY2aSs95JBKfBmSUFE
Doe1ZnDo6XezQFzrhHPINaRjTesoie2g+JKZi4Az7PP8iAiDOmG7IxlKc1AP/Xw3iBRDoCSdc5pe
nFkb3gzuVVpQavc4os87jnXgrUkiy5opEq3pIg4xI/qaNxJVPeaaGoBSq3H3RTWjXe0aV7JE36QR
vq3qtVp/cHj9nJ0OO5YzetxqA6qcNK5I7nAH3EFcIh1X5pHhmGOHjKio54o63IC+t0aneJxBcyQq
qIvqz7Lmq8g1aYXu7OizwS9oEsISDaSxkBz540aBFnvxvjFzgyyyOMTX7uAUcZdkx+mElntNeKmJ
emkNMl+cNf1lWXNgkNkGtj7dlOD7Ou02zww+pU5u0gQDboWI3amtMfaq3zumm787AxIw8iha4aIV
WbNo5JpKs8wEzESNg/ZqfUfRPJRptXb3v5g7k+W4lSzb/sqzN0eZw9EP3oQM9kEFRbHTncAkXQl9
3+Pra7kyq4pCEoGsGL1JmiVlFx7eN2eftW3pIt5yvFdH8W2wd/nFJG7OWYRg3yQ8PTCcZ14yHpFE
yovIrO2rFjX0mSnzR9ZtbJ8JKJzzkgWIx84OAS8RPHLmIxclzvPAiy9kp5EQ3nGvaxSlpwDXY3MY
MmzkQWAC5ysdpE+s2D6TovzEZNn2/k+bfRA1aZpfSEUEyhUbKK+gBPXyshpYpMlZT7/6hD7AnX+K
ayU7NPr40iLQHSrq0Kj4Q6gTJaoXfpwf6NWesM730SUJJ7bab7nBk3aWkLxHIinSpREGfdbYd7xK
VreFyvdyU+iMJGAC1IkfBzlwD0pnQDfmcMWugw+slrzmU1VQYFF+mcO6vu0Va8lT1CWh+EuZIjEF
kIAJqUBVDbKhu5qNBvLOZFyVPejP9AVEBplwoJ0cxXjCLOKqdZNviIBc2KHkJURGM7w2pr4rXYsj
JrwFZf8B/EmT11OYRG9+Gh6AzsWPlaFyP8nZAiKAR54iUBWKRRUDpUqAUzURlKpE8apM5u2DDliO
GCKYrPySoBCOdjpoJkW7atEjk+VCyr8iYdmKiYXLbnvRKk6WWulTwFmmImgJxdIKFFULF96XqVCc
LUXcykBvwSdMrmtiWaDuzkcHOg25gt4tLSr0Vwm8a1YUL6l4XiFgL4xEkjvYi4gegX5Niv4V/uaA
KSJYDhoMmi3JAcDCMkUNqxQ/rCMUj9QSphhhl9+dnSnaGNED8hbmLvrcKxQZSDJfsckaRSkbwZVV
PadSQShoUiSzhqxDW7HN+hiBIlYySHKtNsgvzOpL/puFpqhoLVGtM+bADt+L52hC1wLHGPGEoqlZ
iqsWAVhjmwxfbcVcS4CvTYrCVhvw2HDPPLd4uz3PWdPMqssvLKbSrmb12OkjVAK7cnbkamIMGpBh
HZ5blfzVKgacAwxu0OAypuDhsFx+NBUvzu4eesWPswDJxaJBU65QvhbX+Xa0+p3jXsmanC7PMcSN
G0MQTRXlJ+WmDqourP4yPyH6tb8XYOwKcHYNWxHXQ/2ea6oDrU+w6X/r2+BvkaGRFedmE3TwOay7
mbR5UxHzuAnoHICy6wGY3gxUr1Z0PUZ7zZJd/mBDeOBZxjBt1mRzIFHBv4sA9PmA+pIw/MsCzYTn
EJKFwLYuo2+TXkEx1SNisYr2l5bYkWWw4K3+tqwRjyguoK8IgQEp3i3Z46QToFwLM4e7zXwVlOW3
yMvIL4MzWJYABzvIjTkIwlyxCBlLh8TVXnRaaGda3ncoZv2uj4cX0x3JCVJMw4amAKf0nJD6bYMp
KKvhnthWiuqFpOw+sv62fhFWAQQHW8xT4EQf7EBYvMVkPCDfa4jzDSqzx9g5Cro4Q1/EpPARUHIb
ebsaGtlFrTCNZkuOQovyrf5ps72TdgCwQ4Ede93mYRARNGS5VCOfVCEgiZzWgXyeNZhF9YPsVCTQ
FGR6DAofSW/CqVJESciSOoRJn7skqLpb/JE63paTXaFNoJNyEnuSWduhVPs+was04FambvwZ1RnX
d12+2b4LALfvwahzHj6zS567EEKfEwG7iRUSM8JE4AwfFZqi5Uzq+OZN3JBKCoRS4Tt3qYJrJgqz
iTU6EhVGRlCl03mqYJxT9ETKz7ORZD8FrE6ukzdG0LQ7ZKhPAzRPV2E9Q/ieHZxP3rM/D/IhEeav
HjnN2aSAoOQ57QbN+c4Kdx8rZKgJO9TtXxyUZOQfAkxItAaQRkZeBSr/3ZQ7/Rl9C7LUeeEe/4C/
AcFK617AKs2G+Qa45L30vtuwLkgr+CuAbDpCOBVDN9+43hig7it+FlBQG4VD7XrAUrxB7ceelwyC
yTdzRElo1TQSMm4JHmGHiTZt6LV74zmjfimhKPK5OEKX4FhDHkgiBWgVCtXqwWwdyDYsYbgOcECG
JHoO6vGni482LllEiaC+WjC27q8dSKq/gbBd/Vw53q3lc0x2Dhaq5rCGwI88c5qRJLgcLT7BDPBI
0ENNAXR2anidDkTwt9s2hwSVLi+f6NfbgAtDDb1TwWs7mP5nGqRMXkLY/PSWQw5hHN5Y2S6rG4Ot
1Jmd845w0wgbl7HIVlHy2grWc+6newlFV87QLKs7jiL9LRqK6Szhns4Qi80AGIgC8VoQedveekQB
CdtSwXprqL2uDr534jB3Viqkrwfbd7Cta7e0nAvNBvvbwv9NSdwCV85ur2lpeQWeATjlcB2pxKIc
fnAUMCDrn77CCkPn+JG7BvkZHWa0akMmqXaXKxaxghL30In5Zyx4ePWLjU8m9GLPnmC8gjMG8bO3
4Ru7g/xM+sBbOdy20I89KMg8sVlnRE7Bw0NIJgF4upllc92CTs444kVV97mxq5tgRhEgGM8ttGWX
dFyC+TdDAiOa/C56XKAzSJ8SW3xp4DW3CtxsQHAekN0NWvFZFs4+ZuBjv3DZQXyeIT8bNdJ1nCd0
8nY9hYaue/FAiJ5zAnnxUfBUxrykx+WbhCkdOcClIyjTUuGmhQJPS7ErEN7F7qEuaxKZLk0JpDpx
ugx34/YmdNVF1+svSP+8NStx5RHLqxXquuo/ORno60ZBsKu7HE4ZAEDg2BY1gZXdKmh2pvDZPhxt
SwG19b7yCO66N23GDXacXBPXDAPcrgGKu4TJXSs4t68w3cQaH0YF7nYVwhv+B2nCv7He8L1nON/C
yWMwFqC/bQUBz00MM+fmeVR0cANMeAkubhh73tb68g6KUQxPPFVg8RHCOEqkF4IlLEAlBxd+J0cY
eOR+mv0w4JMncMp1eOWmMepvs/3gh4DMS4jmvcXnExjnsgN2bivsua4A6IlCoccw0VU+3c6Dkm6r
AJkNZlnh01s46gKeep+FEquv5lxCWteAjRDeA74+dX+LhvXBKFvko/bXSWHaZ3jtEMBuSWy4aOG4
SwQt02+wu0K8D68BvPdcgd95Nx8xaCHlHOzAQ67w8AOceHKp1DuLnhNU5XjuMhXGwH3zOD1wJhzP
EnjzgQLPOwzcXKHoiZSZZAZyRvMUqN4M5u+ZDf8o1bM702sve8tFP23Pl/Ardj7eEGc8ViMGykR5
ZvXTNyFrce2V5ls065eiM7VbVoC7QSkhESjOO31w/s7NVlyAG+TJRLcfzPEQhpDZ4F/tc0v4V45I
DRITe5VMYv1ooxcOl1ieWiPn+LSWt1lFOmdplmxEd6YeuBdeFT+2wnvSUrS7vaJ/hGZwQMkEmmEk
VlHA0IDLNDw7hXqZ5Zf2VJDNI4qvvZBcMYg48b7WjW9CkB5Qwps7K/XwUMvur9Sb5gNSD07HIz4d
jWleo5krHwtTfEpADFzkUn+Sml3+w0jrf6WB/PcEjk/bPkurH/r/0GhJCrzD1o2WHtHxR9/eSyB/
/wf/lEDqtvcfNsAyz3Ic27CRG/6XBFLnH0zXsgQhD8smtv8/CkhX/w8uQ0ggTcMR+B2r/+ifCkgT
oyXXFhZpSKbJf+iZ/xsFpK5MQv/HZUlDEOmYtmMYS/cwt27ipDHjvTm4XUC0OKplA9svQX396gej
1AjVhc43PesrVHfw6WqNoNBsNiZ57TmvY9+D0RrsfVPyXv/jXfv90w3q/+Rd9oCxctv8v//7pyjz
v3/Ub+uxd5aAo5G2duGU+T616+SrJWr5nI7Fw/GPf+TYRo3xp/rDb9CuZchFbsj2adORRka2JVhn
Qjo6Ztymv2HKtlaDhZy00FwfLbXM9vh+84ZRha2GemyofMbPf4+wD1qIofFRt0n193cthCgkz6c8
yfaN22UXYRpgKu/NnysTL05ZVRtNtVaKasJ3pfS1E8cwQbN9EMjkMS3kZxFY3a0+5ibhseLpeF3W
OkS14btS8mIojNlGHRTHUSeQqJYGpq+DwekjtBqn3h0vZq0yCx/AOvLgyQ5huk/llOtfHD0X2ZUv
HakTPxjhOZw5pa3FxYZp4trMkmrGvatWY2l1HoSFv++bwDa5bOD4g5DXtzvtEIdVrGH50JD5kl1N
RpMRUMoDOzUvHc2fxnvNIrEbXxq7n7CY6Loa5u1pzYCm+v3P0muEG/1YJPsiaz5xofLO9aGEkRiM
07mbi3CjtVXnfbCuyMW6kmJNiVtCCsd+Cl+JHkhuyJR1vA4rH1er4vs6+M5UBKbZk18IZIB7W5Kg
jjt17uqLBSIdG1npgBPvgDFP5y3BqJiLrG7+I5UAhf/H1nYrw11fLA3C8UMgFbGxb6RjVT+4RE8o
k4wYiuVF7OUVKoPTWmmxRrSlF4kMOOE+TPqEAB/PDBDOjFJUG0N8rRsWywMeI7zW47+lXvzScuc6
Jeo9YYxyowIrM/a3Zv/dDMpz3/Q50Dh3RDvELisiMq5a7S2QHiQTZ/h6vJnW+mOxLmQyQgYzDM5d
bqMtM6cKdJaKGQIHjjYaSnXtB5Ph9xLxriIlNLs6MvR0D1QC4GjVP3ltX74lQTfsirK4JAZG/tfx
6qx1ymJ+Y8WXGLk1pvtSy5srr0iCtzzog9vjX1/rksW0hi2LzrYTKYJhXN20sYnOhQnCOijgz/cB
CZ/Hy1npFLGY4b1ONrxf9A4aoRACkYWcHTBNd+GkXbQ/XsRKQ4nFNG9ty0k1oed7Lx/iL4TSwkPX
J19O+/hiko+O38RI+0e8oaLxxcxmp7hGKGi5N8e/r6810GJyS6vFvWH0wn1b8kDO8yGeVfalFs7e
8FQ7UCbwyZSVpkO8MYL2V4KUVHxt5sIZSWhsO/mlrkiKM88iTdjQv6HUSHndjfWsP3i2lXf51fEf
uvY71d/fDX3LjyRE7AoGq9v8GkWJY1ZrvjltPJ9YgOredwV4WKr5mrT1uzHR9H0v0SHHia4/JqkW
nDhSFiuERxjad3gyv5vAEd1g/Y5VSiL/aUy7uh+sjcPFOYH4RELAIm/3huAZNawm7c2aK8T/xztA
DecP1h7lFfu+fSrbr2CFOvhEar1u+eeQ9VwUtQTueLNCju/337wpTca/pWUIWI5DjG2Be3G88JXl
QiyWC6+2tYZX5G4/tFxti474YVl6n43GCR7xI4qvTylGeovVwmjIjLL9DEVBXPtooPXszLXn9qZK
qq9a3fob+9HHPSW9xYrBpSQIhch63gziGBi9I0pMjSxLSvw4j9dkrYjFuqHNdTWiCvXvuClOkJns
+jHznTrcGAxrn1+sGmYx1KOraR4mKFFvI0XteAJCF5zeHf/5H/c3d90/B9sEOqQjuMZYbt2gfal0
yI1Xoext17nAx9fNvxVDSwByo98/Xlxg/f1ZHJmffjGSAXKXxU35NGvWtK/8SP8cpZm3sZCv1Wgx
912tHe1KVCThex38WUv25KGBV82j8jMYvy3r+LWaLBaB0OIMnpMVeI9S+VnrCAr4Be5egTjt9iO9
xTIwR9mUQQaN73HgfHWxyOBFE3xBxE1uqEERHu//tfG1mO8+6RtAyoJwH492A4NGFrcOMMWts42a
Bf+6lpGu+Wd/ByFLvVFr4jGZx2c3z3h4Dv2/O6PSzv0853SIZdbxiujqF39U1GKuD7LCljwv4vs0
Ei9m4px19afIgVphuqgbjcx5UbBJe4QQWHVuvDE/V0abu5j+WQzulJSdcF+kPsajcSvPkfwM51M5
Xo+RnE/rJlcV/27PrEocQmM7lY8iG9OHBhezVyQnYmNWrgwCd7EIpEMQ1MZghPsEXzXSZCVGPFek
7hAlPd45awWov7/7+YERVEbL6/RdoXnYUPY5LVQHmvx6/PNrnbCY8mHohDPy4HCPshCuJUlgZ97U
Yg7WQZUfiuK0lcVdTHngSmLGSDK8h+xMjspYHgBcQL11EwhhlZNujOS1xlpM/NgLW8ew8ZGF8JOS
gmlErxMn643T11pbLSZ8aI1OHbh+cM+GCOcwR5yqe9rlYAdfs47kypN6xFnM+zp0NSDiRrFP+47o
If1igADGKgYRsGlkHiSimfuzWW/cclbazFlMfjnOjVnxfn/fDx76sMHV77AUcE6bfc5ikru40QY4
pojHjmjpN7g7EUnO4PGSjemx0ieO+vu76eESH/NtvaRPOBWdCz95lShLMFbJsFuz9Y0+WdmxnMUs
x+raAekRB/cc6uA0k8ePuXWDSao+FRfHu12qGffBIuwsJvpIfpwxp0pnjLzV4AG1A+IDrGNAL+Jc
N+1YFHBhAPN2f43kimHv7Me8gN7mDRlnwTlQPs0iVJukJNt4MO+Q5c1gWqJK2bRPxkUHmtn5JoZm
mA5OZdnGrZelSfqawnzrbh1e8Eh58K3WJLF7cmUe/e2Xeed+Ol69lX6yF7XTU65b0MrC/dBjQ9/q
JRzGMd3BmPYvtMj1Thtutmrcd8OBqGcNLzgpH5suIuDkO+MXZ9CDl+OVWJkq9mIVq/TG96JUFI+S
TOe9G+cumC6z2xgBasJ9MADsxeLl59jy9HBS7kIvzoOcPCuvsW4M4uTJr2zAjuHraKWBU1zNsZU7
0y60in4YNgpXq8sHhTuLhkPGSNaMTU5Y1Rcvsk4fE5KOcArtb820fUtJDXa6dsTUo9k6nqu581GJ
i8YcjNghoTEK7guhPUfNRJ49mAR80onpH++utRIWDZrYTW6ng6ftsZ6boaKSieWjOLmK67nb2BLW
mm2xJZhdg+lwOaX3Tav/snOIzwKuUDdU5HAHEGNUw7U2aYS5Ztkbi9HaKFxsEIPHQ3mE69jerNv0
0RwNvT/rna447VpjL/eDxDIjFXO+n+wA2z/NeUBzyjNhVgDvVTU8qXPsxcYAYa2e0fdEyOCKOnvz
QiPpP3lxUChcXBWgkN0oaG1aLXcIBdm2rSC7V+foDhqHH/RYg+loQPC+RRyUnRE/zjfGnPr5H4xq
W43FdwtQVQ7ZkM6Wti/KEJxVhcw+s+h/EYN9hf1iYBMyfTvehGsDYTH4kng28Dqby0eXJOvPHasT
jxy+GK+Pf35l+liLcZZojl4YZVU++lycbyRxm/y8bGLycmr/1GFgLUZbMigaAG/pdw6WkOZ5RsJ7
gSmmQuA1CRSL3fG6rDTVkngz+LC6vNSmqX7Tx8BhFDcNDl9fTvv8YoxJ2UAETcv60XQdl5QhE/ZN
2Un4Use/vzKqrMWowlKl0KdUH7GJk+5udjv3nDyYCQRjF+G8bn5Fap1sLGlr3a6a8N0INmMe0YLJ
qh4zLye3g7mP28gYxDcjFLUfx+uzVsZit8kqi4xC04j2MzDH6En3fBdH8TRH1w52tWW4HS9nrdsX
e4xvOB655039GGkSXxVNQBIvY5LZNpbitXosdpiJx8UulcnMmW2Cbxh6aFhysK7c3JONkbtWxGKS
kxOmeBde9zhNvrzLHN//K2kn47YmL2FrLV5pJnMx06NuDK0aKdQjhBqFJOi1uzLJtI0z2crgNRdT
XJiF1pJTjx7RG9wkwaPHHapz6Pg4roFxDyz/xokyG1h/VWMr8PN41ytByUcr8TKqAqYnaggKxreo
sNrxZ+n63XyFsYmcv4w6L7VI5oTtyDMNXA1K5QqT5x7441gO5rfMxKo0JYkS/M7nPtOH/mUO+xg2
kYYZKgTdfBpBuQNw0e3kJiEWBPKzKoIUSK8buhMAfSM0D3U9RNBZs64BhX0eljlQ9gs/atLgkw60
RX4frKTvAfDUo5Z/7bSpK60fxeSHwFX9hkBHXvKYqO9A5Zvdm4wxgca9tQxiBda06/42qXO7P+nh
X4rFGmYnssCyRLc/S43dEjslZ7jiZUNWGwN5rT/UAH+3rmgWW+DUZqT4RXWKGiwnIoyVycTLV3JW
tSSXIq8EVpY9HB8AavB+sBMrCtv78iINC+4xmq3PM6Y9eGbqw5TCzEpjbDDUI4fme9UOGFY8d9fN
GLlYG5Uzju0HiwOdnZ3WquaiVXE2w4Y1SDlXj2bI83bnXLuOFZzWpuaiTQt7nNvJdpP7iEl2OUnn
0u1D9O6c3ft+eD7ekGvzV60a7zoOTohPwj7uF1VGAlmQ1eFVQfDwPBDTr5EicyAOG0eOtT5b7Asm
QB0MGLiFABOyMcgocXTjqFEkHJ5UUXJKv87kqpBsNP86Xru1tW+xRRQYNETJPGh3PoCQ4abQe1e+
GpVj5ht7kOqLj8bhYo/IpRAtjkkq9RqiN7xOs79M/Ak0d9nB1TjthGAutommn9qh6s1wb/lJ5HVn
onaZzdjHehaU2T62xM9hnlyU/GRBG3gNHG89XdXig9oZi62Dsy2ksnpq9oGXF067w83SssJLDZ9W
9yLKELHfhiir9O5CF8HQJZ/muog7eLV1FaUAtWQDRX1s8sDbGEIfP2bbaBD/HK4JpOM+IlcbB/a6
v/Yj8ydooIfAArdKru0ZaKEKVnxQ4/82PhMh+vt4S3w4jih2scvZQitD/DMwq0KrSxaWTQamhTFH
TVriz9OKWKxoQJUzBJJddMe1orkKnDC5REXrX5329cVKZTqtDxo1rw5+ij8UefHzFftAvXFSWmue
xUoVlTagtjGwD4OYwidsWbuvDs7MG8Nw7evq7++WqMJLyDtte77uViSJGQ6pn2T2nbKG07WLVSmA
+e4AC0nvMq8ko1FqqPbuvNYQwYlNv1iDhg6HRJMHvLuI8I4NRK1i4CbWFO2Od+2HSxAVWCxBiUic
xAb2S2606z4FYVThPV7ZsI8bLMAujxfy4TZBIYsVqGOXw6/WDJ+TRtmFm2DIMCWdwHentjjM0dic
NpSWgrjObYgkNH1y1/hCu0sscm7Y2sVGW61UYymII2woba8kXRAQx0PgmHcV2S1n8NAPuEN8bdV2
dLy9VjplKY2DnmUhEvTGQ5Zp8YW0BujtI8Hv3DO2HvXWilhMaZtFVo8razzIptxHdvW9SfMHhsJJ
L1HgBpaTemgHI+EIezDlANNaTKMIbgxpxdbF8TZSP/RfdhcKWMxroUUmMFNsdaOo5C7q+S9YZWOA
NWFJlG/XY62dFhM84hYKuREOZCSx6p7m5ru0jeKBNynj8XhF1kpYzPAAuwbQamZ8Z9bRYN3GUxp8
t4rRmL+SBGrEG0eNtb3v9y79fh00pqHsocc8ZwMmZTKEw9doKXTfQHvBpBlgExmF94Mk9yPw7r24
+X68eqo/PuqnxdyvwtiMQTNFd/ANyCWKMKAiR1GaerMxWdQu+kEBy8scdzenE50fPGcmAQN8Pt8G
ckgGa/5V6fInSucMQ8GtF9CV2izFcn6gRTiNJPkTT6F3Ln1FPmwvNob0ykgQat1510Wd8IMonob+
YAflS1NzlpUifvw33tXXfv1i0heYJYR6Rs5u12XVLa66xi7StHyjI9Z+vvr7+59fB6WnN1V/aDx2
78onS55rVXyljbq18QC9VgH193dFmHh4jBld+9wQ/8QOAwuFT1M/us8njVWV5vL+87juoIYn4fUA
a7d8FYHAXjOv487caKG1ny///L5rjHEX9H3wHNnpeDdFAPKCHH7B8V+/siIuFW5mY/R9nsI9FH7V
yBc5Yvuz16Xrv8qB1NtL/okX2tPKWszqwJuwazCm+dnVCgEFmXQB7GOiXdTxCNka4UnSattaKto6
rXXodHPg9CZ+FQluFuSgb8nnPx6wUMEX3eFIK8N8bThgTI4vWo/AARBA++qZbOvH22mtiMWUHkLW
iFGL5ufK5vksak0JOar9ok+NfnVaCYs53eBfLlJwXU9uN3QDxCKpT9eZWTpfW1+GckMJ8HEWBx2x
mNxB5RmQsLrpeTIN0vU7mCEkVo54H56BCcacLKubIcEjE9zlFQ4Ws7gtxjQJdqZWFgN02aBEIugH
dnhxvN4fzyWV9vXHXHV1M9RNsk0PHMKC8yj18itNBN5Gv328qVjeYiVQ1Iw2Chr/SRpFdekG1m0i
chMoxvxrKH17V7RPYUVe6PG6rI0S+WddGguaXA5A8FBNs3NdtcIazzq/dZ/LsWu3zsZrVVqc9P1u
7A3LoEoR9oPnhCQeoujz7xNsAwbkfEqSjntv6OxOq9NihfDrMvc7TdQHXxtxkZnU+3enNTfGsBlh
/XjBs5YyOD8zCmC5oMUSxxoI24V/iZoSBL6VJAyn+UmXCstdLBO2AWPaHJPuIDOyqcl9BCWtNrfj
7bQyjpdStybp5kTPQyx6KtwlizhJHywe1TaSbNaaaLE6TA55NJXL8bXpuvCqAY1zJkMsygp9lJ9D
P93S2qzVYrE8TNVYaUNW9Iekx7sBnL7Y9cZmD6zVQpX6btvHqwnutCu0W2HnwWXg248uhmhXwQT/
GRpqvTENV2aIu5j0FRlnhVvhljT0MEeKebg0PffaZTE9V4u2ZTXftWQrQrsy55eyNzuX0DGsid26
yfNzrkviwszU01M52xv1+fi+armLGV9oKI4NPewOgxeDozH9v73CSS+QExnnvEHhUC6irVP4Whct
pvs0tROoBN4REjMaah3mNQ6zZ5KgLUr0GsPKEvCMTAz74aRps5TCTR0p7Vgk6AeBB/BVV3bpaxsR
ljjt64spHwWx1reVKw5m2xFtjgseB8utZ+WVplrq3pq51jVD+jy5eHnNSza+GVXPeqIO+06Ji/bx
OqwMsKX8zZ9b3FGmGouRudduqgw/zCKvdgNubBvja60ii0kfQHqV6eTrB1Of/d2UgGv9fZN089G6
88bK3ViA1w4fS/3bVEUAYNp8usVnDd8LQg2T3nSXw/wUecXer8VVJVp5LUnGAhxj7rUW3gi5pRv1
XFnclgKoKslTJLxSHPwxfST9roL3D0LyeDept+d/vb7yqv3n2tbMoo5nV59ug6q4slMFxkHHFTUG
zqKYbJ0Nuv+V98vL7Rv5ylOA5SzWhcmpfIp0aU6AVIHn3dumfoja5ibxrL3dwLl1e+PO7PrP/cSz
+PF6rg2WxQLRNYHoS2Fpt7jmWmdZz/Px4BJNbp0MX3lwRBsPHSvD3l688U/OAMU1EeLQFY4DNGzA
Aoy23JbEr1RkKYJK8DEe9IICfOwRecTkcS6JPfcSV5Mfsw8t/3h7rSzeSxGU67HlBHC1/7kEtfY+
iUzzSaSc1RwtxMbZ0L4eL2plfNuqpu+216SXuTTqThx4XDb2tj2Fj2XDUef413+/8n4wwpe6pyEA
/29gDv5UJPgzFDsyY3pAqUVB1p2e5tVfVcf+fg3iJyjeuro1q0ffEjBxoX11qUhvSAiD+Hxh5USn
vrjOKMxPoDplNgDbAib0q+cSlydneUyaUH3uNTKAa1+HUREKcD0GtvEbC9FKQ1mLc8hESAXbdOHf
Tl0x/cDHuiXeP/fxRkr6ytC1FuePCYBEILy4PkgjKh/BgT7gf9wBjpnS6+N9sVaBxWKDQ7DJfhlZ
BwGd/TuiFOD4YcaDx/HPr1VgsbD4cwxfODXKw+QmwZ1AxnEeVWUE8xwz+uNFrNRgKRYOwhpOJJlI
B3vOwXphdQWMuwVuvbEcr31/0QfCz+U45qU8ZKVVT5cmAPngKXWLYiuJcqWNlkLhLjfCWPf9+SD1
9DHIEZ4OcY8nC4rn4y20VsCiE4LSBhdF/t9t0AtxCf1Qnmc2vH/Hbbf0uWuNtFjLeWnA4yUSM7Rc
vKZcd9C+5pZ7mubItpbqwsrT/KgD5X8AcTsebMi1v/RhlBtzYGXDXcoK3djEPclOrEOTWHed4z6w
oxvA+BF7ipyDA1d7g0Wl7Vz9tB5ZKgyT0RutMdHNQ2aNuIXO3ZdOOOGDh85pIwypTAI/OkVYiyXc
J7XYrVMR4XnC2+4V1Gj8YBMN94udK/0w+STKOLrF9ZtsykHMuXsd25jbfHJHYWMGH2jlE2jBLHkD
k111L1gu5MNbRPipujfg6+FzfdLgXKoVwZ330dCa/if8ucL4da4nG1+MQusi+aPEINzdSpFbmQXW
YojagzPXpixhPqtjQIUEGtGUef1vrEQrJSyVcS7y4LImt/wgyukZSzw8diJFgcVW8emkxlqq4yK3
LzUZ6OXBRmODAUX/OYnEcDEivj6tO5ZCqETitsLLanHgsVheZC0D0uSifR4H0th4OVwZmUuVUzHX
GUAkRz9gUwaAcuLDWaSol7qNsZdIno+31cqStJQ7CVKg/KFtkHD7Eyy6bmRbSJOo3eiKtVqoYt8d
keAS2nYcTvJgOrV74TrxdG7Cf7h0QMXscsK/u+PVWDn1mYvtJ+qxSnTAtx5MY07Oh5EPdwTsAGpn
MwTXcrpp+82VcG0EL04DldnjTGV49H4+pzdC74ybCPgVCiosII7XZ61bFptRkhiiSwC9HwYsGYyd
PWoOkQKnaTa6feXJZqltmrTIr6c0lYckH5Vpc+d89UfzL7u17EuvKl7GeLBvQ63ZQrGs1GepaYIf
bxmRPnHCmadob7cddxmH6MrrSc1lLN4dsqkbamfyy0NhRweuvQjqiTgf//bKEDbUkHs3hKOkxXu1
56YXJGlyKRKBM4Tbm49crN0LB+u3rWeBlWH1W3X7rqBhjL0gb8imqNw+LcAgyxTnkTrS3bPR77C7
Pq0+qvh3xeDbmLKPR/Iwic46s10eAZy6uWpaYV5a/WxtZKet9bj6+/tihJeOXs/CUgBW+DUECtI+
i2grSXitsRYTvgHIqBWGJw5TzBUGb2n7W4vkGXMGu9m4VqysKcZimpudIwocC+XBtTjd1DwvRmpC
qBuxo/5fmfA2f7xP1mqzmO6+M9RaO+f0ScWtHqsHsQPcdzXDltw4va11x2JfNzHmKgVBroM58Qoc
dv7BmPif4z9/5eNLfaCZZXE3Zq08BJGBbYEIs+BvTOUwVjnt+4vpbUI2TKuazh6k3n8GWyO/9iEn
6ONfX2l8uZjg5uwbTa5lxiHCEAiWKwZCL7GMPWenQZLbynRea6PFSTNLDHJXCNTeRqGIvydpPcH1
dat6I8K/Mlilqty76SaGlvETWty/cvZxuOO4w0A5czA5mmMJ90qm13GvNfXl8UZbq476+7vysjyf
a5vTzoGUTfHmk4lsnyNHl1tZgGvfX8xv20vMrDIk55KwxWYG7kh8GaL03dL1rKzqS7qerIYM2+zS
+EcYwSyTJ9cdh2d1g5nJbzntELdUCRYtWV1NGhoHaSkNAbkFo7z1rVj/6QUTVkpJnA5Pp3XIYoIP
k1tImH8x4FzfOK+0AnqwE26FKVbmyFIgKLVpcKKiYDWPzOYbTJ7s55SSphumSb0xDVdG8FIlaGoV
z4F+kx8qTFRLHJELeF1Auyb/Z9RNI051fhTilQirtje2OB0rw2ypGHSNfob0LvRDojhqWSlhvFua
6/463ilrzbaY9LK2B+wqY+Mfb56Jy3WqD6LrMMqq0+bhUi/o59D/EiBhr0prj0CbiLhx3oWxVm2s
vWtVWEx0kO8txKeeXbCFMTckuKzKVsMCsKpOwi/Z5Nv/uZYMuImkFt6FBxWmGAbvvvCK6cZ0/K+l
jjzheFes9fRiN2/60A57McwHlwiid+4b5JOBW8+nLULO2vhd7OGyAwPPawV4DHUiGWJcsdWR2swI
tuoWwaoW0tDGurLWKYvJXhR2C3sOfLOQuoFzrP2P9+0u3YJMriyPS3Fg1uhhhTk5rWXU/e+nl0kf
5GVJNCztc3/jKLrSJ0tVYBYmcxwmGmPL6aYbP7Rx4k2LwNuSbqx9X3XVu02q8ks/KBIM1zFz8D5F
U9F9aSvb3Z00opbZXYUGkK/ukvh18vzhKokcv7xMK1/3T/y+6vz3v74IwxTrSNYmGefdc1e6DqKW
FE+47u20Gqh2e1eC9CJIopwcXgMelG6rbIa0VCai+HH882uDaDGvu9xJHYmfxcEwRvtirsZvgwB4
YHJrvrLGU8OMYjmzY6JHdZ3qhymrJvsS752+vh+1BrnV8XqsDaPFzG5yPc50DLRemWzuHTr9+nNs
nir4WTLuIr2eeWe2mlesT0E9/idnV7Ycqa5sv4gIBgnEKzXZZbe72+75hejTri2JSYgZvv4u+pwH
b7kobvDoirCEhpRSmSvXIogmuIOiu6wpN50WxAQDSp07IYHb+VGOJTTda/apn7g+gWe8XJmh6+cR
0B3GRuoyiOC2mp1VCeUgrYufbg55a4+t7dSlDgxLlkPKWBrE1fcYTLr7WKFoboBuBJJhm64HlGj8
ewS9qOKYsbL9jvA1NNuU7FDx5So7/HR7Dy0NwDDmsZVB0nl29b11HUiODf4jK1T2OIzkcruDearf
ZwuJievrWaJ7t6vRAYJF90Shyvmp7zIqvrg9otzQEBrt4CsDy2VxEhUUg293e3VcgWtGXmwnm6QT
t+WjcBIbqnGdaE555Q80SoaSrSzO9TA9ejGWH7kk8GYVffhQ5R0iO3cB83X7kgqI0v5QYes3aueL
iWTg9gHyxId3kiVkbCNtg2ehvXfHwY9fxrIb6F0+TrauoM1SlukPxAnTsoGYcOWwwwQUU2Ov+GUL
82JS9gpGoIeMgORDn+H5+uD6vgijmo1Sv0BVO+hWurl6xIJq3DiamtBhXsbj8IHosNv1ovzKkuYL
btUKuidrZLRLnRjeBnVAXsMn6HuOiHv539zey6WEBBXui58Qwgy9A+lTL1nzOOdFfbeTsdjzZ7y5
lcBbE4edLiYoqLUpShKatOq8AqJaYKBOz5xYLBNQjwQBCdlVNWH1Gk3Y1QwXOp7X8k3HgltIxiF2
8djowR6Ko0gYKj1R04x6cUuLwv6HBAmr5LF0HTgse+U2eXzKNCAh+u62OS3udONKLqoJyiAFdEel
1ybdD5qPdQc1sNKFBRy92IV8LknKZoLWWcZdxG4hDZwkZ6jpVCWEfJJZdGVsOlmDaRCKDP/Iuu2H
Vw8auqU8pGNgA6udD85qkezVuxFzZtzx/ehpVCx54jmtx3GKxkoMKvJDtZahW2rfuNy55bW6rML0
pXan8DF1+hIq4ErUa06Wu9SBYUHQjY4VBF3og016SPDtISDM4bF3UPXj5xFp//gRLPvc7R+mrG8S
FLqG/lClh9KDOBlY6WMOgeOD68QFBJSB+8Fj8hTXvWPnu7iVGXRVfHhv2Z6hmDj8WrUhcsqgnSwT
1NdYfRjP14wLFexTPbQhbe46Pw6KfJdlwBNZOwjp2nILXAXqOMYhCg1WGEsq/c9ytPkHOeKpeCra
1slWzqKlmTSOCS1Qp5G5E1JhEEN096lPY3LouqbfcoUGrhllbPXghVLI7IVLDtk8GzTl38BM3vaQ
b0zbLXE0dGJ4Mn1WTKzALD22NpV7NVYQM6ZNAZHXARqNTD8hvjyseE1/oydXTjoz8khdUdQKzHSP
U14Qjx5pK5vmU+z6qAa5r+sKMe4Dc0F41ZxGIEEhNwFAH3ltGp27H5phKIP/9L0ECU+UBRaA9tDy
s0PBdpAr5M6cw+kBiPeVSCC6AR3x3kqfiszzLqqRraAr3uX128EJjWW3A8pkKa3ksWiTH1Cutg9T
BsXlPgbRIh2m+9sH48LmMgVLlMzDdmq85KWNexnvW93R6iEYYEErb9Hrw3DNAOqIgvrar6V8pFyR
gwrq70Bjyv3UkhfkYtXKki8NY/79zRUDuvgaclNtCDpzkp6qMim9XZDgtb2/PU1LozCOYx4y1Yzg
Gnts4sHaBT6EwaGJe89Zeu851doN/bdY9NrGNU9lr5oynk7wa8qc9JAyhHopWNmUFYS/oFQmC3/f
QyO6do5VXk7FV8hOw//daSkmkJA5QR9mX3NwIhXlgcvBshvIPrs62OWNndgrU33dA3PMKgfoy7dh
m6Txs85Rt5EDQLFHXRqD0Oc0reyZqz534JgVDsQGaSyv6uZBcN2mzl5bwPb+yWkOhDru7BB6uq0/
FiPuYmjef2uJYuDnub3SSzvJuLdQEFfXaVCMj4lDvSPy+NDoBBy2/3a7+QUnzCw9hz45/GxnGh6t
cQw/QiTgpfO6S4XH6hG6jgoiw2uZvIUta4aWZZm7YR0W4tGvxmmI1JC3CA8AOQy2SQ/uvnc3OUUp
hpV5u74tXDPMPAjVOtICZ05lwQPceYBYpLuUp6zaBQrkQyvdLMyfGVgGE2cKFVYRQMBBDBPBSPC8
eB1lHYDxMQwTBDgZRCr6z50zIUOwsucXNsVfr/LN8eLrmICxDjhUGcZ4a8oK1bDPpFLDCl5qqX3D
Q85b1sDlxXOjEKJ6obEHuo+Mf7m95ZZWZu70zcfnOtZZrW088gJrPPmyvofwgHppFR4zt3u4bq+I
1vy7h3H06yYfy/zB8gsVf/Cg8lv+FrWlWwhGh07pnHHNhKKLRMcZ+V6IMHT6lQ1xfZs75hO21cXI
IGHvP0G8sIlcUHMfeI+ae8/vv4YzH8LtIV7H/MPLMxyYFKTjY0tT/WDZMWtyCJSXavpIKu5NB7DE
l2KEAipggb+hm8xKEQnf8ckTwCC1vHNdvOS/jkxa4684oajlO9z+qoWltY2lDXKbK2WR5rFNag0N
CfC4/OBxBr1hpxPJ/nYnc2NXLiWzCnksHZDEQOL+gQmoKJdw0v/Yrrfmff5VtLvWvPvvzdPGE8jW
OKsep4KmFEKMLZPyyWcgxv+QgpBnlDs3CFPv0WYdZOP2Vu/Z2QDFVkSVwJ3L8uJHPXSO3f+AQkNL
yM4qgJqFM65sCe1POyzIAcRdbblrNYVoF+BM3n3SpkNeR3Ck8uGDguw9MgtglB9ewJ9iT+IIpCdY
pGpSVc2wc5HGJLNyOrLXYEetQZV2mGQDMqlodCuPTSureX2indB4SPidb1X9lNaPY6idl8aF2wTp
r5T+2bKOjhmKS1gJ5lzdV4+0cr43ZVE/TRSSENsan3fom0MGIq4OoWJiZxlY0/dYQJQuAhLdXytV
v77TEVf9d/uOCEYbqH3+MOQjLz7RLtQs39s8TYLdLAqQ/d42DuMos0c1xEMMfoZ+6lN/h5Wv/E9T
yES1gn5ZGoix3UEiWpW5KjgEgTUHzjdopNzlliPBgxY6EKDdNg7DjSEMApJW3MbPcNWS+oCAXlbc
ecxx16CaVzfrrKXy7wVxtWerenDrc078L1C0rXYwuzUfc6lx4+shkp5Dc8+rz72QVWSz8JsHQ1w5
yq+uAL7ceFipPkbE2GLuQ5q17MRTHsObVDM8c+BbXlUUCtT/nhytm67VeqzPPEuDvYr7ese1uNuw
tGjcuIlkbRXcCrPmzMEViKxP/NOyt2VN0LhxBrEQSr2AstXndnBO2sviA2+SLwEUe07bvn6+x98c
FDMDwX9nH8f8K3JK/k54wGZta3xe8jeNc9rB2ylEc4bGevbYT9bPOg3XGP8W9o3J8JMmAlWdUwjG
BC95HUWvdppX/8n6PlvZNUsdGGePDoqijMFn/8Cn7EsNGPd9XObfANJaQ94tmJUZPLcRX617ltVn
KG5Cdd6HhifCbfFh2+QbRhtbBeRL4rRB0JT/8n2a7bJhtZ536dMNo0XpTpBYfiYvRaXtQ46kW61i
ve3Lzaw8AAb+FEJ87QEAABLu+0bSJiKlR77cnpmFhTV9R5uV3UT80XvIhap2uQOvdBzBczOM4nVb
D4bZEoJXPgjxvAcbEhnJLk9S8NamFGg1FCONetzd7mZhFczU/JiNXE1+7z60KeG73o9/Nukq68RS
4/PsvTFeYOQRapuSikdujCq7LhDS3qV2UE4rX3+dAZJS012ufFTTN53bCThz4nkoQY8LTbrvwGzf
T7WA0Hks77IczLi1j8rkwgOWHmxb245t042m6cCC1B1rqOfiuYSwN4Ou7tHSIIS73F6debHfedIY
nnElo3oVdBMCwi/Q3giy+4xar5VXfqNy8ndOU/3IvTX6lauPLvRkmHqXdUmrEFOFQnuL8gzRFFnU
cM3u7Zw+2iJcqw9cMhzD6iGzlYJpwUENQBGmH1NdZOeMOV8Jaq+Pt+fs+qZ7l8MnHXCpA5TwODjc
UQ/SMhS+0xFESNuaN+5qlC0146AcTFTF/SmCfik/ICm6Vsu69PWG2c+KkXxqCL4eQNGvWiB51iTQ
qb/98ddn/13uvktAmpAMFK2HeftBiBTfrsanARo2h9s9LH3/3PMbk08ATep5KFA46bmAOB80s0Tz
TFyX5GvxvKVBzF2/6QIoMb+UKNGEzRP/nkLj54DqT7BOIDu04tIvjcK4t5u6AfO1btBFjPT0XYJE
+IvORLoySUsjMMy6IM7AbZt5IgL3H0F1qRV/qMF8fZkcd43hcWkIhkFDCnRifZ4EImqcBun72vog
eM634NgpMVMZreqqxiIVWgeF/ms7q/94IBrbNj9mQFoJyLO4LUPrcgqCqBBwEOo8VSmkrQES2GbJ
Zkwa2RE8ysVARUSHDOHb1qefvEmtldcvLMA72h2et7kVlAyDQB2uw0ScRLmgZI3uYKl9w+2GDEPF
oOfuYhPVUJgUI9NRU8X2SrJqqfl5776xshFVxEjygtQ5YiKTB7tPv9hgwF5Z4aXW59/ftB7WWlI4
Avh4r3B/WyzO92WHcOLtQ2jBvkyanZQmCDZVJb6daHeKuM3lWfLqfr7QVjyPpQEYJjywgpQNqbF5
ymqCgKBTsF0MeN3KCJaaN6w3HlpbQnoPB1Awwa2UMUqFbb/tVr5+aYKMW7i1K8gicCd+FWmuIvjf
Y5S1iJhpsUoGttCFSZ+j2hqSAR6NX7NxaPaBEydHiMknJ6Jad+U2W5gkUzwOeApLtq0NC3Pr7FPp
efSkwaCwybsjJokOGGHqHMFAbCLPZo951hZ7MllrzIDXPTticudAO2dmHmzR+uyv5rT+wGvy0FqI
WvRTccr9Nfa+pUma1+eNpfFmasOG/z2px0KCjX0QJx9Ql5WNurTMc7dvmgePeoZCvxFXGQpF/Ec7
ydQRB7c60npTfI0SkxyHAUTvpEXbn1FZAXXQmPyyed5FU91sYhtAD4YxByTpGKtjDMJX2Kgz6Ue9
t4F7e759Hi2tgWHNvA9GxyN2/JrL4EufWPLeYWm+pXwQH2/YcpGiElEC/YV7wIKPZXPAYyI3y6o1
l3QOcb1/hID88t9LTAa8sFRREkBW5Z1CVkT39omR5NDL7thNX0r8GQTkcHuu5uvrWm+Gf8140I8h
9Etw7zS13rc8/BSmovntFpV76LVFV+ArC2tist+QumOjTUb0A2HAdI9ACujRBF49t4ex1LxxO4Mg
1emJnk+PGtiFaLT89lAiMrzf1rxh1Rq5X0WbuDsjM4tYQAwQ8U+CwNUmAW5KTBIUd0xjpy4zfH6W
wNaKsgfZQ8s3cSegecO/zquwBjZ8JAhbIRift076NQe81DsETI7ytG2ODKuWMdzddMj6cz+iEisl
XlYDBVmM3283v3DymYqJKaRrfQbRxLOEcPVjX0Mjp5fW0aLpl9sdLG0hw7Ah7q1DOuXuWXVBuONc
jDtLI4R4u/WFzzcpUOw69UWGqMXZ590LU6CCjmn75A1Dus3HeMeCEpZDV+AxfkaEpI/qaabRKfkw
Rokvxpfbg1iYIpP3BIsZQ5LW7s55X/ODmwYZaOzplgQYJSbjiUobz6+KsTvPdJAztgxhnvzn7Q9f
mn3DflkrkAZJhvhYl157gqWxE9SinpG9oysH0IKD8Y5Jyi3By+i46EH2R1d+jmV3pxF8dikiF4Ku
3GzzqXzltDYJpZTfgUG+5lB9nS+Hyk1nZvFHaFYc3GA66So4VtO2LAmhhj3TFK9wCxz5MnJUcqga
9iWwNkm3Yq2NGzrIfbfRvTWKiA9xvw+zAqGLdFi5opdW27Bk5ksEViWUriOwLhQRyeI7Hz5MRL1q
xZoXVtukirFB4js1kOkTUeWMn3PS3Vl2dtRp+ux3+j6BKMamfWsSxtS0TFzIUGAk1uDwHQWZ/A5y
G/6uyFHnf7uPBaM2KWMgNg9y1F5Zr4CB9AdStvrcWLr4cbv1hbUw2WI0KlcV5E4wUwoU0oe46OuT
6Grrue/8ba6FyRRDfMvLB8UwSVVJ7QMFucOOi9xd2U0LNkfmeXvjcudZXQgbytmIvUDZKHdR5gOe
ZW6LuwCqkqB3pQ89W+NbWFoM46ZudQWK7cZFZ5AmIV/zTo9HH2VYK/tpad8aNo0bU44866xXFIFY
YItN2qOjK33qef/VFpX7ycHL7vbCL3VlmDhNW0LtKcTCQ//H/lqP6RzhFsMekgXuruu0OqICeS1b
v9SbYfKeH8TjmMXobRqTOzLyX8JPD/MZP7jewbbLbZFKky5GcKDGe6VTaP8q+6JgO7su2RpEfFez
NOaDsEHaxaOmHa1dOMXlziFrD7sFV98EevlZDN0naolLPvh2JJucpBERDRSaNJI12HipXNlmC7vY
LJRpu4QQJ5/4hbe2dw8ypXyK2GQhJ3h7by21Px82b0wS8kJMpzVxzqlIPmpX9VFT4J663fjCieUZ
9t52NkREEy4uiMnFp7KFREEq2Mw+1K/V8yx9v2Hl0u6Iqgl8tb5n9RkF8tMTlCjXqkKXBmAYeWwR
ywv0IC5sRIk09J/ofixBDl3R/M/tKVo4Ej3Dtgmq1zxvxEmFhB/9XiTeLlbd0+R1v1GS9AVlQt8g
SnK53dfSXBmWDfj1HLbx+UWMtf6vjq/yCvG8qXWzdGMUWRmngFrxCLSWtuZRrvhUhtEUW6G/LXhv
Vm5AZNd3uN/Z57goH/oG7OZDvep3LkyPWakB96yrSz6iSHpWcoN+OyJDPkKY26bHeFbPVPMT8FyQ
fhDwm3so7L5YPF0DWC9sVLOygaE2ZMBl4PAIqevs0ZeQToxUgGKayPFriKPdHsRSN6ZBJ/loC1Ik
F4haFzvZp8eYhva5GFYpn5cWwbBnOwH+UhVNcWmJVBEYsdxDNzO93f7+pdYNe7brEmGysU0uupqJ
susOqf2arcmKLrVu2DJzbJqCObK4jO2U7QfQmnz2E6s43v72pbk3rLcWHOwviXLOANq6+7wtvsWZ
833o27XIzMKlZgLFQEDfVw2qSC7NFLOoQpzmAWrTD37sdJ/CTIGyftNATMyYH5SyJDp1znxm91eD
lAfcaAjmgyp1Ww+za/PmUiMO4nxktOwztMSLA6DO0x33vDMF/fFuWw+GNVuqa5ImyLKLSuIPTRj7
O3A9/RMOPD/c7mBhL5mcL0Cxe9QKU3XBo0X9ziFdjWJ+VHevcfku7CYTQAaeeEY5D4rL36IZqWBn
gVbxiRU63+bgmUh8yMOWig91diGo4J+GKj78P3Icf4tPr7zfTfxY6mQV6hDJcFYaH370FNL1SZR5
pEfoj6epgKEUQz896yrJsiTquyEbz1CobaryIB3Zcvfg8AZEt6c+ZGWOf5KSZ9Wua6Ff/btr03J6
osimI3duo27s3Pu5/YODSQh6B1kO+cS9E7q59VNOgM66bWY9J7Yu0h+o+GgcdbbhDoqTm47dBJQN
1AQpO1jSCcEdnru9U37JkgnVSyDXbcLk2FQQZll5US8srYkga2VS512jiovMWrqToeN+0kk/Ro2q
6crSLnUxezNvDKwNSl1rq3DOo2z9w+hRYUWFQ8oPmN+tmUSzlpU2fehCIby7TIzG+96LvxUj8Mmb
7OsdeqwoOl+BpOvctv1TKwEQLIZVTZal6Zl/fzM9kA3VdgH98795B+2BS8e3EcsIkjWv/XpVKSUm
eswLlGXnts44alrG9LOW4SdbDPYxyZoPmksAKrHf9p4W3aGj5RBRPfF7kCNMO8sXH4sc47U7a2cn
KTs4mb/3OvpcZ914dihZ485ZmgXjKpfFMDFsxO4yFFDCKoeBnVwU3USdLeRKqn+pC+M+j30wF4Eg
Ob+QwPoGOXo/SmwwWAUegsK398lSD8adPjjjUJU8aC+Zl/MnOascWZPwz5DDW+ti4d41yWFYnnHH
ypS6tB2U7ygvHqjlsocgSwCejIEvuD2SpRvFGMkIfrUshL4K6p+yZ3+m5qmLNa3zpbYN30RmegCd
V51eagvbMSKgkJDHJAEd16aItmfS2zAg7wLF4T0jZIDiaTxTw3KVmfP613vvmG08tyws2XWXOkiK
SFOIfDQueEZvz/v1HeSZlTQEog1dF9rthXSs3EE67SNJoFPBfbbpMPbMWpoAOHMLtaHtpfQgWhk4
w1PW63o3Fu22d7xnCtzFkMWse+3CsdUB+2oVgfs9zAUW2iIZoE235+l63Mkzq2oYyCUmpxnUJY2R
PQVDApgHx9w/I8Nd7qTfvISD3b7e7mtpxY2jCfQirc0dnV8GUrGHEkg8ewcXqw8O29o3z6WOo9bD
yttLhZrock+IGP5MqAPf5N96oWHKdhV6CfRKi8vgeA8CUmXHoghfhYtL/vb3L+1Zw56JqwoAgrPi
ksr4FRi6KfKhJhJtDUV4Jk5OdjZUGEmdX0C/UpyA6rXveedkp9ufv7C8Jj7O0QLScfGYgwTBhvB4
2BWHgcdrdCIhbvH3nqf3Dh43M/nKEHcls3vcvKCxFEBb5tW9nyTPqqT3QBZ447bckceMl8Youlzg
GVxdJAOxVynlr6L2vmybp3n53/gptR2A6KTDMtOieA689JX5wYqFLewgNi/Nm6Yl8/JxqIf8Elh1
9xcm6oNw8JR10AK4/fFLPRg2jKgGsoSVrC556oNJWyOL3VUStM1rKnTX72XPVKHjSlcjvNnqYnfy
o2jJM+2bJxeYJ4uSFf9laaMahsyYCopKuvriBUGzc0Nu461Bt2VAPGZYMXKoKu+Hqb2Ajsz97qfh
+Hnio37ZNP8mTG6gEEgIOdUX2fVy7wv/WxiQHuJ5fA2JsmBoJkoOyCmQAuA2uFjCusMd9wOEOXdw
vD60dXs3UfU6eM3/A621sBgmbG6aytIfY5pf0iAZPk6lDYIHLftyU+E+8c0XK8TsoMrZ9c4xrhL5
SdVJeKZQMt3dXo6ruxWtG1sptwk47GuIzdo2fWDM+skkNMoK+bEYxUr09arFoQtjP7FqsjAC7h5d
C+pefOztI1Akn7NhVfDzelUMQUG0cWyICXCUXtCj67q7PrR+tlNw9MvuTjnd0Q2dXULpczKRMx7X
CjyWmwKD6Nd40MYjqq5L1TjHfrScyC17vNlLuXIWXt1YaNwIR8WaWBYiBs6xbaoEUdOC7r1wGyIJ
rRsXRNe6aUYnIM0inN7k2LHceugKnURWsa1MFX0YF4UMy9oBu7ULnWz7Sx1WSRSXxX3lbtPCQAfz
1L25LoAsrCHJWLhHIjKQavUZnA03y+9u28ZV1xKtG1eFqnNZZ2Qgx95pd3zswKjWVYBMup+ANSh2
IGj8dbujpZU2/T7wVitZ6PKUTgjt2yDQiIJhWz0shmGYuO1BAYNaGsaRTro+KcsVX+y68uVj1op6
jfBmaQyGlbdsgNBCPNFj7PXqcfTDaooKO+dr4d/r7b+TLVeCdcjYeTgGJwRnR8x9KlcDI0uNG3as
KiQoLGE7R7dqrd3oBqBBZWtlF9ePWGq+5EZfu5ANz8pTS7zvsZqajzokYl+BgUPY4SZFLELN5xxi
4x4okqR7ZKF4biVeua7If1rU3lTohA4MY679Fk5HXJOjX9NLXXQ/3BpxodsGsDRF87q8sWOpk7qq
8fo5tiCOh9zaY+upR9iZSOkmE3unPg7c/DRkIIg90piCDdODdZFMqsPt71/aP4YB+xZKSkcxOEcG
mcFoBEFNlEl6ud349WOIms82WVQ17rfMgRgW9/5geZ0dcwA+8qEX99F1+/xD5a4e2fOOf/dKwSob
ZhxzD8DguHCAeUGWjnUv44CEGoNwc+v4n1D+UQCnsElYlLxTG4e49Zh4Ep5B3pT+IR8QQemH8Ckr
8v5+09yZTzp/shuRg9vmhPfin7RND7qq7lma/RlBYOPJcOWmWFj/d287h/l16BLnWBPcpXGmvuVO
tYmJAbNk3NRsKjwIpmhyJHVG73jeu3+CjA/fbs/Q0qcbZu0KqwRffOkcoTGNUgwC7bh8JGucQ0ut
z7+/MWyfIyaAML975HQcDpx4/i5pp5WnxFLjxv3MObU1CUf3qBP/0tOiPoa0rleCAfP4rxiC+YxT
HSTevQHel22l9E5l0KuWIu2fUeqZrHSxcOq9ExMXIGbJmpEc61a74YM9i0n7UQ3Q6tREg/QdIncl
IutrwixLQzJs2y8g7O7nlXPEraxONu4eqFUB/lxC13UlArSwJObrrp9U0NVFSnCQT/KRZVb4GXSD
a+wSS60b13QpQatbCpRTlY3dRaN0+13csTWax4XpMR9yPneasqMupqeZ/DOmClrHqGI5Jq4M9reN
bakLw5Sh00yG3B6d41jBpUe9MKR7h4KDmrofN3Yxd/3G4oIpSXU2MufY4d2eKvnRh46M8sjP2yNY
WoL59zfNc9mi3J/M78Wsnj75CgW2mRrW0stLrRsWTYqG2+Dzc48KilS7GFRPUcvKtdKtpdaNW1pR
EMJYMW7pVNUdXgs5h/DjNnoP8k4CXDtTVXQqcfAWyZuonbA5Sxd76Pa8L+0cw3ZRRJhZda3x0nSA
G9Xwv/YEyk77Mt0GuwP633hEp5IJS4ranTfnrxqKt3vIiEyRhcD+ipu3sACmznduQ947ycbypBKU
CKUKEJrAA15q0xSZBU4qngKd9/nsuiCgRET9E0LsSQQMyspVueCImaLeuqK0rWiG+6Yq28/pQL0x
cnvQUUYBIfmF+T47T/60hgtaWHJT5NtPg7oNHGyoWDcUkutguZE1UIQQIVP7bVM2L9Qba+5jx/Vd
hhGVJK4faRBcyMDTYzrvrNs9LC25YdFpk1IoksIBSAGb2uUp6pHpMG4SZsaWNSw69ZHaH+rUOeoR
Nxr3eooYhvwYzoGAbd9vPJ4BBR4G0sE9yudUOPeBWMsZXI7brS94AL5h1e0QN27sw9uWgqcHFvrq
GzjAdSRE45xQZjgebvezsApm7VM5NS1IHH3nmPU0PNZB/9XJVwsYlxo3bmVIOsS6cub4XtL+B3VV
3W6YmaW2fflsi292KNQ71ZCUmCHU/fFdmqB1Kottl5lZ8ITarBGEvAitYiGyndvaPQjsNqHJCDV1
mXlX0VbI+cunWkKgNRl+B2Pv3Vt8taRtaebn399MTk7GwGoknh29TMIozXR5qFLglG5P/cJxZ5Y6
2aMI7DHBu7N3wrtYlGdZQ5sMdJKPaQCVlWlkr7c7WhqGacWN16RjnpQnniAYvdc+xEk+lAqs+Rs7
MIyY9G5eVgFuBp1lXsQ5l4cSnPcbt6hhxK6tWelUTJ2IVn96mqRHz7fqlUVYmJt3dU5D5Ux4DnjH
GDjLnZxDOnPscdPEm8VNskl5wMsWh1ve/qd2oJozdMD/bGvcsNy+AdBOl713zLMk+0u0BS61NXdo
YW+aRU19MQLTRXEspzF5gDeURjmi/WOIGjM4Lg+DLLek2gg1S5t8ALsH0EHDqdCWcwLFQ3cX+N7v
bVM0L/ob+1WlM4yeW5SnvkExds/88M7qrW4F4LG0dcyrN8xjkCulcNXLgUDbSVm7wtJrWLKFq4sY
RhvrLrNQWxL/I2n/RKb8T62LT45TfKvi4tO26THMFmiUhpK6if/xC/nal82Ppt2G2se6GkaL3C8y
t4n4373SKhtRtGEVYLYw9WaRks+Y5A7CKkekpcDJEvIwQmDo+fa0LMy8WaPEQncksYVP9y32yVXD
tOsVu8tUhSIchE1vd7LgfJqlSi6kIVCJPZQnHYODwnfBl8WrPt1VWuttB4RZoxRXSPm6LFUn6MQG
MVgJAjw5gkp7G4cwD+2NdRHwHyMZqcJ/8nQaIbAK002HBjEuxtcO0IVjyKxUyifKegF5HQRT+K+a
+veQa/joq+R5ZooYBvt0ezGWtpNhyUgfDD42rDq1FkRIWdZ/dstuDbSz1LhhyGmeFE6Qh/aR0bKL
enf83Tt8DaS41LhpwlkNFYQkQLQppAdVsmTvDeWag7K0Rw0bzgNaeBUo7E+2n3k/a78CD4iilWd9
LCSla1wmCxFxs0BJShKCk7ApT8A9Hm2n30vbPoED+bG1/OPQdk8D0kWb1vldnVJWecKl1v/WWfVg
iYpExq1tORCzUkmhRAbvgCb8R8GPjliQQBZioiuR9oXFMFVY/LjJgFScsxRhOzzKRj2QArLxuuNr
scWlHgx75naoqqKEFfylyYfoKI+I17MPma39z7cXYMGe/ypBvT0y7CInSBSVpxz1PTu4ocWeQ6P+
J/g62oiwWEVJVsRVdLu3BeNwDbP2OQQZuJhfrx56y31NdxV4Z283vjRbhlnbUKJCgaDD/tFSxyAO
RLnM6KGCvbO22p8pYZ0iPl7bUHE5kbbrj7wDPLUNszSCF7VGxbM0CsPEe9Fn+dAnsIiGdv6HtOae
FaWDQ53HcqxXkapziOtKsN+sYeI8T0U76eIE7mK2h0KfHamurI+QSqyf2757cgPdAfNPkwNg13rF
t1wYnFnRpOmk/pt68UuIh8adUHfcRSFwMm6jFiDvuLC5FwIvhAjYaaSWfW87g3cSKL/btMVMSRGI
59gomOHlSULvfReHoXouAubtJinUyqmyYJBmPRNeU4E7tTHeVgU9q779AS+h38+3KzBQ1d6ZETe3
B7NgjGZlU0xBLTgxeFVjyeu963c0UhCNWGFIWLhEzKKmuAU3IgjCihMPnX+UNf6us/RL6+j7uVRO
COdjNa3pPi7tKsPwY84yYtuwStDCukc514526aBfrK2wG/oONAa4dRh0TXHqc03FHilprzlMTbDK
zL80BsPs7Q5USX9dXO542QkExu7RGbqnjk/18+3lXthYJmIMElvF4GllHznpPzOPf88rUIfE/hG0
aN+6ODls68aIjdXTBOOD5uEpHZvxzHtyrv3GivoSoRph9+NReKncZo4mXszXZTqpEYcYD8hDDqW4
Q8nVt6CEwdwezIKJmJCxeEotiLh1NsJlzsmNrT+evVows9T2vBPe3LyIMxWpUH1xarXiHzn0CL+W
IGHeRGKM62fu9k3zKhb/x9mVLMetA8kvYgQIgiB5bfYmyVota/GFYfvZ4A6SADd8/WR7LhpYbE50
vItD8YJoLFUoVGVlDmHvN2RPEzirX5mQpfkilC6DlRB94cTaWDE0+gvVDNjoFgIoG56GD1kGbvr0
xP90fvUXnn02NTYQAKKsA4TSJxgDz8r9jPcFc8tfNdziZUNY0Tp3en+cKniprCufwGB+qGS/kyV7
Oh2ky4awLJtFQwiRtYDspcy7jdLgJElwZt+AME62UUvKFYf7+Xn6hxQ76wxrWYuLTwBsfHTAExJD
bmcN0vX5bv8jas09bSAIhpIDMGjFVgy4r6HDMx1T3pKV1+vSBE6O68OJbRNPRxKQgMOMokBCO3XI
ZSkuchX/0GJTMN2WIqvqQ6Ea+XMOA77vwzE5eFIU20s2mtlwsQx1GJBxoUvj1MabGHIfqvDYDew6
ZZflKP7RteZdA84tJA8OmQZtwaw7PxZDYt48rdLn87NY2gUrRMc7KQVfL2ZQDI3YE9km97nTXJYB
YZF1VUs3kgkdMkS3lXxPBHrrQFO7YmhLv9yy5Uq0EbjPBb7NUXnIPWCeG9mtLf3S120z7pJeRyh6
Hiq/V+PV3Cq3josqEGR70cLbnT5kkJMeeOT84W4D2WDw4yDYzydI6Zz//uf3P7SE/q95IVRGsDdx
EM/SYCe7pPzfHBc55bhAZcQ3RWtWXNHnjpvZ4LB5VtB8BJn3waRfyizfhl4N0b+ZfK+z4PX8bBa2
w4aIUYcONUkh317oDFVKKuoO1IlcrtFXLk3Bup3bBvqn+RAA/IyuKIr1yl8gtPxC1RwTh6wJZH0e
JDO7+afoyjrLhrQ+QHyu2I6Qs0BO3LmpArTXUwFhgL4IHjgX/51ftKVJWbYt+sz4o+NUB7/Nqnhq
krhIvRGs+pAjHXHcViKDpWEsIy8AbA2SglSHkUHeLh2/hvmJHcMcjMhWOiyWhrBsvS8ggCzcWh74
HE6HsZ/iovfJtuygIN1yNHNftmCW0Sv4VRUUOMiiBxoOLBAHiLve4gl776zm/BemYgPI5hF6sI5H
yZ6F4nvr0ZgXBRA1Aoh4dRHPKGN2g9CMdAuRUysPchav6BoNIS1SdiuLtGCKNooMvcAAdlOFACcy
6KYVRG6bbDUfsvT107J9iAqqwNAO7V/46Wx4C08cKHUE/anz+7v0ccvKK5f6uuqRT+UU9GQ8RCpH
QjXxMo8bnEb98NOloKkx3ind74+PcyeH7ek9f3rKRypxt+tg3NPP/TeZ8w99thnMhO5HPBmNoK9S
O+/tBPqAEeymKzNZWifLolnT9tC/xPmhif5JlSfiLnfX+iiWfr1lywmggKEcq1MOuBm2VKv6LRNQ
2YFq64WxsU2gPeZQmnVKDqBXkVYJUppOzjdt1+fh/qKD9A+SrEE7u5lxuYrKAxKHzIFgUGIHt8nK
Dix4CRtIRpLAQUbTQ80Cr8U9nwA3kUDz7yUe736pfp6fxsJW2IAyLieQfjcRgC2i/42+0W4D+uNH
v/fWSKeXBrCs+VQkLLivMQ0xQI2dqNu/RICleyGmj9kYMsloX4DOsjpwyJfEhLDyPUTJf5P5AtyD
55dpwRxs6uzaYYkYKzy1JjFR/6qLTAMlwigf1xjSlwawLmoe6CRIx9wDzGXONpmAXNcU8DXa5qWv
W9ZMqoGIEPJGAq/2KduCUHJG4xLepZetjmXPTg19IIjtuulmFuzVBWo2BoHpmqrC0o+3rmTZRTO4
El0C2Yyo6jYp78BpVLBxd9GPt3Fjs4IWsVCnlYc6JkhKWTUcDTrL1yKKhSjcpsxmdZN5FIzK+3FC
WQcBzKlXcyb5fnKr2J+Dy/yRzZo9joNbdy6wCr2GnbFRDLEpEMJctkiWFTvF1HOIOpcHYCi3dVLt
C8+sVAgWttfGkPWy8ojb4dO4DDa0qA/Tapp46dOnv3+4jmkN7ZY6xC0ptPvA55bGgYoufPz7lsWG
cxkkQQmYpOrloSvocRoqskmcavv/IPxe8J42PTYDN2IxMt/s+Yz+hbGDyXIweG08la7FLEtDWMYb
JrUm3qjMPg2G9tlUyfgNWl8vwVA7Fx4ey4AJJykwyxXZZ6X+qSbw2f1tUb7oZNrgMWhntFVRoaZh
UlpsCEXSOWjJWhi0cAnb6LF+okgiIcrdiwBUKyf8VTJDzUXm6X2AtuvzU1ga5OQ5PhxT5sG5QXYI
66NONVKkPU8RHT856Ylehq9gNposdJ26mwU2gbRVCRW9JI2DWq6JMy1Ymg0hCzPZ+h5lyD07Cjhu
g7b3oRsfz6/P0sctM04KIZw0RGJbZLMDaMjEN/W8Cqn/1D973IYaqSARU+u76qVJxD0aNItNqaZt
5eR7CPY1EKhfQw98us0YyNrmsg1kwwDoe4nCfk+D4WvkZ0+6LUCRl7QrGdWlMU5//3iUxFx5fTi4
Lzzsrso5qTc1z+51Wsc0Gb9esB2Yx8mRfBhjlsCjdLVyX8Jxzu9VBKRpHTK1ch0szcDa7J6FfcRZ
Ql6yBB6P9eOWVu1tb+obHZCVXMKnBwozsFy36xkDktDUfSkTUMABLGXK48iV8+P8An1aacfnrWgr
E4VmvKPkRfX+TVa593KCoclx2Gtao57rf/dyfZeDLHbFwX7qwjGg5cKzsAgJRTbkpR987ykCRbk5
ysCFg4LKm7wonYhRLDcOcDf30mmi7yIf90MR7GU7PrpNcIWC2XUfVk/nV+/TDJnHbSxSOBYQUuyx
en1bPs1gkt9UXrD3oK6cO9N9kkKXiK8xCC0snA1GykCj0VeJou+UNNd05M+54VeMVM/np7Jwlm0w
UjMXDu29lr6PM79KWfZ06i8uEYaMg17RDVjwXjYkKWp0kIZJUb+oqvpSyfGukOWNYdFtNra3srlI
/QCbYtl8O0fc6MYxL0pSeQP2+PCQ62xNqGNpEpbNN82pT60uyYvoarwTJ7LL2+nxtM0g8CrwkNMr
N8nSfluGn3TdoCrJzEvEQLiu0UgFBEEP5sex5g/n93zBt1DL+GVVjNxvtXlh2WAeEq2cq8bx1tjZ
liZgWXrkg4slCGrz0vki2hqikl2fD+2+n+lac+XSBCwzb9FYBJWDGVs9JAIgkTLbV74/Hs4vz4JJ
2CgkLRyqxpKYF7dg4J+FdfeMHNpx/M8z1SWwMI/bmKOmy3OwI/XmJYmEu6sTPsbgSARZBMhTVqax
sEju6SR/uAPD6US/LR35Ms2+vs2z9o00Y3E8v0ZLH7cu8bEah9kBbv5l9iGyJFn/eNK5PP/tBVOz
wUZFF7noqczCd63rp4LPB/BffR+jHnU/88dvhxW3tHBObaQRieYgdPoifEdD1r0bzfcBEqL/D3G/
pWNkGXLbzkkImFzwHkAlNfSdTcPy+xBoHYNq4GUrZRky0+nAIG0uXoynv0JrqVH1dTlkO9M7G9Gb
lVGWJmIZdJ/UrBrNIF4YyaLNaSbKHx5DhKL1sMbcsLTnlkWLSrZ9h/zwizezP6ch4DeuRO5fuaTf
rV+mCxe3DTfqwaWvROR772OQ3Y/mGUyJ29PJktiWk6JgKFdCxAX7sBmpWpX5+YlO/j0Z+ZZF9cP6
uV3YDhtfFILil9c95sCicVuPwRENyRs6nVip1jo+loY4/f2D63BLwwNSRfQd6ZlrnKvZ78AeGcWu
93b+4C7Yns1INQVIE3tJmXzjU3QF4rYbN5yvhzy6zIPYMKPC0WGCVaJ/lwi///RaOuFWc4TqJV8L
Npf22DLwvhzzoh6F954V9H6W0JpwfCSnz6/QQoBuw4wo8ZoKbbrTe075A6CjsYcqPxLLV6fwL40e
Wl3HVRdc0qPk/cNNNTb5NIDapHpHQ0PKrmnt6fprHuXuWnZ36URZ9l2Dcj+NorR7d5BrpFmc03wy
h6plJ5FKI91RQlW9J0n++5Ll+4emCnShQpXt3L2PURKXcMCdgydghWxFNmxT+JShx99Xj8LnfsW3
OYh53nQ+6XjzHsGRnHaqwEmT87QZ62FfI0jMo3Dl5l0a6uRBP9imcHvIg0xh8y4xm9PscL6hl72N
puJvuhYKK9vza/i5T/6HyirxmnFIwqB5HzkqhRRMfkg4eFG5rdjPNFvTYlga5eQiPsxHEUegkkea
d630VYdTjbLFnjXhbaAJWM7XYHtLy3Yy4g/DRBra7i2bm/e5hfwWhpqR2i6GJNYRshBZv0+cS9fN
8guym4BeIVK+R0YCefiNlt2VyJI4r3/lq8Syn/sH38YsFZVDdAJQ63sC5oyRAts1MwiMya1ORpBe
9eAfK+Mc8zt/FpaWz4oBxnZirt8BHqVAl5Z59bY6PRFhQ6SoIJh7eVDzD/UVUkM0cBHavNSEHkWQ
7YNpuOrSYTul7k45zcrp/tx7/0N6VSrlspJ60Vtb+vpHmjUFiq+S1e3Kin3u8Xwb2aTcLlUdOnze
C1zTirBr4dQP2h3uUCBaueY+v0V9G9HUj4EDoI6bvgOXmG1C4CAVjV4gGbEyhb+h8D8lfO8fyiuC
z2auo5w3yoxh9WagAmxtsc551sttV1OkJWNkqiSHiiE4JQF3rvOoiil1eyeCqHXrt+VR9qIvkRlR
yfjGQAqurybod66Rly3to+U/6qj3lBPU9I1HDWuOnXR9+A8Dbu2VVV5wUDYcSkZdm7upT976LEOt
ZsOcaR67DYQDc+/Q+x2vkf2BimcUT4Go2pUH4tK0LCeCp6Foujma3opSoMkN2llu9TwQY9RFV75v
E2u1vjCiTofmjaaN/AGKBPod1W/27by/WPr5lr/gQ1eC589Xb7JBdWJr0tZVaB7K/fBwfoClXbEC
ihFZiyCKlH4Dqe3GuG7scrY70Xj7Fb2p+VrdY8HEbByUYV5qgm7o3rykzvofdJyCBH0KISm+axS/
xdeLZmNDoWgo0LZDi+YNnDI3p2sjy+rYQ0/96d6gTbVi0AuXhg2KqtJwqAwN5VsLvtmTFxe4XzM1
3FWh2CTEjRsEEV1yYagSWM+IAg2tMw97aP8CoHPKkJ6iItWy3ey6r0J8Y3S+KFvuB5YTQHcVSZLR
y96iUkXPaqzSZ8mNXEn3LrhyGzLVCGE4/Ez65mDdtsXUmH0TuUdaMLNVplnjuFk6a5bJt6BQy0B0
k77VPQcfLBaqc66HylFo90YtaU1eemkYK2kAhKJhqGaHr0UQ3YIHCkXV4H1M2xV3uWD5gWX5QhKk
hNI2fM0VndR7ElWQHtOgsnQeztvK0m5Ylt9LxooeXHCvc6NuReAgxBfHyTDoe68JoixEOzZwKjAy
H+um5q8uTyXYSgDDA7dOAmUUWGNPwy1USU9CiZW3PT+nhUWzgVShyAzvHUhIDpBVvUvR6/pacsiY
rzwmF7bcRlBJQF0ZKJPpawAlkO6AOm7g3kTuoMwu5VMx7i+bhWXvgjqsIjLId2MxPVIF1rjoRB13
/uML225DqESnwBmfh/lO6HF/2gjZ9W8DC667JFrJCC4NcdqdD2+Enk5OxEihX5Mqc17Bvy8Sbz/J
fPbNZkDwS8aHIiLO2nItDWfZu1TU52wg+a7ohvAhSWgdJ0nmXrcaKguiZt6fy1bOMnj0vaF4Ww3p
rlDls2pR58uovE6m9tZMk1q5WpZOsGX2NCtzIEvHdJdMiEXbCWjeYax/nZ/B0sctk+cz7Ug+83wX
DvO3rD/R+lK99gBd2AYbXAWNqLbtJpzaclBbhcuPMHF/yqCSyHu/6Pfb+Covc7kn/ax8xQXCf+Rj
lr5qEOOttUEtLI+Nq4KzdUw498Vr0EOXaF+XoenjOvHE2s20tESnv380DMdtokzlBWC84hWCuv/x
nBw88PivC6UsuCgbYtXmaEQDLW3+WohivGWmYdG2qH02b4bMbdf0hpcmYln4gGKUnide7jOZPtKU
PATM26GYex0O4kJHZYOuFPdmEXV9tY+qVh6BvNV/hgZtDCrvQCkXzuGahMfStlt2XZmpdmXol/sG
nFTQiAvHjfHIZQV737cMespYz/Ia4kST6PyfPiLhfje6I3tmLC/z/WWGYRm2ElPOK6SU9kZqGbsy
mw5mnIbHi75u467cPKj53NTYCa/LyqPKVfrGRq71yhNq4Q1iI68aoWfoVmKJEooHYT1G2SGtWXnF
JwElm/rUlTOMF5F2esCM/V8bDFpRF8j3oN+0y7/6uB120lVs5TW1cJRs5BVhXtmCqgX7kLP7dG54
PNWXCbThl59M/oP30D0kDeVU4CRBheyqn3u55z0YQc9v8sKbhlkmnVAWlF5GxWtdIAPf9PRvJiwS
5a5voH1gEC149a+0X3tDLbgQZt3aIIFD65OqAYADHR/o4H20nOa7BG+0QURrWLWlSVmmPSNqdnU3
ilcis2PL6i1n121Tb1MlNtKLnqHjMfvuhZtvWXpVRKngOneeuSBIINYj+h62ZTOQCxOiNslXyGjX
RmXkvJyenacn56nsNhu9o6OOEU6vOJOFK8Rm+2rBhEgLFaY7psH2NSL6kBNa5dbDkIVdsWF4bln3
pK+584Iu+RvwVcYlYsEi62N0fu3cqjok9W1brXmXBZv8B4uHNuNT10O5R5oVJiOkqGvIgYKZ/+t5
y1lar9MJ/2CXtY92NR8d//s2MFPsDqzaE1V44CgR4e78EAvGYuPwfMXBqTIH5V6kXXDlhpF3UKUm
Rx84w01YNRfe6zYBWFSEguVOWCDrbXrv2g2MEx6Z3/NYgH/sXTWpYD8vm5Jl/24zeOPcwpsptGp/
Hyaj7+oIDYxxWBoKhS4nWuu9XbhebIxekJUG9NUqB9fnmENconrKeLmDHlF6cJrc2wTBGuzzrwbU
J4leG52HklIno6EKXiiSQjkSyC6ueEHSo2+cA6KMQ+/24JAaj0O41k2yNDvr6u+qsmLM7fI9qNKP
RIg94nCI+iTqHo/Ig8mDtSz2wkA2WK/hYqBz2+Qn+MjXstdTPENhNvba9shVl+0TzfPt+bOxNNQp
n/DBonxQkWnHA3NzWPS/EfUXgM3mN0mQHJ2odjdBqp8vG+j0Az4MhE4r15s0WjL9RHwFY8Dv3HXe
1EAP3uzWG6/L/5wfZyERYkP3IEwayAg5/T0LTLGpPfMCMq6rxh+OoRy+KTU/6sxfcd8L/s7G7yXd
WAZdFxR77UUJ3YJyO1e7sgRdzoozWhrg9PcPiwYSKZ9ic/hLNdBYd8V7X2QX7oflFMogcmvhyHyP
GuNtUDrZpo+qO115O4cW2cbPiofzG7I0ByswyCBcT6bQQVFsLJgTl22Y30o3H/v4/PeXTrAVCwSk
1c2o0PnjQU3e+AriM3TYgdzyyoRFG+uMr6DAlyZimf+AULDPQCm29zove+feYN5V6EcX0Uh5vo3h
S5PR0YNDIc3OVQ99DSrzCUoV/ZRedlptAJ/j1XgbwdD2zpjP0Lud2z0C20t/vmXfjuBDMgsNWxAp
efe09K4dYla7XRZufpsxrM8znWTpgDqZdu78UqvYT8d9SJM1uMfC7toQPmfueZCibrbXYffTR8vv
9wBdp2urs+CVbOSe4xXEUS3W3sfVMRX0DjnhB0rq35Ujjlr5u2GWa5JYCwZhM4aBBnLks5fm+5Ak
X6YUuewhNS+Ql9pDBI1sxkufYLa+JM20iyXL8n2aBv22QvPaHi9Vd4X8YmlDLLuOfB4a4sKRm76q
k6NJhXNX6QHY0/N+YyHQs8Ul51pkIB+GX0Ivc7AXJT/6pD52YdFsjS5W8rMLe2Gj9zSoJlH6yfM9
rwyypBHkQ7PiMDDk4kUzvZEA9LUXTecf+F42FnT2C+y6495MJvjus+FY1dMeNfcVB7iwYjaMbwRa
vWAFDlbadl8Q1YN/yRHxxKLdNAeXRfg2U1jrUtEid5rtsxrECmHlugh5ZPdFR21/4TROLubDpaoh
wS2JxrGNunoXcUwjKt743F/7Jrs6vxkLZ9dG8+k6LKpe4HJVAGns6jzUO5aY18s+bt3caqJuOJAk
3ZusD+5llJtjm4HdYeUgLf12675Ou6qqxYzlaUDwu1HjIGKyiuNfcOO2omQCrobAG3GEijqNRaO+
5QC2TXWzUlRdOqH2Fe2UeZqNYbpXjvcz8/gLJT0tN43rggiIjZdRmHv/cIRxbbw+YJgGC4bbtDb3
FdGYhvum1arwxl8f8e8L5x+qMH+q0H5P3Owb3tIsvAqyyGQHLWv6O/Jd/6usHI9+g5Sf6bZycKXT
oVqSZ8OTG2XdeNPNJBN7J8+L75DvqkGwil6s8GvJ/Yxc93jmJt+Dfk6Tra4c/FP4RQVWXCkzvo2g
5bfnAQBtog/mZtuZsR22w8x79FEWbILCufaRJUw7h4hDR0NEjEBU8bY9VLqq32peO80+TIYgi4NO
+8V26AsXAooglRq3zRAIb6vr2vwHOEf4TufcrTZD0qk3w1CfjNFnOh3LcOSPhaBzGYfSNHelA7X2
7RT1YxjFxJSk2/o14EP+EBq9Gedwdq6EI0z6lRY+Qy5FKOjqli2I5jeqjNSjKVomf9JkKJy9m1PJ
9mL29K+60Lhi2gYPrh26phpnSwOkq2LeBDPdCK+r3Ls2TVL1Ng9V6DylAzX+Tee6xRCzPATdkyzz
fr6BJ6zvje+0M+TwGGfTHYcwOOtjv3SaOQ658ZK9aaahODiDaMNjorsORAqUZKV4CJqOTb/p3BXu
ozKe8NsYe+7FOSn7L0xw1m+jjvT70gXScMykicDvAb3QR79poavY4A3Mbr2We+yYzyIHvgQ8gjp/
r4xTuHcARIKlyszAncRo8w/HG6A30gn46GJ2QRw2gHurRBZqQgO08bFqaZgDz14GICI8QJetviZu
Ige28bUo5Z+ElqOzyaIMrrNyc+nf8czxg2NYi6E6hABc6XqTey122fcKF5HaGKRRsYNYdAMFqpw0
vDEbKhqPVHunm1N+7ww8fIkE5YggglzpGOIGzowKdjb/Gt12/gqVZHWVT0I9GOGPLTxS7skN7bSG
7DAoPZ5qBKAocqesS48iSiIQDwDPVg0n8L+X/Uhzb+Cvsx6T9k89lCL6bcqWyHgqCSCvwZx56sA8
je0M8KqDQtw8GnUQDVPDVTY66sVB6ql+qn3fuLHkzcjKLQRfVP+lBWyLb0LJXL7VHqW/uAcG2Jjk
QY/lGdNabOookz+dqM2+sBCiEF/aaGAQsQIpY72TBWhDtzjoCJfbev7eePn8q0Z7aHnT8qmFrIw3
5j34d/0uP5QmqMkTmSjoUFCpgfEVWDSxiQaRNXHXpGH/zeuLOtwY7pgnECBP6VaSgO4YVGm/1nOh
piPuJf6jgijOHYhYB3KEKlhAYh6O4TehiP9i5sZPnscxKs2mCBp9r+egy65Rh3f7XU1rdzh6rU7c
m7FIQ/eLRnhWvE0B8stbEBq0xW0VJGm/Y2kn52cUwnR356SNK7Yo6JO3riFM7ZoKYtdQwBpm8lj3
au434CELvYNPJgh9t66DFZxDxsDzyHgE5g7QbaY3LE2a25y06kElMvovAWHSFMMPdyBDdasOddy8
eYLIb+vEBcpM34Qm2o975TB/h67spHtwZz90pjgYyqCH1K0Z0fQ/+1PUNRtYY+0deKS7ELufV9km
NZlyYt0o/IwJ5KXexoEo9a0aJvmYgZnNPTiu5mITisL8p7CYepOjHZFsU6kjiKxCmTE4tCyZH1yX
eu1WASShtnxWTh5Db8qnG6eS0fPU9foHJPcgWrFBi64/weGJLI2hOCD2lGnvD9ZBq90goOa598WU
+VsJTSkTMxesNUiwcwG2ri4qy+I/OK+ujLkioYr5wJDq9xnIXcG5Babd9jhERA73oD7g3qkheyRm
N7g+L4udT6Xi90T07fA1LNPgHRcBzh1wrdn0ZeorBaqiSI7Jw1hUwPj0JgUvpm6rOdpFJbqjd1lA
JH50oChDDckvkhtNJyoO6Lgi9TUgjvzVQUcXkL+4VNTe4b2fzJuO9ZCNk0GVTdu0HJvnzkRIsVYZ
9ZxDjsxlCA8pCwW+9io5qFSkSm/KJisJ3agmHPpd5UofT/4kha9lOQrtJu4GkG9XuCxS/QcGq9SW
lAl/dwIOWSzq6PK5x23yinhZlncRU4Y8jqjx+FfjNMlmW7lJTrdNjW7jq7kCWcRt6nS0PwhX9P4O
qbfe2UdUN/NTMEAV5SZqTQ68IMj5vkDibU6Q8S698CiKNmgemU5a95Ul0xhTQIrYpgzlTNA/Hk0U
CX+IsQKCQt0ZriJy9L4rgxZKoVOpdexk3kQPaDeQ7ZXTdQbIKkjGqRT3mYebZ4Mm4TC7KtHJBqJ8
sOVDw2CEnFO9mVMV1FsSAsf4ZAg0bHGl1mClRhoGp2uO2uBXPeQl0GxV0rRAITWIZXaDMfg/Ezh/
eWxAdqt2tfJpEQ/5lLbXWZ40f9LIAOBTNF1bfPPzqnkC+U31u3M1nLz0PB6+91OkXyd4hvYK6jfj
cFWW0od8G9pxuLydRjzcwziq0/Yry8HR+4rCrIEmN8ASMzRIoFEnntAhlvDrAQp21S4RPW7nrszm
cIcu6W68xv5X6jZMI+faS71Q7PzRVb9SmSFfulFdl0WxBOUM2ouiU5Igz7ifHjzR9kGDe4052S8X
xGrVLnKNfB5ZGzUogOa5uGakEO1KpuXzMPQfOsKpb5OmCZPsmx9Od26orwJXXZ3QK+D6XYl0P4/S
WWg9AlheuBBcVhnK0E5yyD1WHtPcXxNEXPq69QYIobmRMDGnCNlk8QOq8km4wS74eiVnt/R9622P
OE+Doc9L92RkqcRddpJMhUBieRk6jYXWQ6CYFHcdZ0yhKe+ld4L3+R0UKrOVVrlPXzEBtV8xTNXR
SJtef6nLNPsWIASLAe/CjQaVx2blDH26RBjDmkHEETHPPu1uNJOT85+kUZb+4Fi3/86/Ij/NTARu
dKoYfngFD4BdoNTozDeJRkx96/So/j9wFqaIgZpI+WQn0TzTbvJqcMG+c37Qzyfl2k1Huu7Loar9
6ksqi1koXLR0UF9S0BGsIUw+3xrXbjBokdsUYP8On4rZFLFCbevIQKISO7JoD+cnsTTEyeo/rFzC
OSsgoBQ9tYkZrokfpNcSzNSb1B3WtAuXhjj9/cMQonJqoAdZ8JRhJ+IiAqcFhyON89O/zs9iYSvs
HgFeTaww3C++DIz3D/kEeZfY6cfqIgKkwLUdVOagxzOfwuApKSFYLEyC1igGjhnoL6+t0qdJVQxh
eSmQic3Cw6LfBFJFX/XQR9kvIsOO7B2tHfGHTUlqfpnOl+JWgu3SX1m6pd2xvNfoDV3bD4ReQ94n
uJ5HSh+baE6vdD06K8nPBeu0/VfFRUcm6CSgLuzhyoZmLwguym2AOCX2BEr4/nCRLw5cu1+gICZx
BM7aI2JN57csu/EbHeDLzh+zhbWy2wQA1R2GHOSgXzo/yvOveVHV3mtWJUQdAadIy7Xj/Jcj4J9s
CaZxWskPJlPkQYX6qCludMez+jcyDmN4I+DNEpRLkZp+QFo8hRpfbRqXphsXoIjhpUbYKO99NEoA
dwOKiTZ/CMGDzK+mXBfjn3bO8QSM86aU/W3eRZ0B0zyg1S1fuUgWjNCGQbIU9by2ZPlN4SAQOoAP
JH1WSdTWl/lbu51BzQ1ptIZ+HGEDTa4KleGRArw7wsPLttdyVIRDgbOqNHnqoUM+Pc+kraODSOop
3OWF9F/Oj7KwTHY3Q5v2oijhxh9RfpNfZjfqHusSIjuXfd0KpVBmoG1oGvElzJH8fO3nPCAHQpFE
u3AAy08Rtw/ythvpU1Ujct8JXkbQ/xJqrTD5t0T42dm3HFLoODkwbHlwow104h912hNukA3kobdF
KgEpi5FN45TGrcvDG+YU86AOkhDkaYQE38O0qRNAwXQcdob/yOrZq0WMLAB8EABQrIvG50YGCWrE
LqAwWbFJSUWCB8gOoaK04vEWHIWtqAs1KOSyJne81mM2AexQ8yKPILkK4kWEWDqj/goEcuEw2bBd
gqxNqFgz34Q842oXkLr2tknQrdWjFyZic+TOquwBSwHIASg155ahQ+ZOhKp7K9FI+Ov8iV24Hexm
j2byAqcTIr0ZgkrFIJ0TELKbxmvI0gy7aOq7eERgtRKrL8zHbvRgZsZ/QDRfM0bgGLVxQaIqi+m6
YiRZw4MvDWJ57xDqFyPyCsVX0PXjtQ8ERRmAs8NLx03gg/du5TZa2HtuhW7TjMwZGMKcaxf+1t2Q
vOr7nYpIolYGOH3oE0u0Wz4kycuwT3LnGoJ8Bibk/g4hv/I/nH1Zc5y49/YnokoIEOIWuu1uL3G8
xHZ8Q8VJfiCE2IQQ8On/T+d9LxLGmKqeqxnXFGrtR+c8y1UXpXmcI9uz0czHNNcQRMF/bztGBtD3
p55cZ/D6CIokh5iDf5AStu83lIo5OkgonxCIV9cw2nLjtGEcu9fUDWU7p3aKsEvApEyRLRgjOvKk
qV02yV2AZJdXPn6+TFcGI1j8SPhYp8ar3ObRQDQYcuyUHhTnfUI4DDUBz1cbo7GyeJbw9V4CRzt3
6XAVUd6wiyLPoui1sn5h9/5clPV5JxRb3hNBl0OVry8fU5ULyP3yITwAfTr1u0J2+eXnY/aHbP3R
CqL/zmyjXRiiO3AhDvNGRhxZeDhOPGgGUq9C7ixg4h2UBjFdhHWu2mJPIDTNYtenGlAOCgmd4pWS
zrUX4DiLIdtl1NV2l6MOwFXsOiKd92M7mam/UXhcjH1MiLDN17nhwpQHHxyPIr0qUsMqCBeJlO+G
EmWeH4xXdB72SMpClhiSkbxRF8jw2+xb6Rvlfiv7lpfppRPatrof/dDJyyQa+qAFsGxAHumyh7C6
/VWPPk05ciJWVfd4PtGh2zMtXfFbzIS4SLuhLqJefcfLe7YfG53n7wUSBeReeE5b/PJCGhXHytE+
apNAZLb0K1TfQgc1kAnsp5vCzWBjxfsuGprEVzUwA01eRe1LOgj4y0EGI2xlkoI1nx8q0M6hEgMt
v4BezfCKi77MEW/8CSoBnhm9Sw9WDkNwXWvRNm+SBim/bHvf9V/CEdzaHj4TU+ceCwwAArbSxz3y
kjtZ2l8RUhQp2UVO4U/XPfQp+RfWTSgA9S3p9YuWvKjbfVeYvjbJiNzgsNMeVO0wwSja6TYJx95x
d25WOvOtVHAbZjulhqa/x3tWVCOE11EwiOK0dhisOFEMqYqN9bdyQi6lcetGsLpUtnloKyjuJ7ZS
eApAONt5/3x9R6fd8sH6XpI0Uq11gHyveoCfUzjwo5KllvStZtAjLXcVJ5VFeG5J20JiEfk/XqN5
gsRqHEndystZ5R3igknysfifgdoHv+obyeuvlgCwCDZUgbpfk7mFd4uHrckvVBr56WvDnO7eT0sz
X4eo+5Hrdhg9uuMiGMZHEU4Z/UbcKRtvQfvUgMwIUJuRTvN9j5CdaCujxqQOhoy+TYZ05tn4g2l3
tgtZD5kEWNB3l2ZG8eDZP3Xo0VdwdXpNae5DsiPrOUUZEyGW1x0RQbHi2ou6MgOruJ6s3+91rlCI
gwToUM07i0O8z/aaOac9pKe+b4BQYJm6bKvZFEh/U9K3uxaHuL3QXjGTK8GzbkhgOth2qOHUddbH
YPyO3gNcuFAkamQxV/Daq2jg7zJOgnqPl6tAHJepiUxXfthEXnVMOeR7xpjowZ4YpI1w02PHe9f5
AjkQSsneVwzJ132OzEHjXBPfRZ0RFS0NsU/NilBCUcFW5W/EolX0VQ6K8Z+2nUjYYzQjNzIJI36r
ofMlPVYnGvqE0O0WcBtqvoWIKNwJ/pkylME+LSFsrA9+qJsiCRr4WO0NiOBGx7MNUDG7QeFK1s1X
t+8KVDZx6YVbNIY/KKkP1ueSgUOzicH03AZXWqR1cGcDYlmXgPIDzzSZOl2Vxjoygs84eRV+YMyr
ZqIHxqnlZRwE7djsJ+FWzmuQ945/GUr4dw8PG7vn483DFoH+aTHORZ+Tq/5kknVVRHZir1j9uTqa
eXALHhcT8ZlIbD/h1R1X0KEW5d6r+nJLaGvlgGCLvKSrPa+hjiTXrEnbRHNY6mKx1aTduMxXvr/k
Njo5kyRK7XwdYHOHSUod+KRN7nk4v9BdEhuF51Nf1NK59w2z9mKC5rHCEGpVHc6ao2AxQLRwcoB2
Zf0gCkQ9JAReQdLoVs55uCOe0Unq107idu5dJGBEelajS17XWLI6016Z3+TRoL9Q2qoOxuWOyUJs
UQH9tYPjUD8Vu842GqkjVNrhDJ4oJ1JZfl4yY0n3gugrVExFVdwo6Kj3Nyihjum+KFqzBYlZefYs
KV9RIUY4k5Houuj4xH6XPXRTvsNzNa2eOx0wgFq5GMA6SxiEKqsfn4/synr8DxXMGWwG2Aq/nruR
57ExlQP+FLQbNtBoa98//f2vvJUuR21n5upHvA74zrggNiWOy+yWDNIf0sBHB9oibMUVE1Q0F+y+
7nVJgluTh8Bt7lhAp6zeA1fhB/mBoAzqeDDBa2oOlSTg+R6Iaq0KYumBpgkzJVGrXoBUAebmtKvC
VA8yBnGgmS6RPxnC93IIRrjAp7jmQJQrqo68jrgec8Dfghx6MBe4qVJFY6oV6nI8ciJr4tkfI44H
bKjdo1/RQuxzfyzIVU3K0v1STnoOt1CxK8lifxFXU2OasKoKes8kRzABZ+BuJDFnpAAGgMMqWFwx
IlGLPToaGSbI+yHS2nLDWHkJ+YtzG44GFc+AUn9kodMndigg5hWqbO8yJMMbaqr9eYt1cfbAjKEP
UDPvHgH0wH2dN9GNEzV0A8y60oslW41nuE0KR7AvLGucC9qxp7THdSjBVI0bWj1/3oe1Vk4T+NeG
SIGxL0RH2JfWG+sE7spZLOGKtQeW44hMbJV83szKevBOzf/VjG2Yp5tZt48nJ1Eo8rqovF9z2hKt
Yu0Sr3v1JRSZ99DFbPgYz0HY643DemXLLylmgN6cCv9590jdKvof09htu6pEJL/RtbXvL48UdCIf
CsrvszLkR1mb9G7u8Pr5fODWvr44T2yI6E3oqn1E6Jwd4bXXXkL4Q2+ssZW3/JJBZrveIonM8wfi
BN4dFac8kHCqYFdFvPj5eQ/W2ljsRl6Vg9NrUTwwU/dvUzT7c8wCd/pfDx0FvhHHrDWy2IpU0j6E
huR4b2GmGO6E6WYIFRV11uxKAYzLxed9WZmNJVUMSDrSAGmWP9DKD76kjQS4xMPb5enzz/+hP3xw
eyy13LkZVZRTkd2lAFN5cT2m7kSOLW17D16HY1k0N23B9FM9NekISBcgSeMuhA9AOeKWLODzgAB5
JuVlCaBq3cYBbLkBN5tnrupbeKH1SCR+/lNXNvRSFh44v7SAYlv2YOowjDORvZzkaPaQnGV4KOOQ
72qgd2i7xW5fiUaWRDPLIt+x2MgPqNLrLzrFySQqH7xqF7oAtMyBaS3PM9gLYaf372nFjGz6scC2
ED6ukl0GUmAfMxz2WxnFtdFbnhkqyBs8+cn95InSH+FlXwHitgcqAB45cT7UNuRAno4tVDQrllKG
Kx7WMGcmmeniUDFwkPOLybj3qcnL8ctksznceY4HQGtVQoZkA5e/crcsZeSnqA87W7XNI5mE812J
YELRDYDx8Kqe5g6wrHoE4Pjz9bi2PhanDJUZsHB14N+zNMKq8B1yhPzTO3Sa6D23w7e+x832eVNr
6WC6OGxMMTcMsP3wXtUqq1/JqHWdEICCmE6MKekw7LjKyHRPASvuyyRP4errX2KU+2J3EmeWr8oJ
Bg2tVOF1IAZTrsOrgI55tlF1WTkOl+w2VvO80XXlPgJSOsRtMU97G3XAICNJs/98FNaaWAQOws8H
hax7/Yj0gQPkHjhcMZSEokOHiOLMbpwm+6+oAcOKumNaNI+QbwCssMFB24x4xYHMmm+sm5UTfcl0
493QewON6KPB4X4PpYbqtXCqrWLn2iCd/v5XB1ib+n1hg+mRA8+1F5C13KcMkSjK51sM+rU7Y0l2
qyn02vjQyAelIbWaWnBXlYeqP2zhoc85/PkP7gwXadjidsC9vlO59/vPv0C5PdhBGS+ZcZZu7I6V
Tb/kw9UlQSYrj6bH1Ggbc1iHqkAHcZv7YQyW2bnLb/HAqCEnxduW0Uei+mafoTBzQ1oo9A6tLjfe
imuTtzhS0gC3rA1C9cirluxk4+N49EiVgeGXTqLcfb6P1sZrcZjUJSw4beamjy2HRSAAy5EDsK3O
kU+SYa4hRF21eXD/eWMrXVoS5PxpbuuAVekjg4ocqyVQ3A7uz75i+vB5Cyvn8JIYpyIAoFtj0kfj
1zDdAPJ7n8Gcbc+J/zC3nb+fIfm4sdTWerM4HmrujuDIZekjd6YfrT+nlxGSqUkVkXL/eW9WTocl
P05BxREsW50+gnvnu0jgDnmeRDIq+o3hWuvC6e9/HRBwIWJwMceEACQCvfYAD7wJdYZk7rKtWGOt
iUWsAcGLk1J/FaGQ1joXOh/THa+6+roX7rjRi5U1TJbxBB+Q1+I6uAfOrXolUvI2im1pRJQlPYka
8h2FFL+qN7bMWo8We591XtCBFiCf6vRkx3o6XoD5gJN6Zsn+84n/WPAidJegU6qccpgKTzxlbdc8
pXU7dpfCEJAJtDfUTuwpnDOmLMkNmDwh4prhhNQYGrfcGNO1Ti7OhXSYka5AUfEJKhjlddbUX7lu
2gPALE+fd/HjtU2WkFQoGE5z5FLxxDvZxbXh+VXhVcPGz1/7Ov93YfuOxkUU+eMDhImbX63x+xec
p7nYWAJrn19sfRDUxykNxPRQ62l8g3Vfs+98nT+dNzSndf7XrkS5dDa0oeopDWUh436uAVmo615u
rK6P5xbw7n+/bzKvnyISySfQfmSZZHbGdQLOcufGeecCUHJeN06D93c3Zviml2UbPRApwl2LktQh
Yua8GBNah/9+nbkpYjFlvAeoDznvptD6EoSJro5BHKs3XhD0T0r9vy9ispSx514pHFj9sAdIAuvi
pvZtVV0KgcpvCY4OlsFbQdxW3onUH8ujZD1YkCZNnQgcGci4UJAapFdcEseHXiCyncEUcwGO31GM
OQGdKJuC5jYr2sC5w4M2irI9KFAQYIz5fBIiBxtOcgbyS6r3kZpFfoFLEyXCKaROepPCuez74HZj
f+AF879NntT0xgaFn4LiHiKr3La6bZ7aIpf8WtuCTF0sDBCSEOkqB7A2fEuan0iAgZvGSgdF5sxt
AM7nyL17F1Mmx2uE8v3PKQ1VesyCGbbQnvDcPTmBxi8Y1L9C4FXhj3HDWZ5CsZDy8bJuGsKvESSH
v50+8+27mUGMfoEOOuCCpKx8BIPR2LI7a8Iuf1dR709tbJnC5QYnYdOC5lN5KpnG01sNNpssYf0o
EZyIsP6pOjU2V61D8aDiEGS5YaoFTwsjPj7qStmu3VMQXZqnTJQlDI1MOjs7NqDS/52VtC4va0kV
NENU0ENrMdGo9nIIP4N5c0jzCdwqZMo1Tagas+kNdMgh+Mq8dr5nNYiYFxBQBzUvg6DbuJ8i8I0u
pMTDMpYS+qIHkofK3fkR1TTm4wzqlORpp1ATJfnUgr4RNSiwM5ljrfTFON1avI38CzUA0txAkqWd
WxWbgpJwBjO1LBmcybwANMvMy4YLqUY1mkT1Y9CiJq5B0rwZfdgS7du5rn+E4ziwQ3vCg8RVQODV
Tn1ECmC8yELdgTPLv0m3cIrdCHWI/3HSz1gTmO8Xp5s95zpV4AT9qE0ozLEuPSufNArN5lpkQwrH
UNFPL0Nu5l9mhjUjPHpHk+4gNQH6oeW+8z3zO9Hc1Ua2Dei0jijA88FBdmN6Nxt2wKWWJBZjAMYV
awMK3s5oILaVh2K89knkeklHtb/Pp3CMblBXFtPOAysJUBRoI00X/qgbeYVLqSXJ2Jra/myAreiT
THdYrtkEpxvofTpC/6yJaH9FnqGJowKhDrTJwunOun3AEn/uQjx+CrwWj3ayTrrrTIUuquY0Zl3E
YI09geQUJRANGJJCMQYq9OQBKXoRnDDGCdhNSIlMDpxUtAeMczybvvw6A5JRvWaNe1IOq7rRRx/n
AQKt5nRVV7mcyzhjjo3AKcQrYV+D+NzuJtI1/3NxtD/zktj8KsrFLHZIgfu/ZGbxh1TP+YMMRdXF
DcrS9LpJXUkSvw+1SCo5ofmsBZIiqXL8/zvB/cZTsccDfdVBwlV+aRVXj2QU0YAfxJm87krwn/eD
kkYeAYKYyMWItO4tb51ZHHzjeQp7TJXzTQOtQp/C8aaOvNcODPQhlgpAgJu5nNpHZ3Y13WPJV/nO
i5ypiEtFypdWZWMWD6rm82WUmz48NtYgp5ACzgk0UtaAdS31gB/vmdn1L1on0s+l6FCaTKG2E+0y
wohGPcz65hWJYbd/dkHof7HCzZ4dMesI8Ht4MiZ5DVT20+Se8LU2qqarsdDQjnbhC4VAAkSHa7CB
0i0Dh7Xb8j/vMKOaHHrBD34gtd0z6kTeTha2MRdR6Cp+ZkixCLiUJB1UsAvvQQtI9e0gy3Qiplfm
8azLmC8YQH4Y8tzP+wgMjcAmEjmfL4HjDhsX5coY/cdMpOBMQ2Ajf2SAXgGWA3gidPWLeOyhW3xe
BxYhl/aM6w22yB9B2XYvyenF3UzeeTE94YuQi4TG62a/9h5G6pePnjHOZR95A4QUIAt01oOe8EXY
xXJNGyIr72EIaNNcYk+5oVRfHTXP7XmLaMnzAYkEVfJy5g8w/LBXxunFje3TLZnl01r5IBhasnwk
A3hQNiN/mOZm2MHXSWuccrwic2wHlAUttMIrz/k+RHwLKrzW5OKtxbVLgTE0HJwGe88w8ZPxMrC8
fUgbiXxKcLTs+gB11dzaLffOtcW82PCiak+YSzd8UAHEM4FYtFUf1zw7yWI0ldnKVJ3C4I9Gc7Hh
iUfYALGYEBs+pzomoQi9gwMzDXJx1o5Zcn0mnrppz+vwIVMnSQitPQeW4kTPv877/vKNFaQFk1MJ
0heoyU3CyTxYmDWQYNxIsHyczIE80r8hfgp1v9DPMvNkQbLeC2Aj38A7qe81CviXCnW9djcEoTgL
8UuW9BkWeGmdpgatBUC6m3wYsIEyFYfgdl9+PmKnkflgypc2IGaSbRQOnnmCn8ovPYCtHwvbQYyi
h3ZFPo/TbrQNuXNZNp7ZqdPi++sNBr2LrqiEME9TXpuT0MW0M33mxfmp2c879XH2hYSLh5gts8kv
gxqdUj5EjfvuVvE2PKS0vS3BE9o42VY2Zbg4CKhVIHcPvIfIBEQjeODpK3ccvszYLhstrBw1/zEG
YaUfhKVxHyhuGKACeJOQFvYzJ9SGBaU+5nCR5VN1WWXRRoFhrcnFEVBDE8Q0rfj/TRJv/nFyfcug
DIizFC36XdZBdQWKFFjnG5vqNPMfrMElnSQLyirtohFFXCbodDVJAfK/GlAW2GhgZaaWFJKJag7q
fzE8ZYOcpwQmqWN2NY+CkksHVastPuhaM4vDQblSZAWv+ieS8+y5DQNY583cuarmKtooMq8N1SIo
cPFOYg4QVfeR9ebsC50RvCdAHCPj//nWWTkPlgQSeLiMMBiFsSsUyg6+0+aXDCo2O2mjZ69iN1UT
2l3flM7GheCebrCP5v7U0b9PA6u7WZugfdJwCLMPHNQiBIOdw8l0VNms2Q78FRI+Wti88B+cezS4
k1MFhE6chZXL49DXvrMhanCaqI9+zOLcMAqwG5EalFDy2TuqQd/6eNoCY+yK65KHXxGxbmyztWFe
nB0tsgFu0SuKNDoEKaA5d5PVGFka0N9ZlSbIeN12ZDirxkGWqN16hE5NiTLYEzy40nvTtyE8hqLp
1rE02Ijl15b+4tjgI0ThwtDYJ21E8YUYDXgAceV0RKBUb/FsVlLQZInNFQNC1ZBP5GkO2+eZz2kM
2LNzSytY5iDAf/KjNO5HLFdo0gVf+qLbmK2V+2SJ2YUmjdPWCtl82dF5jMUQyXnHfOaieC1cr00c
WftbVvMrSyNYnCItoNvpHJbksR5VBUAmTUBEdDGaDoBhFMVKxwYPI4nOg+6SJfGRKyQWfCTiHgkI
KbEsnIQ5+PifGiXw73DYgXpgTu0E01ks0c+PmRWYO1myIDWE0HRXReMT6v6yIgkybQBCx6IKgASN
o97gfZ5CQMmLdqg0uPMNFHnq7DuyYtS5LuuohrtlkbbFFO4n5nFxzyuOWO/zX/fnjfXBQbBkjvFW
zXAVy6IHA2Ur/cQ95pS3Vkd5eDvrAJkGZD+U+4ZcbBuqnW3EMKc/5NDhh8CTOUXULAH4ZCBTFFVW
xaimRBjWQNU/Gk8I+yKaCLjhpLKtFD816yppoN0RQVsJhFiLpMcVAP+nUjU8JqRzFNDAMGTHukYg
25ZKgsRJ1udOHcQ+yQZogfldOQ3fxhkMAQxbOrdPaV6WGuJbpi5jWsDfuYeuVeuMv6RT+g4gSQFe
DuBCsIJGj1kQQJENmmqNk+1MxTtRo9aqau+IVy1tf1jC0wa7rocaHwwVKRSpKCcheaQTZmpvZJhO
4YENLKcXEswUV+9lQRg4rRBG4pXcqYJRe0/DcKQiJoHv62/KhQI9mIE1sFhPzK978QS0rue8gMuR
FTKBCuTIqti0MC4yUG0bguYe+E8bRAl3+sG7HkNZslehwQjmkHCROTs4YZ9LdmCTg4rkTgxghuOX
pg5IkEhPRciHdm1bdNMOwuwqu0NSN6P+zvJM0Z3Ufh+oC5cRDzqCLjCfWeJBa6M61kU/DjqGesgY
3tE0alwfyAVuO7bPh5Gkvz9fdWunzOL2YaTxbUhY9ThBlX8iOMZI1TtAqJjHxqvNxtpeiSCWBCui
2FRQV4SPJCBI2/u07NUlaoUy2tjaa91YvFXboQvESCakLICBmw/l5DRfYbysbup8LMZDwestoMda
VxaXjpymStoKcAR/REZ7n8mwhUZVA6W9jWDow1stiJZAWR5ZMFS1GxyBtIOGWN1jE0Gm2YX0Ix9e
P5/1jy81NHLq3V8RUIt8t26yXLyDVCt2LqVQJYOnsxTpr6lC2I8L9MbK/tUVkb2RQ/n8ebtrfVus
tgzC+0VtUfZhZfOswZcEa0E9dwOLkvMaWIQ4BDG3W46wX69TzkD4qJ5ToqA8R/qzVKIwcouVpsDF
Ki3R+fskafHOHTYBBw54ykY0uDZCi+VFU38IUE4IjvCWRIyGDpAW1yEskbY0aj5cwDCkPj3C/pp6
v2xrZioPQ6T0CPNfJZHWGQezJRTzYTyL759CjL++34ctgYKxke9Mgz+3c/wxG0+OxNGrE+X6ko8y
DKFMNH07a8aXCFjJoWDi5bT+YmD7EhNp75FRKvcuZKfPW1NLzOvUFyxK5Vx/8bl5ba2dk0iNU1y4
eJl+3oe1KTkthr+GjIBdmbeTyl8JuNwJ0hTZEezJs3K6mJDFXo+8AjTDasxfh7SG3hz0JEGlddk9
bYV6Oa8Di32tBGqUM0q874oG+UPfND/DLt0yQl0bncWe5pAXAKTU1l8IbQokIItqh2D1LNE0jM5i
P9PA2AwI3/wVNXNyQB0ub3EolZBJPW9oFhuah4TWbVjkrxzKpqgGiDCDvFh6ludtAELpv0un7umA
h0+evtTV+A0vLfvUsgp1n4ZfNg5ixrM68R8XBUGLqYbU4Us4+eJGlogQTJBHG1t4ZYL/qBv9tfyn
EpnzYYiiF2jh2r0DTfevlqrseN5vP4UMf30dBXnISpV+9DLm7OtEKjdhbNgKbE479D8xO4Z/sXO5
hCneCP9RCOiA41R16msJ5a0dQsKt5O+HkQ1aWOxeAS4x9YchfBEyfLLCm+PMweL/kyMYIUtwed4o
LXYwsx31aFq1t6qjuXclkG6p97yB79R5Z9zSN8FAjBQWiyR6Ua0JdkHdu++tAqzjzM8vtvHQgChp
yiZ6qZHZO0QIq3/a3PE2MmAfJigxCYtNrIZeARWq1JWoUPHxMxBcvFuJMIMb+w2cdMjfInnizPnh
89lYWVZLgKiJiIJHvQhffcj2XEGLQe6469vnLsKj/LwmFtf0FAY9yeEC/OpW3D80M8wd8VIDcb+p
tmTQ/sztB7tj6Z3AdF7ktuflFW0ZyEDBb140Xw3/CsHeK9Dmv5EiOGqQtOuKH2iQxeWsvp/Xu8Wm
H6xpTZRW+Tsk46J+BxHiZg+RBDzPgt5xdp83snJukcXmJzWBZ42O2GumGP1ZW2rvkCnqtm6OtUWw
2PkthMA7Jr0Qjondz5xm+a6twvdwLvMzf/9iz/tSMfBTC/6SFpl5MQ257Gpg+88bnMWtbfoKpFrK
5VuB/OnRHU0DblCdp1uLa23wFxtezJD7CidTvk3qJLVohn4HHMZZhPwgWgqRuibo5FxN5Rs0mfw9
dXMNpTw84T8fm48T0AFfgj5FznlonEi+EV2WMcsqyDfbg1fAWc2bx28OJOXTLrwYcnZT4JTp2y2e
6crDD/SCf2/D3nCoP41t+ZYF2RtkSQ5AhN/lXXWF10wfw133wnp21xH1M8MfN7p7mvP/ngM8WmQX
oXVDAYMr5ZuCPQt01pB3UkBFODSNocZJEqChf+TDSQIrA4PMxelQpuYCyZutN8nH5zePFsdBwdLR
bxsq305luayBE2QJvFSQlc8+BJkCd5yT0zhPFX/+vMsf39r8P9BSd2xM6cFkLPOd57qsv7K8BwiS
9o+dT7cI1h9vAR6d/v5XZEOyJhOCqOoKDAwCSz4kpG3gnCUbhjW6OB0cN/V8PKblm4ggSpOhOvI1
F8X44/MB+pgvg88vzgcJG1ACyqZ8mxqa/FkOqAJdVHa4+LMnYHUAbX/sh0Izm5TzcAihpwmNpe8M
3g+2xiUVOFv2xh+ftDxanCWQB6WNgyTVO3wFcpk0lcUxpaHw/cPWdXjWnc6jRQyhUTIFErD1bnV/
Sk2IzCQCPtBHZDzPiuH4EtuU8g4gdfgA3vImf2vBiv9SKqY3yhErY7SENtVuSkOe2ugd8wFQ3sSz
8CJ3cp/uc0PlvBGVrCzppZIxKYMBLqepfwQ1/YF0QNT0WUDO/PjiFIDcg5vN4IIdccv5UEGYfsgU
L5nPF/Ta+Jz+/tdmbCGzNzoZx8c53vC6cJ4t45CThyvjmS0strsFuGxuQBk9Uq9JUXoKvwJY2e86
cP42WjhdAh+c00tgUwspvdJVzD+2TneElTG17KkO/X2dZndQgL0DengDj3E6+T9qif47WqaGu0sz
Bf6R4HzUCu967aYJtKC+pYz+NnzLVHTlHOaLnW28YghMqOgPGJSAVA8cSxO7ReYnwAD639JyOot7
E/CldnHetV4PEQf5Np4s5c1cgoXCATVpKUKHeeK/zlplSyxTryElNTcTmgmy6cAEXIfZ2NymU7oV
+ayM2FK7mKB8EfaMkvcyz4IIAvgGIBAolCWs6/o7xs1WELSyYZaoJuuNU5vNQ/mGEtZwaOEtdaAC
jPVQb3KuVk6TJZQpggwRSlm49hvY/TwT2TnXgR3OPKuWKCboKVmo2PTkHSnh/siweK9Om+S8iV5s
dhHUNUn9qnyLlCgfxm4SRwavgOT8Fhb3O0Qd81B3TvGmRkgHQKrhFjY97RGMhi3D8pVNvsQqDVGb
w8bHx0N/lBfj5M9JYNwEThxHcBGauA3sRjCxNs+LXU6DXgJfb6J3IQb3sm0dUiUVdLGd5PPJWDkX
l+q2veQilZ4XvfeZQy9OcotxVTn8insgczvzlO4mOcwJFgO9+LzFlc2xRCdJ6bd8DEf/B2JZ9tIA
r3bkKa4TXpbVxmG/1sTiJZCOU+Tm2BLvDiqel6PnRPsObql79GILArUyL2wR96t80i0g7vxlcDJ5
54LCSeIZ/5z3BuRLZduptD2YNTZ9x2S7l5pV4QNzjdpQZVn79YsbHYosQ+060r/hKCk9cThnKYg/
bardr43/Yoc70mYe0PzFG5mDO+I3zT63g3OkQec/fb6I1jqw2OFUWyvkOLkgHvXv88AtvIucbmOF
rmxutrjBfUKGLOSFfwOPjl9pTRMCiyfA9QGqHHT2Fp0wYud1Y7G7LZ9SNNal30vXiOpCQcp43s0e
9zd6sjYRi8AcupwT9Fcz5x3Q/egqDRHYtp4LHCBYxmexfwMYJP8b70RD4TdFa533puyquyLMytj1
HH1LebCV0FuZ7SVeiE1+xYXV6TsfhhKYtoD/cvJxy5thJSxYAoSsqELXmWfnvYVJ0QVkU45dj4eZ
dRCB9uOmqvFaM6e//xVFFwMrhS608w78NE1SDWEEHclqJ/T/O1/lRkpibbAWe7sG7KEvtTt+B2Gy
I6AqFqm+d0aviM577S3BPHboIGgqpANX5QEVSWhxjDDUAtkJdpJnbYulADS0iALT1NYHhWvWPxoO
riHk27YAWiubYonYKNw5VOPM03ehIXsWuFY/m7GjEDCl5Mw5WOxrXhkwk2G5BJuXILWXxCj7GzJ9
YoNmsjbFi21tJnhKTNBy+dmBP/4K7XN22XeV/+vz0V8Zn6Viqh3lDOnlIChi2GmBttc6EtmlqW+P
0LDN9583stKFpcAlvOx0zbKBFrBE73PkBB3bFLdOaGqY233exEpos9SvhF4PretOhmiimenLANRh
XOvgJoOY88HaKvtVV//H2bk1N4prbfgXUSUkIcQtYBzn1Ol00unkhkqnewQIEOIMv/57PfumP6Yd
V7nmZk9qj7GF1tLSOrxPEVx7eX0mM38iFbfVswQd1EJs1l9ekUsStw06UmmE6c/hdhiGNr+tamQG
E7UGNfqE+iVtRVzqAqI2n//cU6/t+Pc//EtuMUAp12F5tT22dd2lD5hgljdgrJ97wql3dvz7H0/o
IEuc2ZLhnak673dETiRBDuvMpj71ujZH+tCns5jyHjYz+CVfY+2i0KjZXF5NmFXdeWk+Qlt7rL0E
TUSjc2Yfnnpnm7N+MUE9oDV7fYVQRuJgrNFrX0veHALE9Wlhrpn3ZGlzJjVw4gjYykbanHjd1Izq
Q8kiSDC1vyNTMN5Vtbktm/mc3supjbDxDsGc5lZ7a/pzdNFaFaDeiaGTHnLOC9S/z80YnHjIVjsy
GEAjqcS8vAK144UORzqzPqaeKO0vDIHZJopfyKrrlbsOUpfOaEOKgeXvguAnfW4vJ3Yz20TwaK6U
rtZB+tOmDqT81gw/oWeZN57ZWadWaHPeV6tSBejnrAD9YqI7CE9jdKZCFmBcqo/Pf8KpRxz//odB
AitGWkgQOj8L0Ut0q+J2w33kTFTGLzvI/tNMp9MOLZsQnw7zhk1VH6UQqusAsQWF99xE4wkTZBvD
17OGZmvj0VsIjD8YqqFCijI6NOoZuilRuTFtPUa5bw9rNWcvl63cxuw75GL7xcjgpywc53Vx/aeu
TM2TtVV6xh2fsPX/NNMVSkxL08rDMNfohfV2aJFVIQAoyepnl2VS2MbSpawKF9r36YuP/HusKmOi
lvR8V1uocXy+UCesZNtSZ6zxe8NSegB/pMGrQMDq+yo/E+idWKRtQx16wlyIP3jlx5L748M4+Cwu
Jv5WKdBPwwAtIWdexglD2XbSMQMwg2Md+bOtoYXfYAY75MpXcZZdpHXjyW0nHUFLs7eAcn1LZAZ9
cwqCbk/P3h1OvYWNoUttgUIfB4EeMU00ZtVwNEp5rmB1anWOT/3DjVioDYhgpenPox3oGtd1VXm3
fY6y3ueb6NQDNhYOhWpCsimgBwXMRYzm32cKFfE4WPXj5w84tT4bc4aSR1cWy+L8zCeUQ2MI/RfN
oRjW7qLRdLzeTUA/QCHif2k4XXvMeZdz2c03CjHxubnRU79gY8qGjJppVD9e25lN+1WX9MopzMPn
y3MiobHtpBNouq5FPdLbvO7u9IiiymRQahRpv2OOd2g7/yIxYU9uu+kowu0gM07+g+YFWB0Gsp+Y
PkmHiZ+JEk+s07ahThf50nVu17zq2TdvGNxde6jEY/DjMk+xVWus8tSlRe34B+LrfJcyyKXJ0nfD
88npUy9jY8t6MTkEywp5mGSqYmTvaWgmAwTkhPr2BAIM6BrkwtXaWDY0IAZV00B9IF/mBAk04b3s
dgV455zO66mmi60YI7CgE2joRh6O8TMlzfWQul/yvLmtUMJeBnuoeP9tBOoIyOEz+YcTF4Vtu52d
OILMoFMfS4bGxN6TLKyn/L6r1+6xStt6txb51VhDEO7Mnji15zbGz3FMQdKkkgcOxbSQNnkXNrq6
rL1PbhvwrMOH3F0tfT3WhTPIeUbQBD73fk589W23nbUkZ/4okOsoIRSDaLreuYypr5/7lRN+fSvF
uNR5VbdBBpUa7a7v/wr/8UHerepsK9+p778N0peOzXnuuK9QqC4i4JvENdBg/LJzaSu+CLWnjkOR
hR3UDKqHcDCBPRTI8q5Z8OuyFdoY+zIPWe3BQF4pWlx5p0GUWUW5s5W7JJc94bhyfxzeSFPnAold
pHhzMB6cpdwftz+0sy88mbbSi9y2g9uabihC8CPb32oucx5EAVRYlzn+/DecCAPJ5vi2PABTU0z0
1fRHOVljoFHJiXyGYMt7YVlzWZ/HVnFRQZtYp/mSf/CKiBBZZRk3dVGF9aLVhW9jc4wH5Dh311b0
tWRrtq8W6J/6LQa0KugknXnE303C3zbYVQYgOaq77APN5PYbBhVNAblYsxw+fxd/t2l/20U3QQOr
IiZlh+OO7Qj5h3sBFEk9OL3PH/D3l+1vO+ammYMYkrf0tR3YWw+eVcQ9tPSX4KLHZXt2tOXUY45/
/8Mu8rnOmWU8/2HT+rWqp+JqaOmL5Et55Q1lfuHL2Nj3EXwlOwvJ4xBiQJ18q7RX6ZcUOkBnXNTf
Dzt/2wi3yPpI4GvRt0L8J+tJcpBVAAJRASfojPPzkRsXgf1lfn7+dk7trk2ojjbppQ1Um38EurGx
x3gbl0Vhzhzdp17KxtAnXi4CrDh+4LghxXmTyn9S0CBCNwByKxu6c0zYv8dY/rbrbfXyKUPxzrw2
er7yS/tTYcY84XpOxhQa/tavL6sD+9vWNwuFH2BNqHmFSB+6vMFmDLu1PTc9deJ3bNvesoCKQuRj
/mGbRmPQV3vTrmFeFvm2CO4xdersul6lZ/baCdPf9sHpymkDtDjBP2rtXVEloay86i5pWHau8/LU
IzbnuQbzbaW417+imW8ukq7ySgzLzoW4WSj1z0U9p56ysf0pc4tUT4V/oD0mVsxYDjcpOVZv8/Kc
oz9hJ1ulL6h5ep5rK/YK9U7IEzoiP3i6z88ciKc+/fj3P5yXROxKGQRHXz10fQzvjNDRu/acwXfO
padOLdHGzgmTWZ35KYojaqgzHhJI9/2b5OuusrU8pw97ohvclxuD13Lwhlbr+rUt3RcOcZ8E1Kjg
Ww+Zw8hX6OyaXHbDStxIXYxkfzOiXpI0078ucmbbFjlc0jEnMfXV61KbLIac+zWm5M7Ry069o81R
X+lpSSHMLCCr0ny3LZ2iEZo7ZxJjJ17PthkOugK28JpCHNDkVYV0rFLI+tPfJSZCL8rsQmnl/2+x
IUOxCOIJ4tViQiJCvZhdA9x4YZCy7YDrWoBhy7yuX1PStzcA19lvF48w+Nvmt7IabV2j1vaKxlTI
aCzjOgEqWqmLdNs8f9v+JqWsF28lxUfq1kgIC1uOddj5+XLh292Y92RzViH55b/yMr1Cxl5H3pEk
Skxx5gEn9uZWsGtuwMB1wBN+lQOkjNDa4wgwWK3k+4sMa9v+VjnLDEFW+CcqIa6RUHRQF3vfIXx9
uewBmyu3x2pc+wJdYNLNzleZ6/dAoGX9JXuf44K32fsdNBRtQQiYZwCbzkjveNNluVp8+MblAT9m
y97kEO5oMNuGyKzbZww3y88X5q8RFD59szALgyg5hJ9ZwlfnRqn12ro+RkrHZ2+5CEGFR2wcm4JE
B4Rgc5IYLFGoR9bvClKeu07+1bNh6Y9VoD+ONi2OKMHVkGTKVx1ZyMxEx9okyKvnTv+/bn48YePZ
6FLVAtLFbmKk92gySAyMFgXkz9f/1IdvAhgpQdSuJkoSPgS/FnaMXfVlo1n45pu4RTR6aFZBaAIt
XxkfO1jjJsdI0WVf/fhG/lj5iiHOygCRTyDwDVXCsv+ZOuailh189Y1L04wD8WhbF/0NLlByfqm+
iDE7V785teobgyVz04AaxfBKxxaCdjYwj/Ow2kuuvPjuG4uF+DshtfZYYhyp4qU37r53EfKupTin
PHnqB2zNlkg5CeRPwKedvoE51CAN50+XeGN8/43BAiNTzryFT5gcl31hs14i5p1NaZz46tsKYJe3
0iv6wU0KWs7R6g/JgCaM+KI9uS0ATi5knU0x0MRqrq+t6FwLaSJi/UsOQvjijbkS1RZohVgHkL9b
UbxXLSBG/lyeOaVO+LJt0c9y9Kl0Oaf/syjuLH0M7VoWBudVi0+t/sZoO8iqa4/gqCKTU7jRUtSA
meNg4ecQN6cecPz7H15BTuATcFcSqNyT9wrdUjvPAqlz2evd2C1Cf6QPxfHb9+i50mmN6vfgfP/8
w0+t/sZsOZt55rkrSyiEi3aVnMnzmk1O6K+0PGNZx23yn1kebJ+N2YKq3HYOlMkS9IzVoVjLx7Rt
Dzk3t6Kvb/hwTlHwxKm+5b2tSgvQFnIOeA59XOcqXoy9SzOyV2AIX7Ra/6kBer4QuuUsgU7HlV3J
l2ao49W5KJWOsGRz6PIio7VzPLqmegluoTCfJ6hvmSdv0hfl2vCIjS1D6t5mK/SeEjFI+nWZ0uUf
8FmaMzHhiVe9Lfzla0OyRrgsEaq7yzuJ2mUT51UBJew2ZMNFDTX4ERt71rVw6AgQIuIHxw0NxRjg
uiKD+/lLPmHMW0UNWWPKYegER+yZOe+KBi1avTEefJk5b4t9tunq2Q/w5atAPEmIDu+ydDw3RHrC
BrZlvRV0Xu4RQAN8d/3CB/2ExO01ZDoOk8cu8xj/Zin+8HUYG10Nbl40UQ3n7U6zuiuueeEbP26L
CuyDy97C5jyevJ6u6QDqB8j0v8A/RoXh7CDsiVXaFvQkMBaeyqb/bVNCzB7zA+jpFw9sPaclecKv
bqt6xgXwFJopFOViVdwjD+V+t7KluwJiaec6+k/9jI0tUzsBJ1/B2rQ/fdU1NBvr/fFXZKgcX/QS
trU9VMXsCgkTnsiyWveVmYNvWZn65zKzJyxtK5CRt1YHTZrBGRUWNBP/l7eeEzI4tf6bE1m0c5sC
EEMTaIm8Gh9WJvOsDYP5sg5RXPA2xzK3hfEDheMmXZpb0br7SfObbjxXoD+1NpuDGawDZwQolSdt
Fkyh8XC/PkLkz4R0Jxz1f6p4Y91VU07xYvNsjzTWLV1wu66C+vbopce+beLPd9CpPbox4yErhslf
YMbKdZ7T2oj3CoykcIZk9A6q3f1FTpVt63kDhs/R+8xYknvsBRySX04xff38F/z9RbBtLS/FiDBH
ChyHMkHXGOeY1/bd/NyU3d9fBNsW8nq3yvU0W1BegvwV/dJfpvVJB/IOEydDqGf3zO3s76+BbQUu
xEzcfG5mnGlltZ9L/zcj6q1Ps1991f38fJ1O/ZKjJf5xLiiBgJoefwnioVsWuElKs19HnmRTibi4
MEZi21peVQITPPrKS6B0mkUWc/WxLIWK25JdNFaB5MrGsudsdg3k7Dl6HJd1lw7qV+XrLPl8mf7u
mNhW14KmpsQWanmCial7PclfKBkkQdA9ff7xp3brJtieyNhnksFtGDCFwkG1XjQ7Z5nKp97xxpqJ
l7l0hVRvspYEZZXuuFtFjY8X1nyBSs6ZCOzEGm0rdlCYygNobvCkyMpvKXB1oUEIIzPy8vkinfr8
48/7Y6tWUza4hKUMN6oKrdGpkfuetXclipxn3vKJ17Dl5NB5qiHhA6dBaroClgUackPOjcic+vCN
pUHMHAinbhUJGZbn/F9JnJb//nxpTn328e9/LA2mBUDndBsvYR75iTa+35PfnRNbOLXsG7sC4S/N
C5xpCNuXvRzNC7WlCr0a8K/Pv/wJL/efQplt/brjMFxph/dKMqiojPdpOdwfhZI+f8Sp9dnYF/hb
49SZGXEdopc45d5T6V6Yl2ZbkYghp5NhEJ5IejLcWrIkqwuhmcotklLrMzvzhAlvi2IACeNkMS2o
hI0fCl4lkCPREaX2EEAxBP3RPy5aqG1pbKJ5O3Y1Qke+aD+WFnOgo3/ph28MuFuLZQV+Bnco33zn
oCxF/Xq2z/142/5vvoJtC2Mk6AiwZR1PyhW8ReaXiYbAvXHHpPKYDzH6MXEuw3VxcCT+v71NQYdJ
loK1qCy50HA7Dugsr+Xgpxe1heEBG4PGMHQ9OI31EtRr/rFIV0xO9wMNhlfnt9QJm9gWygboaLRU
g4TZpfNzR0QTjb05d0c4tV83cTBog6sqZlA0cay9VYNOKDjcYQUN/NCHQs/k57vLNuzGsrusLo+S
115SmTzGyM6L359Ts0EX6ImfsW0LgaR+xb0uVTgqHep/VJDR0TEm8OWUdMVSPghSOY8Sso5tlCIl
toTCLKsfTn0/v0FmnzxDN5ni36Xwih1lR+l3GO7aJwN4sX1CVVklYHPCJTUV8NFcZlU0ec3wD6kD
ENS47/DvS92Z27yoUYedsmYMgf8U1xaU9K96tXWwMy6yTlYDMs5LF+y+keJDfCnND1Y2wHtKRsLW
mQMdCjIMtybQ5AelubmaqtIc0GXD7V4H3vSMDhh6Ly1vftX4xU6shZ9NYWlEwb4qVDvTBPezFEMM
nhrtR4fpQfVb0jrNIohaqiUE+QGk3U5jpiLpiKMxSwFJ1n3bDf7jyurmqaKkukPHYwPBzXq+GXLp
/hTQqX4ypNSJWnTFQguGY0SKAmUaqkZAMLVvUMbtmuYIRWsWnsVqdBUBQRRlCgJIXr+D6k/xYyiH
4ZuiVZAMfNIyEqVXgvGYH3UpOjdwwFOlYxrrWYz3qujVurMARoJwXVG+fpEtx/r+W9uNtKfnJ9Wz
/gNgWQzO6gaE6kiNRR4tHaJxuC4Xut1pNYl3WQfrjXA4Td+Wemn1Hc0AlEaWdPR2asLSgnfE2fWR
AXqdk4yCheHyH8RdqE2aDDyIhQXTCI3Dte2vK7KWh5xhHlsEWt0Y2vAhFn0+jWGXdsrsVdVleqe6
TpaP+P8B0CAAj0hvQOkuMDMxAoBLFDHfjXLBI1o4LovIec4Vj1xnqb3vLbNoubez6rGuoqxjy6tq
wbRRkCNYU639lpbIJYcdIJdVKF2fP3OnoR68HEbrzDLIfe52vgIZZRqzsLNe8LUqDG7oRPd4SzVX
vIg0yGzLY76Y6XEZ8MUW6+frFVThUnsnDfKLEZ1zzGDQdhgqkOFKdAyioxYzyYLKg/ZpCp4rBqOT
ssU/EYgYGuwGTvwrQp2VhVhVG3eFGWiMYaDePdRjB+StXnnx4XQO8n60a/AljRu474Sn/Bk6klga
PngMWj4ByAEzRCwJyuqMsd2AzSd2ZKSaH+Ta52yH6uP0JRflQsKUyfIlc2q/uAqGhf+wrTdfdV6r
fkkf7O1HipTgI/Vx8ITQfBzIh7Ggc8di7tY+XFZH/mMlw/+0GLmKZGPb287F7qpW7txlvmt+A3Q7
vK1pW96Cwyr3UD3H92/R2rinPRYobIvefEVgnXk3wb/qwGvT19c9q/gvaRGULS2XN1A4bGO3bkwa
KdtPz6poywelRvGz1yJX1y5aqfaDgkZkPNm+ZNGIsQs0NS8lLn4aZLY1DLpA/uOsthxiDvZg9bUk
kLwKGf6jG5NP9B7OIE8CSscDmWWNeQDTJahDsDiVWZbupxQxOW37BUwxd6y+VR1kHnOpIUvOQUsV
143pSvchb3tIcIaqgRvIY1Tq2vy+4ZWwN8qa4Z+qoIDAY/LZy2K9WKPDxTruG5/rUkUq1ct6WGaK
x1FMDUw7tVTKhCkwsde56LFazBTAwRoNFRFosOT9I6YABDiKXt1/V14PmF8h9fMotV//bKTG3veD
Ssm9v0z2ajarzIsoW1y7RgQ+5Q5jt+s+g0q2ysOB+l4aLUuZ/+4A0P1Jg8A8DKC8PlQw7EeZeVhF
7Ry331SM+p/UwMUSwjKVgKJS4mtiLz2JhUK4pVuKPcaSu6vU+iYm1DL1HWEkUNpyykYvro4A7LsU
fu1pZcc902C244i1W4r1ABXPcd7zoiUYaNIElFrMqVIb8zrADonKuacvzlCT+bfOJ/YFKODeS2gd
LP5ejXK8l8qbnlBzsQC3gHjyhWWpyKP8CDUDeQ7tPyC9YHMQz3WCqKKafhM4i8YQM3FdG9asC24D
w8eDWE3/NpC8SpDRNG0ceCBLhykaXV/qfPWa3dRQ8IyQOXec5zwouuEL6yFLDK33IScRqUC3Bty6
D2LQVfvpLlXogS3hAp4XkNVeB5x7e1AjATYWftOFHFPiD1Nu6B0XvHt0vBE0a+B+sietONtjft6+
iqIVX3F0gX61uE4ftquan1JwyYGl9isC9pjDGL+auVn1/aTWo+CCHAqyPlFw44SFM0qPj1JuUX9w
DEU8QIx2piIiZXokLC+SfUEmGPQkEIScRyrKlBw6x5/AHE+d2paJnGanSQy6y8rYdKOb3QkFAc+q
JJQAd+1I+FLMe95p9Pz5MR1n0101ARrZE1SMspfuCLAbrngAZbBXXIlc9NWCOAxuhBwb/7HxG+By
tDrC+9ISW59mnoXV+J1+rrml9zqryociWPkz9O+Vs6vzzJ1/Lmj9uwESbSmPMl0NpN8yYtEaqLB7
3GfrSnwrA2T5b5SZ2t9OCssmXMhfki4g/jB0ZuwQulQ8VLjM34D31eKV0TGLAVAa7wVlix8aUlTu
fQcWWXDDzeDRkPpa9nGqRudxKYBlu2n1It467zghN9ZA/TTDOvwSwVL/CLLCBiBSabSZ+cgKLsns
CnojndmBoEQFc6wEtHtvZNPiyws6mtvekuFXo6oFMqOkAeMHodRKopTAHZbAI30xxrE6Ms4CzQb4
gyOzCMeaG2Hdj+h4mrLHaZ1xGAnjaQ93wk68LyMaMf0Oe25R6AMKp0kVBwdn22EyvHv3PMDIoinF
vaJIK9JHzerJWDTVEMSZH4ikCSxA4AVLAV2h+WRuTWtwegZBhqNaBYQd+pyDMeO2NVBw+SCASEJq
zKEhOvjE7ymFE0EImXZ3lQjY47Jw88+i4CzQZ+3MCTjxortZF/BBF0gPzOHEVKfC1S+A4JY9FW8k
y2xzw8cS720a5OJEYGSmvg1biik+gW5532Y6JAQnWDgPOVYdLkTXd3BJsivDEaL9gHvkTmCLMCjh
yO86uN4+Zn6HV+qCqjTfj4FQ5a7HV4RgE6mF/Fa6ub2e5nb8qnu2knhFHbrbi0B03/U6cgxP6x4H
8JwTMLK9EQ2wAcYAIzMSnhwZZW+eXqv7leflLRp08miqIKyLZgiHLyFUBMDUFlZY5+qIeTchOpx6
zH2gWJNFGquqQ0ykMhrXsk7LXUsDSw+1z+Vh7iHS4JfN8oKhWFfEqhhsDGmClmchxLHbEkDA2iZY
OeemCtCVfQNZFgm61rwgBLeol32hWQ4/qRFx6h2kfyXWVgkcbtl8Qwe2AH5Xl78ah9GHDiDd67Kx
5HaWmXttTdFkEZxocSfbsnwInIl1u4CslsUjIs+HKS3Re8zKDg589EB+jWq2mDeVi+PMSasR+YzD
nAE2RRmcJmk5FsMvCwhu5xiJfu0KYpw9ILJo/ZTVqJ77zM0eBbq/v/rwtkNk2YqSD8EdZo3ShoNT
v7gSSHFPNFAyTWX6TptxeIXAcPkuiWnubTrgCFWWwLF05TSbpF8AKEcwvr7bBSrlUe46CBQHHOTX
NCXAquXEaVfcK44bSTptZb/IudI2HD2bfaU6yx8KDMQBr247HAW4jMs6wm0Xri/H3ce7qhc/rcJF
WHSO1Agy3yz64d85WEXPXlrZBMPf8zvFGM6vKpciEczkiZUZYuNsNc/TsIjQ8ReAbiYZvOaZr78i
t6OiYgimp05BQRDbRKqobwYBtLyzYq3xaQjQl6CHhehq/p6XoHeZepx/4kLDAF8F/aHfVdxJX5Rw
3Xc6AmJ5JRgiYIDcixxRTdegEQXSKRV+TEGLj6zDVzVNvxwKPREEouheRnAFxK7yMN0qBO9f5Gy8
70ODayAw684Nx93tyrVFdS89VXxTaJtc4hb5lgi5tuHbRNGNNQhQCZZ6VAd09Em0U/benZ+jdzBa
7DxedxgWS5g5ymi1LQYk+JTGGP1ZaZg1St20DPPg8ewy9zv6SJcQN4fpLpvomkctQ1nQoMj/1KyA
pEsKh3dswoiF7PGfd4xgrBFJdHq/OMBtgYFtxQMfKniZiTTrPp0ogq+h7rp7OQ2YZUC+Gv0/JPCb
aGBB+1VbH0bvNWt1RyR67GOjSnKlazt/T4FvO9ig9eKlUfxxdSACY3Vvbi2AKteIWnSUj+X6tZUF
AFmz1W9uS9I9SJpY7dRHwguzASZGSmR4AV2tvU2RgIkVxFEeeVPrDwH0XxBlvWsPnouRSag41Nct
McsLxTu9QyPweoNWmfTLIHix60EljJDJLGLV1HU8YxFCAg3nV4qoCXTGoelmnHXpWu44OGSv6NKi
RdzOcBkx4E15ZNDweo2ZmvoOBQ5st2EBni+savgH4+FSq4WZvwepd6x3MIjCQ2Hq6KAZEAMoFlVD
UmkoWLlkgoxtDfz2q8gFCcHnyh6UTWWIwidyfYTIw8JUmUfH1nv8WmSPo5RKKXCtolN5tQAY88P6
dvhlpqpDCK7QNa8b7DG+4NiJAdiDnCzaLx6sFG/UKIw0+mWqrgZjKlyjZ599gXUWAURscGepmqr7
qkRf3uJEZrdi8cZDD/P5NnJok0coAGfHESYPXawcUhUSGF/HY12M88EZvD2uS8QJFzlUhoRlhjnc
J50tjr0iWUHyq9oFzOat58iS7pXjdBrSLc3kY+58LXHbEH3P51jOivzQqKkdupTARwgPXC5KuhpH
2jq6j72bEqh06vl2IW3QIaFusVMRZ80sGabFkd/I0rcOLssWZyE3VT9VIVIZHC5iTcuXaoa80j/D
5OouhgYk7nfHyxAEawabmSuOke3umtUUxhaQFroKRRZ0KSozmIgPbS0Uv04N1Mci2kLi+HeKsURv
D0niTESyFX57xda6ADHGDKy+VlqlV4577EjJmipPlB6bYzTpIdbuOjJk3zQiUVxLy1rp/BsQvFk+
hujyCZx/unocs13OXY092uPiES4Zhoi+ew5cAK8JzkZcR9EeZ/wUy5QuWSEeKtoj9ILrHbxrDtfV
wUUzb4q159Cv3GhfvLPZwbU5wvIj5qIG96KbNa8d9YDoIvAFDlDXPI+jBspRi9nvrqmgvnvojIuA
Rup6MHG90Mm5AwagRb6qwsbft5S0/tUk3d6/5vnayucy6I6+MlMUjbHV8bovShztKp2xAumMiDhJ
sSvKEM57wtq5Fa6eqe9PYHE2kAh8AbvONHeBbKdHUh+Dc1Krhu6Pjs5eoS1+chLpYIg1nha9fIP0
OsJ+QbkwO7HmXYnPYmW+54hZWrQ0ycCJa8x64GJbZ+Xj0iPEeaWlv8qHqvXqdxoUMAeDuD2L8mwo
sqQSvU8QZsB93le8msvD7NYTynO9oHfab8rxBeZUZbsKKdTiCnaGMHjpajQp5oEY9R6qKwAUNaB6
hog2+u/plBeIWEh1vG/kpk53juj1jPC0mfq6RuTZqBlDwN5ErzhK7V1cVXqc3ly8lRHouNZ80DWr
3HeWsYnf8AoTakgKAvODu/MBxCU5HrqJo4ML04wgFEg3IweBuy4NUWVxEPT3cm+gWR8jzpzJrwHK
0AaqJxJuAyBVUUYFowhP+xZZgNCsvawFSIWyjKaghfauGEl3j5Ho5jvvO+SnpAfHLId2Mo9LTuQT
mJYyAtWo3pM0J1fQUxYHJOYbVEQGhUxRmop23JUjuqTd1CmzXTFDjq5zrGfyMJ8xjX5t1xEg97ps
d7hlwAKl9o6DvgDMR91IglsPbNECoT44NIcUgokatqh7Fxq38IY4HFckHWhq+yfVmvXXRKj67vOp
j53OG24ZQXtwL3P3a0EmC9GGeu7uB+V796kYMIK9jO6sYpIHQFkiKmWhZB6LeI2zLZ3hdMJUQ5g4
Kv2eRlmhjqkBKQAruRkQepd7iBzAi3Yz8oa4p1R3OtDA8Q1rM+S7zkNQ2sFr50mFKv4D7rrePRr0
oSDhmw+4DdwGXOkY3L7aro0GU7i4jQknBbnDF2mI2hh+WTrA8imfvbucYDqVuFbuyEzmN2BNi/d0
Rj41WCFNtxIDGZLCT0nUrR5uklVpxe1AifnI1pbcujMUV68YctUfEjqTOFwRu5bluCQB93M3aQde
wgqox8uQOLjM3vBlyPb5QBVQapAREtPs7mVg1gduMiSgUgyYLlFXyvYHqSDFZMsMozciRxo865G0
RMbU957/ZR8tciRoXqHjtXFqpHolscNNvyABIDFwdOWYYwQytRjAnKHydYVDvLnvMffphWrsnZsu
U+ggnKGVp6HHhzimbvCOA2Q3d/BG49cUrlzss95i05UY8cJK4lB2Gj9DURfA+04i+xROq2J2D0Bf
8Iuma/Ag27p85BPHlVYg+9i2VfEjXYX7NjQ1LvhI5+OejPNvuUa+Au1gammR8LCexZ2cp92UuGPn
v6oAPeiQskCcgPvI90YA2Y5YIUW5FIHG9AU2rr44pmmecpmrLxOfU+jHEaamn65SAY0YopXnPvAg
I8v99EWiQSYSU0lSBJ4EBYSUp/U+7aGcyiparmF3zK/r3DATDT2D+x2YwwHzBRtzRsfL1//j7Dqa
7NS57S+iihymJ3XOxz5tTyiHayGEEEmA+PVv4W/SV7cFr5i4XD1AR2Er7L1CFCgGJ5qcBxXOMoKb
tteJtME1nlnpsYYLor2D2CWFdm2Ru9/bvMsuMo4asnctgDZ2Y4tXm8+G7CoKBOeHcpLwSu9dpL6P
TOU2DIBQ9K+Q9YK02GlEFnPP5cTcwxQXgzgGEcvVPYdxuLVvUBtoDnZlOcUJRZTxLbRZ1NzEvRrY
mSG2rRsYo+GJlw528nWAyCr/StMmYd/AlLZOzKkaJM4Kxh/bgoTPFlB0h6GgePd3nuqeKAGnw4JT
2zxNjP0aqY+lKkF7zBQtxCFL8IaAqzg7STmV4IEETvzF7QYo3kqkw5BklokX4v1eZS/YK0V3nEYY
Eh3TzhXqGlpdbMIx3vTYb70JL2l2BHM0Cs5BC+3wGxzyVN6UHa3LOTs9ptg0ev9LB58ndbKYQqoh
dyv8VhR4kIkpnQh7e5n43hNxkLBpUx936jqK+bGJySw41uEfYiclOfIG729E0pw+ClVW35KpmfI/
bTE5ZF/FkKHBEsIx/yOWXfvDToi8g2pT/a11Kxy2vILZJW7jOdygxqDFi6eTv/noj79omhaP7YQk
7jjiwogLu83QA8veiwmJpNEZxN5SMD15ymyr8+6RlqSPtXDnXcga8ytS4sBybPyPwXb0uVEDVmLk
hN/TGILdu3ygye8MeO6TQG7zYcjnK4Xn8y9Wi3vnru5lfId1O8AWHDK6uLS66k9ZzKle5FpRjsHJ
I75jw8e9poZwwdkiOHIOeG1ZrxDGQ+6uGVrUmgJRy/s2hCvSXkmJTItIQTKpmYWnjmDCfpUkr17L
oczfwel3H6FiE5J90VrOW4bNozpn0wCz1A4XN3md5V30rSOdjYw+cgt5e1SFp17AT0KSmceBfSMD
4XxNrcD5juLf9DrIpD3ymgh26HD58K5LjqRjVg9hgTRh2ZX+buzgVHuT2EVLgwMccqJvnpyfcW7N
Ko4Hn9vXuEd7MUYIL8ADbJQpLvZOEzV3PnHlVW0plCJ8oFOQFYdp43CtuIejocKOuJNlxfBTLX+6
g9d6BAUwDimUXRPAfZf0af7HQ1Xmq4IGFl6urJ01P3D5+taAUC/2MHqp70mEV+y1ynh+zf202yNj
BJtiSBWUN3UKC1yZ9yA6QueY5kcrgl3xFQoieB1VfK7PLZdxDSCTSIMoQUC5pv2Y+CeeAvvB55hF
cHY1PN6KNRKYoQ1dfZ8HYVFUPUAyqD3IYzhgG6XTkF4lMxptuRsGKEuoUQGEbP1McNs7qRGTwhP+
bUb2oqhz50j5ttyGoW6vy+8rStK8q4CioFMU7Vobd6qQrxlUmD4+d+wDkKgPAndABsg/4cLc7UUC
tzDa4A287adrsAlIz2CrdMbgZBN6nY44iccSGdTlj5umd+7Sh5+OQW7xGPfCU4qn3Q6GScVVa3Xv
VRpOK3BM0+BoSCgbhMSo7fzwpJKkgHNcz/ZemX9Z/vmmpaMhJvCKbEY7xs8XroNbvY9bC0CeifJ3
VZdtEt0HyVJHS1QsLkqBehBt0x91ikRfUNjbGBheqMUwjALKsEJFFUxF9UX28+yO9RpbzjC7utQ+
lzX37RCMp5l/wVK4BeMR2u8CX5bHTROgK+2rpI1cIpr//fwYKJIZGU6luK8yiDItt2HqhYaAGlru
V4oDc8P4TKpKMEZqkNPegvn4xm5oEdw6VRTklgjmgtJzD52qpmG/faBV/x9u6QZYTDB370OopW3k
tGnde6e0LV7d0t3HUfo1BXeln84VdvKV0TLEW6BFNPPjOKeg155gn279E7Ck/OWWpLjeNhdaNLdZ
nwFOMA9UopD+L+9n0lkZ9M/Lnzf9eC2eXdybGmXXgFclBR73NuBPyAv93PZxLY5TT+FZwxENNEiK
PUOy9ODMAKttX9cDmRMYKeb4ut2OL6QChyFqVmXtDCGgS+zTpMvASW29U42C/w6Pr25fA4851qvy
V4bVqevrD30+2aRQwakJh7vJw7sZ57AN5ajZk6+wNoKFdY19yF+RIc4sEBc5EBnI69bQyWjXvm4a
Ji2MaVMFgKmp5O9mOgPOeeRcOrF1jn0thGkR9XjbTjGk2NN30EgKZHUjvrKADGeZrwWuQn4mI9TB
x0t+r2h9H843oQovJW6/LK9R0/ho0Us5SVQMbNoJSafiACDssGPprAfmIvOy3IQhgnU1C7+3ZYQ8
GbjlDElv1UAGLvObFUE+0xBpEYxUHxx0ARA7US9Gks4GmS27FrR8XofbGhCxupgFKkoouPgcQK2K
WM9pXN3bVvmcef7vKikPNsmR4kj3m8ZKl7bAzoa8Vdsg50Acml0jY9+eppCdt31du1aTTpWOV0Qx
QJ5qRncV6bFEYue07evaoZx3ueXU/ojf7jSsP1Z1Eh2jzP6+/HXDbqQLW7gtqtCyjEHr4Dw+RVS+
eaP8UjXeEdmI74UXrZw3n+tN+Z6nR7Qr4PsVWGiot5DmYOoK8k+nqnb++V9j1f3sARxP+ROMHYJV
T25DlOjqFzyvkYApghjHaJvcyh5FNkexNdU809f1MA/TahryDET3BHUx5NmjQ0XkJq0xDJn773tM
rPBAtlpEOLW7n4OFAqoTb6UF6Cr4aQ4VqywIvVNe92znxLLYx4H/SjIPvjL+sHHxamd1UFahmPwu
Onms/BLW2AYB5Ji2RbWufxETuxsSqL2dQrsLkHDHe6EfNjL0dP2LcOryqWtJeKJjdKYgTu6nAciE
5agzrBtd/EIMAVKYqfRPSPH7UJWGlvXmvdud9/QP198ceXg+Dd7M1AJWF5qnV7DypqjaurcRChEr
x4/hhHD1eI7qCAji1Aee2bvU8616ziU09nDIRveybZjm4fvQExs1pzSRHMgKIG6OuFAOVx5b7YFp
ErTgzT2Ilfn11GKcyu55hAf6vduIfOUENX1dC960q2MApCS+XjvexVVNcwdDwnTldWD6unY+28oe
iegFvh7L2Qd0GOlBBqn9dXngDaeCrnrh5wMMJpsEBJIpIXw3QqtRBXUAf0vxM/GhpOm41drT2dAV
Xf5iQOkIkCQfbZEC0qMliZMj3rbn5Z4YlqmuflEU8LBqUU/A6VnE/0TA9exH5gEiGn4PLW/lEDVc
ZXT9i84m05SE1txIz9jRhfQMyj/pI9BCBOjeTuxdZFL9gn1b7pRpyLQIB4hAFGivwtUJuJQ9VRMg
KG2xZvti+rwW2mPtuawrO7jupCRCgtjq2gaQ4zGrvmz7/XPDH+I67usoZHGI8epcvA1RNgLMuJxW
vFc+V773PV0MIyXQYiuaec5pII9Iv+/5EJ9ax7+LMv6c4KbZK9iVh3fgemzLvekSGa5DklLZAN6h
2iqukIoGyN4L1gQtTetLi/a0b/Dgikt8nbhA6cB4CQFzsMbqzsnqGfbhXgG98L5tcrQjm0aij6yc
Nb9tLsddkOGUqlGx3LZx6SoZPmTvedH3ze8y6eN974if4LJ6h00/XdfHAFwj4y2L699tP7z78K7d
5QnAG8sfn1f/Jww+W7uHIzUG8KDnWL9ol4urXHLrLopYeg3N72TtkjwfDp+1oQV20YBPUNsxAUh/
cP5YUR3s4MR8gmkx0jOiGXZujoS08rvjEHf7JPMuyVSN2I3FitaOIfR18Yw+Z8mggLj/Mx8vewCS
ULzP2ZqpkOFYsbW4FyPQ3Xbg0l9gqB0KZFSwFB5BjzvP+hDrnTA1ox3sTA5J4gHw8kfS9kZZ8s22
4geq5PW8C08WqVZWhGmwtCNe4sxCTahRP0dbEZRFE9x9mnCbnqSnq2kUwp+o6pj/q53SkxP6R2QS
gPlm2VMYJGuqz6YuaMFe2SqkkF4JfhY2cL1DU/6C2EJ+WI6Yz7ctME7+vc2LDDY/iXStn6rC/Xy2
4bZ6/poEIoMtHcB5yHHuWx+2GsvNfd4XV9fUIGPdZJwT+1fKAPe2hh9BtCqNb/q2FvyCl0XIwJv4
FXbD41BBTbgDqHHjD9ei3o792IX3uvple5V9COdfHU5sTenZ9NO105zCpdpyk977lWUcOcAZuApt
i5Udy/Tx+e8fTvIyH5XqFX76hAxydADuOUkg+Fa2dBM13tVlM2QYWpFbTvavWDneDWCIEKsDTnrL
aRTZerYXCJcc0Coq3lovcn4Q7OzNa1TVsl/59Z+eGfj+HBkfhsdF+hgm20H94hc2IEF1X/X5Y1IU
EKuZohmVsrzyP73kohltdYLqIMcWt/XzULb9PgZwC5g2EF+zOV0AtMBaQuLTgEY72kKtycjyWE7k
nNbw9wGg6052zQNMAsGWnAuyLPLuRg4Uy3K35n3iP6chmtNWrvTwmq9tPr7FKQWHU7TVkTpR+1Pk
4heYnChbOKr6lvaefQOQ5MZGtRUNA4y0z6gzvKmobPYqZqcwjp6lJ+5bCwlcoDwBaRG3SGatPBRN
vdROK+LJCGKY7fA2yBlfiQZFAeoe3FwAHiKonkcOBNmTB2iJrhkbmZaldnCJmvdNmUf0nFL4jnOS
2reABsgjgHfWlgsx5k6/slKONrg7vPG4y68HQLQfM4hPHLetDO3YgsBgEbdNPLzZVPyCltjfOQpH
JGnsrviFE+wUYNLAiFw7ygwRpieQW1BWaD3E/IwEZX7jZwBFplVDbooAKS2AGNfaMUSYrpBsI/+A
NGjVvYWAaP4k8L8BqwPnAXdRhp2N4m6HzL4uPUTc8kh+eleKbN1r1VVWVqaTX57FgMc3bgPgF87x
bAOFsm9CvP4SiYf/cmOGdacnmwVodFE7yfEpjafiYGcj5Ef99FsRr4JoTN3RtozU5YWMwcN/AuQp
K38SG4AuIGhgUQx5ghZotfIgURCbge0QjCYrgzjvDZ9sVP9NMvdjm9O4Og9OHO4H4HpfJoUlsjxq
pq9rG4RdI9kC4Lk8D1lXPQJITU8FlCTXytimIdM2AzsCCCyOs/pNOVN/O0yY8noKyqu2hevdGMq3
xCVrHn6mrmi7AgPqzcuZ3bylINZ+5RNIB/BmyOK11WwKU21fUH1W5l7PxDkFKcC+Bne6BQNRubwB
zB9UY3BwdlkzSrGSajAsaD0DPdAylXVdyjO8A1ux5w0cf6nns9+lDazhpunXE9EpDShYfG39Nnh9
bu9lBBbuzyxpxvG83IBhAejJaBlmIYCJVXEmAlp0vJQK+A8A6EhYgAE4M7icbPUKYRqxeeY+3Iji
VvZWI4vkVdmdtceRVl+BWI2HUwZZxeX+GBaZnplmvo1McekVyNrL8IXzSPZgatdBdrXt+3O7H7pg
E2DeHahFnBmcNK5i0iXFsSTlsFYzMQ2RFu9qIkOBmn0+Gx+XzkE0Mag9yAqgiDWWIN6ubMamadfi
nkCgF1TigLzE9VTc8xg2KX9LKGAyQw6hEF/LEopvy0NmiEtdrdm28Pp2mgGkyzaD8MIAaZH0NlAi
IneKBWC9ZL3rxNsu9XryOqUuG5DfjZ65PwQPvqvgJoGq00q0GGbnP+nqjrbhlJH8LCMaguCKF5sY
w+QaCO41xX7DaOk56zjxVFj5IT0rK4oPA2TGahtXGz8A08MjYAMuT4ohTvSstQSV1/Zkmp2hQ+qq
awV2MXvw4hwqi9samPv3IVB8BiEG3gz0LMHlumrHvLsJwHneLX/dNBHz3z98XYZ163JcYM8wAYX4
jtvLYM+9IciOTdUlKw840xjNf//QCAP9ePC70XrDPaWvQZTJAS4vejA5ljthmmot1mOIa8gipvh+
HwIQ2vrOTQzoP2zL9vXAfi43Yoh0PTkd184UtwFpzm3Q5VF5bKeklqew7csQyO4C4mBPHrPi/h8Z
W8Car8yPaei0s16VZScViIqvs3RKuScuEAwsnPhaXsM0/9pZDyVKh+dIVp7rtgf+nGXC8/eQNkjC
26kc85UT3tALPV8dToMP5H4dv6JY6GX7uOagLCgLD/jluTF9X8sQDEPZqCyaoleBsu0Tg1Wdv+t5
g9rL8vc/x11Etp62Zj0wBDbU05/Bi8+dqypJI0V3yD3UVrsDBCdJ7l1IUvXvjqqVvPg2ha3MjoZV
JxkQ+Yqk5zyxfLItoHTxZ9lDlogVhffmzuIWsZ2pWwdv7sNyb02jqe0JDMoovISi1Zufc7WvoVx+
XwVb37R6+jrlDgvagXhveKiD6xWzMX9wK1a+L/94w4LWtZ+pHww+xH3cN6h6Te0D9F3SfM9pyaZD
3PJfy40YNhzd0FUUUyDAtfXe0gbsIzlWNqjt9QPIHOWt44Ebua0ZLfhDglxJhQrPMy1quzi2PhPO
xc0TEFBAW4TuDJz/SL2laIElru8EntVWgmNeGDjF77Fowd/q7Zl3tdyZT1dVmOh57A5u7PGkJPmT
Egn1r8inwXsA5YY1uwzT97U9ACpRzGrzgr5SH+c9p8F3IDfXnkSfrir8+PlQ+HCCka7hmQufyDc1
IhGjvHQM9xSaee2xc6AJs22EtJMeBSuoxfNenkOZ9SV8Apvuu984VX63/H1TJ7S4DvsU3G3pJG8S
enn34IU530OwmI8BlJK+LDdhmoT57x/GSXAvCSgI2KBqtfWB4mZ0dJw14XjX9HXtnFeOmKICNjHP
UFaCs4EcRhxZbVBQ9g3aOlH+QLIe5PkMNyaI/YRdvLfJzGAU/dTbNxObmvAqKvCmlNxjFWjFeEc/
oSJYWQciGzwLY9lKxXfQzKmqg0/7iF3RtPaQqyLNWF053sxWAis8cL9HTQaa2bZRc/89anCiHVmW
p+QV3OXxXoJkfFsFa5LEn95bsHS1TQTWBjMJlBDc4fHqgUTQgWJGVI/bXluUz85MoF3uhml9aTtI
KyqeZKhVnUk1TsOjLcFy3dXwCAF2SqjisNzKp3tvmOgK1BICfw5EHsnDoEpyUg7f8xRGXK1T1ofJ
tb4tt2Loiy4K6guHOlUxBoDUSjD0kgJ3r84bnsawWru1mprQ9hRoPk6EF1HwPBA3f7AnkM/DGnZx
taBrljKmsdJ2FBTvp6qC1sDD33AkvXz3CZ4/kCuMdhlEXFamxBCXulls3Du1ygPXelFgyasbyWp+
gsZduFa+MizheG73w65Sh0CyMsDuz9BUUTc0S57JLNXGWnBg4at32ppcxerSt5i8cgfbC7pzmNFI
QnOlBP3c9b0B2yQ8FTfRqNCMFvFt5FtQ2C7j17ag9l0Y9/E5C1atZv46o/0nlYrPazHP+nL0UBFJ
XpQb8YmdIDQ8dtfIrloJxEP9In503VkYMYTBN79j2BmDa2i4QVNoP0Bh/CtN/CxCXPkQm5SlB/26
UKmA+HtRFRD3gZ5ZGMdHvySqI6fZyvKWFLECZ4v0I8pZsSWbW5KM4i7LsnbaBWEPjRDQ8oPceyCu
b9vVYRDdIE40StsM9PyEB48k7iAIsCl8dRpoXDSk9mjEXlMXVPydUB7rQLD3ONlBEEEN2+40OhU0
LZseJcmKvuKFXrFrEEOd4cqywK1e7oYhsP5DA7UKFD+pqKC6UfiQcZM1LhtFA/THabkB0wahb9ko
xATBmLXQ0ITWhEgLiFfG9lfh52fUh9cesYadThc2ZwXJoG2n0heIKBeQyoEa0HcSsip5bKp23PIm
CiFs/e9NooUSUlt0WfOaiggs7sgKfpSWFNvuTpG2WacdXPsAeWSvJJ5SCEkx6GUEY3HdELKG6zFM
ti5uDvl3FGohMP1KQpo8hgOUt4IMGlrLM23YQ3U1c1JSj8qakFc4LFSA19Bi6r2LgD5mgIRM47lP
SsGf4tvoA2C+CRiDOdE27gEXjAGiPAyNlhAWS8sCKr/FAHjWtgDR9c0Hd4T0awaF4jAvSHDL/qdC
CzfHf5ZHzRAfuhGwy6xyiAaSvDhh9gWFQ+s+chzy6PheUe4ikTlrITKv0k927EjbsYGysyIL/h2v
YQwdLuip3igfePahgLSs6xXf/K4/5Q3qCdv6pcW93fVpBeld/spbCh1D6G9CFKurb9oRtXKwh9bs
QgxrOtQuIHVvRVMxuCV0nSBZ/qA6JMhfKmiErllNmxqYt5wPVwModlqNJ1Xy4scF5MlF2EzjrqTA
XG4aqFBbwVBogg5TPYpX0YLyNBBowkNN5bp1UdbLI2BJl5sxdUO7dsTZGAIt7PNXmdjutcTd8B4a
J6/bPu7+e4xSKE+FPdRoXgnnqNzKWVoPpYLrbV/XVy6SncSCwOWrn6b0zsZN/0Yk+Xnbx7V1CuGV
wnGzqPkDIQv+W9rQELlyBAzMj5u+rzPOB0joexSVqLME+BzeAlDz8u8SWuLes9yA4ejTCecUmvll
kjfkSwtZ1UMcwQ/xr7R2BGXFlTPcsHYC7WiCGGKX98HovIQxb50dxggKagn3Lss9MH1eC2HbsiEC
aFnZl9oZwntBUGuUEnYD276uxS/DvUZBEc86x26TXcWigY7dFKar+W3DBq7Ty0XVQFq1mOrXFOK3
8Jf1cyi2Cs/N6deg7iGF2iFf2KwEmmmytShWWVNCGzGKX+om5m84l77DdZm+Tbb6sTxapga0SGYT
HohY/u6LjKB9WZewkILIln9CTmRamRDDQRRo4RzSLEtgtmRB8yZO9gCYHrGexnsB+bCrOsraHYSL
klM1DGv8s0+RW2ESaCHOIFmFN3YO+Ug2fqkLwMJ2KSREHtjg3U6VtZt8yIV6yQS51SbBq295JA3d
1DGLym0YaIBVf4ZQWwmN9OpusOPfEnXJHRKJcpcDSw0h87UCxecFhBBCP9oenFl9U5Qeg9DtBFMQ
qLGT9qnOKENNz07g8wBf6HGw0mIH+asQzPkucqT/I4a9A2p9UQtdsruAR163SSgHP0hbSm41jDaW
jbyINg7hYkgrSCX2XvodgqJy087k66mnOLaLjg2OjYrMhFqMjYyphNQxBHeXJ/HzrclPtKUzjEVT
91HfX2ajgucQ4s7BzZjWql3Jy31+Z0aJ6t+TpnruZA24Ft8l9ovsVkA3rwpvA4sEELrLXN66904a
uL46pbD7dNaMGQ3d0nNPss86OKv68gJwHm5iNooMR+KFnb8S4p/vIn6sHxhhiR/NG0wLn34woF1P
Vmr/weLcRLYO/Vg7MqAgDR2XxK9/EC6LVyi0ll+gx7omPGD6+fPfP1z5KLQn7S4ZuwtapjEygFHK
jmFp2V8BxbBX4GKmqZ/n5kMjsEHretmk/AJx6vLYEwySzAAsLWD3LFCPhaqnFCt7kalD2t7Qpkhy
xiyJbm0Pd4Qayq/wD8jL/ZiuymWYlpQe7SGk38CVFU8QeoJrTZuJJr+tWmgbrvTB1IB2bMSJxC0k
sPnFbpP2VlFozsFAc00o4/NT3Nfd16D0WyHrntFLzOE1dc1gIsAe/RJSbQ8QzGO/R7cL45VNyzAb
erJC4C3U2yA8XlLoMt+EoSQQ6GtHWCSIZKXUZmpiPpQ+LC4pkHSvJtleIL0W7YDBza6wprL9KBlf
6YVh/er5ijiCjJ8FjOAFRxoUul2IidMziyRybnYD5eevchZ4dnYF9BehWrtpP9YzGDFUjHFME37J
IVF/U1Sec7Tr+Ovyxw1rQE9gtDiWhILeHvwzJu8GzhBvwxyVgKdN+yiDlPq2ZrTAB89Uwvg14xcC
l+txZ3tjHe19P77u8vJbMOsyLrdjWgNa0NdDRjKbuOICiDDk+JgkN0EzTvsMxO+Vl5mpCS3oa6TD
nMJzygspIS8qI5wlYgSfMyjydmXGTU1oYW9bENKlHYWEM+4T4c5vQvIFArYQXkUuFFyN5bEyTb1+
zluwlWeObC5A20EhdYDkOrPoTU2qYZfQzrlabsbQGT1pjAM87hiwLxefCgJ3M+hQAGdZwjYp2Pbc
8fWEsV+rCGLJaX1RbqC+ETGCUmextW3S1AHtYLchsVrIoCyxdcEswC/xKBA+EkhALW0Slwt9PaFj
u93MB2PVhU2zb4xdQvV6h3yRXJkDwzkSzl37sDWGle2MeWmLixrx2rRFCluGkK9sIabx0WIbxZCk
4p6L0W97Fz4pkLid3JHsvBbp3G1rSAvrdAQ2oAhpc4GibbHHBjWcWMPswwj2/MoOZRoiLazpCJe3
UTbVxbfwEmQ+zOmEz9wVIo3p61pEpwHE67upLS82DLskSMtWAN8l3ozH5QEyfV+LZZ9CsLDE1eoC
4eHwNgQX+CcEebLLpq/r+RziQDq1c3xxgTIrcrNpN5B418FpZe2uZtiK9HwOK3BY80TlF56mw5Wy
oJYi4bd07Q71w5RAXGZbP7RIjjnLhgQinU++oE8cAP9D4iTlthgL5r59iDEIswmYSU3s4nZWew0+
BMr0mbCBmFz+8aYx0mIYotQhdmxWP9WJuBssUMzaePjR5OJ5bFfZV/NI/Ddh7uuJHTf0AU9uBb/M
yIlrPmZgZXaQBE4ZKFhRHLw26y6qpg5pQc3KAPI18ZgD11dA/Jwkv+HnoG7zjj79fRksD5thdwr0
uIaTRpZ1Hex1ShC7lTXrDLtZ3eew2Ov9NQVMUytafIcQcu4sNWABB4AODnUEjwAc4bsqXM3oGEJc
z+jEDLcAx2f5hRKvdk6DFTuQtAbBYw1oYmhAT96Qrs2K0ZnqJ+YDl2Hz4L4BJ3TlJWOYbJ1tanNv
chgsYC/QtE53Lg7/B1p6UCAh4FehZha8LU/353kvX6ebgk88Wb3rhm+cjvCB4u0EBzQLGjFk5tlX
YMPtkRVrr0WePYEQf15u1RA2Ovk0HpFOYomNp4cq6YkyC6ZxHVSk/75zVGWpFxBB13KJpnnSNgI3
lDErRsp/yAnYBrvn1XEUoljpiunr898/bGPwJK3FCEu6y0BGP9j/z7EpdWcB/+WxMjWghT2Uw0oO
HYziAvRAXT4RQIDTm6QHCOW43IBpMrSItwPHctKQ80uME/CKYTvB/gjhepemx2hMfoPivHY1NPVF
C3sp7CnJfZJfgCkdv8fA/UGNfPbcWe6JYVfRZQjxwMBKlm5zm6biK80BKXP9wT11VV+sJGQMHdC5
o3SUUemkWXubtsjVEpQpAyRjVn6+YSL+Qxh1WdnmqetchHJh8An3uOTepuDweW1wnAAhvIV+exqu
dMUwWDpbFP7oqIuyDP5EaQbb3zrt/Xc+Qid/DKzsn+UJMQ2Xdsb7wOZEHHTbC4wPYTYa966CDebU
jt+Xv2/qw/z3D8HnonYcISfaIzZKfgrr/rHN6/o6UqugEVMP5r9/aAEn7YgOMACJ4CTxLcwEHDiy
DrYQyx0wTbkW3LTH7SFmYrhI2GpcKYCXxOxLBqezBgZc4Gr2UHnbOOFanBMGR+k+7fmFFuk0/bBl
E/GbGGwS+jbmbVf8XO6SacS0GIerMEBYTljDJ9d5AvleHfJ6ledkmnDt3s5h8zpQUEQude0+kbjO
rgpWvDZ0YxkTYNR/z3c7WcM4DBG52CouJ2i0+K6T3tlgvQ3b8iE6BxS+U64kadJfaAd7BrfjcN6r
4bMO29ONVRWdBQrwVJTimTm9iS59kD5IxmOJ+k2ZYy/ZNMm6LqFbemND0kbN7zOZX/uYGH6IUbL6
tvx9Q1zovE8+VIAkFoT9EBF8PYbgPnZhPsAd5zdQt2+Os41lEvp/Qd4f4ltkMD2Nmo5d/KySLZg7
MLm7Ynkh+Z/lnhhWrKtFuLRRwIRF6fQGFZsX1ImKPTDCwwn+auEmyJnvanENnrzyYWAPS18UnW5r
CZzjvnIjOHIu98AQ0DrhM6VFGMWwULjAkrJAFzz21eqsrYe2TvGEJj1K1KJTb7wOv9duCXZ3guzL
VWLLfiXLaeiBzvOsMwVtJCdUb4DNwbYLvCjl3Hocpo0rMW1qQEul13K0RZKgASoK2CZJWxwmFa5V
iU1fn4PkwxpNPbgYQcNvvKSeyOo9jO+SZofn/pqdhen72indemQkMOkhF14ovAHaVFJ4kWd9tLGU
6GjHNAivcCoLJ/UWQkrkkU/E/417Dv9neX0aIsyZu/VheJRfRILLRr25Ex4vcHLuDrydvadcPMSX
mzCNkBbEwlbCrZqMXIRrwcazDit5csfZcGfb97UQRiLEbrp6kPCjwT7N4ZQIu2NCV5a/aYC0Exkg
CccuIP732GbpQ1hE8kjr6IS75hr8bT4cP8mC/BVv/DADYOVPvQyj7pHW8KKByXR8UybwSNnNMntH
kciXAIyWk2DJU9elq1BVwxtZ53Ny+LbDbY04l3BAQt6F1dUB7m3N3Qz8CuCXvjJ8hsnXlQhDmEzm
iAtcCeaiYisIUnqeq8Kfy3NvmB2d1JkOZZ3SWmXvwIrLKyj9v8QUdpkQCvi63IDp92vhnaYws0QC
NcSzYr7RxFUPA9QpHuV02tbA3LMP0w9DqsAGzzG9wKQy9B9k31XkRwL00Zo0t2mI9Agf3GwkHtZX
m1X5Dobpcvf33tR3eKcu98HUhBbhsGOE7Vil1IXA/ru5GzwJR1cbkkQu3zU1Uf4/y+3Mg/5JqOic
TV54vlNW0XQZkDi4qrPqG2WTeAbA5otVII203Irh+qTrDcoR9GDlD9l72M+emYByO3sire4b3B7h
lmgDY8twKdkYINqlHC6TUYLiTorzqWPfaVDABwB+rtPVcmc+X7+eTtkET3+AeaeP46/qHBiv5UkE
x9lyildqDZ9PvadrDaZlBVxhXWXvYG1fUHRFCjcR9Vve8eDrcg9MLWgHuKNKHxqfgXyc0gY2RT48
wtOfQ9pa0CDDI7/5vdyMaaDmNfchDuHd7Pjc4eQdzJawfqNuVOffiqEKspUgMTUw9+9DA67oRlgw
99m7G5H2AIK2fXBk+2X5138eGV4yN/rh43UTQYGwK8kFBnJw8JA/RYnSJzhvPoBnyA0ut2Lqghbn
cAruaNE01teWtLl3FKjg9vsIfPk12vp85ftvgHs6os23sYFMMk3f/Nb5Ay9JDgOs6n4u3bchuVY2
7D6dVWsPU2+0k13ladFxO/cu4DpB+pz4/4zWNt+W0NNxbcypYbLtlN6F9M70O7a99hY2nmsAF8NP
11FtdopSZO2I7hGiPvEX2ovO25dQ5FjDBBjmQYeviRqMX1uw7Cws4e8YDW651ezIiMyQxIvmWFrZ
dV+sOrgYQvw/aDaHBAnK9u6lhSTZDlMyHH3I/e7yahWvYxoxLbzbAs7fjeiyM61mg8gWWgiNglvx
cmCYOqDFNuOCFD1z6DttCnHtpjK89dLJRraOrqUlDBGuEygJC6Iy8JT1leR9cy+8dDikyTBeqwbW
iFG8jTTr6eRJJi1Z1DAwv1DLDfguJtx+T0UH01XLC+L35eH6/IT1dOpkSrkzwBwbaCZR0KMdQogY
NtrBaer6u7EmV06frt2uTcOmBTmTsOPsB8xMWGPXdfI+B+nfi6+sgOZ7p1qNd9MK0I5xvwUcuEgF
fa/dNjgolcojkN7qNkn838uDZmhBB7VBvdYRtpvIR9HiEQCu0fAEJ04H4Opiet7WhPYS58K2Got7
AQQqUAG+GjKYzMOnuxyrfV5MawV+w5TouLZZkR6wLCd7b2r+f5xdW3ObOtf+RcwIAULcYjuJkziN
06Z19w2T7u6CQOIMQvz673Hfm1QN5hvfJjPIOiwd1noOcudhNWzPFPBgGMwmRMVm5eazNF5WxAMu
B9Rq1omTV7ViB3w2f3B08IK3nLcS9R/r6zPPxrNRGdVNAFrk164bT5QigV6n+sAjVIKqqczjZnCC
fZm6v9yUqkPfibVazcJuZpPyeEgBwpcFLFi1R29EothbGPF5hSi59HXrmG/ydk6Jk+anRgPAk8ls
3OY5VBMuLzJ3af6t97oaGPyGNSnvE+m4Wx3OZOe3hfcdZufeJ11Kce/DGg5Uw8Q0+2SAci9PGtgl
Z67cpYH0HhNohHwBk+VLN59NyaPUuQ6XA6njP69ROnLdYc5c9o3iYVHHOCXKIu7xplnbxZeG1tom
RN8zqQ3vn5in3ds08twxdqHLdx0JzbPxbyrIIFcfteKk0BBcZ2dvjhsIOa+xpRcuBjb4jckEXvHC
o99SSchN6mXuhrXtuIWjK900ZfZzgF02tGdRW7i8WhYGzKZPuwKSDXzM81Ot8gDlL28oixuu5nwN
DbRwFtlouIJAHGJMfaRfNAB3STB8TvOyey6G8ViaMN3O8F2/7vpsA+NI2MgsKN38RCTWfJhmoFII
4GHX9qOlsTr//d0jYEBaEGbtofOVw0DR96E0PDtJdLxmIiIbU+EH85QJ2Y1fmHsGOARIFMoo+3nd
x8+T8+6XU+UQFyby3tEv4Fd+w0zF1K3kQfH1uu9bZ0FrprkriiF/HWsmwsPglElzSmsnHNXK3H4c
GJEt0d253iB0ko5fSBM8pEF2VxSwn2cgH8OYCERTp0RGezortlzXI2uuDTIGrG5VcFSNrh4BM6NP
LgOX7LqvWycATViCBHBQvhR88mqIL0ShM0S7EvbuIDVc14Z1DIjOJUgdOGAUTzjDWFANN7OsVraN
haM5smW307n2pxFCRgcIut4bH4/IGSiptHo+Q3PUWUEcMIFPAfwuIcWVrnTp4ytHZEMo1MQCM+ez
fxwknq5+D8VYNjbmJqSr2eKPt6vIxlDoroKpWaSdF9K03U0Fw92YV3iWFRPvdiCffc8hW3dVzTuy
IRUV44U/hn37Asn+5FNX58UvHdTNZ4c41FlZx0sTZSMp0mJWSUf84QvV7qeuKQI88yGImwbmzQBO
9whJLYBAkWYC2MW/d5Jy5a778WYZ2RLcbPY7kprcPaZeDcViSEO640sgg/oq3zOo0Z4Xybs9DfSf
qUuJz450FqK9YWdLiB0KmnSlyrvUAWsH0E6rnLQc6JFM3ZDdpHCJjW5h6jL8uhyfC4vZs/aABnA3
iI3l0bEKsnnaVE4K3Q9eoJi2aQOv4CsgjqVuWNtAFcJjC4ZO/pEPI32C1BRkdBgk/y934uO7Jq5T
f04CKhqh9MMpe1EQQoyHvGO7JAv/wRLLXnDTbFdW8VInrGudb0gNCbIG6ig9yjk3aUEgnATX1rpe
uZIvTIaNrCAaenJlQKqXhgOzfIavJj6kyWdNVmZ7oQc2sALq3W6WmYEcTUpMdId0qOff9Rq2gNft
jTaswsgmTynFkZK2mfPmU+xSRd/SKg4bpBguz/ZSJ6xjHgqRenLGrHoVYeTPcRJlIojHYLWWvLD5
2sAKU5C+qFIv+FdAvbtVN05YCkfGRdEM/D4KTJic3I7jWrRvBCraa8qFC4vYhll0IJL2fV2GR16S
fvLjssFT6N/Q9Yn3HRAbiGIHA83oSkFiaalZcU/KglFST9WrieBNIESWPqQCimMoel1XNIhs0AVz
0ykn5TQdsQur/wlTd4lJ3qYk1CsXgKWlYAW+cNsKTyxs78OkwdBSuA1HxzSqvBXcyNIoWRFPGYFZ
lMrJEeU1098JP+qyr4TPXrur54SblbhfmHobfAFyEQs0QG6vIuH0wS+dr9W5RA8p/OYmRDpzZf9a
asZK/PgCTNlCevQIi4UZ/s1pmrgkinnL+2or2NiNXtyOgem3VwWqrbhNR9/XRejKV53INtwMgwyq
B4k5Klam/+OievQ79/Du8IWcq1vSRNWvfCwcFeuwA7ykAdrqkMwqu8/0kL/knQhKVNyBSnTudN+t
XWkWloYN2GgqErCwEMmxytUXCOml+6x1P80RkXeXR29pts5r/l3nqKa0gxOQe+QgmdzgkpFs9XC2
9E598Xmka/6HC08a2z1SdEo1yJCWLwZ+C3dmmsauiwvHx705y3OGw64QfvZkMgVWQA4TxmCNgbUQ
vLZONzok5hD44Fc2DpABNek8/AxHKNNdd7H9rfDwbgATkdPALz14IkC059Hv+jLYkCiM7jJvHPhK
TC11wtohCItq1xW9d2QKobNr1JA3uxYE2JV9emF6/gJwzPMoUaLB+0me78v1OMU8cJCzggYA9C/G
ba3YVuKQWOnPwrK2kRxJO+ddNLcpDCuGOYx9WIbtedHhBK8puw5NFdl4jiGYKzzbivlIievRHSOB
588bJ2ehWtPs/L2K/i4yRrbyNusZDbjbJXg6Q8r+hfdERTJOBe4kMjYDOO/30Kak0X9tN2fZBnTJ
MdvCeIuLfQdVhGEbqKTOUCCJov7mckQvrBXbbZKzqQ2GBAt+8J326E/VoGNJebGmHLf0/fPf3y14
cHhIG9VtdGy6tnG2DUfmblNM8A1fud0tNWBdGiBhHeWOaNrX37WvwTCUP0Dt+HF5eJaWHv3z53e+
qocyp3hKpT7kDtKgh0QwkowQhAw4S6crV7h1Z9CtBq0/S4NjN6dl+JhUtfOfBmw2eQgmv1t7Kyx1
xtoX0gZiXkZWaAXAnE+pgNKkicIA3uTuNVL9jNuYD7gEtn7np/6x6QG12qU1gHExy0DTvDwdH58/
ELb4czqGxEvDws3bV0K68a7LkIPXoD1siA7SbZuNcuWO9fGi4rZidwIppjLLXPTDaQTKHMKMbJ9P
ZxnCyx35+D7Po3MH34VF03qwlwQ06pXqrn2An/dcne0ZAopjbo7mY4YLo74FLAvK89e1eF4U71qE
vUiYJ0GXvgyO6598iBbFRWKKbUrcciuSGppxJI1Wurc0fue/v2sMZ2hCIN3jH7V0Q7NNeOFV2yRM
ryPBwI3lz+/joQN7WQI9SqaqdoMhM3fVJNPNiPN75aRe6gL9swk2qAjCR1H/CrVvF1Rj4xy83vOu
OkK5LW5UVEAaABtVPiKnBpOsmjZ7JbMqhsUx3fGQnTf8dor7djVDuCDry21cCHMA4g1DXuNq0zo9
9Hxzk70Ow+Q2oFfWPIG9sWru6TiIp76DDc3ciz3NSNTsnHx2+hgSzemO167c+KyEw3o/Vl/gAAuw
BNMATivdNixusj5q4JswsvkGQvE9NI+dXIRQDaeoNDk6DL072M172dNU8aI/kDH3q+8AVpkmjbM8
I91trcFgW7mvLkyijVYpwqaB0LoYX7XjREdIh+psj0LztMZ3X9iP/kKrlCAG5CUNjgWV5MVolKKK
rOMHMxdFjHzA2s691M55G3kfT54E9aQrx1fiw1PLsO5uqKBc4s3IS0Kg7vnyFvHx+QD835+tFFCO
VT1u3keK1/4IfmfXmA1ILyKP3RlM/sutLPXF2ogGSCgHEWvki3Ac9UlL5t3+ZuJ2Z5hM7BZ6rb62
1B1rEyJwVfakEfRYdW3gfCKh34VxATPT+tafuO6vXGPWXtT1yIcl81g+6hr8bjgJDLu+W1MOXlrA
1i4EL4FpYnLwjtXgD7eiNn27A2mh93aXJ2Pp+9bFg1Kezp07jpDYKtjeJA6okU4RrCrlLc2BdeWg
repTYA/rV13NnrmhLGo1JN75VH2dvbTpjld1w0aoDGNTV3nKo2MdEvXQelp8k8DMrqzYhcPaFodm
voTeuaqLF5g6THE165uzCPVNCsT09mxG63mCrCymhfGyESpD6tEhgnrYazX1sBuHWL128HrP0usE
OXGS/BnjqJ/4dEJe/cVPQ/YPhXof20TTnA0rC2qpA+e/v9upTJKWvuBZ8VIEUkLHp6huEkiEx302
rznPLjVhxTWtcb3vFMoPBgSSJzPDUQsyd1X02Pa0+ufyglrYpGxpaFP3ZdhWA+5nZzakcNWhc0S5
kR54Hm7lOSsY5qVmrPAm0UiDqcN0+5kG4DHm4Kl8A6mkMrdwCBZmM4qIBGsKWx+npmA8/efcqMlz
ZdAnwwttATgYAl9vmiD47+x1zHgt4qYK260JhjvorP971TjaaiFQLDJRLcrpRTcZBcUq6pXeMhDV
u20nmJk2Tpo5a4oBSwvD3sy4y2Vd5/Mx5UMid36Y1TExNCXbFD57m8s9WmrE2tFMDYMCAj78EU94
pAk8/QRYmdxD+HJNoGJhUdhImjSnRospyT9XrKIHXZwFserclQ/Q+1SH2V3Xt13oi42pQUt9G2VI
SHY9THOrWdxBl9DsnXlVEG2pBWvJgaScwxYKorZd3mbTDmSj6KtoIV1wO4sZEL+r5sRG0uBhK8PO
DbwjCYIAWqwseCimcPqcdtka0WThoLQRNEzUUwHd9hT7ZlnA2MchoN9tIiWJWXPTWzhmbLVwoKZc
XqXUfRPGaV3YCSkmbvLBrYLN2LB23EBJLMkgLqvS67LhnFl3l8LjDeAVxHtQSPD/AweBuf+auXla
rNwol0bN2t+KacoSKG56D4k/uVLHQJEm3iMl0RSu7KBLC8yKecAEiyKr9XwkYV7527TV9ElXqWDb
ovCvqxRzZsU8B7k/U6XfvXYzCfq4ShrIObQiyfrd5QW8ME628hSXWZSRekgfeR5KN244FBI2E3zi
VuZhYUuxhacGMAFGEbbJQ0N9CcsWKARN3N0WyDndOMGasd1SL85z9O7shyqw6nmH7E811YCaEZz9
fAzXHuQLM21rNuUgxRN/rqfj6Mhuo2jZ7oZOkE/CGVYOq6UWrGhowC8pSyGGY5rPYPLxstwUrWwf
R34dp4/bKk0ky4LGL/P6tUM4DNtCzqD3+fAUjy+vo6UT3oqGAnYvCRkrcvTzoX0EbljnG10Nk/Mf
NDx8hrs9yoUFHkHRWGRxF5ap+NaDNdVdx7jltnoT9QcQ8OBAcBzmMwqUJ334rehGvlKU/F0B+juD
zm3xpqadynHyEudIqJcPsLmQpPvlZ+Cp3qV6LoJ/FMiScjfMgcEVx6tDJ3xGkcLh26DNMxeXN7+h
epcgDe87cTjW2bgSwgtwIv4XTNHRVU7oqF/02SBaRS3bkSjYVWl0aCLvv6rg2T3PfbapoT4qE3cN
GLsQ27YUFCtCn5vO9EclHNgUcSgHEm8ku4ZTEk/eGlByqZnz398FtyoLp4E4NsraVT00R1r7Utym
KWvJThcQuTnMDq5AK/P88VFI/srbkCZr4C4sn7gIonFvitq5AZim2DBpKvdRJ8PRy5w1JaWP9y1i
Z3HKGenPvu/UqYS2wAlaA8qLTRXJlc58PHLE5hiJIWpBEXUKPFV8yHZC0MDZQClfRZsaj+8nwJa7
tXNkYRESO4WjQhTUIy+EZ1uFG52GvunOBOST4U0QV/n0BloFkBVj+eD2xYvbri2OpRG0dn7dAVAM
iqQ8jbCka3aomkbyrnHKJvxyeWM7J/j/jntic5AKHhlAAUkKp7tA7/T85dwrypofugfREMbAe7fs
flxua6kz1jEgUza38DpRJ5r73Y1qKHseEypvr/u6dSUyEdfjaEp5altTf29g6uHfwk8177aXv//x
IUZs9zY+lgpK/L06RYY94xUrn+F+R/YoCq+Zli8uMus6RM43RrwbypNKpmqTsX6Tl9OvnMC4T5SR
OEje7jupt1EiprdQraECFmwQiJ3lcQfjM+CN1Al22r+gCHnvB18St8o3aYvKBTa9YpM4auuG1b3K
i5819GxXztWFJWFngESdYEUHqTxlBDJ0yRRmz8It1iDDCxuEnfThLtNJ5OTqNEB5G8ZAqYwj3jS3
HkA3NfRtbi6vjKVOWDs49AQif3DT8sRVVMNGe5a3OeDCm+u+bm0BSZY0UIYM1ImBJxG7qKndVtpd
c7ddiH+bdiRyUoBrz9TprIXBUzzsU8N/qiz9OUV+PEDZG2Lk19KriJ3+cQKJSmYly1OJFqq++hdu
wC2MPvz/xhF3pQjiT046vc6T81175O3yCH58eSO2XRhunmUuJizvPg0em6J6yL3K+RZOtYSqSHbX
Vq2+QXmlBxzZJSu3lqU1YYWyKYTjamC998qd2LEoqPdrgir3SjZz4et2JgMw+6ry+gk9EkR1G0qb
of4+FG4QrmnvLbVwXi/vbiU1sHs1nNMRmB5FmsRAwFrHAgZV142PTQJi0AycuxGBX5cZirPd2bTx
CMrFqjLhwnZtpy4S6He3nRDqRJra/TyHk3k1imA+TFmv1BoXthc7ddElYVtnGZWnvhVCbGRH1Quv
5fCK8rnvbAOf8i+XV/BSZ86z9G42mKoJhdBiejCZgR6UIhBz0Wz28g1EMtI1yODCXmAnLVTqIt1f
DuqEUiWNIaL8KH04A7rB/I1FzQ/fzWEb7a8kgpcWmHVcM8lJ3dRSnRJWtkiXQtzKk9N1Ss2E2e+1
Frv7NIYwoijPTnodkqNCqrWrwNJvt4KbaJmEwvFSqMSDGdyNTbMFrG4tTbkwDX/lLIKRw9A6SA8A
HP6ELA2AHgG7GeCovfHr8Tgm+vXsz7pyAi8sYjuD0WmT9Tpo5CnxhyDGJbffZAr1w0g2gEFPwrmq
7E/sHPkgazbnUVn8rx1ioHAs3eLlqviws+GGIq/XDHlxMqV+8lCc2TLYtH8COaD+drmFhSkPzpH5
LgKJDL2MR11+MhCSe25CWnzNfcz75a8vxLedgmlc3CCics5PkKRs7mThwhC3asc7pbz/Lrew9Put
u3fecx0KMxUnN6D8CaSJfroLXabY7vL3l3pghXPja5SLhio75LnveTcAm7P8COEjp74ph24Oj5eb
WeqGFdedh/Jd0ePY4G3RxoabGqJabuddeR+10yxdmY4paN7lCWjm7IgPSxKrWZt/r/r5dpalclUS
Sa9K9tQvVAxZq3KXn1/f133dOrML6CIrIGvyE+x4HLbNQX3mz2mpTb5y0V3YK+yMSCJMOnHBipOq
TBpL0tMbl6r5qZT6iJuIvC7WbDVs0OB03faINa0C/1XVUVj/Vxs3KU6Xx2mpG+c1/C6WBXIfWVMW
EJDokdMRWFTbaSzlnjtS7wuQJNeyhksNnVfxu4YaUuPakWlxSqYm3wBvGmyaFl41swTYh5bKf73c
oYWo8K3gNhKakSXEb/awXee34N8lb2FSZisxt9QLK7R9R3re5HviRCL3lxqdyImrxn/JcRhtXNzY
1hRqlnphxXbrl9orDcPyhW9ps6mCHrzwKNH5mnDnwjvA5nLOGugwiAjLE5L2Um8EkOHPZa2bTzmR
zj912NFvIcTIyDY0TO8Itpjrwt5meBoQIqUBm+QELJ33vQMe8GvYpsX2qtm3OZ1MUcgwlwUODzrJ
R88liRuzvrpOTpLYbM460TLHXMhTUE7VU2cKdQ/vV76pknENarxweNjEzW5gda2GOdrTs5OQKoN/
xOSFcRCsZZ4WlrBN3HRHaCTTPhGnsDEnyhOHxs3ofhvN2a+IVunX62bCinemnGj0Ric7EQODGZhm
3o4Byr6XP740SFaQV7LuZyeEbEIFns22xKZ40w7sZRqhpnFdC1agkzRINQMy/sQzX+5Yb+g2GVmx
nf1V4dClibBinOsuBa0eCi7ndIOJCH8lbUpTpDXKLenLdk11bGEv+Y3VfLfzpiovjenaaE/m5GdX
Z2YDrYM1V/CFj9vMTR8CSsKZk+zUIHNy7GCJ5G57XJfFdee4TdxM+671uYekr+tn0bYa3DaNdVJE
ny9P89LPP9cG3o3NMHvQp4SewYnBvu+TzAp+0kgdrDHml7KJthY2mBfeMJl2PIjOiMfBEz9TGLPE
Z6PG37pQ2oPbGalK+egrBRgr0du6uzJhbvM53XJ2015KcQqilD0nIPGqDRAyzo/rxs6KcJT6VNKn
SDIHRV9Ht+U8tP1jzeiqGsvS5FhRDnYMfGcl5t50wXSXRm3VbPrZNWYlxs+T/EG+3+ZpQt17wPdx
t1I6KF5LvDcee1O+MJOrJ62UfF1Xt1rqihXrg8r83Juz4sSrMio38PVK9S4aqrW5WEqX20rZiqFe
WffIV9Ch+lon6acpY8+TC4pNKAhkgytyi0zMo2sg0nT1CrP5m54XuJ5sApwleSD3jtvUX0AGG9YI
DAs7pGtd4lUUhMwEE84Q8HvuYV6dbygbq03FoZJOBF9z71s4Tmy+5lBF2oOgTI5iDKwJ0vMTivH5
U2QCSa9bazZjcxqbCgbLGk0Y7cdVqR4yozwGrVoH9BLmdpuQCu/KjKXN0YTo2ByOSZ+dhqb01Y10
Knfac+iprGVKFvIytq42zebQA0ISSn2zVnE6ShNXYfig/c8plBpi2AoMD2Xf+LvLW81CpP7F1eTw
okwjHJW9MzkbRwHT33n1gbd+valo+ZyjHrWSyFzasm125tw7RdSUWp3CodIxNOHfIohUw0v5S1Al
NGZ1+bXpoHuDLebZhPRe187Py71c2CR+/6J3hxFArX1xpq6dUPfunqpsZAkSjmZY+fzSIFqZOt94
pPElOub3OIJwaKuYUVptnWl+M6wq4gGov+1VXbHZm8gdtAFxG3XK5+pxkpXYIkexthoWxsmmaqLC
DcncfEQVqKm+Q5vOiWuIR6wE6sLKtimajQIgyglMdKjy5JAU405UAF1Wo/cQzdUD2EWPsg9vLo/S
0lqzuZooZAbp4JfNvTZs7496ikEt/DxA9Cg2PdYYC93NHGaf3AFKjjk3b+ey4+W2lwbxvBe+W2xE
+WniRUaeChpJuHDKM4suL3y9ErILD0xybvfd942KIDRdJ8hOoY4qSH1PxZEq/z9dDqchhGVxA+nV
aVilHi31x7oshAncozvwVH63504z3xJkQlcWxdLxaktzU2QhcwOr8JPs28cShyl0JPrYL8iv2in4
pg/cT7UP4+2aV/etBz/By5O0cAD+pdUt5o6MKSTzE8iPx+Ca3PgFEq3Uwc7Ue3INFLpw/hFrZ+iC
rlSTyNsnjgzGc9e2Bf2UC3BoYoe1vnN3uTMfzlAA8tyfKwKk4jEvmio6aIXoOjuUl15+lYgIPm5d
FZoy6T3HqfheNHLkW6bH9C71IRolRtzmaE+i5+t6Yb0Ykq5sFW1EcoAoinNgutIveSTEStQsjdF5
IbyLGuWE/pj1gIXAU8B5aYlR003vBZPZXv71H840hun893ff12HlEuC++R5Q+X+grpVvqWnpBjf4
tdfmUgvnnr1rAbLAM6oCMjmQxOTjpsk5bjmgtIzPZeWuSUQsDZMV7AyKGF5JHYk0T+LOGxkydWjO
d57NdcNE/+xEVRc15Joavq+q9JsA/mXbReMr8AZrSpxLo2S9B/xicAdpknBfJMBcw2rq4JcQaPh/
PMw/3Dow01ZMpzDl8ZDZDQ9FH2L/mNgXA+3hPQ+goVaZt8vjtNCIDaGrwrJMssYfUGea8hgVpjQe
dH1qIubt3Gh1f1qYbhs7Z0zAORhkw5My/Q+V8PI2vHrnsJFzJKtdXwdBuCdjmZ+g3Sy/wSa3+dwo
NZbxbGCsuBJ8H58iQWQD58AbTvN6Qh3egYtlW4CZ1iU6+VTU8LMM+zNZGrXlz+1ooOOiip+CtafL
87Q0gFbY+0B9DFNVjxBXhmIm6VF5iUOnNleZ+KBj53bfBT1SZVNHaMsOfoQSrSo7uCv2ULO/7tdb
0V7NXHTzmHQ/8JjpC+D7e/ldyOtwV/jxVrCrFprWqTbjk2Gii7sGWD/QIa+ytcTXrUgfOrjSEckg
nuzyejO4EmzlIArHlZn98FKPz1thzjuj5pml+knDS2yDq1y7qQbgCCH+s8c7KYuv39ptaJzwMt+U
Y9k90TL/yQ3YiQLasvFcXeewh1GwTnETsSEBrlCf3YjuQH8U9/OgnWsgsvi4dXKneJOoUkwExOlR
bAmHuK8gxOySceie1vPrC7Fmkx9VllSmoHP7RJso+UZL6MpuQ3eKvNvL0bBwdNiq3Jp1jZ8NvntI
Gt79ICWMpuig1ecxK9ZU5T9+l2CorHhmkuXFCDOjQ8eJGMdPhYRp/IMrapxboGlHI+9jMaCOcKd9
7MneDdBFQ5XGnDgjh8B1VHSSxU4UeGuTtzCqNjSj6souSrlHDr6jX4cR91851WuaOUsft1YGafMe
IEXeH3jHAMCCrAEEQEPqRHfXTZm1gSXzxOFo3boHyvkz7wCHHLI2+twy3a0cxAs9sGF9lWvanAXS
PZDShcVZ5FXPWTCIa5RKsBysPUymXgRLCWQvhYaGRKqTBNjycu1xtfTbrS0MCna8rUZlnnQ9OQ+S
gpsfhMhLXB77ha/b8EC/mIxOW1GcfAegyo433t45pwyu+7q1YTUtqRxVS/ZjKtS0yWcvvMtU46/8
9qULg40MdFE/SODKCmQgMrqEBi9D2kVfg57xGFpBYVzK6KBMlN8QE9T3s55+XNct6xnSMQPbAhhD
HUCAcl6KAsr1RrvfLn98YQOzoYJwYROkMNggISFbnopiek2TcH4YGES9rmvhvBbeXUe0D3pSOjG2
H9j4mURFA1EDlcSloGub8IfZDShJWBEt/cYrZR45bxlwgjc5uA5ich/aYkb5DufxBhnRn04oYQ5b
Xzkl1i2F+gHKEmFND4DFGw5yUcXSh4yua/cv3OVtmKCYXRG5LSWH308SAf8BCAa1J+qlP+fR6Nfr
psYKdo06G4ofOU4WWcNzc0j0F4ICXB+3IDNdJcoRRDZqkDIHLwa3J4cEmqkx/NbdrSg8sgchany+
3I+FBWCj7EahxyT1dHFKW07BgJIV5HfFz6TqfhgIKcQpdEdiEDkfHJavibAvBI6Nu2sip+gDgRmC
E224/d0tvy39net17srlYmG3tMF3VRKUqXEHcmC+n700jDqHqijXQCdLHbCiBryqJveGpD8g1P2f
ggfRcwPDhXAzZbX8cnlilnpgxQnrs7Ate/SgCcsBoP3uAIb7GjZx6ePWQai0gXYd4I8HiNjQf1in
w/GhNBxKCpd//EIM2pA7ERZR5GQe29NQNLGJkB0lTuM8lNE83DruarZsoR9/Ye86UDJYXxOUUSBn
VnVddQz50K0Vu5Y+b52KXEHRzgNDfp80gd7QFJBdWNR2m8uDtPR1+7YGoe4xiEp8fUycg2kglIG0
fPD5uq//efRd/sbCOrfdEqhxAi8MBdvjuQ9/MR/OLkPiphupVy1ylq4G/nl03p9xyZCbKZnED+2U
/4oJsl7aKeov9JyjKhvw8jwHTsB1g9ThmLjBA7xMguseUjbEjo9DPisP3j+qhwGcnl5/JxLxlPo1
Bcq5uTyGS7NsxXHayWYIw4ztIfWX/sPMXP0bZTR7ue7rViA3JVFlNs/0f/scynjOwcfBHV/++sLh
YIPr6GSkM2jj7/nE9hCO+0Vc9S/hmtw0IJT1vHrM3b658/Cfyw0uDNZfoLo6clE8JsE+YXl1h+oy
fQKWRa1o2C8sZxtUBx0l+AjORPwo5Ahkf1klUGrLS6/4Mo9qFeq/1AcrrMVMBdgVmfjBBOteUYii
/0rgEK97gtmwuiQJjSecMNhXUJiHgRnqhb4ETzrqkjXk3ocdYNyOek5rJ9CoObz1DIWn4MyRRhF+
TRLmPAx/g1W4He8E9t6eR53wTcEc7zaVkN2NlUFAgAybvYRdZb41jstW3pMfTjn6Yp3UEIKfo0hp
ciwyF0ZIAVQWdC7Sm9zBIr68Zn/DbD7qkRXhaoIKtxojfuROnpmvCUN9yI29AaK/HRQ3TVPc1zjD
g+8Mw1jcCOipiT1xugZW2FI0iQ+mlHIKeDfk85RsmlmUqo4FpPGmW8xO6cqtbiUmmg6t8L42XgGx
Ze7WJvtBHdfD/YyHU8OmG8e4aXNVWZXbxixdjpq0r0rzksCuHspAAmy7bV0hs7WykJdWmXWBdoJI
d4oE/s8MznVwFCJ9DYJSBfHyvlrZvhaWmr2bFMU46aoLpxcwkT4jkRNtGp63O0GDrRs1zqZMVrW+
F9aZvbX4zpwm1O3Ct7YY5lug9KH0nFb7qK9XUhcLcsjchuwWke9pVA/MS+e5vzQRdwnhZG8MoTdd
JGFiN/oo8wPOgQrJ7DfTI/If+a6V/sqCON8bPljl9saD+y33HN5NDxSaEl2xSxPSgurAoZedviZD
4kxvMx3WdPuXWjuP87tbweA0qnPC1n8rAMnZQO1lI+GRtUNt97nR0Ro4dmENeue/v2ulgN5S33uQ
LU0lpJAqAEDvxmGcf17eGJbWhLX3aN3WPS9d/434oOEbOe4SCsHSsRTXCQh71sZD8ojOvlcGb3ps
0mTD56avP8NuwCcri25pFqzbRVvOIcVtAnv1WS2jgzFanMmkiTMHesWSD/5KoC7Ng7UX4CiruZz7
6JjkEf9iwEip4hKqu9ec+4zb2F7An/BZKLi9NUkXQCnI+WnS0NulgyevucqjBeuhIGTujZlQ4giP
pPwHJAWcQ+dkw8o9dWF4bE8WcFvcFKL+5sV3KdNxoodh2LqzK9ewYksNnOf/XRz4FCQj1Un+VtRt
C+zo/3F2ZU1y4sz2FxEhxP5ae7nd09V2e7y8EPbYI0CAEEJsv/4e/L30yK3iBm8dFR0SWjIlZZ48
J9YXqVYR9JZdZMJ3tc40j7pSPQyaoQznt652vuA3CYvyZOfVKFC/b3Fv3lexDMv4Xo1DInpYQB/L
uaUIOO4nAqyJXwdHKtDZ5IJ6IXSY2o0N3Uf+ajDANnmGmSd6ipMC1D3fx6ztx5e2iaG/QUiGc+D+
qCzHmAnvBcEYBxx95N8Tv5Q73Qx/RSkvdnWPx5ES4c0VayWXtvkz7F0VsSjL0U1vsuLQkOD8WJUQ
L6XzsI89MCzPbNqNVfuIvPLaI9jiJE28r4QgM4EWArpkAflEElQ4oQJQ3EDsvWb+lgUywb1khLwz
YufFs2jb5iUWVfYyj9O2Aj2wJv53z0GXcgCFGmXPBA7LO8oetXQPXRcEa6VAFvMxQb2lAFw4Hn3/
e5h3waGIIeNZShXvVQPYjh7pNhdmAntDXkawzzz+HnNUHMEdhO8nB8Hm+3vYsswmkNfXqH6us7F7
oLJR3btY6Pqd36aw/NTV0aa3dghWqv+uhYhcj/GE6wcakQwl9CiEls4Rmgf+vMKgZ1sMw9h1E0ZD
1IGxVTJQqskp/IZHHt1XKeijajk8358t2441DnZV9VyOaZp9YKmarjRpix9Ju5oFs62FYeXCH8PU
jaL0OZ+Z35M9oFTQUdixIi5j9wqAf7Jm3IsNvHFn/B3zeeWPGaMkJNAOesbqqxNLkkcd3xQBO8hv
l0wIYM99x182zdofWN0krpwRGkXPtBAF3+WonJveeV1Q1CuLb5k4E68bZghUuaEeHjASD643ubCw
kReou60FXCwLb4J2uetGY0hZ+QwCovBc+T29IeW38SAxUbrQwdZNBR2/Zy4AnF6WQ7DhGYl4WApN
/oYi20pSwTaMZQJfrfvgSz+OSaefEYsCN2AGgc2I8LVqCsuuMhG5ogAEaGRODZ2w5DHsEWAGL/9Z
FupHPOGQElN9Dup2Zc1tQzEMPuVR2gDwoj8NPRHFLgT2LHjoUMYRrbyrbKMxbD32Ret1Zdo9i9xF
wcGIm0rMEDOHgvJRRIU6OW0ADSzarAzo7YBrGJtYXOnnkhV5qx7yFqx7kw/1OK1TdckphcIJ3scT
UKFHVk/lkQYdKKt6qLDet1Br38ZFP2+zPIRwQv4coop9UZNPHTBS+SXwm2FVtHvtz09jhcQ5RDOL
gyNRjXy/57dnOTIxu5Vu/Sqd4uzZp+F73i562GX8IsC5ghomgDDGCeGzAJed+91ZBgpR9/9agKo7
EoFEUj3xYiIQEAGnXXoekrrh3yVkmfqHah5z/9gENKx3tCJIwZyp5m16YFlE5Br1gfU7ljvlK0uE
EktXUGdU2LL5dB61KA6cuv+mjj6C9OLm+5CpmFQB1REfshQR0vD3J+DtO2tkSrZQsHQkZJ6yZzGg
4gkUdFUcgTc77v53VC7MY/c7evtAjkwgsIySLvY5SME7qEDdsrCV56nEdR/HZ/1zZJk83u/nbd8P
Xcr/TmQ6aUGk2/bfZQBx0opALpgNwfu+TtaKt972NJEp05J2RdzNTDZPKuhIeeiGOP3cofz4x/0B
2Jo3/EzYFEBDkUI+cCZkwI+hQ2NIqAQKDMan+13YjMy4WPhQZxm1o9ObaJAuYgjaKDaSUzzV8uAI
vZ+5uPVuFW9cEtOZhJmigDm1DyTIoCBNPKf2ruA+DLrPrY5R6HJ/VG8/iiITGyxZS1yoUlfPodde
Uw4JHdH/gyvGgy5QzPLbe7hEH9vlWnO/R8ueNmHCuYrrKp7b+olWIP8mVw5NN47CNKgro95Z8iqP
HloWDHxNvtI2RMNLpIhO9xNeYp/S0PtMEXv8GiPvecSez3ewo3eB7D+OQYA4cD1uvOtEf4CIE+az
EPIcz1LXLWgdm1JVJ7ed/S/3Z9HigmLjEuL7LO5cKfkn1QKwqlxE1h0yXtIAd8OOvAvqeI1vz2Ja
Jmp4msacA5FZPqPoqXxJaRE+13Xy8/4wbI0bF5C8rcO+DmnxxCFmiouaZDQ6zXTs1hgqLZ7NhA2r
iqN6f6Tlc+qkWfDAZFUWT6JFuBciQwlDeffKtrZ1ZLgHrlDYRFxMky6imO9BPAMinikq24fAcdc0
Iy1x8sgEEtOQdtDS6sTDMDT9TiRzesghrgSI7PAXKO5rvHOgwjRUBMTGflecRffSifbR6bcRe0cm
utiZHNrVRRt985ISuPucZ+cm8uNtk2gii1XQxtA+rKtPzB+hIiln76BlGzy6PhPf7+84izcw8cVh
HSiEG7hzC5MJ85Z2P1QxHipcqSlrr0MbuZB1QZF/DbLm+z1a9vgfUOMizqaAQmIFFIK+uoY+VMwP
fKqG4e/7HVi2nok1pgMqvAUf0lvl5i5wxlEzP6tE47oFddk1t22bt2V0r+5aehZe789VegOhUrIn
eXObMhQQgBkDyrbB/K9P2RPt2M9y9n9tG5bhG1A91OZAD/Mf0u2G4+yFYMNXFFf5aHBWLs62QRnX
BkagzT1S37lVXS4gXhafIBMB0DRfzj6Q/eqGnBd65H55Rd4flc2ETZguRBG58N12+lmlkj3lE2gs
KpKJM3OAOK4alHgNKYNMWjOkZ2eo6F4pKDGlKvkaQfPpcP8rbHvSuF2kXBIvL6rpO+kC8SkdKiye
H9Xn+61bNqSJ5gX6tSl0WGU/IE+mTwi410eUXXa7msKgt3VhPEGCEsCxIhmyHxnuqbnbp+cuAq2M
GtNmZW/YBmFcG6awHsgI7OstRm3xmWjUrldQSN11XV8f7w/CcqU0GT8V86I+a1h0Ez2iLYBB/laU
gjgiXsgChcUq8I+b/ZCJ6B0C5REH4JwfCorAR1LK5q+CAnV7fyyWHWVKlgwQA3eh+Nne/LSDNiYp
SrAltKiz2BYYiUwwr5ZpkyC6Hd2UF74fZnD/0gJSucs8xXNwHcEC/v8wU9vqG54hjGYB+PDQ3IgL
9a1qOcJDaMeh1HYbvC+MTCiv7h3eT6PT3YQsxVUjMEZ2QZ1O/95fENsIDBOfstpxAs7UjSsEohFj
7x+pCF5AU7VW1WTZviaAN4UUCptrEt/oOMJf6uglJOpHlYGQcwJY4/eLaFzCPfcHZNlhZnEJ1FA6
SA+I+XvnkJg/kLIfkTFiYoqylbuBZcpMxk9aIYTYpU31v7sBbu6HKhumYyfDl21DWN5Erw5RFYmS
s0AkN0hduTsB0Z3r7A5rDM62z19+f9X6UHlD5cu5ulUgwc7PldPAQDQ8cf0h8MpqjZDHtg7L76+6
wVFYwzrrCbwa3uc0o8Me2orbEk5RYBz6MZFjwUI13WRR/NThMO0Ax1hzIZanZ2AYdTw7IW+dabql
UynfEdTF7llVhreJabH3UO2zcacabwGthk4HPBlvyhUO6OhRVvYvVzVdib/ZFsCw7JjzgDtDz3+M
/vi94LQ9gBZrrTLc8rA0QcfK11mY4653UwnOI0kW1k/o371nIib7GudUG6f9ys3YsmFNnZQUNR/D
2PjdTXtz/86fKbA23sjfOYxsqmQII5MAlHfYS4FqB3RRq3kHgmJR7fjg6vFj0zuiWTFs20gMw07n
oGFVkkN63MFKxPnCENdRUE0gPln/2OQ8TORi2qSQSYV05o0mvXgvhlF972Q8bDu/TeQipBRb4SKO
dRMz6q4ATb6NOUz7/qdbDM8EKkpRFKkG5cNNkiWxSKHHiVK1YJdlRbUrZrYGkbAtg2HgyyPFpzzW
N5kGv4YJ0Ry/774guLOGqbINxLDsDODRph8n9mMEG/gekAgwQjXeB1LQ/EF40QoyyWLgJjK5Iii/
AURV3qq5vxAXihZBHny7vxSWtk3YoN+07hA7PdouB4roONIfEMhbC/NargQmUpDP2Vwsuhz/LF/u
58G7oqJnh/vvf3c0x/0XgLrXCohsQzFu6Onglu5QcYkrpwLdyvJoQ8n8123zZFh0WPkgFp0RZ5Wu
M5zJPAQfkzZZeyHZPt04qsEn5ug2qeRNtO7MkG0dXajWi3IbqCr6A/s3Nlmrddx8i+FLH1jrzB+8
blXK0fJs9oxDmsAxFFk9NN9Ex4fW3SWyC932mLjj1ID3ndZR9xCTfupOYOMsgwHR8nQGkwx4zrt0
2/qYyWQ/A11600n6HZLC6Y7VaXjoimzjXdNMJueO8MYQrMtPYBtoKsgtOoimNGC5LLZdEYixAbLY
VxNI+dzvRTMRciPF4L2fZ5xVn+5vX9sSGZ7QA/tm6GnwATfQSPgrHevqpMKXatQfiyEbQWYhxSEn
+UI3ss1peYZr1EUluFvE/B/g7bydhNb7Ce/NtTiuzWCMOw/XQZFp5UdPNOsdf4+gZzDufIi6X+7P
l+XaY6IoxQTuxcxpoqe4AihFs/LD75stwlvpsZq7j5thEJEJpwwzr+86aGE8kCa5yAjws6Qey8P9
cVjmyURThmHg4JXUhE+q8VL+qF1XB8h5E9D7bOvA9IsUrLE56vBvQrHumAIc+gMHSrNmeJYD9g84
ZU4KRrtZ/wMBX7mTqLXbo1y32RU+Cjh78LBuu+6YYEqS8dKDOlb+pBXh2aPQYVIex7TPi+P9ebIN
xPCRwxwOumxnfgMkDGqnyyGuvXBJTAME4EGG6343tvU27Fz4TjY6qoS0VxjO0SND/EufaAU+2ZWr
m60Dw6wrxUA62Of5U8pcGJ7WQUIOswvOq5WJsnVgWHaltE/SmJS3nImljsxlfwdZEa2hyJfv/BOl
Ff2Bj0QmzPU6BKcJ5CTcr6IvK/0rb8dGXbIAygaHYdZRepk9f3Ae86Zwvo0CRnOqIo+ibK6HLCrI
O2TfIB3hEu8w5Myd301QOMTfPPTz49R30JGELlPu7OkcCf2IMo+yOadZlTdQOpq8ZN87YVk/Bjkq
hopdw2OVPVEEmOMT8UXvPlZBVIRffO93WipO6gT/hcCJTJ6AK2wRJOBx01z82gO/vFRFqp5hDkN8
oLPr818CU4i7j0pkFSA40rP0ByTE3HgN2PLmCgXEzDXqxGsYPFZ+pQGuQnkZB2evDz7c38Bv2gka
Xzp9FU3AuJqhx/P1CsLIKn0YgqQs0wuHsI4Y9rp1uCB7NpfNsOK/3nT06M+wyzyqVReOYjhXlXsW
IIokTnxRUXVre/7Sdfrj/WHZ5sywyzz3AaZLIn2hTlF3J+HNsjgnA9Hsy/0ObPNm2CWUYt0m5iS/
Crx6kQVG2iL0KuBdEAhFUAnu5n4/toEY5qnDuCBNhcWfmFMceQ+0AxQO1rKmltbNdCJ3ifJBeK4v
GtgKf59yGolT62TTyjIs16k/rD8gZkJxyGuFgtuxv0pQeuF54PTTMQ/H8YIs6hp9uK0P4xkyQRIw
o2ExXXNIBp+4BJ0TrPanEqs5I9ssLXvglY2ELMLdxxv7s190TrWvxnKuD0EE6tZti2xmEFUfUtCo
lf1l4uE3xBSmXVuOn+5vINv0LIN69fECpCg9lFA75AoL+oQYXLaXVD4WdLXo0jY9hknranBZW8z9
VXRNsRs6lMLVI9t0AGILGZYMgDoUU/0A3z+w7BsIdurd4iruT47t0w0rzqMIzItBMF4nMNzvpqaO
95HsvS2XA3y6YbsVpcg9x66+hK5LP4NgwQdXqKKbxCMCyIb+d2VJOteDP2fVJfbn77pedLj0thcY
Gl8iDK+2DRScG69M1HjlfPhCQ6AYg2RNyc3iO03CHiQtUA9Em/6inAKaTG6ROjufABLqNcjBBl0v
127Lls1vZvhkjcpYnnP5jkVp/gB27PyvOFPjzpMbiRaImdYLEQd0qnYW13wUXwcfEh4ddDBWnkWW
/Wlm9SYdjeBiasarhGrHLkSI/Fg4q8VFtnUwDTdBeqoL2v6qy/KDpCFg+p7MztAeegyEbFcgbrYx
GAacBo1MalQ/XkMaxQfmkfKYFGuVq5brhJnES/0x84Oy6i+yD8mOU72fevIk4/kcL/T+I9nyXoE5
GKasszxpRlWOV7/J+YEwHz5ObkK0B8RM5LGyKaMZ99oHAsZcBi2hXcvEGp2MZfrNtJ1sOQRUMkdf
KmRedgpcdfugVz82+U8zY6cCKqQmfn9l9czbs3br1H0IGHjgVwDstq83jt68zLIsGoLhGjegcNwz
Uujg0GuyjfOTmGxBGlyZLoqAB1gvoP6sGj/pxl+LVts+fvn9lQ+lzciDPtU4XdgsULPN1SlwIFh7
f+4t1mum6ghIZRlAqsMV6BV5FmqKH9NOhMfBTYtD5jXFNh9kZu1oH+VKkn5AAh7JKE3BSh6Fa0rS
FgcdGAcwKrUir+4w/yAwIaj+Rh2S7qpi386r0VLbKhimS2WmXeoQdeUFxJaHqCAHKNx9v78IlsbN
dB3v3NTDTRjk99pV7gzuvJoqkE8FZHAb+u/9TiyTZJZi46wcPUoCkIjEIgn3VPL2yJ24OAScpCsO
zrKbzFygnDVPk74brqhlfAozMDDOwyda1X87ZBN2MSBmLnCQkweiAQ5z6F16STWyQgQZ6P39SVou
Jm88Nf7QABwyMOnzobv6KjhWVXxaIOLTGJ1iJ3+ZaQqJgE3ZAwxkWadXdj0gn9lMctDX39WMXACl
PwzTGmuebUstv79qHftVVApB4qtuJrGPCeOnrMy9laeGZS+ZqUDAzlTreGMHihfgCMFo/jQ5qF0O
8ujl/jrYOjCOe9W1JA6TTl0haVbeWAnVzbAtw2M4duXKvdq2Vw2nMTjtKKaBsEcgOb8x4GvOeOUk
l0ZHw7nL5ZpKu60bw3GozqHahRlciaowX4Ub/q1CHR/yQqpzI/gqomO5sL+xdc2cYOV7KYoMcMjx
oCLRA3Rp578I8pzJDrGSotyD17VxdlVcpSjaSnTx7KSjWjukLOtlpgx9QDJyweRwBbgHIjXcnXeA
4Pxdy2pNj97Wg/FAZ14uIsgLwn0xv3yJR5BrDyChOfY8bdYU1ixrZRKIUK+hdAAB43UQVX1IU/0R
lXrDScn4McP7ccXHWEzTVAXEtTJF7ZXor7Qd9fucq77fzU0r18CptvYN0/eHMpr8AUdVijq2d5UH
KnqHrL11bVNk3PZBGh35IhvUtWrH6QSYQXb+fdeseMse53EtoGhbbcM4RTZlOkAq7ZovMAmaJSjF
64K/soGfNjkYU6mP5wA/xQlt853S7FsaIikMAexy34cVOdzvwjJVZjbKzxBpFVmjrkNd5sc07hCP
btL2QEYcVwPKI1b6scyVmYqSBRHJmCt11WPn7FWl4qPuVXltm3JNHMVyLJoJKe4EMpKN7q5V3NO9
BDYU1Xg4ecNRz/tIhddMtuyYLD/dnzvLHjbF/EQbObWflOrqezPf04h+pnk/rxigbWGWiXx1NuoY
D1ZO6uHKFIUcz1CVu9DHwrDcHY4BiGqO2wZhGKL2uwF0OktIy3EgBE+C4hiwYk231jYKwxIpCOKc
eqL6kiNs9kibWF0qGemjK8D16eE5+HJ/FLa1N47ieBxFzkEh8jCoaadr8SDc/sT6/lMt9X4h9pjD
+na/K9uqG1Y/cQeJ4aDDMdmxz4gGTnsv2JZ8DohJ44HMxDyyoFZX1oKDipGq3/UJGN03fbqZocoB
Ay3BRo8Ydc2ik5yi4DyDantj68vavNqxpCBe2csc3orUZbmTS+w+9/tNYFCIhRln65CnRZojeHyd
QqihpYHL3/VjHly2Tc2ygV99fNU0bjsOy+smnrCsEhNfs1U4qMX7mbQdVZT6qsoKTDzKDfdVgYxA
2nT1EQrYP7d9v2HGeSqBgGDz/JDG/UcO0Z3duMR57zdu+3zDiiewsaN8APXsKLFGcC6fyhaMNlzv
ykyG2/yQKbOHAlQwmKTu+Dtbljao9XFc5+v977eYrCmkN4EQsCAy66+8wZUpHtrwwIfon22NG3fn
eACPZMNpf0VOKNm30TgfJ07WHKjl000yDpbOLZsmiakHlQXqnxrkfKqk+7jp200mDjh+nxS5nK4D
FCSO4MWJduDP/XW/cYvvN3FTCFMiAif0smsGSLyDzrM4T7Vy9pKE3eco3urWTAhVmFOXxfGAjqY4
ZHtw4kcXb1zVZbYtwWIVr1yDaAWrAxdbEn5N9rtQ0s8NqVe2psW0TBIOyLVEUdTV+PYc4P8jyq3D
fRVn2P1RnWyLLBLDfCtRSda7y0IIATUICkLs41ggBn5/nW1DoP+dH9pAkx73hukqZfRSiS7YcZJk
e4j+rKmgWV6NJtWGaEYXiT0EdqH58Y0uFZppW7vqoNMyZjs2p+ySljSa91qNc7d3Em+TwHtATCU8
BESAgWDtdNbI5O/JEHv7ySn6Qw/gxeH+9L25vfw/ZPD8uksdCOzlyPr12becMpAujJjEba0bh3JM
SF105TwBgOCmBx850e7oxR2dj/fbf9PI8fXGqSyACIp57U7nSrtPcZNfpEf30OSFLabFaVsfxtkM
PvWg8RyJGUqTCoRETf0VZf3i2ef9c5/ij/vdLJ/8R2wCQzHsXNJgZlCVmSAOEUU7vyHffxMQLvSt
7xqQOu0BAg1X+nrzvoq+ls3wyqdA+xSkO3M6nRmAYdwHKzTyOQxhOxH5x4l5v7pujXnH1pVh/Vq5
7uR44XRWkh9BdPskSYVoITnrPHjJICHZtWt0LbatbHgCf8jjjE7BdE7BEb2fChQotMUamdebbgZT
Zty7qVR8ykpIyy8QXNBGpcBanSoWtQcgmptNxQnoxTjNoWzTq7HsnPd+XLKTdOgv3MbV+f4Os8yP
SYERF/M8+y4alwGy1zjLv+BMXxPttGxfk+0irYMZxbbag358Er73g5dc64+TlteeDScICa7A3Czb
yZTHowHvVaM9chZ9ABij9yuuQPna+Q+VKD7Es352wBBxf7psIzLsnrZ8ah3lYKfK8oMGxiXX7SME
Ng+8Cd6vG4htVQy7nyBrgroNAeorD5XzOR4skQfoxf0xWHatCTpD/TWgWYDen2MwWyz8z0lLdjky
0cE+cJJsk+6Qn5hYszDABYgJjXd21H+kFaiLmzW7s62CadSFDOtRet1lYS/wOX9Z0s5+8qNMqq8R
7Vccom0RDOvWUdvUYuzbS7UQkckBdFYOC6/3F+HN+wNmxzDqIUndQUVhceHVcKIIz6k5/BBycIij
xDbO++cqrh+cuV85ryzdmVAzBhZyxlRDgc6aAAVb4H+poHvhOV+ncX5a/G4DHxxtS835f8jk8bHT
qJUTxYW6dX9I8+xntFQs3588y8r8QWMRTcPoNS6cVpN4H1IwBjw5sVwjFLO1bti41hIcGVNVPQKH
+UxdVAwnZb9GXfNbD/6NI91EmzGIRIKKN4MYLHfPNEAFEqAr4RGym3IHGu6vfla8xKoudghKtYcB
tFqjVj/GaaSXsV9NK1t8gKmexymdof0U80fOI/aJ5pru0xpVy35Tr/F827owDnlUojGSstR5z6sO
IrvDkjaNQ28P+rRNMHNsMsMPTCpqwkSE5aMeSwXqaoVwZ9OmuwkOnx3mKGVrYapl7d9aNcMXMNDO
tWGUscdc6B9UzdNXRBCnQ12xb+MwTV/v72uLXzMha1IFqRMCvYzx1AcJYXcdIMUMhY4G8t0InfQh
iOfvd2VZHRO+5gdBrrMk4e8B6M5e8lTR4zAP3iFr8p/3e7CcyiaGjQMdVMTOWD0OAS0eYxI4X5mY
S+9Ul0P4jfVSPLfQjX5wItKvRWxso1om9tUddmAaETM/5u+rrFdn7hTFtXIqSCrUW7e1CWpjXQjF
B0DqHxGrJED0hOE+1qDMSegqGsA2iuX3V6NgDsJymZPzx4ojtJWWIE0Ei0F8RtilWCk+tuxnE9pG
O58PpAqQxC27+Mw4VJ6HCLH2tkiPTR2+3N8CtoEYLkAHTUoakmL1FU9O0pvVD5b574JilfDWYjGh
4QH0SEpcy5vykVDEQfIE5IcAJOeLL4BOQz173rEuGh2vHKOWo8EEvE1FO7okHLAy3gj8MYpDWqS+
XDBqne/PmG1djGtBqFiMrw75I8snB+9VJE+rMKHZvi1F8s4jrrsWxbPMnAl788c2mRVM5bGYO/QC
0DkbXxTybjvte4X36EJglG4BIfqJiYKLRZFI1qVgps3pQm+dIZFXumvU5pZdZsLgQGg+ul2R99mO
B7jPSgFJsliM35t2tYTbsu6mlN5YlKFbhby68Ki49ihYxXUwWss7277fMPdqjKOJASub7QZX3CiH
Zmzc+x8af/W0t33+8vsrh5KzoIyQ3hrwTvXdf4E36PcgdFyD+Vr2rAmF45FyszJLygvIV7+lQ3QS
WX8Cb+ep5P3lvlnYBmCYuWoZ4w6kJbHEWep+1xNKig5NF/FNFZbYocb5Lsc2AoesV17CPvzm+gI6
50X26f7H2yzNsOl8HBPf5W55oeCSpCHQskpB8ZGc4zq+CBqvzNHbhLB+8gcaDme6oDhr30OY6jDk
SGLnefP+Nyki7v7jru2cXYbnatFN34GmXSuQsmxfE7tG57rxWBcsxj2DcY/w4RkkodGHhK5xoVlW
34SuxUUDsEohy8uEqn28WcAE3ZTi7/urY2t82dWvbINPUiA3mODzcekuFjm05DJjDNtaN2wbcM2o
d0AKgMlJ5/z95CO/WRNn5dttU2/YNcvnTI99jNZ12AV77UNwPmxbus9GOWx7a5mQNRn3eINMuJAs
JYDh7vcrwcUu2jY/hmHz0s0KFS+th92Ct+MgcExmsXLu2ObHsGpUM2djTCjcBgOgawfozbwXOWgr
mkEGh/sjsHg/k66CuA4k28Edgpc1LT8M2n/Ii+ClAAyyKNdQPZY9akLUCEu7gTsZxlHxedrhVojz
cxVGbpklE4OmeEszCp+HESzVunGJO4C/pEs6iqqW+7Nk62Pxja+srCrdfEb5FvoIQy4uqHr7GRdj
etAJhDfvd2GbJMOQpXLyvGQSXfA5Ch7SqgivDeAw225mJvoMBQ19jzuYc/br8mUhVI+j9G/Bg2sD
uNv9EdgmyTBnVYiyjQeoguwUaph3ec2gK6XqRRlkSle2q60P40ruq8QLusavsRCQtP6nynxPnsdK
BcOhq8QgN663YddUhS14sjIMJQ3h90DI+SWW4GIIgK9dcUy2kRjGXbqNaJ0yJyc3Cy5er/etrA9u
tgbdsm0n49QuQSKh06SAHmaoLlQhOOaAPXllFSyNmxA3qM8i9+VxTE/sE75nOQpYizzbVLXnJ38g
2wjNXJ9iaqgQCOp3YAlsUVO28eMNW/a7UPKaT9NJx/1ubLuzyPhKVOJNZ+olJqCmdaeEDq5Sx6SC
ClkesF2vm4NfR6jq99Z4kt6cfHRiOIpQ01HgqNdHp4sOaST3iETcN2Db5y9b9ZWXC5y+qxoE0451
CMiX/wCO0Z1L37Fu5Tyztb+M6FX7IaRZR+Df1ZFSsWvqBMCgW8eeG7WWGngzZoOpMbwDXtJ5ngsM
wJluXnrKuocq/VnImwdCLP92f5LetFv0YbiGVpdz21aY/m7+jLTNkUU/OfhrtjVuOIU2CUk5R1Id
wQ63i/x3tGX7Jvm1rXHDJYRlQgtgLvRRVg/4eBCc7xr3y6a2TVBNNZC2oCLTRxX075KhPJFRHOp5
ON1v3rLnTVQNG5AvyTmZoPvRf0sb75IOayT6lvU0MTXlHEQy953uOGgwjokZWKxwH9Sb0kheYiJp
6qnNAPRC80HvHjydgC5q5QB5812Glg1rxVnuxYqx+ZhxLzrWUwQZOxSmdqxVkLUI2SkXazwCtq4M
w60GMNclJXYOCcALC30J/rDsHlyFdoH3edsSG7arQ7yGBfOno8TLbwqrS1SzFZO1fb5hsgysN7oP
2P/8Wl591smvOP/UuGf4hW0fb9jtEBTe0IG959jHUEMI5WFiawwFtq1vWK0rOs9tXViW2+Kypm4y
WgOBvN1ybCrPLELKvZul3dEdi8vcuSeknO9Px9s2FZsaM2lVJkWSwUdKyLRlCGrRON0tkmr3m7d9
+LLOr84RJyogj+rl8zGvgweZuB+DeA1P8PYRFZvqMODKCJUj4IC1eCjTeudnD3Fc7US1cWYMox0q
PFW6xU+6dNwF3a/Y+9VXmzS6vNiEwKQ9mCvHEtOed9Fe4Z2Is+n+jNumxTDOOnA0OKdhQZiIyPtV
VM99EKD5FTidbb8YBlrPqRh5AvMBH2AQ1Tsc2Zilld1ia9ywzSQvideEcF5ofOThHjeaGhZ6f2Js
W9GwznQeVUI72FAXprskCg+oW1n5bsucm9CWLNVV5kCs86jiz7jMTD6Yb295temuF5vYlsHHV+d4
mB9n95dbf2mqB8zLRn8Ym5CWpoLCVN8uHrdW5yhsDqs78W1fHpvaLG4+hMz1/zcro/NucS7/+/Ys
3HQQxSZjkuAdMEoKm7Eugv2sw8PWy0BsQleU52nhLefoIH8NjTyMyaYXmRebaBXS82n0GyynPz9X
frprcTO9v8Mt5mOKsIwRxIOTAS332OHE+aXIuFt9EdgaN2yzDGpvApDqt22S0lnuoxsv6lD1++8p
4dOsCPPKm44Fa4dPaQvFrV3p1PMzCPvzTeFFUGAugJVXR5EGHCXkrjMdIzZ9gVbRVUTN+f7EW1yL
SX80e33Y9zzBkgI259bBR6hKrJxCtqaNAzQL2q6aQpgnRdOgSTitey1b04s3ezUhNUOtZishwl0o
8aUbsud5XnOIls1iQk/A0MRIX8B68Hjxul84JKB6seJsbZ+9/P7qszMPVSR5nuDVXs3XyGOf6rpd
CQrYPts4OzncAMkirzlWkwR2KS6p7t8jnwUyqEajfvpwf7tYjos/wCSRG7hTDbfV9Q846VrwddTi
l+7/vd+8bYIMS2Vl6sp8hBsYqfztFdevLbYvNwx1zAsw8g1YVxx05fg59j73eIqtnkWW5k2oiMoT
Mvk1msdxUfZA10AtZnZ+JYicbJoaEylSV1zX4f+R9iXbkerAtl/EWiCEEFOycZOuSlfjY1dNWOVq
RCfRCgFf/zb17sBHxyR35fXAgxwgkCJCUsSOvSkcdTl2pdEc14HaWNSVWbfJjpzGQN4lwaxjw1Ci
PWReuxFd3k+VcBsHwiLGwqnh/YFnt919Vf128z520KVIkiNm5/LMLPHkP7Ajn9v0Riky8DnTmJkJ
t0XlPbb9Y6geg/zZ846XR1iboOX3N36bd0uDUwZJlBpKYf7Oa6i5bRTxt9QA1ozHcl7hz+jv4KY7
yKo8sbIBy9QfxfUX1myE4rV1sI6+JGsKVLZhnUjKmOo0qxcohC2e+3/YCm3cR9/KYWKgMjmooL9L
ovY81NlOJ/Xj5UVYNrv3ltly4LY0euBLjqMp/8x5xQEEfFbJYyvprm6cjySoD5uns5VoauM+EODC
Ehzu+pCrKl6CHE6WkLK4/CErq20DPdBoYZzEx8MhOBBji6H0F8IQ7TfcYcVYbaTH2PSRkmg1A+to
7e4p05CGCtKtlsK1py8f9cYVVBROslvSe63LdhMP/hc5iLV5WRbjzaNTCgjx2GNeIv3McwGNuhmE
gCq+NsvBA8uPvaJ31dAtLz9FfyP09Y+2XBhqwQXP/ma1ixq5mQk9Z/3hsr2sxDeb3chzFBq7Q7w1
7sTD8GfZXRDccEcD4df+uiGsfVdP4n9SKbh5Sw9XY/nJKX/jruaqjdTtmt1Y3guqWSgTQvPr4Nb+
+ASepvm1nZtgq+t+JcDZsI7MKUrhUswRPiCFz6YTv8VdFvMUZeFtlP65PE8rccGGcRil5aBB/31o
vG8EzBolBwaGyuuOhzaEo4fcG8GWqX/WSlWfCuWMz5Xyy2vY131usw/pFFpiLiRODrVO+XhoQqcb
jtxrpitPtzbnUOnqiFN03Rxa0h9YNsWzCG8vz/tKaLClRwq8pFClng5zlT2jieWcJsMNy9LbNt2C
QawYqA3hyFPS9i7B2+sx3PlJcyPhZ5fffs1qrN13FFCzHYdmOqjK30VjsQ/qFo3M9LqTIbWct1aB
mcu0mg5+NO6hnbvT2RZj1dqbW15bu3MZJSkmpULBpajr/SiA9p+vnBgbstGoEYdabLSHtpb0penz
dvgiB7CznrwQxZKN4LaysjZ0Q7vFmIBeojqIBrsJhypgLBz6+fLarlimvwTtN5tWA06AVgbldCi8
QJxI10S7ngb3sq/rJ8KyjU9Y2QJs7qAJx4VoaBUSAL0XUyh2TtNNW847khRx7Wx8yto8LUbw5lNQ
pKZl1qGmDNzPCco4e11vqba+D7vzua024mCpZz1m01KgGm57PByshgDtm2M/eneFFLsK7BBnE/xD
Av9weWnWvsfaknudZFGfs+HvvWCpubnIhl9+9Mp2Y9Pd8cqB+s6o+p+LLGOSNg896T8iE2libw5+
Swi2xJ7cQvatOKEtmzE0JBtbaCXiEkVvW1DJyGA+6pxvhI+1x1s+XnA3H+ve7w9RkkBO4RHa7jt2
bcrDBnEALpPS0h+7g3C9+1nKP6yftzonVxbYRnAMgxhm3+DalDrpAxqE8l2h5FamY2VabFaiudUG
fXl4eN4He0HcWLHyqWy3iG9WPNrmIIIUQ1m5GvOSFcijVp9wWEl9tQcrzWZqcm16li9748/ZPFVj
5A3dQRXOASYEP7iK08XntjaGk8oK2jSYnAXDgSaZR6e4ipEaj7a8Nm3DCeonFGf0dvwC6vcPUbIR
31ZCNSH/ng+whHq4nmLKkSMQabtHYSwZh0PXPF8OCmvzbe3DHqSGurzFpIQqeA4BX65TvSUGtPbu
lpOKMi9a18GzkbqCtQhTxREObjiDHi6//MoANsUQc6JqlMvLA9RSDyfGHpvovu62AAprj18C6Rtb
BH9/UPcdHp/graNM7AA7Mc79CGnjy++/4k//AUUJsIwHSwolC45OjbIKTm+4vzgolGUm2ZiklRW2
QVGtLEKPgGj/APX5j0XjANhVPl5+/7VHW84K+a2uylo8eqqSOMcbu8FWEm55xDuJE28Z8s3cp55m
wQQ1k8NCB9mER1U9p3LD5tfW1fJW7NlDGhlg0eroHlfIPRJvCGGkuwoS63MbBxXkQddPCmAusAZ8
llB/oaY4p6W57k5kEwwxg0wPYll3MCg0cxrFo/9yeT3XJsZy2DAcAmDClxK/yQ71EDvYQYI5OJh8
KyG8YvE2GGqeB60cD+/upM6SdSbeEeW5uAUYYrNkvvIVNiJqgJo6iPVx/s/cT4G+WcIOrtRj8OWq
SbJRUaZRoIhZHo+gUybpzngQBKN7AUjE5QFWTN/GRfmm7RzPlTBPrzty+aUW5kb0GyWXFZe1oVF1
mIUOLVJEA8BxoK1w67fB8fJ7r5wvbXYhcC6i8RD9KIeu/BNU6gbLCzSUIb+K1twFW3iitdmxnBd4
iKBzpvnvKHKqYgn2hM1UydrsWLutiXracMrbA63p3hC2czK6vzw7a4+2NlqayUnlbtgeaprfOmY6
9tEWBm1tSiy3Rf+tnyAodIdg7O+lK84Auu2ahH+75s3RD/3vUNxkIAAFiTXu05juiRWngE9X+VJo
o6FaVQxV1+DNw5DIvQDh0tRFhzF1q9t6LjdIRN6f+dBmDRpg7WXQJ91fyJVBfy9ajDZKFGuPXkLQ
m10qmGg2ohsB1Se3NHHjF9+rNN/Ypdaevaz2m2dP6NyeVeC3hwEcKOgbgPxLUUfX5V9CGxDVMXDn
D35Hv/EK4jKZi3tIMG9d/tZe3fJRJ0h6L60H+q2MSiBpfQmVk5b9c505Wj7acc3KAQxy3/IubdA9
b17c9CoqdT+0aX+goi3qrGzotzCJeAxtIhaTubyKfgJPt/x0IYdgKHQ4351AtXGY4WZT15u02u9H
AdD//dteqqruJ4AXnO9coZtLZ+iIGqsmiYEf29qZVtbVRkaxGT0eCWHTT2B/mlvGeP21k6L/fNXC
2sioKA29rIP0zjfHZXPMW/1C3HLrLrL26panSlGoDtiO6XWBScUqQDuU6q5TE/NDGxiVQUkwBGIp
/W40yCTiKfIiIHaqudnYtZe3/O9pOLTRUQmAvwVIvORPtWBpBpBhRlP40Iuu2I2e3F2e/zUDsrzW
H8shGoOi/h4AAHMHTu7oFpnxZk85bffXDWH5Lm+aumyhA/29EuXXxh/CnwEZpz0g1NnGjvL+ATPk
1jbbdY0oalR1fw4lax9MHtHjOHMvdiCBueNtIdGYk2+RUqwti+XQIA2gGXUxGHhentte7aoweOhE
8BA2VyJ6QxtGNTvNkGsx5j/8Gly6mkJ/1iv00+X1WPEKG0ilDHiVyqITP3oBsYIJOOp46nyxsdpr
T1/W6M0OZjiaxfwW8c4FP/0EdeVdapAJvPzq7582w9ByaJfpEuzaafsCM/oytnLn8/qAdDCy2Pnn
fCp30tnKya4ss42uQoQbHRaGzQuNuiIeJu8hd5ADdsEzihNdfPl7ljD9jovbvD0Tmz0k4/3mpTH+
cyufGoiqBpkD5QAHFtu/+ODtM/mW+MyKm4SWr6tUQzkKp9AXMrC9F/a3UZZ9D3r/0JnkNhrqjQvl
mgVY/l73c525viQvrBf7snCKmKLne2PG1r7BcvU0CkAPNTXkxXfKHTajR5MGB1J4zw080Um2bvNr
hmY5OTInHgEXY/0Spfx3RuqHrK9OYFn70DDyG1wCt121VTRficA2Hou1rsa9vlM/emhRBjejafhT
N2pT7BmROtuYt7VRlg9945ahpBq0iZH3LfArc5R+UHwCS2MSm9BVG6j1lXW3wVmtQ2SEEK9+tL0H
udMAMnduKsKNjWpl4W2A1uALH9VaoX64UfQhiDw3BoE9cou1fi2K/Jbm6joMa2ijtKBk72CD0v33
yEuqvWjrAXJTW5v6Sn0ptKl6kEaY+qjMyx9Fzz5zd3oSorpZLGuxKjACfQ2D7JglGVpngqtyRyGz
/B4F3aDMDZE/REB6NF3J4ZEnvrOx7GuWZbl7Nha16yZ1DZ4NSeNAlnxXIEMYF4XeOkP/zXK9Eydt
wJarpAscBo2+j7w8Mnpft/6fhIWP0Cq9TRHMCHTtmyx4zpL+UxtsUXCsGbQVBBpodYXRMmpbyjqG
IpLaq0ldpYvhhzZyC+IwgLIkZP6WBbUgv3k4ps80hPzYLoPuzj1llet8vLzNrOxl/8FxFR3WZqyS
b8hJyvDAQw+aP3FFyqJ+6IeKQ5Y4QwFp4+q94qk2rIu2YQNpWj95BcS81LuuSz+neZXtIdCRPrVN
adJd521m5tZGs44EwkRCOa1uf6aOuV2OY8IZPjUdRFndrzVM5PIMrpiCLW1XSCd0pNdHryj6BzsI
lWeHoNjkt157+vL7m+BsxqCRXUXR12KKFx44bgzO9Olw+dXXJsjyfgMse+NFEX8VlD0Yx3zSZvgI
3rvbrhk+OSCRuTzMmo1ZYWDoo7BI+MyfXTo9dxCMjpuo/QTmerFvymRjGf5WAt4JBDaxjwRvg65p
4ryOXuWVkLYDq6Ln7hpe5HqK6TSCvOPYBXwov9CkcSY/zgDHdOKWtybyn7pwUs3R0/1QGOiWTmPl
nzLfLSKEKx5k3tfLc7G2nlbgyJukx1ZemFdvbNlNk3jJTVhn5jpvthFkfu9yXch5ei1p1seNM+Y3
YRv4N3yQgJyiMfh41VfYELJoDgqSQGD6lRHIgfokAjM5LbcgZO/aCws960BCQVQHZpioeCQy9b5C
WbOLi7r4SseuejLh8HT5G97fbjHM4hVvXKvltAxzL3N+9nXpHdyOJPt27L8EjdPGKGNPO0xmtxud
KdpFkdqTPrqqPQMjW4HJTLix5wIfWKkiuHUXFXNZtcN9HYotqeu1OVy25DcfJ1PeLzxa6asI2Gev
x86LIgUKcnkVHbOab2Fi1oaxwlPU5YoqgzkMnRZpQ5ClTEjaxCxj3r4S0tk44a0NYwUqiCi1Q0qq
8dQOOt9FafUQFvQA3klxkHQrBfpuNMSqWGGq5EyZCl2+P+cIdx7HaeLegH2n7T9GC/N7EW2dht89
FmEg66Ji2mGcqAtSbNI0ET+YChIeZ95kpvhUNypLtuja3o01GMeKNV2fCiPbwZyKmY87CJSPe+26
z5fdZ+XhduVu9DrQSIO68hUIDV/uyJDLj0Gl+a/rHm/HgHqkEK4h2dOUplN9zyNDvIOunfz7dc+3
DDfoGeeknP0fXlcl55r1Wj70OP+q28vPX7FYW/ZCTDhWT0kif0C2MgKbdKp2qkIHZgSR7AbRbcMx
VkzJtWw2cXvWtU4fnIsRnDIZliSGMlRzU/ItRea1D7GMVYQjdUWk1I9wUZcc6Sx2yOJEu7z2vhe1
cxXRMwttrQuRuYK1fRqcXRD9FrFbdz2IclwQ/lxej/cnitlFKz6TFCzcmfohEva57xN6HHJ2rHGZ
v7luAMtg9eSpHucOeqYT+2zc0IcIHM0PXljrjbva8qT/HHAYs+tW4PCdRAvC6B8qzc3n3C1++V45
DZCcYeoGMiH00IXttBeVHK85rmPExSbebiKgVCuNmeUrb9nnTrh/Jn82u6LgH6AUUqKvIdxCvqwt
z/L725Hk7Exj3pMzKOjowaRVHhch1Gigyf50eX3ej+7MLnC1U6bzqgnkq4oCoCgVeJgWopRY8a7Z
dwMM2R/HYsMt3w+OLLL2KzJmKjO42N13yBe0yBGEk7ODvNq8lbNZG8DyezNGotWjTl+9SH0eGQTf
wxyMJpenau3hlssTz/GMhkrbawq5xHicc//s1CLbSAqsPd3alWipZOuK0T0TWnfDQYINq3vK+0Rt
UYiu2JJd+BJyypo01M6PoCQEewbyzB7HBt7jcnN5gtZGsHydJLpSjJDwXLmRN+5dLId/ZJVwpnhU
aTfuLw+zMlN2AUyXckBiVo9nUQ5K3usR7CbwdmfeIuFaG8Dybzb6UzgOejqz3nwkeZEd87DdIiJa
m6Tl9zcu3Y2DO5Bekv+/NUk93Ga9Vj2aGyf3KkJdpHSXD3s7Rp+D1aCe6NlNoGNelcm3xvWeg8Tk
G1F9bYYsRxZB7ui2Ldwzk6Vub5uhruSOyhQg6ctrvDZLliMj0+M4EepG58LUNGYD2Dwb4ZrdrDZl
Hf9eK97ZOOwaWOZ6QQ0CG5irkqE4Q2JmNP/oMFDmceTQKhtiUC8N8lF2Ha8/SKmkejZ1ygK+Aw09
8mdTx73wJeo8Oby6OIyDs35wgzR7lpzMsxt7vJvIVUVlrKkVH7KROXj0spG65bSrSKFPQ9bSw+X5
XllQu3wWtX3TJYMrf3hUgzsetJdggrmKSRBdwVZckMQdyyQrp7NLPH9vJNr0dipwh61L3drLL3vb
G3N3s4EEY+HRs67NRz4p8gGZBHENQSte3goGztT11TS18keaZei3n2rXj6Okd6+0dLtqZlB/IxmJ
3LOYxog8oM+NlMeGtFGm0P7R6a3swbuFM3yHFRMyEeq8GyW5B5N+HjO3+8BRhS3SAdLelTpVI8qx
+KHttq4qKy5s1874HPmimyZzTlpI/06heyOz1rnztJ6O1xmtFSQqwwfU4V1zpr7rHtkcePuRX0Xd
j/mydvumzxBX0S1zdk2ljBuL3Pc6DY7kzlRAMlZNvQGOChYPficO2aIXgLshtkzT9LMYeVGq2POh
TJHFEuKqeXRKWZQVn40/Jl69bx0I6p6nqho7ugNugnmPVYL90OwjTXJyO7dzl3zVaecO0YcQ4kPT
uGD0svomypDD/jTkvkO/tNiDyNmlQdJE4KyuJ17GQrDqDE2yZnb2usCdwICEIFUlaBwLnr8q5QQ/
RN+OZ8lakoHhHFMezx6bss/hkITy+8jEoumMuyOkm2Kloyq6CfxhCr8MjSu6D/WsfBfoKahr1Z8c
3kvvI2o2TXn0s4Q0f3jk6fwH94lUhyQJgu4XtCOj8gA1kDmLvonAGXt+xC1FUf8mKiRl0Z1b+A3p
N64RK/5hFxUrgnNoLdL5Z2mGYpeG0VfZDF/QN+jdhH5Uxp7KfwlUS8DT3LgbBrxydbF5H7oUrAo+
D2ZkPIhLoTfH2/aO1mBgb8Z+DoZ9ELIqag+cea5C7oU1/v4q17Erj6arpWCNYPfZpOYPxgz+HTHB
VYw/DH//DsgZYekirjGfqzLgd3JI54+07/y7MXDEFq/C3/zTO25jFx2nuptCEmToY86zW1IBqcQM
P2IX+0RZcNcN8qdg/Lbwh6eJeTunDT6XYpN7l/zNn783vBVPq3CuSlE1zvfMnXlyn07Ix34NxyR1
ygOnDurSYLkvqyOTBlQPCZTraFwGheJZPIzg4QJkiLYPUdEGgM9CEymJCUMU2DMh+24HeScJWaIu
nKd70YqofWRahdlJuhE++8nkMpug3NpWrNhXfcfnp2ySOYR6QQ3XxiArGYufkRiJum9TgMWgt24I
bllJG4XO0dWhGKDRmSqYG3gw0W5WaIL3mEf0m/qHvBCD/ONq1ebQia2yMbolYxipTwkayvrPpi9m
86FgA64RDeRmptfCw374ce6duXnihW7nl4bM3vSBl12tfncZQdTZCbBgBEFctug55bs8rZVznlpO
nC/Quw/oZ79hwhySPi/8T5VnQP3QQmYGPaOOyXfz1Bdix1xJvK+pAV/HP6mDGt0DiELT6Kk2Tlsi
idd2UHHSbZbcBGxCl1fssb7ndwz/mxt/SH1oJvBo4gfVRrq9CYSDHpUIR552p3Sp84+hSyjK5Mh1
j3vZeQ6E3p2p+M1qMtcQO0k6fSYtJLceKuIO/EjKCuTRKqOBeBg4VD3QMe4T6t2OBOSaMb4k6F7V
WNK6iEekh7rDgNjG7/ImL6YPYggH9aBmt5AxA/tjcqO7qqj+zHU48OxAczO0N6WHfHirFqEi7bi8
ikWHE7e768OOIA1LmVTJq2omN/jk9mauG8jlZDk/+qUuwrhH+YcCIZ+MS4+kUeFQfA1p4AefAmOk
4Ds15NPwOKRBiDwZQFMc8wi+6kT9bAaJW0kC7cssDgHCDn9PwUjEJzBVBv79QirwCjvSyU2vReie
B9Q95v4I6wRc9hv4CRV9zlOZzzeZJ0Kzm5KuB01/XUX1iM20IvRrXwEuAFBb2ZR7cAMmxWHQGYEq
hOm86i5zkWpGBiICJ/tCuNA+zMQZPS8uS6D8ip3yUqe5byeSnEetumGXpJBUugfK2BmPifaqZNe6
xfTFD6aBv/gC+sZ7NgruHNNAJewWSU34nKycuXoWISPNXjlCij0XBaSglN/3/q3pVNkdmQ+54SqG
4Ck9iC7pAgj5QAdvh2pmnd+Brrzj9xGaLOd9l0dKn+qM1u0Nq2pKDmBU4s2pbLP6KxMgEsQ1TxQ/
O2zW5hMShykktWfWLAbVD5rdjxAi0vchBxsuyB1dFyasyRypm1DWrP5QRY0UIKgPG5JmezI6QXOC
pzVmB6uryedkAlTlEworvhshCEQaeYosSTu9S1PqPvG2AxV2rB09JGNMwiFyMCU1+Ho85bAfZQKC
9w8hRL/rpyKog2ifNzrSHytZ9uUXh1Ds6JJmuTyX9VCRjzjXz9GXxh1VfpMjqd5+76qpLgZAv1Jp
/pQ+KVNoD5tpvncNyKXiLORlcBM0QjgHgQkme8im+PlNWU0CiAS3rlCX8aHicYBLsewewkmNs+sC
X0ChiRqR3BaeYuoumEtYFG0ar/0TAcaIXjN3RldrVWcORGnasjbp/Zy4vvOoQ5r3t6rKVZ0dkQtO
22/M6friq8MHlALLlvCnpPSHl1lCAAVyv5Xukv0wKd3tPc9Nxxc8TYNmhfYZEnzHIRW4he2jZC63
UrArtxcba2LCZPQJehbPcjaotbG0K6pdNaTFn+u2euuU3LDAUbJ3na+FBvD5BCUC2C4ZmzC5LnNl
Q02Ex/LOjNw7B4DLozokVY7mPGg0RxuX07/s2+/ttdbdt2hMGeIkIU8QTm5jqNkKMMaL58yF1UTV
Q6fTW0odGSOs6rgy4a/M17dAUJycTWTLym3Gxp7QpHAbbPTjmXpISCCLA3GqHHqBvUYx+aqF+g/m
RJOsc1i6iFGK6AlxnZd77D7eVvZ1OX29M4s2ygSbflS2Oh/ObERiVKPfYw+haLOXLgRpx2L4cvkz
Vg7StlQU2my8nIpMnrgHHmYajU+8rB6bLv21nMcEFchw6o+K4JxyecC1pVl+f3P9r4SOWI7M5rmo
G35gwNLsSG/AHyg39cDXps467GXQ+CEjFLbO88zdXQhBvawv9TH39T5yna1s/0ou3taRkgCdCDet
xq9U8aGIoaTOYj66/AbSkeKTKMNfY3gVPIcxm3iIcpmOaVPoMx/6qmExCyhZnJe7vt5YlzVDsG7Q
El/ho0vPvXfd7CxqDU0yeqIFqvo6rcA+lMB5IMLU4qR+nSFYYaLqZwhFa3c4N22Sow1L0ThJ8iLO
x2gjGbQCjgAn379traOFTCC7BSY3iQuHzuvkMInmnpWyOYo0eCABRDGbCWC+MuWPJQ6wG8WHlcm0
oSWFL52pjNjwEce3SB59B6vF48RRNQWytqIodeKyP+MOKWh0NyaElnFNndbbopJY2aZsAiMTlJWT
QO3vRFzPFDeJPyXpnZ+G5VZ5ZXVurVujxPFTFeHo3VNoB00A/+iQP2qP7AxwnX/vcxqNRksjx/9C
SXdtXq3ggazhMDuVW54EjFR2bb6rgsTdgXawiJkMvtKZf8gjCPdGKv112UxX3NwmPMrqKNfoQcJM
hh7ucIOHO7HEjhLELA+87341ZzOuhKKpN2xnben8fxttBQ1arxHcQ6mkcLOdSN2+2nsqA4Do8het
DWAdMdArO5TIUOivGllkJ0amiiHt5JEtpNza861IUpBKIDc9zXBsvHPScm+PG5y38fZrJmCFjYZR
2kOAYzoDWZGGPG4Isuu3gw5ZBN12KB+Pd0mi8iiIXWPa4CVTdTlkca550dxensCVLcwmS+J5OQWm
CIez6Wb3MNEaiq2tGnZeRKr9dUNYSXjj+rOb8tkgz1y2Ja7jOWAjSB4Eczv8QjdoUm+cN1fM22ZN
ktzzqPakPicj50+u05cPXCY87tOx2iFHUYIAahg2zp5rg1kxg8zDAAouT550HZU7PZuPIPY/NaBu
2plJPQ4V3RhobYWsOAEFCF9BynU4ozED+DR0mSamr3YpgCYbNrAW/2wepQIiHF7dZ+49XW7Kgg8v
E2IdY1B2D8StGNLbxrTZfi6iD16iNrLPK67lW7GBJhKZKzE25wQAjWlXzGB7gRbqHM0bA6zkOG06
JdlpJ624V5y6paLhUtxIsUIT7lOoM6FglrKH2q/08bKVr32OFSlkPQ8uHZrshGoZE7uiKrJxHwxt
+O3y8xe7eucM7VuxwjQsH6D20p+rwptxR490EnISEx0gsWAI0J/DUfFZqC1dznftjqK/+9+xm3CR
LbTJ3lFMabGf+obvXI9ldyUu/zeXv+ndOcMQ1pwlKRoMjcnnUyMrGj5UnDP9qa+QDblmUTCANWnu
3NcSqQzviB3+TB0fIKOZdhuO+W70pojJ/56gLJg8QnCNuZnokO0z8CDtKYk+TJx+z2aEAcDd831W
o/HFc686PGNMK5bKUkTIK7reMQmB7415nU0I1VP7+/KCrKy5nZwnFfY6VkRYc4CyXCrd/QAz2Dmb
pbmVFbfz88yRqTt7WHHqO2ZfTKE5z1SM/1z3+laobPqORnUJkzV51R0TpPaOg5h/RMkUbABN1t5/
+f3NjS9T5QxSI+odsdoL7c3ET0NTzBv+8G7EwupaIXECn0g7CJOcaOf9mVjw25TzD53rj4moTdwR
/77PgJu5brIs/4YCuXZpOk+n2psbbx+ZOVWA5Ye6ARN4r0Nni4/x3ciFr7K8HOU9GQHqvxiV+J6g
PePIyoodSoG2UNKyjSra2txZrt5RSnyU+5NTRYcXt/gJWWd+ILnas4QdvU62u1EasTF3727+EI61
XL/pRdLKqTM3RbOkhRz1T9P1X4znnyKoFUbZVcgpjGO5+5RIX9clS0TsOoqcaB6QQwR2uruIIEN/
2Q5WTNpOzuCummL3UOSYOewu8Vlyl5rgOvnx0E7JAC+VLMVN/+ROhH+QDXBTEBDm6ePld18JwXar
jyhnnRBQh4gY/Z/3elFZc4GciaUiIkadaI9aILC+0XCCGs1W1mfFnm2+Z4Yo2WVDQo6y6T50XE73
WYCmbzOrG+Xp8tvlT1sJxXZKpqrrPNQDJUcfR3S178P5t6azE7shqbf6NNeW3goBJhOta+ZxOiWB
1z1VYTHdQdGzvwpCDOu1HH8a5m5EQWc6VQLF97gLpVccHPQ1byFL1t7f8vksWTb3kk4nHWikGzTP
oKLKZZj/vLwGK8+3cy6MNnKplPmnv+rXUxWQo8tAonz56St2ZCdWUHYKVJWiqwlwYXEEmLBECQh5
BlQgvH0ovD+Xh1kxJDt9QtpOl65XkqMYFQgQhPqJ/FSz910kqS6PsDZNywe+2RRFowtisto/JVq/
or40HQZXdcfrHm7t6VpJ07Sp40EOU84fDc2KPyUyUHfXPX35pDevPuH0rATwtKcEquYIt8EevSbi
9vLD12be3s7VTDmglf6pypMPkgHZ3rCG7HK/8Tc2vbURLAdu2qjyZBd6x2UEsbx5PQRovEU1+vIn
rC2t5cIiBBlZSDLE72bwHyaJo3+DIteVhmP5byHGGX1dOSKprPMdyVBD8QW27ave3U5tNDTiRRRF
5MQ61R6KLMxePLIJ/l+ZGZv/mQDyMWbeSI66iJBAI6EM3Z3TFOMWadjK3mZnM0BXRzQv6wiGP3yU
vv88qUnElZPe6r79QHskNmTZBbGXbF0uVqzJ5oOWDZ+Algbya6KM5IAh+NCEmg1L4iEPt25Na4Ms
v7/xOJ1nzCwlOhHjKIuWz96Et5n0qn0wIJN9eeXXxrC92vX9yG852jlRotlVHCYFxJE++DNYui8P
sXICtLMXeqYKDaweOTIcY2nm+bheMmxsVdimsYdK4O0ACFq54YZro1l+bohC0WLGYYDh6YC/PAOP
hUpkQT8HKWik/AQEOpe/a83qLIfnJZuR/tPRSQAKd4IUfbZrOtg3kHqfizL4rPu+e2Uastb5sCW5
uewT/0lt0NBObTRRX3ttqaITlZo9yrmvin2SzNMxA8EGpJDd3r0uXtq80XnDJg2b8I5ZTvw5Fh6q
+jFTc/MwzqL65/IUrnyOTSC9oEoGCbzQsRnU+ANdzPPHmod+ezKoF2YfDJXBxgliJQbZbNKsank2
jr57zGnKH0SbDA80dF4uf8baw5fPe+OoTdYSVAT/H2dX1mQny61/kVWIiHjrHjrpIUMn2d3JjZWh
P2dRccJffx5zbvolzbbKq1R1qmALrAUsngGlBmAyw1vYmTuHGNDsfSuaGmmgGATwzfB2uMsyPEgc
YlpmELoAfBR66il5hFy4TA+DAyLz8frnWHICNXICBV1RTi1mBQrc3zWFnN4knP4u8LT8dr0H24AZ
2z1ltOvyFMWTwveK/lBJz/0yg2q/y3EAu66RBOIR2BfoA4R3wk+bi1BB/r98oN7GNdA2Pkbg07mg
MATwQqDz4iG9SZzqNw96PM930P/aN0DGdj9UAvAyEeCmSYAAmBRrDj1uHxuZyzL8ptZ0LJ2xIMOy
nNsmGB7GPBQtBB/jnbFmcuCHiSntptjvEcqEHGWmqfO04AVPbeQm2+9fc/+reJOUA7dSCnEXq8J5
4gVgR5BCKIeNavjbpBP2D8edi7DxAYRc8d2D+5HG/S+RpGEUB+wHq6rpGAv6Rff9FxTIT0Elb4Br
ugmFG0blkujIWcZzmpaP67+7VoNrZAAdcDInzYLfIxPKI3DQJBxoN5+tbcO5/v3VcAonGYcSO/8d
iAxlRNNURSAJbdF8LdvkX7zQ69bDETzSjAZ3nNXVmYNLtaLNANWv8qjy+9PQy/tx+VrHaotZZdlV
TDI8iyFPAKQnPauU5T85S//EAqe/iZfzvQPk00ZefhvxhGVi5AEeh1MKKry44zh2xkOmjsACk6j1
uwdA7r0IRM4fuvS/8hAYJJ6N+c2IIiVYX/eA/m7B020fa2SKSrSrJOzonZVGALR5hlCuFvl7mdvm
BI2IfBcjnwUmaV41REHEol1uNPWeBn+UhzqBEcquFW7qXKNwCw2LMm6z6O/RPRa9PjoFeHHXm39b
aQk/3swYahlV3mhEEITwk0Pu1GNEuuLEeh8VneGLDJf/tdoLomGuLqTz73M2bpw8LBNkSmC3oJ27
Wb6SRUTS3RBXfNcjDgh5CFhN2u56+sQHGinCwYFgaMely6KlJFnESuiOzPVvOMFseWDbvsPIEhyo
YzZjP0XjopDHqvMwhHX8MPljDDhr8eP6VFk2V1N8QAQNq5tuHa5BFygQs+zd3JH7PADg43oPlnRn
6g5UDelC3q1rYc3sWTzhVjDqLQCfrXUjKWAh4dFm6NfphlrOsYKm/hGeNBujY2vdiHYqZtCzgYDI
ogxS1g/F3JMzHfButmdo/lEaGJoAhlC6zLDROHP7Dqfw+Aiqy65I4KZCNi0VienYsDMvcE1CFe+m
DaCmVzT1p37TyPrt+98/SgMwKotJXVbsrAv+A1aJWZTU/iMAc5+L0vkOEP3p+lC9HQ7/6AtID0D3
oF/7adRDW4wnxqdvkCl6gBvy3ukwgprDVIwk08TOFBC5U9yCutX1zmXfBxjxPCiSuE2p2Vmy5eeU
1r/XO/JYZx+9Zjru68I45leVGHXWLxgj8DDiCWR2vAjcgzrRHOZC/breydshwUP639MLz1s4LUvG
zlhdCezXIIQgVbwxSLbGjWgG/2Ja8mpg56Trm5MMxR+hyi2pPFvjRjBXXucA5d+xc7bAtDxLq+/5
3qoLjqz/HZaJ99XgOA47t6K576AgWszyE94Qv7Zj9ytcsNPuGn5TR3tagA+tBJbRAF2KKCn1zwbs
g52NG9s2E0il0FHBAiL4wWRgj+6IbXPfL18j+9XBlBIK6XKfAAYar+wetqBg5Nf7MjU3ZbQZ2HqF
XAoHRagMrQ8UxSeUz7fo2pY0Z6oHDCmg9JniiF5/+sw1roakKr4mSfpuFY0M+s397O39mAsjhkGy
cOKhRdIeJOTSGHHIAVQLyB7qYVf1hAsjgBMeOsMCZcUzCcuvhazg1VLKceckGwE8dF5STgAP4iKt
5SFmTf7OAxh817PFP3x/PNglkLpskXsckOY1eM0Vh9JQ129hmS2jb1L+p6KdCYHJ2rmtGxcryf+h
l0reg13n3FyPAstCMnn/ehq8LKu5hxCD6jDSv2qnIyvnnwX0BQAY3ZDjseS6wIhkHg/OuICndsaj
4EVpHOYgnu6cr3+DrXEjkmXuw2mtpcjSK/UELqjrkQsp9XrrtjkwduHJ572vfOzCKq4qhS0sF/2R
Fkup33ejk24JJts+Yv37q3SUZT5jRDHvTBt/OrR50B+WNPyz7xuMKOYOuFIzm9lZpDq8p062fJ5a
QJrnvPN3Hau5CYLLila5DdzZzxz8tYMOUy9SRGxg+m2DY4Rxkc4wYCODd459oPmHthrA8qp/Xx8c
W+PmPux76YJ9Bo2Drgo9ESjHQ+jl567GTegbpDl1ptSIkecS4gqJF82s3sILWX65iXHjkB8Ihxn5
R0Nj7lQMAKBpJ+tO13+6JTWYEDfNS9ViMLxzoSB3OmidvIecQ3IkoBl8jnGMGEdv2ujL9iVGCPOu
YMPo9ewcAwP1gYhFPbZNu7U2LSFs0tDDsm0Kf3a9M/yj1coJxcWM4jQ9+al7vD5Ytg9Y//4qfAne
xqH9iTxa9Xh75BD2BrVVbPkA21o34jcbaygMz8qDXzT4WgUUrQ6kdr7v++nGBqxgaUApeLhr8WX6
MqVJHfVq7wHRxLRp3nl1THP/7AHVGrlTT6MUemb7kjM3YjfJHYB/JoHYDVD7gOi4voX0zk8YUy27
cIzcBLDRHBUjGIggr43yu4CR8QGWeFugAUuImag1EID45E4NQkzyx8wtH+O0ueWEf0r6/GvYbHk7
Wda/CVzLglCB+43lM4DljJu3H0Sirn7n5aZQk2WBmug1lcO6G0ct75xM5Kda8voQ5JCp27VA/8Gu
wTOE1jLxzjKbnqds4SC7bx5wbb/cCNwkZGkSzxx4pR6kUXjr/BYtFN+v/3LbwBtxKyBn4ME2mmJT
xyWA8KSJWoUXYWfap3gH1Qwjesms5i4hYQE2AgB+B0Hq9KYe9cv1D7CNjrHxSgg+T15Tl8nqIAVI
nQRdE7kt2zg0rOn93/ds/ldu51XWHADKLutyXJ8axy+0bu7jpniMUUWpxVZ2e1uDhP1DByRyIEvV
j0saTbOkydfEyQL+exjGovkfS2IvPwR+nP+GpV24fNK1l44zZCRKEeQfC+lC4u/Qh22h20PYEB0O
G5B4y8CakDYS5DmYxB2+vAefrfIhnuZN8RY2wda6cdxOgo5Aswbg65bAgqGcvOOMkvq+4zYz9uos
IDnhIWBywFN9BTCgPKUebre7FhxbI+nViojpTDjT8NJcb1PUhVxUMCzDzfXGLeFosvq6DAQAWIZ4
515OEKubeh+kPhz3CpIux+td2EbeiHjGBS6cYeeeBcpqXgJbUw4CwkY6sTVuxLoEGUdmA0BsRY2n
Fw45CciGJMnGu6etdSPWhxGKQPA3Afo8H1OYJxXdyU3LLd118XaoM2OnBjsww0SCYDKE+szg1jB+
HvLuIcBDUq+iIHTSjRVkmWQTzCbCcBrVCDTGCqKX/RwfJw8yEl0LPtiuOTYBbeu1v5GtQOk9wVlP
T+D/5Uu59a5omQYTzaa8uoVDC5A30wAspBt2xzksdzkoM/4PcG2pUgrfEawgJT8l3khOuRNn76+P
i+U04xmxO/RzDr/EDCNfQARXt8Wjqvs58lT44K1HjR7zfb0n2xitf3+dJXjp4K2rRU+Us28s59md
gAD+cV/rRgzrwYVPpcQgEai2nf9OQVP1v/Y1bsRw1eOiMJcYpCl11YF0kp0WzfnOpWnEcAKlmVyp
3oWka3tfcJgAuNWmT5lt1I0QVnPq6LFCgiAB8NFiapsPSwCqzfWBsaweE3EmF5fFHZvDM+0AoINF
GOpteGyGhwxhj6UO9u1eJuaswnGsgYAUlg5IHJCBLuEu0GcbK8dynjFhZgkYVTQNxxDVcPfjygyF
BOgHaA/Bk2yL6GKZBGrsvtDiggkm9K3OdJkWnOP7nqXHMmymx+vTYPsEI4h5ViXQC8MGLBWOeVU5
fqDBcrNWlcsy2BKfs33E+vdX8Vu40Jd3Yo3NwCHqgxIaJkR9gGeKjUm27AHUiODMC3pQ3dcwEKAc
t7iBQmOJvswxlMOuD5OtByOMMw536Gz0QC90ajgUK5R+XcD54Y6w8dRrmwcjkuWsZ9S64PsSs8GP
kpDfS3c80wx1QQjfbnyFbR6MiCZNt6rQoXIK+zGovo/ZnzaAIvv1IbLs+CbMbCoLvxI9jkKs9m+J
Dx+wGbceCTvtcJB3fe7/qHW6UV+2TIeJOYMObj+0UKc7Q7+qccFoom3hhVHh06w+44mqaTfKAbaO
1uz1auVSUUnqEOTAYtbfMh96YPAFvtSZs7WJWqbkLyjtVQdiWL1WA8x70WQhbJNk+gTq0VYlwNb6
+lmvWqdjmYcjRet6ziR8QeACt41OsI2NGdXFVE+J0wAznAC1mKFoe6xcvzyU4U6WBTfRZMOQLiSu
CgR2yKaDcCAwQYHeOF5fsW+ODg5HRtpQasirMGuGDwzvOTdjMDzXOtgCIdkaNzIGy3OlEzHTp5i6
H6umd29qBe7tvl9uZIuilJNT6S57JqMDBUoRfMI6cjbOdbZfbmSJIqkkGKEefVI97sbJ1HX3+Zzk
G62/uWq4ZxbYMojGQqo79B+Suazl/5LQL4QLkcLMLfR5LjpUTfZkO/S0JqpXi78XRVY1Yez9JKsy
nJ+mvI5wB4ce465JMMtssQ99PalK+lQQf/7R5u2qbjk71dbvf3NLwO9f//7q9w9iilMZ1t6TFFDC
eQeZQbiccndZ+ve9ExT5MUV5ftfWgM6MTJEJGgvUnZ1vUDWkIIuWzby8C1HHohvBZtHS8Ex2KKSu
fbrwWT8o7va/s0m2XhWpVFN9xmt5KEeYH4bQTRS98JI8aiELCjHEooCi43QY6zzYgqjaVqAR9nGo
W4kHe/cJh8MyPwZxMdzOZY9nuDDmW/xe2+QZ4Q9UdNVnGNP7v57mSYbj/2kqoTYJEJEP0U1N1C40
JabOSAaKVDMP4Yr6lIUVxCJYPnT6pOdx2SrbWRKCWbZjwishG1o6F9rXsIyInTF4l7dNvAVqtUyI
ySZN4FyfTjUrnolLnDtFu/q27wLn1LZ0S2/J1oWRCxgnnW4zIb5Ct1k8EK/mCfRR+3mIugVcx401
bhkok1FaDuPQUT8onuOBqTN1++zkeICS78o3ZiGOQBMLqIaugJJvReIoD5ZyiII23GdnAFHP/+Yb
moUen3HWecpcJqY7PpYQAk2mwdmSVLINz/r3VwlNQMSJxcyTt8ydvPtMMvnoNpvSA2+eP7nHjLCm
Y9xwlYn8mbBanqEMq89B1UO6fETBRuI97b5gJYtCyl6uz4dtTRkhnuR+CCb9HH8jKOpmkDuqfLyp
eS50fx0NIfWNabd1Y4Q3xOShF+speatkIGFIzsRD0lfefZK48c99X2Ls+PmiE0zGnD87CWu+yiEo
b5IEZfQo7/KNE7slH/5Tpmsd3rRuVj5nc52ddQW8BlFgW7fIw+VK1dv1JWatbgWOdYy15bNa+vYI
y9v6mIny+7C4e3swbgSQBCtE1Tb5c9nDKSleikePCuh0T8XXfZ9gbPuC+aJPgjF/djPBhtuFFxC1
4riExCcOJMd8vt6NbUKMaC9aFpZuz+UtrfR0lzTVfOIDVFtit0pOLd8Ss7KsXlNBC9t7ozIe5s+U
kPp9NeTkBNz6+C5x+63DsO1LjMB3cu0WzHVW01nPOeDtPz7k4yiPZPT+F3bdFiPC9iVGuFO6wNx4
XMpnkWd0RPpFejw0QEfcNaR0Hq/PiiVFekawt0BqkpnGOXL86LzXfPiiqEg3Sm62xo0wBw8vzWOn
C+4T3QDgClLO4GdflFOCsrCRrCxdmFW9avRi2D712KNC1XtR2XcQYB8XX23BOC1Z3qzniXCMQZRb
qg/MWwoIW3xapcvklL5bLZVY5cjIczffFmxfY8R6wZzEnRtVfaAAexwylSQfvXZTJsuyoMzSHhzL
XDbNZfUcAkvyLiuH7J4O7pNwm1/XF5Otg/Xvr/bb2lmWyRnn6hmq2U8NjOuiv8cqSSa6UZhfB+Kf
B10ORfP/9kBHyCTGNaueM+3edENcQXirfw/T6gkH0S7ttzhetn6MEO+nqg6bWlbPuBvMP1u4PB3y
ohwP5azpk4QL1alQabexh9hm3Qh0iIglsiyrCjrjYztGXu46L1mRb8EXbbNihLiiOvBYiDGDI8W3
qkDVZCbFYxduvmfYBssIc6IHbw5Z5/0UINZEsQdAeEYk0J2tOoTJ13bKt/AOtjudWfNrg5wCps3i
S+vNkGIaOlmci7Ly9HmSEBUuCQl+dzkAm5GPCgJkf9vRcSOo8b9cX+GWqTLrgNrxB9D/k+EDRJSG
09SP3kfXX4pv11u3zJRpuyy5n1cQxq+eF1bVUVD2WeTgHgEzCnfrbdHWhbHZq9jrShTChw98QIFL
++QjSYLkXS02dQtsQ7T2/CoJVIvqVMfz+lnKPoWLh383sTG5XB8hW+Pr3181zsoQWqJOUnygGvwS
cFUHSH11kXThkLRvRzFLgEEGa9U6FdUzqAHVS5pX/NYpS7VR3/27Mb2RwUz2aCyaBUr2LflJ1eLJ
o0O7cFFROMIEXkPpWzD5DHaXVB5McYta0qgBnI1DyNxPRtibeKpLoT3RxlPwHsT8tpjuUeVj/v+q
sGN+HpXu1KVPcJuGv0fbEJ59hv00bc8h9Pk/TrmCsFyfOHni34w43JV4eRHDQsooI8QrimM5LlPb
HqBCFrYB7C48l9aPkLCu5nS10mnxFrRvIo2kBMk2Z57SsHrWPao/Plf6VA3e4/XGLQe0v9nj1SrJ
nNHnMByqL9CxbA40V24N85EhicqGxDeNCjdLZpZwMlmr8N3y4X3Oiov28EIzguGZtOPZSdotWqQl
t5rMVS0cmHvnqvyewLzzwFOA2icXpXsUdJbwkLlc/W7kkGzUSi0DZ/JYmW7CpIER+qUd/Red+j/i
sVQwOPC6B6cn+7i+MCIxkpD0VVBr3haXior8NDUakt4NEK3XZ9+SI0yuKmxA/HClml8mjdxfhHL+
4XSb2hK2CTEyECmJxwc+yQurAViriPoVZ6H7S9U1O60RewTDlP7e9yXGKQTyMtrpw6V6TuZpCFAz
HCv9hWdK76xSmVxVikwTxq6XX5gA6hFmKekh7tIqCvXmkrJFiBHoWd6DnuzV4X0G4eIIZvUfRAbN
XyfYPDTbejCOH6wUtGUzqZ79QA/nAMqM75iEcPYo02BXtqKmRfYQQPQvHLPwvoABDR1xYS05gDPX
Z/ntFUVN3irD1otCS9JcqG7iqGhBJ6VONUdxAR73wnN9WIYp3QV25dS0ym4LGqQFV+QBaMmYPNK+
SfRJOM4oT9c/5+0cQk1nbF1BJrPvhuaSORC3CAHmj7KpjKO6nT6Xo7/zAQEN/fcokGQorDqxJ+5l
qpZPkxJg2gUkHjduGm+vKmqaYme9T/uCFvICLRl+mqCOWhBomGbV1gP822kK8jn//f3cldrTtCsu
CRRFRTQNq/9U3sZbNTZb+8atgrbdEsMlrbhAFDD7pNsyCw55p6CYcn2ebQNkBHY8Mq9sWFhfeE/K
93wCn6tSuLSUSInXe7B9gRnYTZrCVC4N7yeFR0dST853r4ZL4a7WTQarSgoHIgPrCSTw4gaQ7x7G
jjCR3UU54dRkrkqZEUgXdPlFsBDXx3Z2YTEHpbJdlDe0v6aTV4ecoKRKLo5bPXu6/c0J0AjCKTdO
qZYYFsYGHZeJdnTagkrXgKcP4833wpnlyV28D1ykN9cnwLKATAqrYE4x+aSCYu8kqi94eS8+MwaS
7DiKP9d7sCwgk8XKRq5lAb4J3nngCsTysvkwgvO48fvfrgxRk7oKJAUqs27JHjKoVjgRMCIivMXf
lvoY6yJ11Nl1C4iAcH/qpu/U6wsybhxxbPNjxDYLJ8GSZpbPCWxjjz0NYcY6j8ceKjAHaHVsSVnY
ZsgIca5UV41Lzh5ISMvvpOPvRbs0f7pps85imyEjxMHGgmR6SNILQ3UlhAWlmud7j1Vx+W7XEjAZ
rkMV9pnnj+wicIRip6JIQwEdwm7rickyRP/wWxOeUtEH8jlzcJ+eNHZrwMGc90uckY1PsEy2yW3N
isSJl6VNL6qAMUg74gGL+vBuDlr5qWZ5cd43UkbMK7z+D0R66SWBSudt6/nkNqxxsr3eum2c1r+/
ylYaykFOPXHvgZWBB8OpaToLEmqYIZZbPEvLOcp0t1YAGmVyHuUzaHfzxzag7XsyNe07WHbKHw4p
vvrdJjzPEvuBsXkLWrRa5CO4rkLerYfCFmSqQcN2DPCVNJqd4Qs0a+TOqTHCfcrnIq6lm11A25X6
XYva5PQzD2MYgl6fHdsSMwKdQsOkUpy7F8i0/sF54RFZfnlYnPgS8M11bIl10wKCsaLvej9hF6D2
8nd/z4SiWJZo1yeYRFi95EUVhEQ+y6Bxa5AX2Is7QU4qdAW9X93mrndjWcf/UGLbeJYOietnWFLS
+dQAknNyqmq+xG0ttkR+bJ0YW7tyKAzS29y/qEqCUMpS5c5HJLAxPQHozqqNxGKZENMCogiCWPa+
61+wgakj1ITdm3xZtmQeLeFokmIpfEoxWFpe5DTWt0Mmxk+8bS4Tngi+Z8JVD+6SbZlPWdYvX7/w
VXZJeOC1MVgltwSatifRhc0DgFfLJzrH+Q+o9opv12ffNmJG2CeDdoBMURCopg2kbGEoC+szLiF7
f7zegW3mjUhPYBTtpUPoXujg9IepKspVPL84hP4mbMH2DUast+7Y1spfvItcGKrnTKCm/XkBNKXf
uayMPV27LQx36OBfIGJMnrEb5mMUwnKZbkS6ZYxMQF9SiJmh1ulf9BRDLVEuGpL2GiS6+ZTrSeuN
M5atmzX1v1pTtCq9Eh6CzSWGf9VBu7AwESMsqgdgWq9PtmXVmni+wie6kgUiRMN36ZbXoHCKMZi/
xASeNTPcVDcWla2f9e+vvkR6YTY38LD9fyjEwOX3YnAWOOKmQzQVxfd9X7OO46teRAl7dZjw+Ci6
FsXvKl+FRXMoow6Qrz3kwz60AjVRfWgS9g4ldS+Ixf6QzGABQxkCmnu53Hplss28EeXcLZcU1sco
xMezf8gZ0ZEqgj+OT/53fagsIWhyaiWkyf0MzjIXRYfwntdT9SWF3/hWicf2+40IrwZYGMLRs3lW
WZo80AzmddC8qz5myC0bL/u2LowYV74TdxISaBftqOIHHxN+UzklhJlgBM03LuiWZWui9LKQQRMi
nevnBPylpzAn7KvsoLXOp2L65SFRbtzjLN9iUmXjDm7ITjeQCwG45kBLv/gMtdKHPgY4Zdd8mzC9
FnwR5vmoGcPkPiyPNC/d6tbJUX/YyCSWBWUi9aZAKpKFun6GGkIIl48WGFagW/2qeNr3BevYvQpu
oIB004Ylv3ANwkucwH0gH/YRHjk1ebNgwMlOwd7qVvnYSbO51ecy2xTYsa0jI5xJJcWQkKp5Br2f
fsgEgXk5hdgUyXUX1XP9+foQvU0Ex1cYezevPR7gKbp5JmH9G7qPn6a5ej8VIIiu5sek1T9BWSHH
SpIb2J9/FGH6I8jxv9e7t32lEfTag4vUtOD2o8kMvXaowHK/HW9RpDgHex93wWP77zqYxg4vrmmT
3Wpef48H9T6JEZHXv8CyiE3Eni+CJZOZaJ5zj/1vHLL+5NDNRwJb48ZuzlTt6LwW8jIkKkgieAUh
+Ny5Zn/2/XjzyD5W3iL8zr9MsgjPYnH0TeDukjDj1GTV6oAGZcdEeWEpiT9m3VI9zKCv7/vlRmhX
1NNccqd5/otyCWlRRx4TWxhfS3I14XgcBE41t2n93PYetgcnrb0oTqcR5jqwbd9YObbQMz0gKjwr
sEBUxWVyu5r7J97gWeN+GkkXvJtKnzcLHCeJr2B9BP+xJojivHbiE3BvKodav6rJ41imqfNl0mOx
dZa3RKTJtCL57JepS/C41nHIAPdD4YBf543N97mksfo8SzxPb4zAm8vb94L1N7zKz7yTfJZwVHiR
oWpOIDkUh8J19rZuLBHeO80iukS+ZMLJT4yufvShXPi0Z/vCr1+/6tWvF3NNlgRT8iLr8A9lELHy
5T4dRjRupP+WhF3spj28wUrIbxWZc4GL0ZaC5JvLG40bOb+BklSe9LR+WUAnOJAM8oXFVP7WZbF1
GLXNrJHXe4VH5XJh7QtOuvLdCv/tUr6rOoqfb6TzxBUBNLfH+gXmFQmU7cL6xsk3FcwtP90syQzD
NBNgS9oXN+T1rzmvwzLyhk33N1vzRkqfcp6TvOvql7TOvg0p5MmVm+/ipPnYuf+7JPXsqQAFnv4l
8DIaBUMhb8K+c/YteLPyEpOkh5dr0L5oF9aSPbtts2rjGrb+wH/wRfjhRqy2TquDQYftS5XI7wNr
bhOSvlNk/BzI5lPhZBuXfFs3RsiSGnBb4VXtS7tA8Jyn7Kko+2eyuuKwYvw8+vlpx/aE7zHDdxn8
eZxKCknqMPszFZ0Gnm+cUFPY174RwSJNksDJEnEuvE6dhQ/Fay9zt6qStjVqRC+tuiEMdNC8yDkj
d50qqweZsq2Lva11I3znrCWTP/jlS0iWRkUjH2qAIvN+665tad+stAxFQMY2ybsXoYCFe6jIxNVd
OofFxpHZ1r4RwfHSiLGRcXDOwDc5cdQjbpxy65JtWaFmdWXiyzgrV8N0rA6+Vll5hi/zu6zofvHA
PTQTudm1fkzSZO6WMpGNo17wvg6Juwn8z/wgdQVT2n0dGAEtgA8Rsm71rdbspeiDP24CXaHrbb+N
p/X/4UhKuLAv1Mevh+HCjx7PSr8KFFhOvJdxJHx/uct7Xt5w5+eIcy0MMJMN9QHbzBtR7ZZzHEC8
qH0JA4dCgsDx3w/d8O36V7158MJHGSEt/XQJwooXL4BRJqfZ7VjkiZbe6YR8dMN8y9J6nYA3Mq1J
g6SdYGMRZNje4Jl9ohV7aX2dH1UY76p04kOM+HZgqDr3xYhcLhRskoLOmW/DxUWhKMibYYMo9bZ5
hQ8o+H+3ulwvPrT1mEqikWCLu2lqXMa/zYOQ/Dls5qY4j8NYpctT05bwx4xK8MBoiXMOaooySpog
88vH2XHmnG5sLpaRNSsydE4KvDup4iVZwHQSZfhABKRmYCv0ddcKMQsyYesBMRzXxUvhlYP4FqC8
V8YHeEjT7DlJvOEmLqBVudGZ7WuMs3nrTAx8YyhHxgoIODj9/IGspIzADr9c/xpLMJk8SpTZuQc8
QPvikdI95NmYnNym3jhPWILpn9pMDQdqHLDUi6o8CApxJ53do+e3c3EsWumSYx8m9Ne+DzGygkhG
tw5R/bltCeozbQ6ng0ROG1nBNkpGVqj5RFTojf2L0/VK3Q6Cw9xeeBCfPe379cZej+eunGq3xjw3
aoqmePoG6fGte7RlNzMLLxQOSnPJZ3Y3af5+Vf5Z1VqyFHr7afBpFsmWxoBlsZpFmGziLpisCiWM
pAzPMMDtD4TNPGrm9M/1YbL1YGz6JIYVWCL98FzJ6UPrglKsVP61nvNdZse+Zwqc6cKbxhA0z7sW
RoJqgeD7/tukWYqBUAWSIADG56TpxU3lKvXBr7Kt66RljZoKZ3jqayE1LvSdyufuHqdq+dhLpTaO
KpZQNmsxhcPzqYfyAaRf6qaKUIvAyZ2l3amdIXjtDlspw7JW/6nGyBCXG7+HmbXXx85xoFP/cYIO
6pOCz0kLxrIGCDSluf59fUXZvsuIbB4L3caQLbxLBirvKp76VdRAd+4H9NW8j8vIm42la5seM8Il
0dpJPPeO4ioSczj71P0+FVosW2Ozh0gFC6uhZ3cCav8RjvKXuAs+XR8hyw83WZIclej14hRDhd+l
72I5wSssWX5eb9wS0CZDskgyAnMRuL6zsR7qQ+Itzt1Ud6Q8emVQvVzvxPYF61p7VSLSGTAWIRgo
52IB7WfKVgXg7bG3fcK6sl63rqbBbeQcn1tWFZEAZ0njYHd2Uv9x389fO37VQewSOcWqAUd/KHDI
OpE8H/OnufUHtQsDAfDJOnKvuqiyjDXwiyV3VQuxduHn2Qk0ixE2cQBfezMrN7KIbSbMTTqoYq/s
qTivMItDC02Isw+vzeP1gbLNhBnLk+PCoDXGG1ZO/5cBcHGEXusJioZbT2W2DowYJizt46DN9e2A
iumBjf4jcG/qsPs0Ro04zhyvwUGyYndx50w3YKy6x6SrNlKd5deb/Memd5xmyD0BqDvI4VFb442y
rGGmyMe42pgCywSbHEdHxbSH2zX6oLT8BMBsDo8rqg7XJ9iSrE2OYzwCVLr4bXJTTeJTMmpw90aI
2eYnUIHO17uwfYARzZWvQPepeucsMrY4hxUJLw+hN2ypqtvaN4KZ4a6TKN0N9+0IR9Za+I8p3zyA
WTZPd+30VRjjaTVrUDcd7pMwaB64ZAmepNeFxLqHJFauispgnw8syHxGLBMKg4c01X4SpSXOSbOq
p6ii3a9982DEMvH7ouphNwK5vFSI9146J4d5gA/49eZtsWBEsujZIDWtWmDL8OI5VZAsrmjvfwgW
R52ud2GbaSOWadnkXt8x745TOL0NM5As9bJ1IbH8fpM7yLN46HMI65yp1/bFA2ft0J3EVJfuBwKs
33S8/g22bozzNou1TwKH4FKVth/jIK0jqHhFDWs26gdrmeCNMojJGeRxnCbQuMcsQ7CVRcoFOJz1
+ifUl3/BXO5xHbBmAONrSTfKA399lt/q0gjwaZJeLJtkuaMxFxBeR4ly7G80ErtzgNxwnB5E4iUC
lYxU/65gzgkdNtg9ylvp+y48rXC3IV8GNyTeixcHvn8ay37WH0noLvIPzhlQbCuG9Ygsm1WxqVrC
Oj6MIHXOx7Kc0vJh7Pjo7ttPTbpi5bSovRRpjBvXKrqdUQFAP3yk9s2+kU7+j7Mv640bZ7r+RQIk
itpupV7cttvO6nhyI0wyiRaKlKiNkn79ezQPPsDDmK0PukrQBkiKrCoWyVPn1FVbuSASKc4DdLxx
PzkEtOingwTtUpW0syvI79sdGVxFF9ZMIRg5FZllQcgr+NJl/kWS/vPtpg0hUa9S5F7lOaGdZedQ
AsLfARqCe9ygBrwMpNi8xSHJhRTaRlQxfYcWVTIXxwefpdFJ9pV/VnNaf4G+yxb7ral1LaAUThqC
mCCyTnMNOTseYduwqunr7Xl639P/qFKkKHUgg/Kw70GgPCZB/ZcqENVlt/W29P7o/6hUVO0C1GuN
NeYojzvIEudHmtENkNT7q/xHYSKv2z7vl8A6SWc44v7vMVP0nqvqr9Tih6nc4jc2TZIWO2SuWndy
kBzYUzUntPAfIcbA4iJrL7dXwTRJa8dvNnDwTYa9cnLxgLRjPjAO7u0UdzS3GzeNfu30TeMM9XuI
rco6dX36j0J5Rswt93sTqn2vDX9UJYY+eI3JGJRn0qFoLVXIXqEksbFVmEavJQSqBbG9k6GEPWW4
mGfj9DGzFrw2TPVGHYNp7jXnVY0tCHh5+UM6g/SLWoAP8YFtHR1MrWvOC5HvsagqyR9QatpAbhng
7Gwuv9xe2dX+/tzTiF6OWDDLqlwX9ZPKnb6uV2O2Fd4Nvnewp+nv210Yxq9XJBZBRqSbBew8uH0B
VQqIERVfG48pum/69ZJEFQLYQyFq+gC17WWlW6Nx62/FB9PoNcdlAbEBchn5wzzk9dkuevuYq13F
Tx7RaxEhUkhCaTdFFhfzUP7IINENokBr12sX0esQw7x1XPBx8gcKbpqn1G6ti5fO82HfsmpJvPRC
gJqCEIETMMqE8qp9dOYx21MHjZnRfBaMxeUSui4HPSMCwuDgTn7ucWfo2JuvkCbT17yWdqmavckV
Z5tVXyCZc8cDSE4rMv/uG+jc356l99NUEmrOq7wOpJ8ZZokX9YtSaXYHgEd4ofloxSloTGMnD7o7
dwW1OlCl25g9w6amlx/yvPX6bpwgzaecs40NDcUwJ5yvP1vIkCygMm5/nME39CrEukKpd1kv9Vkp
PJhxe5mPCIUbL0Cmxtdve7PnQCvEFoFT12cSjJ+HBjLLrb9PXsojOnAtxG197UxOfcb/ety8AWY/
7kQIkUDbiu0MEW4Gd9sDr6HOitrr7Og64T+359ywmemgNVJnhWUpODWYN+sYlCAzUi4QwHgDGLZu
d2GwWR261ilHWiQI6/PqFMUARLSUEJQA/g6UqbCh0n8EKm8E3x2YCW53aTJYzd19kVcVMN712afj
nU3hG+PweeiGO8oU+J/3PVmSQHP5QbYNSr/r5Z73SJLSHLHETufft7/BZLCaq3MZBbaEgup9R/1P
tYA4j5VCGW1X4zqoDeU6fMFhtzmv8jkgoAD/Xw/ulH2Na2d1TnIv75FcnP0cAH47jF7yZfPm0zAt
OqStG9p+JD2EBFQEeRVQb/qnivnhhuEYgrgOafN5XzltGBUXMFw9Spz3h1G8sCa8cwKpNqbHYJw6
ti0UYmIO9AzPdgRu6Mo/SLxKQjTtZSF4vS+2kEOmiVp/fxPwmCccm4OY9qyq8tle3+rb/faj7dZz
OaYAjEbyATylw4nZTXiu5LhxUjYtgua9fJyCYi6D9l6hlDs7Q5MReV6ad1yJSysyFAZdLK/pt4ph
TROlebEfQXMZnAN4TIdaBblDCAxxQcaY6xz3+YPmyYAYIi2eggZ3O2KAvqEATfvifdnVuI5um4lo
02IhsKYFTE5sQYiwPLpRIGWYGl0LAHWiofQlbx9AuNnHMwgX+ciGDT8wNa7tyDSCouBs2fKhjkKo
UmdO9tJCemNjvzcYkY5o8xUJqwb6V2A5Rd4y2zgKQt8msnkSrSf+fZOvbc0UHOz+1PbtA0M6f+YT
JE/5Sp59u3VDoNCLBFnI0oJXTXFZAwWD1lPnfymq9jJn7i+onRxu92JaBs2VMyDPat627UM3w4AG
p8qemz61NyzIkF/8gWJboDs+tnmL885YHFhfPHPchCW4X329PXxTB5r30hF80uvD2gPtLYKsnqGI
z27z7J8cyiqXfX1oDkx7F5uYEMWFLqjsqsP8Oa2cb9IvP91uf90Y3zk169i1kFZiQHUr8oixuzIU
mXa4ZVa2e99W7Djy6NpnWxdHhtXWQWkzDUiG96r2IaUShFC0T5/7Cqj/DZ82rIYOSSNt0IUyGtoH
m6JYrEMy3E3Ry5jjkuH2VJnGv7r7m12tCEgIpjrRPsgQabzowJ8blct5X+PrV71pvB7qLpjALfqg
xpWRNQVGOG6nEkQM+9pfP+pN+3gn99rRLbsH0OI2YHcgeXHql+2SWdPkaK5sN/OgWDos92AQmU9I
sj+FczFveLIhoOqFgTyAqrPTw9HsyfsE4s4TduVLUP3EE/3W6dZkPZovyyJlxdw77QNZQLiA99vH
wsOZ1lWbT2GGkKoD0KB65WQR8dqHATCGGAvyeX1XAU8MSZAwRY+4PdmZ5ukYNNYVE+Bu43Kf4iaY
0umrKldEjNXGzMJT/e6Dgk7e78vK8SHmKc9+3Zb9WRQZ/T1JsApvbHKGhdeRaAykkJA2UMv9jEpc
0CuOr5Dr+FYv0YtdexsR1mC5OiANkHwbr1RufknbkSRgUx0vI2/lYZff6YA0MHj0QOUv+QWctdBo
oFQd3H4LBG4wKR2PplgzsUiR/MJn9xtfZBojO77reP86DDDehUX7bmF0QFrW1z0cJC+vePZ6yQL6
AGKKs5rGr2lUnoAW2OjGtBTkv0GqZr0Ei28jz2StNOM+uJU3z7SmudIcPA3cup29trtnPvFV3Dh5
aCVqKvsjaf0ie6qtYngAT71Tb9iVIaL8AUcDOVuH7bW41NCeW5JZSbc8Qtaie6pneyAfd9mXDkxL
LdZCRKHv7lGFKo6AqXUfGtvm+xZER6ahFqPvgkY5lxp1hf/m3824yTljWG1di7MTDWs9u3UuIIHB
vXGKEto5ycui37g0NiyAztZPnbCdI3/A4OdOHkgX2LGf2/UhrPdRdVMSaQZLPRsK0pHFf4c5oFy0
8txkZ9EyGtcslpfRlM20tX9Chq7/u/Kd5qnL/XCDh+n9qgU0r2WW05jTZcpT9jsK+yv+fvXB9X7o
JlznVhYv4rFJr97UXgeJN9YJVMYS/HI7jJb+8VTjz4LaOOr6PyDR2R/5uosXA5BM+1rX7oBoWwnk
mSP9YdUlTWwJJlvwMW68wL1rtBj6Gl7e5FGkWEAzXjf0R9hDaWBZD752W2xYrKlxLcMk4DQBhKXO
foMYpMfr9gypOkAFt/giTc1rOWYfAX2bLm30y+rBjj9OnhNXefFz36yvnb6ZGDf3I8HAM/Ijt6Gq
lzqQwOFy2ioDjNDKH8cUTLuWXi54QomWYCE/ugUKCSIMfvkOJIhml/9FBl7eLaBWBMcfYFhq2iqi
MU2X5txNTb1u9Mn0s6EegB88W+SlbWX94/aEvXvywidp7t0Eyq2pbfm/Rmpdi0Iksm0vQqlr6Q/H
qm/uec4/3O7q3b0PXWmuLsNm8EBf3/8Emef3thcJCOmPdkM/RWw8znI83u7m3YBLif5WE7RutuDx
sv8ZSRbdtxabztkCapv4/+NFwtSH5tygECpaHqjpyBcRtwOJM/6dzHueX/EBmnP7Q15kzdBMqP65
LzKQ2YI/+vbUGGxJf6Wx/EB5czShZfbstKe+fNnXrubSpHJxqgjRbuulKq6rHhQpvrcx6Hezb0yH
5tKzItEwjvN0tPy7WR2nsYjbFmx0+yKG/jgzAG84EQekY0PWXKal+ZHJYCNv+TdBeSde6LQCPMQD
bkHt6RjE4lEdo7g/dMf2MCcoGzuEh+b45B/yw5efNHYSdVCH6Zglbazil/ru9sKY5k7z7naGugBR
mDtWP2ROA9jYC2qNimELrG7yA82l2zxcSJRi8tq6fq4GcQ+A4jci8m+7hq8/0lRVJsdyaadjNIgi
rtL8gn3oSbjisAi+hT81OIVOBYlbdWz6NhZpskUVlzVp4naf0Awl+mONnGRUhP6Chc2cuA/6k0/U
+fbkGOZef6mxLNGBj2FYY1AzHEAOVH2s1UDulN+7e248MHrNr/M2ZQBzYWpK76fIn+rm6kVNTMWG
dZpmXvPsKGJZUDQd3GOaUceUTb/InG0RKZmmR9urxTCseArYjoOyNxAqxy768GR0vD37prFr2zIZ
pnrwMzRvyS/1+I2Sr7fbfZ8DB3OuuSxUWO1iDuBS6kV8sY8oUoIazDfKE3KorijL2dj3TePXPNca
xUw7DzsYSpCTcRCnaNyaGsPM6w8yY8tqfxH4gol/RflQnNc/2nDfTqO/x9Dab4rAG6cjbeT4O+x6
KhKvFEru22z0GlwQbtS1F0DT0KbBkTRBMgRDG4+d+BwWANXfXmPD3FPd7p2wmVWLDb6co6+ZJauk
GKTY+ALT7GvZA8ojGGDn9XRcUkCeo98eY6BJ2qorNQxdf1TyPN/rKw9mL4JLNkAa3v50e05MB0Fd
SLptASFoQrRc4jzww7t+mJL+/Jmd6sMQbEyNafDavHc2WB6CCVMjQtTCRFB3jXZGG0+LNks2475x
FggH00mqS6GaeJb5znFrsQboly6qg7Xx8jRb3/2dqY/OfNAqL0yzDPE3D+7y+VNkbcT19+koKOgm
/nsK69IxaiBqNR3doIdt80/Mmb6MnXcJCfnpsOG0DO5np1uSztriVzJkOvoLkqAu6hdLfAstv42O
TDJ2LAsIi1n74qX+bLTgJOxmqkK8zI89f2jLjQuQ1S3fSRH196J6zKWAQjNEVOfil+IoY8MFWmXN
T5SllyHckhU3mL7OLDk3vufRCStC+sdiuq+KjQzBtNS6erIg4NcUFG7rd2ncp82psHnsWBzkc83F
ouF9H1THdgoSmTsb4dM0ZZo7WK4ofDIifAZZdeA+sNMlSuhDXN09q+Dj7XBkiKJU24WdMW968M5g
D1MKYmzdxfPDOCt23WjSP/gXI2h1llxZ6ohC5JjX9cNkuxvOZxi5/uoi1exKr8LIw/6Rqo9+e2nS
jc3X4GN/vLO0nZNWHZoGzPa49G0yem3SF+yQk12AMkr0p5Z8BI1148CcQoGd6/emOLLB/v94XhFc
eKNCCAVu+gTmgs9BxTYm3NT0uhBvrpymsFWO58K1Vu6RyRoTV/F9gV9/WZmp8sMhgJk01Xen/TR5
G0HHNGRtt8pEB0q01fxsTx6lNx0stquoEguoOefAU9HyFAvoDMU5GiFF6Gwp8ZjMT/PJic4dWOcx
0WC8PlE8U9bd39TOk7nrN+bb5DvaviVpARrNqEQP7q/G+86q702w71JHfyFpx1I4NThkjraVJh1e
AqZsS+nSlDrp7yNCMU5TCwERcgOHRrwsjjg1wk+Eh7hyrazqvgubwyIfVNQcbsdHgwXpryYTKAe5
NWOZPauKLdeNx34XKooS/cEEOnZTPYZw1a66FO3HNjjuG7Lmp4ou+RAuaDey3Dhgcr2z29fyOklv
IkBVAyu8gB/12HR3FXRvdm7aRHNTb2kCPlYYMaufyHAo/E/7xqv5KAPleohjlDpK+64YYeyn2+2a
zq5E81AF+yJlhobne/40nIvrL+ejl9xbH7LD1tnJEAT0snwyhPYCCl3kG9P3SbRH5krU0D9Mgbdx
rWKwbL003y3zhlAX8hOOS2IxR0mQbz0JvV/wSolekl9FqPwGCSjmJ/HPdZIfylN9zU94dfwyPz+6
ZzdJ8vjznWvF9NND9u32qpg+aE2j3lin1w5jEASYsaq7BOpxCvdFNJ0Xd5hQsx0xRDRPkgtCwX0a
7gwBjuaq61Vy1dNUQSYlOEyBOgT+1tnEYD96XX4LV+0og/B3KLtryINvokyPdjEleFPbCsiGbUQv
x3dl7dFBrsscdYkMs2vURAlpti51TQuqua9qWS58hm119lzQuAFkdlRZXR/2mYvmw36V4gXFxQTV
0VNmZfHifd7XsLa5ciXbThHUCbqRiMPgjiME327ZcCDQK/CHpYCIW42Wp76975Y+xjn/64RzFG7p
fnqL3BL6+Ne03zms6Sq+UdW4rKowN/7H5sTus+/B0xifra/ufX0q78NP9cPdLlQzJXo5PhgJ3aYV
6EryY1M8k63wZrBNXbNX5JEIrTbD9SJ349JLkzJ/7W2ysQOYWtcctwA3cclCtL54nwr2UxafoOd6
e5FNTa/e8CaMLX4X2oDmTscR9MNS/k3dPBmKnePWdlpLgANHRIhlFhXHUbXnch6SEFypt8du8Fi9
8r13XMZli32xGcKnwOVHdww2Rm5qWnNXrvjUlCliDZlWngNUapZbYMR/t6X3zF3zWK+cCg9UAOrY
vqok/c7u+jsrCY5Rsjx94I/80Us+Bpd/+I/bk/TvDvtnd46uzjuNpBSguECKfFW/0g9Exf4Hu4nV
CVQXP36nT+LaXK1LeQ0O6d9bcN33twNHF+0dMosjKUcsjRA74pLZUVx5zbM/roeAgU8bZ8QQRvre
p2l7cBOlYGyriDpW4ddMPvIwOtTyY+p8LdTZk1t3YIb4BDru//qIFdV20M2uOmaFSkD7ehmi9EyW
IQ6H4RCF5LmBw8to/AgOl0cRpiDeCJNF1IkQ5Oiz5Xmat1gUTROrRQIwSg6rrC/scvhaZocu/5DZ
H+RWBfr7Vu/oqr7pxEukBlIduc2Pka9OOCpvLJVp4Foo6MuqGIZMIUEoquggLffAGf+omvvJb3bp
dVNHB2wNXdBbbYrgnlngLchREFinqLYusw0OBtP0aEHBy9rAqhRiZRgmtnX2so3bPtPc6AGhIzjC
cnjLmB9IcVdnf5fhcdgSYn0/wjt66bxb2Hg4qnp1TGmaZG3zrGpymsQW4ZnBB/Wy+RoswmEq1w1k
TBwHd/+P3gwIevdgzdAi2kiK309FwLv/Xw8ECzN3ICWAmS/7D6TpvyySntvavQ68vqvlLno1QAg1
R2+qrggaPJge8/mBB4/FcirKDWiZaRU0x2Vz1g0Tg3wyEJ1VzPF8dAqgOh2HPqtOtyO9wTz1Onok
gbM9jhi9mr4H7nWaDrfbNQ1dc92mFJXbrbnNRD+hmlDJq7Q2PMrUtJZzuxVFkci6FXbdo+VeqvRD
te9myNERWEPtdSx1MOp5OkTWY7fvdR3MOv81xWIqi4qus0xcGvvpz8DfdXvo6ACrKqwhcragYa+w
Dl7b4wiyL5tx9AJ4nuZCjROapvOxcp/talcC5uiQKpU1pTN7yJIakAVjCe6XUJxvG53B43VMFaIs
aM+jHJc05GO5XKzozgr/CtRXZ9i6BTbYnl7+3tfBBOY4JA8Csqi0WJ66Ov2NUs2dy7l66ZvEmqIG
Ed6IDyBpCv7ENFFtu+tgBsbH/zbNGUu5qBoczGqepBZ4RHpJ4mIcnlQpDzP1tx69DRuTDrQCszXk
TiKGjkpyKqr57PtfHcDdh603J0PI0gvdaxpkrPBhmH7evYDYACXMX27bj2l1NTdNbYcHVos91amD
f3rOMsjPMP4Emfnq6+0eDJOjo6j80aLpkKKHpfdtqNxWw521sPbgZyI75hP394V1/YnUKsNUpEuI
03FXHMQAXaZqS4T2feCto7+StsNQ5az59+6gHE69Y9Fkcvwqjz2VilOVEfvg4sb7A2uYexBN5GxU
TxiWXceGkbnshGQ4Czgkidh9NBxvL4khF9FhYcpZRE4Z7JXwc4V7pyJLek+dayJB8Zp9GMuNM5Uh
OOkYsZ41UVHkWPqAz08Qe7xmQZMAAvqhztkdSMU2ujFN02rbb0MIqJpa0H3hakdG3wGm5/EchkVy
e65Mja+/v2m8loC/d5ACP45OnuTeEPdb1Y4G19M1adKpmLJg8sdj48Zu6Ryi8a+22sKKm4atZQxN
HoQpmTDsOp/iOmAxrHffhGjZ/Th4ShG6BmzxAEaPdtqYaIOT+VokqjlpRhRbr+2CnXR5zHG7WAI3
PQzyUJHPlfOxmuyNncEQk3SMmNP2rgpTfIMXqASPeDFnXyLvgW7hcf69Kn7nxK0DxaqWR1Her9P/
8qNLwg+f5g/n4PpoH+b4swWA+8Z3GExIV6eZqLAnFyt8DFD71L2gCi72xeuuddaxVk3l1alboG1m
X7LpPt+6jDBYpo60cibX9SCNiwe29mdkl/HYphuzYWpZc9Wo8y3cAHIcy3kJm5/i3qv3bS46wMrF
nfT/Bj3Pz4u4LFsQV9MCam46U3ss7AC+mc6Q1oIIcX0Jul2Ce9TRAVZ9npZWJCqc84N8/FCL+bPb
b+ZtppFr7hpMyq0gRwX87yoIdsfyT5X4tMvydDAVDMJ2pUTTDX2sUes8bCziu9sRBDC1yfbHnNg2
Cr9fodeRumdfCq89dWnTd4dpINGjNcjQAlM4VK1vf8j78CT0qMXKDHqEnFeQU+3ylcouD/xvqIJI
qzhIccRww+HVVo28k7Qvz9wX/iNKDbdUmd5dIPStLVAO1sXZzvLmNeiy5VzNAT0Jlsb2squAzSc6
pkBW3uRMnNSvYQ7Fkrj23C92w7FL3p48w/h1WIG3eK0oWCZeW+o3T/Uoqr/qNHuW4BvYsId3dwF8
wGonb7Z2IqAu4bkDf/GDkRyJU33iEpxnrIcY7cTKrSqFd7MtdLN2/6Ybns9gF25y+eovHruvWSli
4gTlEVX1r0NBh2PHcfIR48aBymDlZJ3PN91RObIom7rmBUqmwcGvpgy7m8RN3Bhkd0sT3Ylhs5z/
3YiLT9MiLpFqsAKv5i8AEEOWdJrrn0vmiF0BDM1rB7jcV0NdgJn31fUC9+Dns3WlIQt3GpgWDpDQ
QzJ6CsVrqtzeTebcjvyPizV6dszD0dnyQ9McaTEgtWxGRTiQl0GBgaXIhuJxlKBzve0lptY1L6ce
YRWrIfOhSlCjQC7ItR6CyOV8487V0L6OR2CLYlnFQv6qwugf6UA/rHLYRpw3+J+ORyBTK8kyuc4L
SG/k/eyG3fAJ1pu79ykuHbuXpcijDVc3fYbm6qhA7zyZVvbLELDpwWaraHqTjqgv3bUMOmTAB+kq
gfhQg2CVps+s4uIF4uBbNUL/Gvwf6aRPdNgAWEUKIaA2+MgZ6Z8BfZLWHVRKI/c591lIfw/Cn7zl
jML3efg2qMx3vTt4a/cDh1THipKhRxnt7zQNpqVIQBDD6FeUWmP380sQ9x8ti6j6o1+N0SRwoT6m
g4M5mov6M58G1XxxncylY1wseBS+x6ki3QWJx3dpDh7yoaXzEDVX6UJtpAOt78tKmrZxl2xadM3B
C9aVc9VL58WGIOh56KC59FqVfHE2MuR3TywYvebZKpjZCNnG6LFDSUWiKOh8VZQ/h9AhRiLHxgNb
wjtoq156exd3NrrU3L0r6JT7Vilf60iCh1923nWGrunhthUbtlwdyQB4EHNp6pGXOXRL+uT7qcru
IN7puCB5F3JjWUy9rPvkmw1qsVQXzSILXhqwBpwyR9lHGOZ4ycpKbbi7qQvN3SGlGTaV7zfX0Zfz
aRT5Lw4S8xgFWXIjtTPssjqQwY66tqN89l9mDy/e4TLYr3jfyU6EquGSelYD5Lm3xYpoMGSd3N/L
7ZnWNhJXZ1J9fucJEfify04Cc3l74U0drL+/WRLbszOmXLe5htLBaRiCG/kXq+Zyiw/U4Ck6rb8j
qk7VwYDwmEIKjo30Aaee8Uh92t+Rokbsbx6aGfxwS0+2HtxM36R5/xACC+xMgfMixQO0Gr6hPObH
7dkyWZfm957L54W7yOqljOhfoRVOiSB1HS9Suf/c7sI0eN3Pq5JVnUBuQmwnLH/XbugPH2XftVtb
yvsd/IF2SEVTBradkRfpziQ9EOhbFInF863CElP7mpMXfgiRxEk0r8ivR3IInMDjny03pXzDAU0d
aC7upyxVQOou/9vR5xw8pKpatq7P3l/iP6AMkLgTAW885Ia1UjlAgDgSRGwBY3WO7XUjaTAcD51o
7f2N2zHpuj4BG/91Bs0P2LAYjwuCjZC5EA+FDLk4UGDZQeHG64+z43wTM3RXbhvY+x75B4RhAdOq
3Y9t86qkw76kIuLXwgbKIPc/iAk3Mir1omS2hrGLlVisjV5Ni6bt90CKg/ZuqP2XuufKPzJaOAzl
OW14vv1V72eUfyIbygjc0KoIXmTrfsuU/buOXHrion4E12W2YXkm29DcP5U8svsC0Rj1WFmSOeD6
Jn3U3DcZ3fqO1Uv+zPcgIfNfw8hsu5tYLucXZgOrL7l/4FlR37EicOLCLdvELawXZ/a7jU8yrIuO
fShoLSAm3+GeIguElxRu5VjHXCpI3txeGFMH64e+sXTatkukaISQGTY0WlmtSgQFm5ONF1aTK+nI
h3mCIFiJqtZXdx7sQ8VBt8sjMgNtjyqEYFigSlzPn5WT/oU88B7l6ltPcwZr0LEQRMlxHEkqXlFL
xZ/teqzLGDg7MI8pDlXVXcc8R1cWwAHMGcCb2rwOUJpNwAmbXUqoKm/ARkyrs/7+ZnV4PfCGZl13
9TNctsQDt6FdJNrC2zAvgznrxDXSh7wzE0N3rRkggqxqPmSOnR6GUvxV4ynopBZPHZph61xp+hzy
38+xiQ3COQ5ji4QUz22YNz9LKcLjbVM2fYzm/nT0uxLUZd21K9SJUsgIKTK8crAUFcg0ZqgzH6Zm
6zLHZF1aICjCHNzgFPvQHNb289BROw4bDnVGt+sPt7/HMFs6nqKcBOChPd72CUrfqnixh0uep8vv
fa1rjt/jHi1byqZ+ta0iTLohte5cZ94auyHe68AK3HvUEBCfu+vQt2VC2vwfWdb3Gelfowywttuf
YFgDHWIxs25RXj7K6yA8yEW1eROTsg3uLMa28mPTGqxdv3HAOQVvlFUi/oKPYjgN4NM9rKHq9vhN
ja+/v2lcjrJltCcoiXGLf+gMmnk52BtnOYMz6BALHN/lQmUwPwJTOMV+ix0pU/xnnWUiXkm74kiA
impck4nbH2PqUPNtQkP01My4ElThp2UEiL+TWRSHc5QnzeR/iaDUfPCWrfO2qTvN2Qc8/OZOgDtu
nxT/zHUXr+TDPprHcel+lZRqpy0liPdPlE6guTqvvVwGkcOf1jwsjcQhXdgnxMv7ISffSvx7ewIN
iZ8Ox3DmyueBi+BIUaaQVDNDAlbT2IrCv2QDZmjwHYUn0oDwIwu3nlsNFqjjGGorKkTa9+3133A5
KJzJvXALtGWYNx3M4Lt535BKoJymLqK4mFZpmS44gWtfxU4vDiUuYG5PncEYdDhD5uaO5Li7eJxb
q0/qSn2UHZQD6upnOvWfBSyjonSjqM/UlxYRZF+3Y+EhIpRL/eilE+RSePhCfXKuafmslj6Lwyjf
6Mw0hVqEAKUsMoo57a68SYcjr/xfHbQpYnuQ8g6EeXg8grbZ7Tk0mYJ2AhiGdlpVmBHpbOidUABD
7huIuW7k/6ZZ06JDykZgNXqskKSDB1uAfNd62bA6LB6z/WSle1tte9+3aMGhmEFnPEEO4X8bw6pW
oeSwBSEwTZQWDuqyF5PEPcPTzEh67iJI8OU5HlluD92wceoAiMDPJ4+mwArMRSCPDoRnkx6MxQhn
fcfBaKCcl30drSv1ZvOpaWtlKlLd1e7CKPHh9f9vlwZfxqfbfRg2aB0FUWdRyDq5TpWYs9hnYjz4
kSXihvTFYV8X6zy++YzUSRV0T6z2yuvGrwAPV+st/5i9yDlbts4wqw+8c+rTkREzQEwqW+z2mlYj
GU52nQsO7UKw5eYQ1a0c+ZV0S4nXY7+wVDrFWZfR8qctM7t/saomlenBrnA6PEKoCBqmZTrhHn/f
92sRwreYN+dU8Sc1981RgqAsc0WD0jD663YHBnPXARaBK1vfA1rhtcNBdEzGvi1+icnbUsk12bsW
GGpb4Na5csSrlbt2XJH055Db9pdxwYXK1DTDxkHKEH90xEVqMxBMArT3aofj64Qb2yRaJlYkrPHB
TbK+nFVFGnZJlTdLc9o3c1qgWOR6IcCQYXu93d2Hc5ouMVIymW9EbNPRWodjsGAOhMVwQLAj8VPI
+TUvfWjzCXIdFOSq2HrWDmbvk+c4011Q4Dpk14fpgE4GwVRr6Ef+FOK2JaYOEszMDzeczWBvOqRT
+VW21lOK19yxo4+o9g2t2HML3PXtG7wWMDzZZH3uMvGKCnrvULC8vgtZtYVsNiRxOk9Ya6GGWPRE
vGaiHhKrAedrh0R03edmQn7lbZT8myKAW3VnDqezhvmZQ6LWbcUrg2pCQtTCryBzlxtGbPogLS2Q
PfHKhWfRYxhE/3SV/XsA7fPPdJbFgYqlOpchq09zt2TXHIFiw1tNNqAFhTx3vMnuffY6Fmn7vQ7a
vo/r3NtFheM7OolPF4WKKiBtn6D1/GXNFuuhqx6tjHgbQdk0fs3zw6oV4ZgWsDEIul9dq3J+AGGy
BXkz7Ko6kw+xBxxBrSF/wivq125ummPdlP3F7bzw9baPmHrQcoMAVJFhWtf81YKmfPFN0lFlP2a7
y6bHdOhS+mFfN2vW+2bvngslxNK1OFiNK6F+NYKaWXq1d3AEa37f7sOwFDrBD8Q5rDC3B/a6uCm7
h95tevEXu94q6Tc1v87gm0/gPc/CIBDYV5hNo8vUiKL66qMSxjvsG//a8dsOrI5XqIfBYnsyPHKn
SFGS6n+53bjBuXXhhE54aY03BXm/3phlRXpVfhadKG5qIQbpf+hdiNOtfxJy7x29DvWT/8fZtfXI
iXPbX4RkwDbmlarqqupOJ51MLp28oMlluBgwBszt15/FfOehx90UEg+RomrJNvbe9vb2XmvJbAhV
FpTPedrmUebURYSKEqSDebEVQq9ZrxX9J2yKOwxfPrdtKo+ukzd/kFpmB94M3U6rshw8UBQnFCK/
5x5keckXQXqis0NZsGQX0RjHFv7fdW9FIcdO5MVzvFyYPNM8ImopH+m0eWleDrw3glq7jE+VOdF1
58pn5KzbYzYrFR940eY/RZC2z0TPZAuFs+Ikdjmf9MdQdeNYPhc9JAgAcsDKJ7Xg329b8cp622V8
Y91C+6jnxTMZQaoRTUneR3VQOIdGOeWf232sfYLl5wFPTFNUU/mcjMknFIXOZx+ev3FcrK2E5eOZ
7kyXOl3xLDv+ScrZP0Lkj1xRIPyxhjDIxm679gnWSa70CGLaMq+eIbb+W9I4Csbq4+3ZWVsB67yu
EQ0mxRDmzyOfzB2Ka9UV0iiLRPS8S1AO/mA5dZUpDrGPFPtG7XoQvWct7w9yKpPrvk+wPBoQ40LO
NChQ0cjaE/Ma/3s9y+xurPWuun3u2hV7VIIyPyMF7LQcvzSyZweDa+JGguVtsi+0bp3Z2Zw3eQW5
2OdlwxYcirsoMQYmptHnkZfg5VvuCJQeexDdAFQE+0rLvbdw1zrJZ1qB6R0vo8+9z7pj6sZBdpdB
tbqKUIG1xfSxYsA2sZCHk7yuulg+y2DQf8mUZwRqlGlM7m6bwMod0S4VhCSiYW5TqWe3dX61AcTl
UQb3vGSmlvuhmjMZpX69r8jVtSsHQfAsqjwlxfNAXf84D2bgkZoggoX66npjZ1ybMcvlWxd1bqyg
KFbxkRiNPAiHfQvqWk3H2zO24vf/8n29CE4UoSbwuVquHk2HhL9q6osSzL1wkDRtXXPXOrE8fwqG
qp1Lmr4nph+j2CPxOSZkOAS0ajdWfq0Ly/kVuMO0X2ED9kAicyhY8K7r6HR25zo53Z6plZWwC/jy
LOeZj9fc5wKZiHOFS3mbtVvVgWuNW66fcIfSziCHkpnquxiC4UMom/DrvpFbrq2aOQ59v8LG6OQX
hwXqyHSwhXdcmfhXxXoyKPPYx0WDjchQSK845jUIehMn37DQJVx6I8ixC/RKYQTyzMAqiJFfaTYe
hyWxpMb4a9zp68TMJWmqe2zLW1xuK2c5WdbohUuUzOQhMqo4ZSvxZ5gbGdU1SY6AmxQRRA6fby/K
WurHrtuLXSmlUw3wPIQMZkQJpVCAUYMAV37ViXo3S8QOeANBEW/zLuhkss9TbMYihfVyW3Ty3EJg
6DDkLvlakDwXh566/da77mJaby2a5fFlzbtMF3753KK67l939Iu+vXd9oaMmpU86H/PL7YlcM0DL
8xNn8rMO/9634SwP7cIpB7JC/jOXibezmozYBEaKh//vn0upftDln8bllSieneLRCdvyb+YEqFFU
kLZKdUq+DmErN94U394ZiE1jxJy0cHvkV58D6sYE70aCN0dcIumn29O31r61OZDOYXBgB0dynqnr
oqbznTKf/X279bedFyCP//pS6ySzGhIk05b3cV2nUTKJ310zTKjbzn7l7a8pk78LnfGNGHDtaxYj
eeG7g/FRD+EgXikJK4KolryO7/ignHEjY7vWwfL7iw4USutoSLDdia4Z35XTgGfdVHfBLvZVTkLr
vPdVj6dJimxETTQHvU+mL4FXbCTl3vZKYpMT8X5UjM81HnPi0T17cdu6JxS7+O982rZBVJZA94d6
swbz7WiM2PpyYAytpYjHCtnz4re31HZm0xyfe7gQtGT6PNSHmkCL6raprX2ctQ9Q3+VV207yfYLn
VsdEkFv15I+yAvBQ3XnD4Lrx44iLLKkPeDNzO7rR74pFvOKPaNuwMGoIr8A8D58E6uDfubr7ueOj
mGcDzsjQQ/yNtO417vLfeLPOz7SdAWRHoUx7YNVQVBHgbs3Gpyxe8mrXRm+WcXMVOrnTt951GBfJ
7zR0j/8WFOQ0yza6eHO20IVl32UpilYOnXtF9RVNPoEUqgrPQJOILeDhWgfWRbb0PN0JHaAD7mQP
oKxuz2yOt2ik11q3zjXNGeVpkaVXriZ1oEgiHUIneLq92G8GHpgby4J5GbsFeDb4Q8aQjIeke43r
JcqVSgfo1a5B8cXtflY+wr7Fkk7hwHeLFJrrbkMeFZ/4HwlC0+nLvvatYBb8WHNegrzwfmjCR5T0
5ocw1buyqQxgzv9uwA4gniMZZ3ptWhTxHCc90iIKmy7YOLHeZjpGB9aRVaLwgCAcS6+0djkkgVP3
UMZIry0i9WAi/ZIFlTjInPsHKLp+plBMiQTxH3oS+Ifb8/fmvokRLO754oxpzexBGiuc7nkp7sq4
ficJqHtYDoYa/08aPvmbBUtrlrD8/qInnntjESrtX0XH+o9J1rMRpXde42wELysWbWPQJp7KvkI+
4cED3phFbUNxiz1ge9aURcB2+KY/5QPqyrqdpm15P3RY55yEwXSfNZWMuK+9Q+BtiSSszZbl/FyP
zYCDkj2YxP0gUzzNMuUNG4u+1rjl/JOC0sLAFXvwe+9PL4yMkM/667ZBrbRtX10NyjbCZmrYdXKA
hchC4ITA1JtvzPnKItvUuSQmTq/nJLmakTXD/RSL8BS4UBTLB0igQF5jqyBy7TMs159acPSGqceu
vAXl3jSmnrxUHSHhed80WZ7vOhJovLhAnQur3P59WlYdcJl5sXFRWRu+5dYlaZJ4dBJ+LQZSN1/8
bgb0pMf7nKP22ZB9c+W1lpIkMXvQjitU5LGQiEMOdeKtjNfaJ/j/3S/i0ri5KX3nUua5jiYgyCOE
cb/3Tb/lu63JJ8KBGgemftlvY1qYO1+Sf/a1bjmvbr2uBpuUeTD18F6qLH9GtUrxbV/jlvOWBGDO
PETBWpQMEE0xQdJGIILakwNkr/Bkgx/7bemH7JoYJznGEleOggBkvWfsr3hyh1G0uiw950Iml3VR
DGTW317X7FINweAtp51BBOJy3JVAN46M1p0M8g4XZSJ3jt7yWVI7GrVHYHuKGuQyT+Mcg3a32Bkq
vUKRqdAUMtbKuUx4536ftEjQcAf16fumfnGzF8evHBVmfmiSPCr79pHOqAtNi3Erj7XsK6+jede+
SpJpEKB7wdhRW6ToUTT+RA6xzPVdWm6Vlq31YflsJkbWDjEIaSNT58PzDOmJQyMq5xFqe1/3TZLl
uB64/xw9x2CrUnNbn8YWDE8FXPd4u/m1L7BcF+y8LtiqfDTfgk7tEM/qARlHguIytfE2uFj6G+tg
A8AAvw8CRMT8oSzd85Ah/lGgwVCBeJwTaE3nnXm+/SlrHS3x5Etz8pHLEYVmF6LZwxIziiVc7auH
pVR7OwxamnvreyyPNpOSMQ1CfZ+E/N3g9XeGs+OgxAWU4tE4knNabN3p3z5vXpHhTj5vp6kew6uq
xkRFuLWkEHt22i0s+1r71pFsZlfrtpPDg5gWggED987TeeMmsbYclnerfOwHyrvhQUtx1/LPbQ5G
aMk/01o8NiNShbdXfe0brDN5YunEw85vz0rjcYWbIo72hlyusPwbLzcK7IWiPdNyyMNoylpHnrpZ
Tr/2Dd5ybkDvw4QlLbvIIm+iSWX1P0yl5tu+1i3fTlwwBisR6HvVofV2oA/ER9R+u/GV5bWxXVIb
vJJnFdLA1Asv3iQ/JXGRR0Qx0IzRe6BWtyqUVrYomzrXND2ZSicfHiipn7ig4iiHDOKrctJ70qbs
FYmuN/WtH7RVd9Zd/W4qEGDg0Vkfb0/UioHaGK9SOq3nzG5w1W345Bk82syONBub69rcWB4ci3R2
eZ2Sq4gRGyEHmQ9ZVLVdpt75jNb1vpPaViqP85IpyAdhghj7IyVLjil+2BfD2EAvkSnax72OL1Ty
qT6CuR8saZ5fDvGXfStgebEsp7gPio5dsszpxYE6wUcmHGfvAltOrGoS5oVH2SWBJjley1IP9atu
6573jd7y4qlkYL0HevbemwHiTzwkXJi3maReMSAbsxWbIiuhoRlkkQbFwaEEv5cC2I56DzXksbdk
AZZw9I0z00ZpZZ1GAsTruzNheKSijD7EnM9xlAuRHN05nnbdclwbsKVJqIZZ5/KeO6g5G7LswySr
nXZqY7RiU1aExcX4IKWGECJpah5+8fvS8XYhmHAvsLxZCO3ISSUii3iY40G0Hz5OdT/v8zNuHchD
C8KJukv4BYROaXyu4jY9jzHh/HTbUNdMyTqJswKm6fgZvyQMcZ2h2CB4U34N5n2MZJgfy5Gzsurr
2TUwI79/lgZlZn25qYG0cqDZ8uSapybpUeXwb/g4BaZnkeGdng66aH6GNJ2DgzOReUuD5l98/Vs+
Yfn1ECLbKEKXX4ZqakoAZwNkcsex537khUNaHcu0mT/mdS0EKgI1o1005CB6d2oY+Jk7rnSePMn9
T5VmHpgcigbs3Wwep+/arYh8H2f4b4KAyD944awRIE0e+ytDwa86yToP40uOoo5nD3wq1SdS+/yn
UjOv7qB67HxHAiV7H+sKDL9u5vomooXXmSdnCL3vfOiC/jCreMojk3IfENmwIu0jEC8qOQ2KzmA0
4aCcZDxKWOUlRw2N4QxXxzptWu9QQG1AwTkdyJxc8C00/TB1oZF+lFSDQcUVHx38DUITY1l9prPR
4WdOBHI5oD0IUKRKZ+BcvNwDsow3DZTITJsh34MfAGDK3Ll/4k2Kn0tJ/E+z7Lv8qSgGRG4L47X5
rN3eF1Ah9j0VudzE44dpFn39HVCUIDsmsk57EAWP4O0LINb4U2Ws/DNUmf6WpqhIux9KPsgj0gRN
cUBF1zRFva/T8lA6PbRoZpFmmYlMzOWXIuhQkWoESCxPBUldgYqfknYbr5kreyqznMEr0rwCh15w
GXh4AQQWluqFjLoRONTuWAuEy77D/xXyCAKfZgpJcEHBhhsJJ5gfKo760V27hq2orQrVj2JmwUUw
lEq0jUTSUaFGvPM6b2NjWrmx2Sgj0tNwAONEcKF0/CJASHdqgTUjP0iDHUTV7DoOoPhJpZ+Tn/s+
aqkHeHEVjeWcO3HA+SUmafYUj+nvGHQF9zVrNjBGK3utTQKttDQNES3HpbNChTviS34U+JJuzPfh
jJhrYx9pXA2N2wz8orPwSei+O9Z82HkY2RTQygX0i6rCnCVrUIbDkRYbuL8vKrbRjjH1DajtGb9I
Iz8PKH2mETiiwKQfNM3W/WclrGfWaTp1Th9qEfALJcm3LJMmYg4oNPbZj3WUSqrSGYEAhEYdXnzL
Suo8grE/+M5CTTa2j5Xx2xA4AcrKgCP++p9X0276m6ZbkMi1tpcj9oX5Ix8cgvItYVmkCPGPHu2n
KB1AFLtrdmzJd9VTwdo4Se7JMIClgfK2eZ6AMjiFLCh29rE43otP0F7tqqRN8QmclzICtODx3/ut
JmaDTHdtkiwD0rPuct034jK1yK1yvO54H5wEUgAbW8Ra+5YNJcSkJu/G8NI26heZUAwcDOEWNdFa
49bhMzmKs7EluPiHrkKhbAaGMXaUzTh2H28v8loP1q3KgJXKz4KAZv+GwUNKPzkc+al9jVuxF4n5
EgeBQjNzSJGB9MgFnVIu22rj4Xdle34FcGMNbZhDMHgVO1+9Jamt5vCruzu7bSvWJ53XhtRNsX8u
mSOTIKWKUpku2p/8txXrjSFhAQrX4cGrIUccB4mOlIcudi2BDWsTJkcc5XrDw1SD5SBEVgdRxhZ5
z9r8W94ba63itnKHBxBO/FDgTDoAUxN89xuZbBV1r4RftoK9EILUeMEIr6Bra04E1aqAhcUfpgS0
IOk+Fmzm2vg2bpowCEgeXktcFyKug+7gNOC+2bcGlhcjgVZ5xlXmbAKWHHiC1oNiC62ztgaWA7e4
8jt9zMUVuTs/io3OorLi7rHwiy015bUuLDdWSa5lWgsXMjMp1cPBcDy15UD0Go/md4Ay92RfDGyX
EEC+C1JGqquvbUj4Nxp63T99CTz+cddC2Fg5YpRO0hLeBWKRDC/LY6ugYlns0h9krg2UA+feiITm
pO45wcuy15b6LqGI53JAKU77vsA68sEkUesQ+uXXSTT8hEtUfQq9LZTnyllg4+MEwHeTSZ30MZ4m
9ihRz/+xzudug2hqrXVrs/BQ00bTsMBmbTrHPXopas6AndlnOXZRoaeQ0cGVmF6TBMybyufJpU93
wcyxsNYZP3lzGYdj6GcRUJV/qHSLU1GDo2TfmlrbQ9aXoVi4iK8GEcpjqwTXUQcWip3zbm0QYvTI
wqu0DN7zv8Wk0YeqHLakEVb2BruakIT1NMRpWCPt3qCHojTRFLTeqdZmuts1P3YhYZsvaQNf1tic
0YWugWFANvDr7cZXxm+j4RCeew0D+fcV3Hn3ps/dr1IA1dzzpf51XxeWzyYq86QgSX0FqTU5IrcR
Qi4UDKBjgYj3dhcrp6RdTTgkhDHdUeybbjEdDIlRvK+d+EfHGnbo0tL5dLufFR+2awZLL5iwM5f1
Ver6CcppfZT7m8Hu2lIsnb64C0jlqD7x8vqq8EAXKY0rjVQgTWrCfSx9YDOxHHnoCi2DMU/uQYRQ
RaCtz6Ju2GJ6XJscy4+V608BItzkXhZOdeBMXZA/3RlD2Ez1PDRBE3ge/KwH9Z+QJjSo/cl2vpD+
Cx96MfdEulPSSfgYhYYXdjnz19SAfW2X1bwq3cvyOc2kS+C8SHGQIq8Onbd5iV+ZdlvonrR+4QWt
QeuqQuIsLhx2rvu+Ou0b/OJyL2aGq5KhRN2fsohQ958E1SGferfkT7dbX3FcG3ZGA5eLzHGK61K1
IZU6x1jdpBGPvit+3+5ibX6W3198QFImyPxVurmWIGNCsQZuqKl0muPt1leSfja+TBcqmwBXyR4h
b5Hd6b7lpwzxYkRDXh9QK9AdUb/HHntgWHdak+VmbZA7QzbT4ioL9ctD5e8p7LutOrK19bAOy9if
zdCVNYyp1B07CAMHTqpsui/D7i/f4IZze9rWFsUKqeVUQaNqRqBraJX4UevFLIhMM29JtC1ny+tX
j1dIMsFyERQeyR7bvmBXCtgN9tOnmKZ/GZU4n/oMD4J7vuQVciyZ+0KRQePoyef8UcWj+jK7jrev
7gRF1f+13tjhdZfFfnHVni9QVVln78Ck8en22N8+cV7hxoa4q0Ey3BRXNc7+dSgb/pSFrP3seWqL
z/DthSY2QTyBMCutAea/Cif7oCHIcFcXrnd3e/xrjS+/v3Bt5czG55VbXCczqHdmQO67T/ZVLb3C
iIFldEY2fzCXgSBhoA37HzPr7ZG/vW28woiVLMwzQnR/5pP/Lcvb60LyKF3zsST66nROVMh+42aw
tsi2S+c+HhwLYy7TbLxvGkWKANiGdfp9EeT+c/tz1vqw3BkqLthhwUqE2oThLq7T7nNXiaeg2Dwn
Vlbaru4TSUvSmSXymoC75AKxouSgY0Bebg9/rfVllV7YEZ7x+rkbnP7Ku7Q9lrlg577ajOvWWrdc
WEH+y+tFYK6ZQvqD9rqGUjTY1feN3TqfVchH3bApuy4pwNIHzel2TeWby0pdOwMOfSYG/hPIL8Z+
+ZcSYXvkAadHb6Qbyek3t2l0sHT8YuKdsRCjSBU6aBvol6n2e5wxc3TxDH7fgc71mJR6i/v2zWVA
X8vvL/qKhSwJB4f/KRbv2+6DSM87FgDtWjE15A380jNQtq/a7Ozk9dkvso39bW3+raNe+q3TOJAu
P7n0Hx6cJqMjUzzvG7a1LRgTgpY9gNg0aC/+0eM4/i6JO/+83fjawK39wKlHiGQwGM4IwS/vWxt+
MWTryWRlHe2kd0ZQwwXM6XBq0uyfwIRz1IVy40VvrW1rI8BLRqXafMS48cRP0qfC3diEVwz9VZIb
1NieQJ3kKSkuAsL2NPvFygcQglSJOt2e8zdDN1ChWBtB0RYyGweMXaHkjA737vQ9D67GKzY2mpU1
9ZffX/jP3AQIcDy0H+fizs8HgPbGo562EilrU2+5p5JgAWWg5IA9hoeyHs8Ccsa3Z2Zt5JaHcjG6
pfCg1gSCSZn+9vgf7m69L6wtrOWioNYfJ6j4DKfOeWQIlgunPmbTU4j6AlnOG/vA2txYvjo6aWrC
wutPpA3AYYglbYZ5rz9ZvlqbPohxjRlOtJb0yUPm7dx1IA7aZzZ2znlMEw8r6UIjnM4HjgLqPhVH
iJZuWP3K/Ns55yLlgfHcYThp9dDHn2cwwrf6sRT3U7hFFrDWxfL7C8OvgeUPmcEXVPVHWZzHsIpC
Okd4mj/41cYz+YqJ2qlnygOvAl6hPwXJe9WyQ5meee4fd9m/DW93+znHGwwbTkakj3Mh8ZgnroOo
N9xrZeOxU8/5wD3FE1hnCNDL6PX3Plg64MnHpEr3VE7TVwnotKqToPexyhm5hzYsisW2VMTWJt7y
Xxa6shnUNJwEexDtDzb9EOLz7Wlf8VqbiU0VS6oQVWCnqrsgA0mm37fbXRuy7bCl7HBTg62Y/NqZ
P3l4mPuPt5teGbKdahZFMMa8QPVfPt8pB5H8hpeumIidZaYNXDQdMeQ5+DvM31XTz7T604/n26Ne
mRAbrB56Mxm8EifTPIzHGrVDRIBmo90lLUhdO7nsjKyYAEQfTkBU8yff74IoKdzx1+3Br0w5sVYT
2mWpo4cOBjhQnBzeN9aJXav5KgmC4xoCqCO8xu3cYx3yIxuTp9ujfnvKX2U9qC+GcfKH/jT5UFxz
I1+/M+PP222/PSOvUh4TDThk2xaXFP1jy8q/5zDe2KreHrZr5+9p2gyjs2yzffOYaBql4btYfbs9
7LW2l895cUw0fp0qt4bv0Aq8gqYAgaA4io5vnKNvz8qr1H3ojFnHNJp3g0sq3te7tOBg3dYGOAle
E1qh3aBIv7gFqHP76h0UOjYOtrVhW6ELykdVzBfPh0LDu0D3xyYWf9+e8LWmLc+Zap2MYDVA07gD
eCyOkrHaCLhW1tJ+h69bQL2aOsNaJuPRuFAhnudrONKNJ8m15q1rhjJh0CfcHU4e/d65fwMnCjK0
DTv5lxfxVeqTuvZ7AC2hvTd3sfP7X0lGWjlf81p4URH4D2YCMYF02DVr1fcKZMng6Jn5Pba8IOIl
+VBp9TSO+xA3GMlyGrzwiCDzAh2OZDjVdXNK8JLVOv7OBVpm9kXTDggD+n5Z+zxo7zyuj+XCrp4F
+04UG+I/okC9okWPCl4v/xJMxSKdGXxXrbtVebliu/azAepVGO0pQrKAgOgsg1qE2Fj/Nduy/Fl7
ThmyJaDpWR7N8XHRsWL5xra/co4Ty5vDOQl45cGbQz9EWWRxDkJ+ztL+XTHEGzVtb8/Mq5w0gcg5
pAJxmE/8rq//kv0/e3aLV4noOfSc0e/Rrhuejfw5bdJurg14+f2FKbJ8Mo7w0TBp7prsg1EbMe/b
c/0q/0xHL68AmIWJUNeJGorrwNjyH6JxiwvNveLz7Xl5215eZaLHoOpR7oLhd97XWD5Azh7aG7uO
xFfUZC6rwI3RIbZpev9YluyEytDHeDPAXhu6dQBkAEjMXmvKX7RHcaKk5a9M4tGWaW/f+O2sc2iS
wvhLSiXUj7yuojk8ed2GKy17/ettmgjrDAh0Kx3JsTn67njnGsDthRcfFF5yo7js73qTfe9zkZ9u
r/KKMdniogyqUsobZ1h/HZQqGlmux0gPilwTVox3YQzK2F17J7HlROVAXH9w2+GUshYQwvDc0u7Q
hcXGl6y4m60jOjU+812GaDzwizsxlmOEB72ft2dprW3LlSftpG2xrPcsHqv2mye/3G53xVBfqYcm
eToGy/VVGOd+GlFfLPrk0KfV733tW3v+WM5t603wsx6YPjVXX7loDoHiG1n6tWmxdn0FbeBOcUzL
UKkTwueoJe7d7ZGvNW25cMNnJ2kcNC1NEKH4MTLtlsLMStM2crxDJoJBVgQmL6ZIN8OxpbsYgCix
oeJyEEUC+XSkWiF4dRr6yTsi+vc+3p6TFV+1JUEDAf4r03NMdzK8G7g8i3Q689499iTZevFaEEJv
7D42Wtzpelc7EyyyQqmFl9y1/q8mvW+Cr66vo3p4IFtHwNsEvJirxSdeHI9DJuaGyjH5k0L87RiC
NrpNkuww1KAXrrxgvuQL3KtW3qGPveKMB49d1a7oeTGMFz03cUm9CtiNk27uePUJTHy312fNsKx0
csxBcQSNblwOeH6gbn0ZK+94u+mVjSKwHHkiJFU0hmH5zWUI8dL/yxVbF4O1YVtejGeTAqIlBptQ
gPKyPoNAsnTbv24P/G0+P0y25ch5AaAJyvBw1Bvnl6f8Q56aqDXd3x0fjyw2hwGQKDPzQ4erJm26
/GAM37hOrTiMDS6fJB4NK42+F4V0EfhPEq8T4L+/lPMuDiFKbGR5aHQea46F0eVwRmFJxMwU3Z66
lXWxweRdQOaxSLF5Z/49R07Cz7LDvpaX+XrhAF0vvFFOuAo47ce4fY7VRoi+Nt+WS8uc9n6LQqFT
189fnJg8VahkHoGyb/fFXTaEvKVFG8clopUMDA3sCZjQJtkY+4qHcct5g1qADl9k5a8QL+f3ykMn
GqjNY9nznfuODR8fAJosnMUcUd19Fnl+SKpw5+gtH+bMl36awYP6pIxm816QJgrZRkS6tqyWC6ex
0gFTWFY3/9KF98PwOZ2qKB7+7LJGW7CzCr0ciD0EbrF6aJ0fAd0Y9sqK2hhVHRKnATAcxgLd+jZp
DnFaRsVWemxlUmx0KgEbuEYpN64A/GfofGG+H1V9cfDV3/tmxfJRwOfaZGrg/YP7SPGyUZF6375i
o1NZOzoTVLORyx+iWpfzKZ2aLTbmtTlf9rIXOwvw9TrJO8yKLNqory9V9m1KN3K0K/shszy0Typi
puUkqZsrLd9x93R7ptfGbJ2tgH3XWeDA30P/5OQfJv0Rpcq3m14bsuWW5TCB1CGNu1PszHnUd+kz
9cnWC/OaBVpuGZZJ6sMEcZ/yQWHHxyK5i10+RzJhEvQXTbVhLyvzY8PXc68lsRIZ4K1tfQnc+tq3
7FRPu6BNlNhA4EqPnIxZ0J0UM1fwtB2cdhe3IpoO/muNeHLPp6nHDHlO8OCm8QnPy3vQrWjack+Z
Up7xODGneABRStgd+mxX4RaaXtbhhQ+NrfQxI7Dz2IBwB5LpPTB34Bu/bZJrAZld7tQpVhtvRsSS
uVC0mYuMvUtFr56qcHqcaOUePOCwu9plRzVwdgDamUSgBvUiCDy0G1UvK35hl0aFciylF+B2N01+
Daaf0X2uHepuPC2sGKz9LldSNQytrMxJgG6BPJTJ+6rft+z2OxGbPeO1Q2lOo/N58r967pfbq7Jy
7bK1jMa5zbSXSPjY+F6bT1o8pQmEYVsdufR9VX6DaOQ+b7aRHsi36MlvcUkh83Wi32jzXECW6fZX
rE28tZPWhudTuMxOOf8ICxfyw79rswszDbewGm/iio1gaDYnNjdREI6HYrPplXHbcqbD0DiN7paM
wMC+F+10yTNkp8Cscnta1qzd2qhFw5jqAzQfxB9Q/n9IRnnc1bJd8ib7viYTqsxPYT3Ppwob0hFy
KFu18ivjtjHeYSLdGizvKA9xUUT66G8VHq+1a23LZAS1e5OJ7pQ28pBl9SEOxM4JsbblltHCDwxc
n4n4G2QSEYT04fPtyV6xErvODYw22BCFY07zlEQke1+5l9Dse50hNpy7jZnQqQfmn5FkP0wgn1lS
Hn2aso1tf5nbN/I6NpA7dApwqTiwQRRx/BHlNJ/LyaOHIgjYScj58wR11I2uVhLYNiKrHtI8hJCC
OTXVB+0+x+ypCb63/j/MkENQbuzxK8GPjctKnRo3nRq7QZ+Qs+ONJx+5Nm3KO92M+9bbfus1ZVP7
FHXrp15/FPEf0V6yfCMx8eZqMCDo/3vEY31ljIBB/vKdgcRRFvg0j0Sg8BLae315cIKmft97HMQx
O2yXBXYmBOISgstSyV899EmjvhnnCOiwGZc4fwvv8uaKoIvFHF6ELUmXBPUEGPB3wp36sWiSgIJX
oZnokfZACx2KEvpWG3H1m66IvqwdRGQgVJQuPofHOVx84L+njMoD98pPt+frzS0KHVj7CGGQcB25
n//SOCr1wUDjdzz6mQIL7u0O1r5g+f3FbNUgzm6G1OPffXwMnvvNX0OY6DMoo/cu+fJpL3qgqDjB
tcaXv1QS/y5Vbe644//ok51seIGdMfFiWcwVl9mvpDJMnVXBaHoJatluyX6tLYL33y+AWJmcwRhQ
/IIUKrl3MiU/ilnlG48Xa/Zq3c0SDWVYnUzFLwXD/DjlGn64iLvWPEnPus23StzWvsLydTxbV5PD
Cvq9rNOkObYJGC+uIyTm5LfbprTSgZ0/8dwkAQQmzX95uklOFVU1Sgon1Knfbn7FUu00ClNVMwrU
FX4HDb74pLvCq6J0FMMP00/TVidvxr8ssLMp3NV+sJRFXhdB+WHiwGvHB0jKPukheDIdElrtY5UM
H29/0tqMWd7tVE2A+8eU/gIKnFRR1hco0M7EsCWSs2JadoaldELoubi0+PV/nF1Lc9s4s/1FrCJB
EAS3JCVbcjJxnIfj2bBmnAkfIAi+wNevv0f5Nh6MId7STqUFQDTQjUY/ziErGf6A1/DEl2pNLtm4
v8Hw5B5uW8ZleW80vJp9KmBV/RfhInDfr9FyBo3wTV4atsQIt8DwLX7NKvGKtACQWYdlQAVAXtY3
hSwxvqHduRuWYqmF/+JPuAfVpI91AZCEsN7FBLHcsiZwoNQI+9ey8MEbtP2VL8ETmPDuMr7dae6B
gYXfX98G224bCq57OWmkFIvXDEy9XwI0EgMvk313FjWevKXdcXgsZ9aMwtCtV1IVQ/CSD4Mjk2wm
lN0tI9jP0uvLsE1g3N9d7egOvHT1Sx8O+clfFHmNsgKYnteHt5gRMxbDgZyyov2/h5+D3VBtMzw2
Ut1tPCt30m+XD/2PixuEZkiGZ6SoQVpevbJpyvx0QM/eZ6CUvioQqcWcK+8UqCBYU17SHTfEcsDM
SI2L0rl5zj12IiL8mpdFdVpX7WsgCWYvE8WXbKHf3hJ5wOoMZfcUqxUo2+rXbi3cAdCgAegcx0bz
nevQtv2Guke8r1nYCfnqVXn3KUP7OABTgQv0cn37bcMb2s4AoQ7mtq5+9dDmO6V1VArn2IDyZ8ej
to1v3OaTsxZCV7hlRVFhGwomfrWk63aEbzu8hooj6cQnSUvxGtSXjpVRwE9LwDJD6RMBiMDOFlgM
ifmaZ+EiQqIZcMJA55B7SbSCvVPE2OiualIBqHXqxHIDG260ozIWqZkdGvkGkLUB/BGnOXOGM6sv
iNt1vbK957hFbiY+UNStAsZkyF/dwVX3Na/rR8BLV7/qEU/o6wfLNoVxsKa+4dPqbcVr5XZD91mz
OtT3Wc6nLgTVdeWvd9fnsYjKDIY0nr91ZFZgTc2yFagB0dh1dyzkfA8zzjbBxci8uc3VMALgCPnv
127utjZ2g3E+6tzJ9io7LIIy2wD7MGrCjSr5spTUOQVd3XYJeJ3b75wveyxqFjfODJHoUhahWy/i
hY59dL4Yekp00qFI6KB8P0qGYvnrwojizM5tdsWMm9B2WgaPTf5p7dX3oeZ4MUfRxPf4jWxCM6yi
6NdgA+g2HJQx+NpfHgVZVB3/H48om84bxzdEK8JYLQqliqhDTfomeA6jvn2uBfCJGgRUj9dPr20d
hnmE07M080rli+8Hz7gPyYMcZ5aU87anH5a70DdMJOq5BdBt4Z9ECGA0hzFYh3s2ZgG4YxSbAeQx
LvHUACN7R+8t6mK2D8rCm7y8W/JX4jelE3t8PAEHWzc7QSzb8IY3RHCPN1oN7IUuXvUpV2Px1VHR
nF7fDtvohq5TNg+bCjL/VHLCvw0D6gDGrN5uyiAFodk0COC+RQ0tYSeZt9/JAEyE8AKudf3bLUfJ
bBqkfgPHug3aCs/lwjtnPAwLQJsTf0STVQOf/taJjDM7jCuAJ7uyeR1c968y66LvF0Q/v5iL5+sr
seieCdHWu06hterL16KS/A5FWyhqcEHOqBlQToZG3JRwD0KzeW7GG2Tui5G/MFCanlnmBlAFJAKy
nR2xrMNsoutVE7qkyNgLCXX/sEpdxVm+5qnUPcBA537ceehYdt5spxucuqa1ioKXTZLibpjE18kl
FQpiAft3fUcsemFm7rKwpuCg6AGoqSel4FNnLRhZxqINur1stm2Ky+LeXLNukIdZqTRYLL1VfUCZ
D1gm+2zc8h3D8TvM/c4zxEzllS0oVxFgZ6dyVttH2o6AG1VAn57SuXKEnxTl7HVxjjt+iv2eAE1v
Rej0WIDWXqJUSiKWfV2YtmNh3l1k5Bzr8z4CFUokfAZkPkgem2ST0U+n1dltnvfvPPMbgQ5+sfVe
JdgL2BI06BqYdv7ue7facb1t+2VYASeYofl0bF5nTRSKKKKlZPrPYUPIYy9cYzvXxtWlHRFuhNHm
tWnDhwYF02nTcIgtZGO5o6KWVZi5hI6t2IxyDU6ZC7RecJ7VYKMo5c7tbtlpE0eOrIMstMICGPU+
wVvp7rp56LojD5szCbTmd9dPlEVQZgfZBHg0BB/85nVZnTaRzJtOunFVmq+ldxueX2j2huXIhGwV
DYKXttHTnHoCvE8xhQPzdH0Ntp0w9H/w26rIq56/zNkFdNIrwAjoqNXbY4+2uMBmhxiTegGf1IaY
QEWHb3Julv4v9FCwOQnWRc4pD1FLkXSuctZ425CJ+QTExXCPj8u2OkPnXeU7zkrhdWk/FN9Ql1ou
dxVg+aKdk2bx8lzyb+upYbzKGTREp5yC+EbTfPza1fJpwN2ZVpEajk7mRHtBYduxNlR/XkrP3Tbn
IsphjpEo/lDmoj+sUn1w6hv50UKzz3oodQVMp8sbOFz/knjPJV6+VDsa8/4SWHQ5JW+MYy0rv0I3
In/xq8A9oECQHsBrjAiRmMd06Lw9psb394VFhrvKs6kGSQNw/4Zl+yuTMju4hA7ncZJhujqZ/OiP
ebkT9XrfCjATeY7jDTk4jMLgD21xV7udf1ePVKU12c2OvX+MWXQR5xuxtQhMyGlugpe19hHzqIu+
PCNWAaqR60bAtgTTCDigegtJyF7QJvwlp96fzUSScXNvc8BZdFnXm+/v+snJyyBiLwAbmVLtKjyA
An7TjchMYlmUH/WBXDb6AhpudUSn2ArgaDBcXBeNTfSGhi+OcjmtkO4BQZT0j9FAM/mYdZkQp+sT
vB+mZZGh1UUwCq3WgL14lfzJ+AQCoak6ZKM6D6CjZ05GYooS0huXY9ztzTLoZnE89QrYNmTa55b6
zqP03En8vL4ci7zMVkDhNmIldfu/GLAC0qpMWvjJN3X3B8zsBuROMJSSafYStDUDvUKbOyrtZ4fe
KCCzAVA3YPeruA+KDhzVuFFz/VOSILwpPMPMnj9Z51sjJF6iivM2WbOoTyNxI7ozWqP/rWbT6ErS
ZBpWT6KWYYpGGlNgT3zO1OUBN2Tyx217bKgzEKIqzRq49GIqoxiYaOR+6SIvvT665Y74TxPglOWo
OwuDE3Hbs2j6LuWb/pwzDhbnG/FbmckkS7V0liEawAJK2wxMvkh4gn/vZ4Z2hMRrgz+vL8ViV7mh
2y4D4bW3gGt0qNZvLlrl42zpPkbFGNymztxQ58zrpJDtFJ4Qlvm1RoUfF6z5fv3jLZps9gWC9Ktf
Gjlkz3pDHq/sitGPe1T4f7s+vEU2Zm8gUli6AHFm9gxgw+LzzBf3SIJxrGO82rfP1+ewLeHiHry5
d2RBiVLOzE95C8rmOCvYkh+8gYodEdnWYNzLdCuLrCUV3rYVff69v1LmPytdlofrC7DogtkUWLZi
zkOOjJrML3F8OeV19OBLSAideqQJ/vBKNxI7L1fbagy17hjYBJGlJR9ZB9ILsrA/L6Sgd0W0q3W2
/TDccTr4pCxzzk8CtYgJgbGKvfA2WHX4K//ebO2j2MpRdf6jIEGd1v3qo56PBHwP8tkmHkOZKe2r
1lWAvwKGuHtkHRFn3rE8RZJ1zw+zycdQZ1LQslNoUf6o2YQdGEFaO4XOunOYLAswi94GHmx0BCTk
RyxgREYla7ZHPfdzlSyLx79dP7G2SQzPGxwwXr5GW3hS7cWmyqi52zyQII883NLrU1ikZFa7qW0M
qqicnee58rJPbVm4H1red8fbRjd0etBcZFGZOc9wuJ3TpsIHxCiCHV/VJp3L/28MUi5QubVuLDyB
r6hNSgUSnjKjX3vvRg4hZrYEqt4Rkxzgf5W99ykDJ2eMNMBt1MrMLHFjhJBCClzNA5qRWaymZp2T
m5P6zOwIbEQlm7rSznM/lfJOl8DJc4Pd1lub8A0FLjXi87Kk/gfcbLgwo48KHVR3GQsf50qqY0bk
C1kanrCMHZfQvRvnQsUo3vXSLUcz0eIBQr6V/Y7fb/saQ9fdQaCJYSrkz0g4JMadsdyFMxrPnHK3
ItEyhVkJN3CftksbiZ9rVXk07sbpDxbSrk5qDyjy19XFckOZ5XBlMIa87HP5E3U/lYhnP/uOm4mn
Gd38J6/YoxyyTWPe5GMwC1SEs9Mq2EfZ+weXT06ct9nL5iCTdttaDNXPZNgHPTAUX4cw82LBmPq+
Cu3OseMsWVr043YTMELAzIq4LqqrZdwAZU5c+IISdQ3xJuEBXV/H7+aV/8bcWXCxnG/MTEZwDQ6t
659oFobVxzJyAwIg8JCPJQwO2IzZd+LmXake+nzt+oc8arK1iJUIUVqR1pzK6W/WRbJewWI3j250
yEQwsS/XP89iv81KuiKsA819mf2sKpG18axr/RJuVb6jWLbhTT8gHGirhKYPcvXXPtXF0ntx7pDh
tniPWUbXKRTXuF5NH3jo8KaJRa839XXQ9SzCeBNrtIfd9e5CqOubC/EQ5xsiNh5adEzO4YWtao/t
2ja0YQqF023+FqD9gVCA3LQCIYYdJ/JdRcVHG2ZtY51fKBGMh1J8WbYP7rrEYXsUwY7wLR9uprkR
0hubgGP4ZZn9xImG5bjoojhcP5mWj/8PSG45R22Tg5C4XVQ6lrBfz4DySoMbO96JYcXakeUtCvUv
LarZl6ILPjns+fqX2+RimK6wUkS3JJ+ABRlGaQuk9Vg73rhjUC7f9x97Ql0zxy1wDGeh8N3DwO6A
lH3nO/ndWC8xqbbUB7TLbYu4LO6N2ernXIIBCNN4zqfBzWOJjuzrI797E2IBxsMDZRbEQ/Eu+gkd
wB9OnRtnzXKs2+Hn9fFt4jdUFYW7aNv9/eVeOlQP6iZuDXy3oaehRAXasm36ULgTMMThtXdTtlfM
Y9tVQ1XnSheCF2h9FOph6XhcLY9F2yc6GFDQvqOvljnMXL9Xdou7VGiBnNqPnB/6ID+OeBFkfUyp
vG1zzXw/UuR+1HM0WOkteJp9fmLZABzCeS/vYtlcM89fl0oCp8IZD6Hy4nGp7zfuP14/NxaDY2Yq
87GkOdxKfDrLvtVj++TVAM0N5tRto52Qo+Xom0nKAqWaYkOO5TCOfZzLp3Y9rbsgmrbvN8wOmrGD
IQDI9CEH3TMZfyq/+EKn6OjUe9i8ts+//P/GJmzDFI6+wAUIIOePw6p/8NH53Ph7yRvL+TTTk6re
VFmAjPAAVpP7lRbHYPgpuXO/jQCQX+Xd9W22LcIwP3PvT8qjmIWQ/mNYe8k4t8em8p6uD285oGYW
cvVFPnGOxtTAK1LKp8NM9hxV2wYbBqjtQg3i5FofhPd5GgBKkKM/EgD1oxTH6x9vk41hhaqoddxl
QlthP3VH1N8BPA3ct6OzM3z03tXlR2bGUY8h2/Iesqnl8tAXPCmCFohydVIA91pnIh6rNQ77m7oG
MJ0R/qi8MvNQ0asPbtBECV9Cddzmat5peng3V4TRL6f4jTLM2pHSQZX4K0xqFwNhbk7EEH2cxfij
DfzTEs5l2uI9e31n3tUNzGYo91ZQFTUIFR2C6FPnAO4SGBf1eGyon4TRXrHJu2cXkxj6zad5Bnwk
gCN6tyMxcm1lwkOxV31kG/3y/xuBlfNUrhHfcG5J+Qqf9xHp+vS6dGxDGzod1GJGVRM+HLidQIjU
ae5vyW1DG95EqD0mVN9i6MI9+MF64vomYG+I29DnEnFkRQb0mvf9+EvX6hkFt4d2l9ryXWXG8IYy
B6C/zcFdrQ+D+h52SxpudxndSaZYBG5mFnkXtu60FfpQ6SAOAIG4LHvd5rahDa3NZjxIxQVixA+3
g3KXI1XFbXtp5hPpGpZO719uSOn84WfbR9GPO8HEd20z+rMM/Qxxb7VuDWEX5ENT3qG+DfWaj00Y
3eJXYXxDNZc1KMHXB79nzDyZhuOG0nVvHpJ+q/Za9iznhV825I1+IkW5rkOPJ24fkDGuWR3XM1KK
nJQ7MrLYMDOZ6E7QSoKalkOkPs9REiHu5Q9PBf3sZHsVWrZtMLS1XLt8dhnMZO7lCfGiH1wWP9F7
c0Hu2+t2ssnJUFsNJougQqvsoQ0AZCb7uBzvi2Y4XLc3ttENrY1Qn9kPGppVbCoVa5Vk20O3a4Mt
o5t5xDn0dYfa4hHwkvS+zkDsytmZEP39+sdbdNfMI1ZZsDYtQ0RA6jppI51qMAvdNrRx3U4rQj0c
vNUHvMMi95vjuuvXTi3OXsLN9unGFdKOfTtWISnBFN7qhzxHPeTgdXvoM5ajb+bD6hUWDbD1kHtG
zw6QaIFkeczbPKkBnMjEj+sysrgkoXEySREIlTPAVTWzPz0EWfnkRvWSklU9TiX1ADWF+Gm9BHso
XzaZGWd1BgGA7yq8B0bK/iJTcRw69/n6UixDm/mxngxkIkjFHHLeP7Ax/3vk/l5Nuk1Mpq3uMsRZ
BDbDW3Qdq/Zu0v4vrtYjQE5EuvbkULJo3NHn97Fk/chMG9MBEJN1cBGSKg5d+yoycuBdHl9Q1yLg
+DRA0m+JOvBmr4rJYgRNDNmReFWIjms80+Y/ZbYmW18nGbsb1bfb9sa4occFDOX6ElYMAI0qmjUV
jt655iwvBDOdiCaziUVr0Px0x/Le1a9ND9j+dbxH8dIdysrAJKhSMpMd1D7bbMZBqEUYsgEN8Yeg
j46+/wkxUr8tYWFyoMAeGKoUoj1IRsuZYxeD/OZyzZ22bMoKU63yoaC/5vqR5d9199Wnn3228yKx
6czl/zdz8CCsUb/G5E9FCy+Z9VofNun+ur7ptgUY9jEImrGoOB0PLl3PRIu45YBo2TiQkV2Y+iAp
RrnjplnOr5l5LGWnF5cjFiZV9hfqvZxPix681AsQj9kCVu0cY9s0hrX0qymiJeBfQK7Q3webdwIl
06eAyGMtsh032TaFYSBrMGnBMV+bn2PQDHHei69tNP1y/ejYkz2K0N8B8f8EhP3IzCzWC6B/fQXs
ek4Amkl/gislLmY3nvg/Ux7EC6oXkLlIGgTMttZ/Uvpzk3/i6PABjNudz710dv5pKg0eJ1QB999J
zw+0Kw4yGFNO/HiunsOJxkHhfi5luOMKWgRjZioj0uc1GVf4mpl8GILgw9p8Y1qmcHx/XT+vthkM
fwGksqi2W2Dkl9yrj1WJSO3qh9lpbihLIhRVf79tnsv8b5XO95Bliloo9kJSXY8xqgodCLqOferu
JUMtmm2mKFsg3KK3GpO0gRApyr/+zsppr4zzYoLeOz+G2Shm1sxusYKocXZ/+eFX2m5PxRgdrsvH
NrphN8bO5UW3YXTlgUK0dGfvnCN3G1d+z9LbpjCcfqo94Rb5MgHJ1L2b2/pOZtX9lGc7re+2FRh2
YhuWxg8oaMOGksXeOp5zVySubnai8rbhDRvhNQyIZDUENITAgvB55QD5NvpJt3EP/cpyzZnwHKtT
o7dqAjYA6dHKpRJ/yT7p8SWoTlmYHwP3ngV7GUfbVIZrkKupG2VNYVNbJ+X9etd3zWPkT181uKjW
rHutu/BDVATHm3beBO5oXY8CLJxNiIiKA0C9y0SS6Nj5eq+iwqJ4Jm4H2p03T1Wgidx01H2buGLR
08jmbq9612KlTJSOzYmCYCxygCRSgB0roo7jEt2j9SbRjl+dbpOSoeAAZ9i6JcIJm4az8h+48+eq
H68PTS+n9B3jYaKlEs8DmCnF2NuHOi0PZXz6unxov+YP3V1xlEn+7cn/w/3knQ+AgEx+ufGXL/2d
OBbxF/wU6X32x339MU/n2I/3gsyWp5aJxbmRzSv0+Ju28azrJRmDh8Y/dtGFY2fnWredCsMiLAMv
85xh0V3toSugPq+Dvs2W/Zbzm+tk8JpaBBJf7yJk3U3rISqLBPAetw1vwnjQaPKB3Aufp2B/tvWv
unlahpfrR8Fix0wQCrddSDOTEeyKboh2iXvaRMgr5juabhG5yUXNAqnWsV7LV70CeJiUQqOm/iag
Bj8y4ScYbzOnJNPFQGblGAODuPDuL4hG7o6a2GRzWdWbXQUzW1vgtQzY/qQ88WSvcsQ2rHG35s62
DfVUgvnbOZbTFHtNOpU7n2zx982CF1X1S0n4ULzOA4PPWN6zLEgHeK2E1y9q/Lo1dOcVZluFoU1c
92VdFBlohGVJdDw6viN+dUXX+QfZzrumyjbNxYK92QNdrmxYUVd92FJyoK/dztdbDqZZBLN4hTMs
bbWBxzXkST3KT6Vqy53nsOWbzRoYhedbqBAkOAyUyBgE4w7wm+Y6KUV16xSGn+zxrYwUR7yxdxmo
rp9Rg5boPf46y/Vmgj0467o1Q4CI74jnBvBWG/VcdY+l/Hzd5NiGv4jtzZa2eZcVtMfwRCMDAZYq
+qgYyuT2qsxte2uo7Qw47WJ0MH7TDHeLYEm37sXzbUMbqjuWS+3QDGIfCeI0kUrVtHMgbWfG8IYD
4jhAL8fICAbGHkl4PiSb8891ids+29DVyclQbVwhpVrTLFaUHN3l120jG+pZFSE8xxGyVqT9UGvy
ZznuxcMsTqlZ9zIpn4i+wNCdfHC7FfmqJmb0+8SPfn/EYVn2WD0s0jGLX4DM6iyyg+gnsHe1Xn6c
+E3V3riijKPe8ayNeAnuUD9011hJBEeEeL1B9CiANUQ/gP9K+gT2vJPBcj/XYEEvC7njFrwrk4CZ
jw+gk+HpTSv6wLb6qezJdEL+YQ9Wzza48dwA7xob5RC1wKVyQi+hKJZt7grJvfLpumjevQXx9YZ1
pBun3rJNKwBl0DX7qAA1PpRu9mmdxJMCn2iRqK2sUVWJAujrM9qWdLF1b2yaZqTb+lV4/wReRhAm
qoL7uim6G0c3jpHvbY3fR4z8A481n/8AjDpinZtue3F/2+dflvXm81XVRM0qCXnVBe1YTDjIIePG
U7chBzPzvaHbAewebeu9BnjVxG7tOCmgw/00mOf6lucS9twwoIAQAG7EyL3XUboKPaFtSIKkdfrh
TJxy79X/2z/4z8MJsxiWNFTB5KOzyK3iRUx9/hWtom12wO53qo1FxDz1Mkyyqr3n1SfLHBwAx6Tc
6o4009Sj2Qk1Ce494AZUltCmn/+RC1UizcUYbt+INzn+Q+5Vo4emGfCMPhG69kDmQ/ZJYXjUSqC1
NgFkWC3nJO+HItsA+ND3+YPOacUAoqtmD7jJAcn6dToOnNbsOA/t7Bw9B7TyO4fl3fs7YCZAWokK
/w0PEvKQeWB0XkuU3wuPF2cweR+cbhfe0zaNedcCwRwOuDP+E7RdEx223pmjeN2EP1XJWCkePcK7
ar/fpACm3ywKDjCI0PUfSBZ4652IxID8DiqF9E7o9H2SFEjNODkuWzXszQasdBXOSnSI21UdjNAq
O5/7qe9vEfsBp3p2ynsR1XrBLT2pIqcnZGZ7ph84+vJZmfpgcKtEgndOyY+3Ld64SQjKv7OsVkid
buwpGwHuFch2DyTQYhlNTzssQaDaSSl+0GH9WwewK7WLGW76ctPTHoimiilXnru6r5IBYBgxsIN2
tsz25cYtAogF4dC2j07zBjDkzKM8RZ/2HrChbfTLsX9jctfa7WvOGHtQAzg20CGyxfNMdy7Ad73J
gP2n2pxqxCcp6868ah+zxSXHepvu+45FNwreuDAc6dGsnj3yz5BPE0EeoAzIKWLhhBjx9a21qL8Z
UpkzHHQuZvbgQjPRXOEkZau/lMJ7brxix5JZxGTGVRiHHQHEJ3tYFZ0TlH8ehxmQ+d6lqfD6Kiy7
bIZXSsTQyyWArZR1pOlfw0gHcpBFHjY7O22bwDikLCixs2wcX9E2HapDKZtmvQf3+HJL0Axmyzim
Qk4TxMTIA1gYgWg+z2v6/2h9s3294dhUodZzxlf1Yyunb9Posbjn1V6dg2V3zY4FuqloCtCMeiLd
+Hcu0VHOM/oUSFHu2E3bBOTfKkx86TnoaWZAQAAAhSrnH0LCCw+C4e/rp8c2gXFnKNlES1OT+syK
IT+4nviqpQqAeboXxLHI38QrzL2yGEfwIZzX2fFStwcxmAQB+fWvtwxuPuBIVhG5LqU884zjEQ4G
svsRPViH66NbZGO+2spxoFqJivyj1n6CUxQ88iByvvezt4cTZ5vBVC2dT2rrwuI8LMDqREMj3hO9
O0U67ul86ySGfiElH8munjL0A09LzOFRoSVzgR6gSe42G2QyjLE2i3QbUnGeo6FLhzVzUVvCdtxu
2yZf/n9zjWUSje/evKizgo9/oBKdt4D5/+u2PTZcwNWdN2eQa37WBBAjPAfGHQW+Wbw0y3qjcAwd
VnxsOgbSgzND1XesvPVX2wa3gVUzk7eI+OAKLh0F1/jSq070nMdahmD2q/bqO2xn1HDdXL93EKau
4ABNCtxx7CthYAv2/PKmzqCAmTCDa9c5VTPq7rxWjQBH1QpOHFEMcaVwUq/vsuUImR08cqBhVdZV
e+4kMLMEirwSnTm3oXMys3mnZB0AP1FCfHZJ+/hb+gsFaMZtn25or+w4XSY3qM/uOh8Z3YB8U3R8
x8ey7K17+f+Naulia7W7NvKsaQlCa4F3VlYJEXvOtNebYhO9ob187sBa7/n1eegBnyD59qmdyj1e
QNvghvbKTUoNFo72TKIQyOm+rtONydfrkrcJx9DbIROOqHMIBwmaHncvbvdcBh/8iwG6bQbj8h2i
ag5zRDdh/qcf+Uzp8XI1Li7qn2+bwNDdYZVb4NdLceYFnl0AInbpnKVjFlaH6xO8vwGB2biTIybb
5rNqz9rLh7QMAW/a18u364O/vwGB2aaDBESLsuQF4llhljnPUbE4iDFGKcFN9TNBYPbqsLLrpXKE
PAuu7nTeBGmd3+g/ADnv39qVo6lvdji2l1T6bwZw4GQOp2/95Xa8LiCb9C+Ce6O+AATQ24h82Jk1
SsPuu/xbLxn/cX10m/gNze3KoUAbhFOc9cKP5GJ0gBt3V+0ff9vnG9rLuQYETXbZ3wYwDkkHDYP9
GSQ7XF+AbXxDgdE6u/V4pGL8Wb2uS0eSdt2NC9ikY+huKaO+cZyxOefr9IMK95fwlzFt0OW34/rb
vt7QXVJ7Q+BUNe5d0YEiCfBFvVuE6U2iMdt0NJm9HiS51Zn6ZPPjnDbd9OxXjUP2Ctstn29iAGaT
aAatYZr9uXUSsOHln5cRz+vr32+RvtmwkwsAbvEqlGcZbHXKZn78rV94EDzdNoGhu26kcgKQiPbM
PPiFCgfpTFv+0SNghbg+w2Wk/8Z5AYfwb+WdI29ZOg8Ap6DAyuN1Bn4XB5bE8YIXX+t+uLs+jU1S
l/15YyNAKOSidRNPDNCzzOmlCZGO09HfJ/S6vFXeW4ehxei7ViNMj0StS/dBzwDcci832eoCNrES
W1TFnpLTjefWUGlV8REhII5tyacv6HPa8M7YRWSxicpQaVXq0a8cgpVcnqp67D+yC+ZLxpqdDKxN
JwyVHrQ/kg5VlefZAV/Y78sgAo7F9Y22DG528HRLVwc8isSZIggcAxEHkXs8528bnP/7FOkwqPAK
6+ozR0nx2Q2b6MPEm+omNwXUov8ePUMKImh01pw7fyp/Cz6nPkt8vcd5ZZONoc06i+hcrEKd9Qo/
Uemxux/rrE9vE46hyRJ8kkidcXHOXKD/ryHg8tWy12ZqOZRmz0a3ZQEIaPLmrLN1S1SnHjMXkMV5
sScb2wSG/nYzzSJRRHhBCmDByRYcLsBLv1QIyNvQ2sDt8e/9dddiiwR8FIjfGZPfljrEQm6TvqG1
61SWYtVVjjTRqi69j1uCe+z7bYMbGpu37TY1Wd2c13o6/N5aj+06zxbJm61Mrh82c1WQ7kzALB3L
clnT1R+/jKLcqwOz3DEmva2cJEKfZMHJzIPiiYBY8EhE7oDZMfgwduNe8aBFvczmnAxU4WKeLm5K
BaKArN/Et7DZzeV7//P437ljTGZbPhcTXC08M9yFqz9Rg9C1XzTuze96o55zIOBO+gnGrqo5koUO
9wPKRaos3tjG6yaWc+/WqLzwxoUdyNLWRYxqgPZQasgmrsoG0VoyR4KkQ1mU3gHBSiI/eZta2rNC
b62457kWXCJ5QlaaH0p8MZfPcu2bRSRDuC46Fg0+8TiDk4Okyl+KIiEuLYsjDfPqD1W6Y5UCN3Vr
j6qT5GNHqPxIetWdBxCHzA8z/OwT0NXLJZGFUx3QK9a+4Pk5/XBVUWyHPNu8v9xOF59D4vqfuiXz
0jUi/tNaqO2z62fll3xq3HvtS4nZiI6SedLsUTeV48boMKp+UFoH94Q7UhxkNurjLMXmIswLXENv
ncN73kzzcVKB/IdJwU4unJ3pDtymFWD/h4j/En0NFEEWiBEbHC3DH1qQi8SKDHUyMmvoz0FRgP9u
CCmAzArV3ScVbMufDKgBz3gIsc/ai9hxDQBBgkQ29oAxCRz+dc79mDf9SA45uzyAkWX+DIzc/AFA
Bm2bDJ5EOxwQTsekjhrmx0OVzV/zosmPhPjbiHStVz8UGXIeGR+cJe1CHOtZoGozzn3sO/Xr8rB1
rHxA/wqtY9dvQvp/nH3Zkpy42u0TKUKAEOIWcqrMmgfbVTeEq21LDEIIMYmn/1f2udk7j8u1w33l
dnRnkkjfvL61wG7ejztqrUsyRmbzIDtsL2V0TbsdWJn9Ww8GcQ7Ss7pEAgiaTzQYBnhH17nAoUto
l2uartBIGYtluDOdB51NiBJMD2kUbuqktuPeLYK9QDSpAekAr8cTZU3CwN6GpeODTQ37ZloPHRU5
LQHbFUSPX1O8heCA4hw0gBP17jsdmi7OBFGBOGnH3Us9AtqKulICQl905tTypd/M0axetRuCnzII
Fnm0Zb22m8ZYFm8iA7W0a+BEMDOnDnoUVUxSupNNGx8WTuoftbXj67hqeVeMoErIxm5pt41pyA4i
e/JKgVb4xYALvspoECCvmOe4OZBhwlUdq1WIbBW1D45ORgLEL5RFD3TFSOq+rCfeX4GRMfAHK4vi
pyHBeS6VDlC5DK1wBjp0cBblkgIhI2w13yQp+kR5bwpxa+mAZyGQ/MI+iAdHHpYvE+vzsMbIJfdr
qu6dZgGUx4GSA8E4nZJ/2vVfWRqrHNtAb+nMHjX4uruiJVAgIM0dihverKwGkZ9cwwwbnQO2bjuM
zDfMz8A3uaBukm0VF6K9IWzuqp2UJWwbWNfAH0fF6UsDJQm3DWu4g3yoPf5cNgtGhoEYsRkfWxjv
I3VW6YfKS12ALX5soxyL1QXL0SQ07qC54+0jW3CD4tmMT5qAXy9LpwKN2xKpIctoXYn2fSYw21yg
au3rfCg9Ww9B0hXqBsjXYETqO/Ru44o4ko8UPVWXQ2RCqmzsg7jeaNS5OtfdMODYCgdxK0i9zsk2
SZekxZI9KCz3PBzwLkTcQ9ysKBIq9wKsXs1+ruGYwJDHwB9WWRdmYLsPDysEobsdsXHSA1HTdnSP
hx2sy1YpNZvygvEivC21LpOcDuArzJIoqtsX33Qa63/jWMVrxpshZtsxWoMWjCg2wBo4peXQ3s6x
LlHmhgU/shT7+E9lhMZYNut5GQ4NnbvgevFLF6uMTHEFntpk8HH/KkYZLptRhyT8R1pZLZiv+nHs
M17LNv0G8GSLGoQSSBR+AznROF1Lv2J/k5QVF1eLAibJb+NkivmUrWGwkDc0WxGLYeZ8nq9NEAzh
Tpbrwk5lWoNxYjtPrKmnLMTrn3YEBFn0e435wfSjlo2yR/T3QfGWzaSaG5d5cNOOiBqj5E80Gkos
v3vaq0O5+iZFi7uv1ysWrF5vQ125MVdJ2gW7KQicyLXzjm/iPp75Kxa63G09r+n6UE8WRJAouGqX
1V0Crgc9EbtsYzjYOXdh2dgN4FVyuucq0W3uSl/wq2BK2HpDp4LnRrJQ7ljQrXuV4Bp89906Tldz
6u24Q8VTQMyaqgrMnQN43E+6XSK3GZohSroMchM9vQ/WIvVfqh50TPuUpXW5bFNddO4+kaD4gkcE
jRJiK+kKegIUqU9/qZjo6L4oZMp/US5IADVFpfRuLlKExWRNy2kPNUE+XxGlg3aFHdVr/9PLNJEv
6DbV8w6AIOmhDlKVcya8rMZn4J7VM0Zbnr4MqZ6qIEvHKnQtamjgCbE6X45pnJVxzesTagmb5LGX
zTDnug70/FwEs24PpQOV9rKZG1BxguJysdCEGzRP1XeZagSQZC5KmoNjM0xe6mUumq2fVhh94bG2
u6dT3NOshFvsNt4MzTMQSyIGL3et+KHqx1ZtxrRaor2EY/E3s61Mf50E8YTkgITNFbj6bNehrynG
6gB9NZSZlMHz5QDt2HYTCu9kjltiw6uuZMxu/RhM8w0fqa52kE8j/hGIxqq7cmIJvofcxXzNoqFp
+pe1qmZ3CiHZtG7INOFJ4jpae50ZSABcN7XAYhHvBTKmnJZT0cLWGscozRZZnV1Y1DkmMunmoV7g
QcArtGvGKV1PsfDVuxpoEe81UBMOm/ITlm/Zoia75eWyulc+BEl6s/ZTk76ztEuDeaOrZOKnsRqT
aNdHrmgOE2s13Qlwrvrvlgdruh2H1SUs96LtfL+tOZCsx2aO0vmXoUN0PSXtGNwUuNTyCvug6hWv
cCmjfVlEQ7TsLAPML8pQx8SL2IOXZ00eSqh62q9hgsWZh5oy6b8UFUEdAvItScY7MTdtu4GARNih
rhqITe/qeq7MNXTQ+vrRAs2WbsNWxGMBY22rZU91UJgx5+3QrZA60HWP5+2wRP+ThaEFDatRnS9f
GVo79t6rhvWgd+TD/CY8R3bB41QHEs/IkmnvSx7VTxLltL3lvJXs5JaQh0EGu+rsO2i/h39iCZTp
vZZaAagVcBLN2JUcoFNpVRNXUQbdJOoPBe/GdOPWsyO15cjCq2XqodNkI4mNsYZhyrCzy2DS2xF7
G4Db10tL/RWvwS17pZlJUFE2y+y/FUHSz+C2ACetht71MiXvQ7MOCBKqM3KAcmIaDy6nIAoUO6OK
+MREy8iBVc0iNr4xLtjqFdptm7AIFOIAL00NOn8I/eVlCOrvBhEG2gfTVMutoKxlT/S8S3NrI7PM
6Ub2xrwD15iqq0iz5tEVkzLXGvNwfiV0NMencV4af/RARQiDjlmJqTz6gEX/owF0z2LFz5H+LiBR
VLx1juJ2Oq56EFWKGgJJYdo1z0s8xTeSKDMZ8Dsg9zkNyiPoLqQK01viZHyao47pwwgISrgLU3Sm
1aaYdZXqzGNABkdT102NLaPF10wMkHaLlmhX0tGzKTOzaL3ayK7S7JXZuQ1e1kkRoFpAxV3dMwkJ
8ZPFS4u/OD71lcmitS1UXnch8qS5DUHFBE/saZaYGiwDtHIpni5MiOQHyNgH5PtMrBNH8JGUx8Vb
DO+ypreIumwsa4SmMVxsIXLbFry8AkM6ZdlK+yV+QaUZFbuhWkO6BV2cedOi7+R3LHggtxPgtpAb
L3zb9pko2+V5VG1p77Xu1fRTl1Evfs0d1+VD0EyxzohfRHWdOsWb3MSDXLYldCnVDrmt06+8ZDHW
xGHn9GfIAMDZIAau8iZsIodesysidSsrnFAmlrbvr7wLgdkLW70mT2EQif5dqKjqt9hIa9gVY50f
dqIxfskZdr3sTRgrPv+sLV72JuntaLdNu0zT3ppZly9OJJHEqicN3Ybaxbmv2OIq5IEECokQj6ce
xQe0E1m/s6JEJrpnbFje+h4x+F1OTSR5NinByx3S/EE+z2PKusco0cN6SpvegWMcHJDBNX5SwZ5i
JPwUzmshSEuoL8ZiPwdJ+QQCBKfuypDDpFgTlebbKAcB/k7FTVRuW1+Kn3IOgDcNLZjOcz81vh+z
kKF+2sVMxeNzaRFsclkNnbhO8d5XmVXYUZ/R25vVPvKqc9dRvdp2q6aI5gGJER8zm/p+xZ4+WdYs
LKY52s9pKnVeDy1qUxr385j3i1MlYu466Q13FVKtEckKSFHj0MpTbCqIuhpVz/QqBmzthw4Ezgd6
hgS7tHPvg2z2LVK8Hhk91pvitPuq1yms9iMK4xPtZiSJgN2vsDk4IXpVg9k6uC7oKF581cErQt6o
GXIBZix94ijCd7Jlk85RFLl3yNwxdqgDl/Z1hgiIdQzI5E63y8CbrylNOvVVqTh6TCbRG9QgZryu
1BIWpyDo+bobEjbVey0lPMSskzRn6gyq0Vho7nds6s6tsyk1mDbhU7G2cxYP95gRAR3TU1QbINpO
6YaOc/IoBJf1tsBiMrtH0gCLpkwhMLPFJYBKNRX+DHVdALRywbhYH7wJyhoOvI83qSySYZMuKm2f
IQoafzHRgELFtAyBgAXhRHYyCadbsUbcb/CM5VOdWPfdB8zcjxPt+B26fnVzawB3/or4ObpvsxjB
2JDU5/+2tczskR/L/kETnqDqX7sEYhRTCQVF1UL46gyC7eGR2yJCnYTx7Hqz1q6aDzSQSbCZPF/J
xjoYsGXNjJ5fUQZ5gWsIcqllbdttXSL0fRs6bto7U3C0NEaUVuK2TWa6paT2faYhAaSySHkgmVki
+NewB5rjHUaXunxmXXRdd1F1Q9JwEduxRra1hZXBOtcWOKF/oznYZsky/yz0OUoUg4XKLEd8xqoZ
WVS5MdA6I5uROYgQAoI4/ijKFXcRfWIJKJPsA5FpSbsez2Iao7dyitdiKwJUUKOJxnWPgYQJdAbW
L84fHao3kYNUu4l2CxS3v9Hp3N6JmIdVhcQ1V7Q9vwbqpfOnIaX2aqRTNYGHuEZqW0TR5HZ0hor6
FoBx9VpDOOsnwmxtNxAdwVAaxQkKr6aF+32bymSot0kyzTD0OK2zCMnVlUExUubovrB+C7qqQewc
GXCdXLcgUrGmcPGuBur97CcD9bzGnoxoX9SkQapBscGcGbHi4pflosTOwxxhjYuDTQLBXvyEovUC
8re2c7hyqsfPipOzaONMNKq6HncVf046pNFt10fXBZKgU1oCn5rVs28OIHm0uEUB0Xfg2F+TvPZD
dcebOCmOBQkHu2E6hjkhLw7qXIKp4d3EtBrRqtdrk/VNAreZ6jWYDnM0zMHenkmTXLsGqFEmbQny
3AaXkoG3BQ8SQVso8yk6dhLKeTofAup6EMwh0uyLLpi+zSrCPQn7btHPZpEoF6RgUu0lp2CG4xbU
nTezR5vm2fKeX0OSqq+OoIoFYf1YglF34+cK4aoc0F7SoUe7rxXA/oSJ58faFdVGzwb9p0lAWUKg
5roiRTMyVJkOjSFgG4I2O9/lLx6p5CbUFIUFRATdcZwqvk+BUno9W8kJOrnhLRiv0F4C2gWS8Y2Y
QVZqSLiSnAGB/U6B51u24Jwr25OBPqQE04h3t4z2kAv1yH/ru7qQuBNIC0N3xVQX2VxyWNpoxunc
w8TbWJxeb5DUh8WmrWf1VYaT/FJXtrlHdniOJKmrX2rh7GHk83S/crRgLWFTjKxAEXqqUfd2W45i
6ciXMulPLcIswlYRTQ3060iLpNn0iMzXWFOIbqDKOT5bvbZdpnzZ/GgS3/+EqSTVNUhBoPvrvLLn
U0BSJ5eFKpSkHtxFoEt7t8U0PtXSztD6G8j83bbwmdmghL5zoLWfsDbDZC4CrJ9gHBOGfZ4Ivd6H
6ZwAha0w/YQslH7iDp1Yrfr0C0Xv4zilCifSIvc8SHTp0DepA79tKeS8N4xFy1vjSIXkxzTJmpey
gFg8B7wYQW6s6B2fEkWytqTukWNmcz3zYukQHaPylsUiKTdrfb6VHMI12xQaY+0xQgmGNoqYv6ul
g0g1du2OZgoGs8GF4T+HrlinjWTCbSsGEllIZUZdXigHXwEsG9orYPCoDh2FqxAuwmcvinevIfDH
Lk8Lb9echjV6XqsHczuiAFH5nFI0BWtglP+ZSzHdUsy5d2aCTQftGObwnjHPFy3NXgRxfIJ9zi9N
J+sSCzJ81WDjKdwXCgz4Y6S4O5bphAS+beiw8WADfhPDon96X66/+mWuvlO07JCowVHlYB+DSRUA
Z13/+5+vflneRFov73ou0dn3bN536yxBhuSTw5TYcc54X5H3EaxpjyZMq808wyttPC/RM2AeqdrG
lFq023Gp9S10TpTEYoprjyCLQhfVten8s+sUeYOe0plYj3Qt0H9YPmMLZS+zCvA8sO3JZVha7b9x
tViaY3elwmaStsljbKfpiMKEf0WroD6OJKFf8CPifVklyz9h1+tbii02lVHaLM8efcrwACLe4jtD
WdxkZdM3zzVrzQMraP+tmA28BnKccxjEXqgB7ZGI6szKJUmvZdNU65KjWwZjXFVHqo0JUDJmFh56
yApIYkOigUI047BOK/qVIMFef8A/Ffs+SkKWY0IxnsoEKzcd7ou6o1oM4kZPtUESQxsxYfKGHneb
muaxCTven+zI+58j5TI3XQxBcV40VZWFmLR8Q6sFlz9ICpTxZ3Xje8qJrV8gGskf4Kan+yhhoJ/U
QYiUckQYNBBhsJDUSZk4pQkdf6DtPnzpujJS6E7Gyb5ZZ4ommAnwMid0/fJiQmKFJXul95BxkmIP
FrrqCmokrthoDs6hTHSKnkhflnxDBTYf0U2GYqJJFF5Hct6jKOoVVShotau9H1JBdo0GUCAL0Y3x
uwhdpqeElBHJpgVBZjP0C6Z3a4p4hr+mj6SlqcixDIMXPrM6va0ApXIbSKstT7jT9Q7RYLjyodLZ
1IoCfbbW48IszqB6EjHxU86o7FDIFNVbgilBhLsj5AuHDMBVW0NeNu/b2kLfKcEhoSbTN4jA3QB0
XJDeW3HWcNPTAPoyuF5kAATyumE4z48TNdOh7OGiEKfZLihTrFhZLiDJHq7weg1XwzMkyIBlXaKO
PFLgZw9oLqLBC48a/UJvfXil04h0cBEB+q5ukuu+g/xWB3zYDFfYd9bDByxcR5BZr8WM3oCeb9CB
tbsATMnQolnO/eIkHO1hmQiyftmw8qk14ILNAfeo7hx6n/kgUPGWEwRozxnCFa/4FKMxRuLvMK5f
wjpYQdgJobegISyDvfBEbXtkxGTfjileqSaJeCmKCqctITEus1SBkgj/TyfvqEwA7cDCAD10lave
yyZF369SFO29JBXPWJ+TSI/ZuFeggnmhjLJ0Y6htHvGb11+Q7yIS+58S3epghCFhahbdjb1FAsAQ
aHAXeOh/mXh2j0B9tFexRjwoVCh+jVw2P3jbzI/njOSAUwDuKiHpgTeKPJKkq7tryTQSVknSrn9M
Qm564MoWv13F6h7RZ0Ye3QIlkceLITtmC3geTmlnsy7kgKr2ROKlYWs7fvIhRiO9xdRt9AYMcHPL
v7dNHD7gLqP90IAE4Cv2iKLH1Go0T8soxSJORZCdejeBVBNKBGehgHkqNl2zIBRHscURG5nKL1xx
zJQERjB3oozKkxo1+1GAivgt1AOY2EKH/klChQleFlpF0yF2Q1qiqkMPuICw/D1m0eonTAhLkRFy
S1AkBsWVNOgKPegArRswDYcFzWKnh/CeETOeNBqzw4YE54vi7Fr1ex23yLbMrNIf1iQVvGcY1hUG
RzFcjLeO3qW9QrfbBL3btX3sjknT1g6tETckV6h10dGgJOi+mpJMagv0UoI8cLJPw7QkhyasUVAE
i6PXac8Dceg0mC09wcWkHa14Rkc9pufVt7p+6ycmrrDMjoKqtpTKq6ji7Hkcffe6VD3HDmyK/e2g
R3Gb17qzT60AGjS1kPVYsqrCLs6m4JweW4LdJA/x0PcaSJV3GbNh3SwuVI8r2sjdvoZK1ZalmPA9
rSjY7zD9KPaIvnAJ2NO37gQh5GQ4IjLPd8rN7bZAP99gL0CQYiNnCMJmDHgYnjVhCwbNcmBBlZsZ
bDFbygP/Y5rT/gELyaDzdNy8GWfUBMrCHkUjKtxHYMPFLUe6c8NMaa5Qu4/xBlxJzqAeC1Hal1Oq
79apVNGmsmQ9JWuNKNb1BSZlNh4QGiR6nWkw2CXvwyh8CLuy34ZqHJ/AOOLAUanPhTks32AdLEah
FhJVv03LOew1pUO7EE0v/r02rLxdMR2PNohitdzwgJp/ZIV8lSwlklHwcdVfMH1BdSGnCrnvkkiW
lagF5y0QO/WOK0PeGzNCcyClEVuzTsZAMZh5iq5XgeZpFsto4btAKg5hpGb90VPc9wOBklUF3g9I
fnc44yAjCR/UTiC431po+9bb0A9IkhBT0IrQra4OAuwS30LCzT+ggdF9LnqovRV9ZOnGFyYZT+Oy
dq/1iH9HzlTe/jslRaKlng0WHxFEgZUlyPyn26Tk3VdozVQQzRTu0Mq59KhWeXPAVUOxd+7TY0mp
bsP3Pp0wvl2SKXG7ZinrcguaNIadf5Q1WI9m4hsRRcQO0xSZ+qDjGBUAYTFSNJsUUEntWhWWj6Rg
IeYymDdhM7eD3FVmfaDg1jR9ZFrDyAFVbR6nFQ8XEXQeswELl1M2BfX6w+CKzXfhWtBHWgX6K0Wt
+gQIlfvSkU6MmUqEIsCdVmTNQAOBrLsMGzDSRWWzoW4Z9xjauJeZtnbfxx2mC1Iq/JEg2266xb+y
KQzUjZEYeWWuHPyVBpjjLcQhP0aNx8SXycicpgXRflMuNdkho8RwHx10HKONp9sOCbAFyO/fQUC9
mDV6kxU89kZg+vkLyZOV381SQlKG05Ds62qFkA0p/T/zage2NXUwFVXmuGCHYbLJinwtJe27S9Rb
EYxtupcTHrgzmjyi1F9RknqNBoSdm/ociYotarHuq1x1iQCbjhhM22TST76M3SFwlXpFe9o+wZ3I
t44HmIhizqZ+QmQQdYFLqiYCaY5Ei2No6WZEoc1eMbL3R4zaDcmSIJrEHn3L2G9IA5hOA3FgXr8I
Se1BFw7NOj6TeT64KgDrgELVkrkJC/cH40OEPtAQ2I1cnO0OroMa3mYZIZiMpnZaguTXcYBXUkmX
u6lSXX2jQ8arZ6Kg+bXHILR5ZEpa8aRA1Jfmegyar3XV4EIiKYb64TyQgZ5CyM/GG4yJwpumVKy6
StapGL/hI4LhEPlErpjLUEA1aFw04ksytMuPNqnbnHS8ktvCzJgypYoW6S06MWGbp8MYfm3XlYLN
Ca0jc0hBYlRuiF8xO4ZJm3mPugn9GHTIS3mbsgb+BFUnRv+p8qwDTdaK23gPoMX4Go+8AUwQTVo2
fgJL/whsdIG2C2nLfTeO8v9tPBk0Yw4rWaO/w/Lx87f+B1xW1L3hQVSYY41G+c6uZy+kErjaTz7/
I8zXBdouLJoOTDkd1iHPqN8ysnFuw+Ep8Ix+Aqb86P1cgO1GHc+TRTMHjH4A2Z08QA8UbQzAidq/
PIELxJ1BJBUowMzRE2yEnX8C9At9/leIO36BuCuZXYhmeEGsKu8Q2Fz2PyA1z3DV3+DILhlxkf2V
Keod4MhiqAOHVrUDYtgS7EMVGY2luUUhm0tQg0C8iPG/QyhectrSM6XTsAgN3Cx29GbDuzxp5oc/
v68PLlR8iZ0NHMBhlZFHBAaeA4H2Cp9zP0TCfnIgH33BBXaWo8QLQ2zMHbEuyh+gzuq3horoFylS
8TdEqjH++W+jw3xgijBKxBpv1KFXzzBCCvv4f1nU/sAoLrU26yU9j9sSGAVDofvCyVSxh4Cs5pMd
1Q+AlpdqmaHVCurGSXCiERodB4qpqw4A9vKokVovE/8PWi0rwIh/d+gXNo4+OQrYBFB75E53/rwv
Nq7V4/+wWPfRoV+YOJ3JGDNOyBXz2MmfmWqRQ9r3tNafEbp/9A0Xdg6ZU9nwuAGSH4MOkzkw6OST
HNPrpTLN859f0wenfkkxxZCTSwgfNMcwXfgRbPtIoxc+JuMnpvHBqbMLVLysMe/jA0NHKyYZw/Hm
dJYAylg0xBFF/m6D45JqyiAhtn4BeN0GHdAsEQe88t7P6MUlm9WhMvkMx/7BkYQXZijZkKZksP6a
Uci7hBUIWvwIMoCkQmr05xP54I2F55P6j/BKwejtbAuVV5uCZ0gkGl1ODUAVG28T/ZfrvvElLQOv
SEOKKsG3mOqHwPh4Azpg/8lP+OAtXTL/ylFbahZtjhTBBBlo+wpmGDirT9ceP7q1F8dghiheVCCR
ghQrgtR540jr6OefD+Cjp784AEzjVWBJC2+OXQXU/kVGl+V71X+6Ufl7WQtUPBcZjmV1ZFnRToix
8k3G5R2LnyXUBgC2eAIa9lVadWhn/30N2780kAtvyCcZdJJgOQWEldPmvCetgd48TPDJn/jbj47k
wh3WYwAY7aAnbCoWSNTCpEZzX0kaHv58Kh99/oUzpEXDMaYNzkrTUJkk7t2E7SfJxwcHfklAgzlU
Edi+ik7eifBegMxrOlGMwtBKH2L03f78Az6w60sSGhGqVi1VFJ5qFdAdoGEyxnwwnPvlYbCdmYEH
pab7bHvxo990kfPYBc2HEGLRJx9hcaKWRj0USKL7oZj+ilgkvuSksUUJRzX0uMRhEeUe1pipZnj/
88tKf5+FXlI2chT/pIvL4TimPUg5FrDnih+SRI8zVEVYSTI0wo5NiO/88/d9cLsu2dSA6vHOMzMc
57RpMC1mXU6az+ghPvrwS3OXU7Gmzg9HJ7CkbdGC3DT1pwQFH3mTS9Y06F1VM0/K8YjRHKYJ8OcY
iD+dXxZ0cSf0jvUX4EcPiWj3bf+XJeYlkRrrxwh4vhAtQAHdBi1AKwMwht79+TjOt/Q3RUh0Yezo
vKUtKRb8pHW+LUYQQckW+ZVN7A1qd5IFn27JflDuXBKj6aUbGwnNtn85ukZsioPiYdzqyV5RPuQL
qsPE/xVVdhxf8qRxzPwp6YLhyEr/YrGBs4GKx1/x7eLDLwweI/Qyicp2PIoFnDXh2L83EbYv/nwe
H3iTSy5iSXkBSn07HuuEfMEsEmh2B5G4pfh0a/W338DQAv/vrKdAfoDxA9wUEp3z/mFIf4311GwS
Wfaf/IjfmiG+4vzV/5FYkaBRUVzTdddKu1kZzZNi/qS2+eijz3//Hx89avTau2hYdzqqd8virrz9
TAPrt2EDT33hPHQ0FKLv13UHBOierNfONduxxIh/+stnD//72U2JbQastfhdzN2uDJI9Gox/+cYv
cgJW8roykV13VTHudPiacvPJmvC/5D3/n4fAa7nwEFMI5QdhcZhLtUu3LOMZxFyPVSY3JM7nT3KO
Dy7lJXdWXLQkSOm47gDDf4xn8hhHMfbC+9c/W9UHR3tJnpWKonWE9CuIoM0eqp17W49H5TSwDfqT
9/TRL7jwCt0A2J9yZt1xHrEN0QYEDwuGCW3NPstrfuurWRpcWK5tdArJoxRfYYCoY2VVYoOwKbYu
AuhDjfFbEDby7s9v7AM7uyTRCoceWxEx7irkcIHSsVczxpZ//uiPDuPChDG5MgW884qGJtaA1qVo
9t0ZDBP2pADmvzDbP3/PRz/hwp5RpmLbyq9+N64vYFHFqtFn9MG/zZlwEBeGzAwa8bxhLfBvq6xO
EEQZX0tUp8BRGXknC4yKR9R5XNE71UT130jw4FsvbNyU4BqgiuBbqQaFZtkHd7zo2+0afJY+fXTB
Lkx9EOBJaJLJ79JaYiIgg03bo4NAk+2s2aMaXf5XJ3NJslWoSWLXUwY7jNG6zElADiYwPe3+7tMv
GiEDtsWk0w2izzK9ApL0lbunP3/yBzf3klsrGHtdKRLjBGJjvlmS7DBo+paq6Fkr/Un78aPvOP/9
fwQ4Ow4CIArmd1Uv85ZUO9oRwJ391zYt93/+GR8YxiXRlgDTUwAC+HVnCrlH9/RhUPEnNveBF6QX
tk01pP1CiM7sUvlyxnlV9JiUn3jYjx77wp7DzlfrUCkkLqY1ds/17LfB/Nmt+W16ylJ6YdNhGwOc
55twL7ryIKvkEdplh7AfnqqhvDuTP1TdZzrgHx3xhSEnKdLgJMBLisoaghN6BuNusFVzum3Cz4Tl
PnpZF6bMo1b1+ES/qwdT/lNVtge4FanTX6UyYPL471uK1ZEqnlVPd4at32Vcrft1wEbQn+/n792Q
uKTaSvsmxmpX4ndAVgUbTVj16Cv3ij3DGQT355XHrm/+6lKJS84tTLwLIOcU3RVDj/V08G+J8rhi
Oa/f/fnH/N4ixCXvFidSAVBXQ0tXyOBowur/OLuSJjlxbvuLiBAghNjmQA3pcnmqdHdtFG53t5jE
DAJ+/Tv0tynLpeQF21xIqeFK4t4zQDyslenZDXy1cSy9v9Y8Wrt+c2Tk8EXI2IQaEu9nBym0mt+N
ld56ANpaX39/03oK9HnF1+SfGFHf9pZ0+uFDmP16e3psrRtBnZfj3KH8tVLwNXeeuJgKPGqgGXm7
edvsG1GdLiV4YgJTowjQc00tyjswOd3DKDZ3q60LI5rnxJmgt0hJnNPpZfbZN3xvfi2brZKabYLM
QKZiSBq/WwuESJkxPMXmYzn2gITfniFL+7+JbzE1A8Xb4U5jndYQgRCApD0Miwsq3r4ejPuYzVMI
ICQK2AJchxOQaMXDgkL8xgq/f5hyU3xLL4OnAEFA600IIi5wOP+LsUaWBxdojH0HHl+7fxMFoGLW
0IjXWOWcAECe/B0t+0SzKf9NfMvj0dT22KS5A8/GyhX8gCTTlqqgZX9yI347WNQqrUBwzQtkD0H/
hWAFHlxtDUjkvgU2YnhpQJVmberGSw0o9VgUYNZ4fnK+3brt/xsh3OSqHYCkw7ebxq3vcUi9Ulh+
nZN5n2Y/FsAI4bRTWdpWksSpF5EHmk3dD4Crq2Rji9pCzAjhyvdBdAscfvGiObpWAHQ1B7fzo33x
ZWptgT3eo8IAhDCwdKBe0wF4z/9H85b5D43whQ1O0wRJFl6oq9nw2JN+KOMMyKEp7l2vd/bYQlNu
ym4NLE/zCLoQl4HU3hB7IZAdx65k3p+7tlFoBDBSXB71/IyDpQD10TEsYCmRNjHwm/XGy902Uevv
b44I0o+gUQArGnuwOYaMjEyPUDVi4A+3e7swYrlxvIGHQcIvksjkfphQaw98Dk4WVbuKolgHI5hV
3y6lrv36fnZRk4NKcZq3f40LvUzZ1lPbEg+mAhcAryBFTbm+KOiZf6Xg8DQHwP921a8wAiOaWe6F
pFQpv6RtOZ4gNfQlKCTb+HayLbIRyx6qV7IriR/DQOQ6Ixv/4A3Dx6lMw12JF27qcGkA7RtVUn0R
AXT/eIGkrIe9dL4dBZbb0tTgyp1UT+7k+vFAAXZwcJYC93qCvtJTn1dbKtGWOTIVuEi1jE0JNYE4
ZxlYNEIF13ZsvY8laEj7Xi2mBlcHwCXQ54MfU1J/+u86Brtr47hev2F+T3hC9uHXOAaCuhrGQo+X
OQOImTuSAM7LY7J+5YDblj7oseNPOhs/tx3/e9+6GIGtAW6t8MTwYl7B/SNVA8wf64lAxKtM7oJw
ZUXf7sgSe8wIb9Yj++kU3I91Xv3MadOcoIS9laC0NW5c1RyCLn0fJNOFJEvefunCkErgYHO/9jbC
z9aDEdtpSP1EJPl0oeOAkuQsarYcQVZnG7eQ5dPTBPx1QTEAvapB1Q1hcTF0OMjXNA9l6lNeJTOY
gmF8eyEsQWKi/0gEgQQdiPAClLKMZw8vVdDUmlPk1MPOLoybG6SItvfDyo9JAnw0SHHgg88hXmlq
3khJWpbDxPsNUUFzkRMN8Q0Ha4wUaEQuhVu05b/7Zmk9x97cqTMZpyziI84rH7UqiDhAUydHqTAB
C2ZjyW0LYYS7pIHrqqnxcW1DAoONKK3Ojvs92SmtSLmJ9/OS0IcoFj5RwBdGWthbKF5ojgwg6uYm
AhzT23NlWwwjtIFoyJZVr+sCH7HhTxQMmwdAznd5U2AQRmzDFX1qMxwel4bXHzRQmJ/nFkijpXDl
9fb/ty2EEdtViNSOanl4ERl77Ua3AB4c8v+LD4+Z2z2su+adkz0wLm84qDDarhK9UJ7/DOug8QQy
TLzCXyHa8P12H5ZVMGF+qV4ZilnBL1xIca+XzgFlhuuN14HlfDJBfq7T5xG+fjACVreHqfa6o0eY
dyohZHByONy4EzzgzvuGsv6JN8FHQZFAvUlNF4iaThBn0n0zQrtpZtO+HWui11ZZ7paTQoMMDhz0
kYNEcMlEATb/7QFYdpTpW0/zRY9BLv/35q9wiT+5S/AaLcBj3e7Attjr729mCBQ1NyRq/fKl3g/J
F/cZ0lli47vO9u+NeEYFFFmAEHkTPqsPYnDmcx7509kBkXJnD0ZMy6gHCTUMCRxmHXxVp5M+IYX4
VcgqivdNkBHTksGCymOSxsMcvKoA5PwMBNmN/WmbICOcGST8IFpJw4v0fNBzwbCtioNcMpDBW3gR
BPvGYILWmmXiwciXNUWJIxCcVaCKwPdKNzapZQ+ZaDUoLDFk+EINRn8FlTiY0zfpCbwm9LdrDUxT
elTAVAoGdgBub7Tq/pVOpX5GNfGh0Ha7B8u5agLU6NgkfE5nnNwQVTzlkDOYF/apSx1+cLJoX6yZ
QDXhRyyCGRKmBTXw4gju/KpftKmbbdlMJi4tnxxkxfI1EQ1tTLBCwdCFmgtQXUEFI5rb82Trw4ho
SScwphyhL/8hb0QzFyB9QenEaeTWE9y2FEZIV/0MyrwoZrDc3ee0hXAZROKqxr/wsN3aULZhGEE9
SMgc5KEYL12ehyfZOx3ssFNYoTjdVhe2oDBCW9fwQaFhRy5SsQLiZau8qhM4NDndXglL+yYYrRpT
VeCdGl4aCPcFh7nsp/R5GUizVay0XNQmAo3IoYeeSo1Pxw7qm9WMQ2/wk+q+Yf5wBja1gBIHH/+4
PZr1Qf/Ou8ZEpIGSDqWRVpMLmP/+F17343EA5v9EBAT95QBycAVXq6MP0el9O9kEkVVCd8sMGdxL
nvdQfBhajn4AVuuSEtI+t0dlW6N1+725XAfUd90M6nSXIeHFUVYDzILyMdw4TmwLtPb6pnVoaIVV
n0Xw24R61UvDx68sQ+Ny/cCfoyqFNCA4nbdHYgkYE1lG6wBKl3inXcjktPkLK72I3QPXt4qcYOU6
sjEm24wZwZ+Cfp2TGuqWsgN1adZldxdsOwjZWjfCHmbiWvfcgXtozl5BHGWPLeRo7vZNkRHwZPKT
SfOKXSDVRM+AcLeH3OtJPPoomN7uwvL/TYwZJC3qIoAeysUL11LvABGH7BDSdmsItvbX6Hyzo+i0
QD83ndklxffXIY2U89D6cudLyjUe456zqGRxXX2pSjisfpmaQBUfed9XzUYl3LJJTXSZl5VZ77dD
EAsRFBeZQVhER6n3FEA2YV+6wASVMSQ34RdRsAv0UqHy1eRkTk+Zy3dR9yh315V5swJdMkjwsXNy
YfmY3cOqEflGCvX9p1VCcSu7aVtm4xIfWBXimE1hZDyDcpPXOC/CEQ4q+zapEcJz5sDkquvYpdOe
/sfrNTDYkYjIzhUwYljAzp0p6YzQkO6A3qw0YHeQT9z487YtZATxMkL+LKqlH8MdgRy6EBJS3gwG
ft9PG29xSw8mcowHbsKyumQXWKjkJ+Y5wZ1Yb1Rf+Xxfpde0ZwQhTJFQDTn0y1n31NVghAVVumWC
YRuAEcaDF9SyhK7eJZ04P4mx7V5mlcxnjZTBvnOOrE/DN1EwB8MIi4I8uIjcvas6sNGDHD4qu/an
iR2jTdurgqRQAWJ93kAujUNwL2vGYiMbZ4mu3wBkHBoXqVow+10VPDYODFQCf58JOeXEiF0CfVxI
OtPg0vhOd1DIb5x9+CNs3GG2/27ELtCBLiTLIMHnIan3NEd9+gHJwC/7Jt6IXAiEEX+CJWxyWMFp
ZO4KyFDr8fPt1m3b0ohcuTR68qpy3fSQFjo2EKi4RCi4H91pn3koDU3MGJdd0lTIhF6GKv3by7vu
bmHzLl9hNG5cvhBKFTVSSV5McwcCMRCAXvVYoCFet/vyq+FvUDEvKMeoDxFXTZi/eNCeyI7LOENq
8PYarEfA76/40ESKdSmtuqJNgktV1+QE0vZTlQzFn6sLT7ua7aEMtMX6eX+nhiZirBJtKMeUgOLn
rSoxqV48/yFMa5qeb4/F1sH6+5szSLVqHATMSy6KaryyoFUWOo++w50tmqWtAyOS4Y3g95No6UU4
kJ/BXeNC56bosmUjIGztG7Gc024uMkkIcp9p9I3N/vA3HhHwsrk9P+/HWxgZ0ewWcJcExIRclq5z
D0KqL1XTQ8ysnPZwBhEPRkCDkt/yue7dy6AgLasTfAMGU5hufdFYpsdEjTVlQbkXuAteWuUAUZka
qNlTnaxy3LcnyNaBGc+zD3lzVUPWHXCNOYQ8ct9F+1CBoYkZS31w/atOYPMgpGDiA9HxTo3jZzcq
nF3HNeSGfw2AKpERDHR6igQDdHmglAipiruRJb67L8J+A42J3gdFbHQvvENuvkICGjIhOz/HQhM0
RkH/CJK5oJdhhEycmJzig+s3BRS09hnSQpDZjGDJgzIsQDOGKCJU/5dF3EG2vYrLEKoFtzeRJcq4
EcQV7DfyWuVePKcOg/AwTuEJjkg57JP/SFKvhL/W7Y5su9UIZ5aUjEJ+arrwgvbyo2KAtB5w28H4
5XYH76f1wPP4dTvx1OVenaTIhwn5mgY1O1MOXbm+bpHrLvP839vdrNH1zhVkQsng8EMaH4qnMffF
kSod6xlaOjkdP/9XKPNWG8cy2AgRy+qYwDJWuCrKgxBmEy6UaECqgX7wGECAtiDy5fZ4LOtigsog
fkmhxAcSuNdPcwzBY3HOoORzu3Hb/zdCXBJo9kJTc75IR/bnHAYOpyib59NeUz6wMdeu316jEzDF
8xTRC/BdoLBHsHiDvnp2nDTwa7dHYZui9fc3XQxUBpBPC5eL9GE9NuP19zOANW58u3XbHBlB7lGn
KADWXC66DPkDoK/ppRrFny3HSG738O7/h5Ss8UGFaiHUWros/+7p3D+wENbE5Qi3odutv/v/0bqx
xqh4w89nzJxXf86aGGp3MKeBcO09dxdn45CyDcBYY5KJyEWSWP9FUMY6QcuxPI16C8/yHyXtt4jG
AIzlTSdoLuYN8AwDRL+Pnizh50DcQwvPsEk1L2W7XMRYBidZkrNPQVwc5r8Z4xvL/z55FN0b688H
Dok4MgZ/4ZkWwx4IKqH0nETzs9LkGVZD53BI77O5OBaMPE/1FjzMtmzmwZ9RoufGra6A6/X9MUkc
4IeV8po/mipKyo3R2VbOPPUjoUtfBewFDlJBdgzdsoUqs9NXG9/C7wLRMHnGoT8syEPAQSV6cShS
uim4HQH0GOYujAVbnlsKD4E8gYr0dLq92S3jMQudVQZjAkDCImTDQ3KAnWNwcuA6txFK794tfmjW
OX1INxYeqMQveoH++j9dxufxTy2GMIMKtRAuTEc7DVHQuKj6Zf6DR6PeKh2u0fpOEJgVUIp8C2T6
nPTn4MIYKlJ/qqA/Fz65G/0tZ2tbF+vvb47RBFrekOyV2c9kDE/QfX2mef4tjdxjPji7EtiYQeOk
SLsQ5lhQzHiBfBcuAqhN9D6Ou32LbxwUMAtLJlLP9KWGwOSdB9+f07iIPV8j+OfGMQCQNQFBetEv
Qx38SECEPyjP33rl2batEexq6mq9JJ5+acoa2qAQyRBzses7BP/ciPFgyItOIrH5kgjUm0dJqmMm
m27f2W+qbzRTOGROQPTL5A7jiRP6HEwL21hRS8D9VuOspcdhgqdfWhCS8FK88hoH7ESA03OGj1BQ
Lw8w4t0llQgV+fVfvAkAP3BS1GpZfi0jlASPieMs8BVw0urHrv1p1jj92lVOO7HoRfqJe0ThH56G
6fhyu3HLfWGWM8c26Ptw6dSph+nVN+j05ieY3BR3ffPv7Q4se/Q3RQwwY2aGovNJ0SU/LpEsWjib
iPDnvuaN4O3HznPLQuH/O+FDXY/Vc9Z6/cY1ZNtHRvAOnQ/rxKxRp4W7KKrI+lgJBcl9EflnJElO
vjf4T40ag9O+wRjxvLhDki0O+qtd2seV47UXgLR3hpxnBDRXrWjnUqsTPKLPKPTeT+3Wq8O2yMZ9
XXK4KWgOJd/UJQdo8v70Z76x+y0b1KxdurBozAJviV50HfqPExTSD1FA/GNHu62S/vvqRn5oimRw
WWdjW6vwr2r2NRJ1lDhhUx41rH/4p4BWWS6P0LAmpT7UlSgbeUxLCf+9I54LcFaKJwX/qC2ojGUu
iTGXhAOWnpccuyuF816Nbx+hj6EsUZjZOB7fTbdCp9DoQeNDt9bJPFw73/23q9iHgCHgA/dZ6vJT
IccNVtD7A2FmpgyPXwaBpSa9ylR+nxfY2Ncp4xuhYtsWxsfPggQKqwl23NhEJ6RYYkeCp7CrVoUN
YbxpcgYpiJS4xYl6o5DnaKTZJ9Uu0yf4iRJnYwjvzw/StL/eGxVt8tqFffWplCEUfbI8+D5lbNko
5tkmaO31za3kdrqpUlEWJ9lQbGXo7B+KRXzxanp3+7CyvPtc43CsQZyVsI4qTjUbr9QJv8EfF7wQ
uMvIOd85RcaBmPdzVcGaoAAVHvoHhxxUQqAQG9hy3R6DbZKMI1EVzBfFCIl2FabBxzoD6A04dZip
wXnu/nYX1sPFiLbMLV06AW16benC4WkkoUtQ+4dliKLq2CIf3qhLCJtppJHzpC0WRHwFn5QjrH4c
QINzgLX5vi3HuPFUwTE1jVPQw0EbbhJQwQIvYqb82+2Rvj+ZzMwtV1nAdBuU0WsrIXMo03/Wputx
+Hq7eUu4mAVw0stkgHUbzNy7ufbUoW4WKMhGpCvIdV8PxuxQ13WTTCv+AhM/6LIpFX0t4V+w6zgM
TQkVxf3RQ0ZFXqsODGcW5MMBfsL/7PvrxoGllzpqujFrr0I0CqI1rhZPeBn5W9ksS7Cbxe+56Co4
d4T5TzgOOlEMM+iKyPs5gf7/0R+Dghb3JTST2EaC0RY0ZjG812kvKbg7P8oOHMM6OHBkS2pZnGHJ
fJHhdAiRUUmiT3UfbuBDLG89s0DuecQnmVc1PxQDCBZfO3eThi2m5A9JWXxa0w3QU90AHNlm0zjW
xEwYn9Ks+UHm+cLq5YnDSiZ0069wctvowhYtxskW9VO40nuSa5iA6thXRANCuA/LsSod/3q5dGC9
62YKxMuoC9i9zU7mfO3GPpqTQxbSbN718czM0rYKoS4IvLm8Egg9zYVT4+lX74LsYAzGC6KCFzSk
4xLnBSSruvpEYLHMv7XASIT/wvqadBvn//sLwczatsfqgoOl3l9zqDUkxxQCWvAE9YatPOf7qTJm
FrQ5fEf8JOydF+RQw48h2HQHBZXRk5qDf9mUiKO3IJs1c3DKYXSxpZ3xXxbg98QSi9bhvnlegIWN
ZHAJCz4x6zERV0WpeE4muVoyO6oPo/aQ1lXrpCfoometOoUwxtE/9JQ4aYCnLWwxUKGFg3f7qpJy
dv+CwRjrD6Hg9I8uh08iTOpK+H3AqmWBW7iPVKka+cfJi7xcnVDuBijzoMe2VH9GXGakOTuoalXT
PR85PLgAbZkBnxRtxuRrmHEfp8W0RFV/dPI2iZqDgyRiVN4lM9wHc7bxnLA9rI0nkWzbCqZHRfpa
TeyBDD9LPZ5qBx6Ba7qXJxuHo23FjdOD9h1AnCJiL12q43Qav/LOZQc4RR+TcT50PrCjAmbjTGx9
3dmGZZwlc5ZlQSKd7MoxLFHVH0quvy5h8Ym3WTyoaevLx/aAMC4xtgyq61LBX0lT3Xnp5zVf2aJM
evuKfP/QZWbZmE1LVsNNOXoFXCamKdjlVPO/A8U/LclmqtcS7Wb1WBdBj92ogytRQej9g5txDu5D
N1PlxjVlWQuzdgytRR92MENwxbnyRdJxgu2e+oSh1QeHzd8Udtzt6bJ1ZOwy5pCOVmWAxxAvYe08
4AsF92Eypc2Brv47yab+mG3OjO3FPSDf8tbjL7jxoeQOYNEhcKDvcHsctk1lPL8X0DNkO/v8JRrm
j24dPuDl8AR31431sOwqs25cM5nSnub6qsl8txQ5YNwNWCEzLJhjGgYbvVimyCwYK3guwy67JVdP
DQ4gD5wc+yp4vT1DtsbXHfDmKIdse1Lgr+or0h1RDL2C1RLY1xth9/67ipnqI9XYTAQOlJigkn2Z
mH9ZD8XC1XGfOh/HYL6T7VZsWJbarBk31QwnkXCYrt7isfKQiT5X6YEVuhdfo9mHJentCbMNaZ3I
NxMWzTrhtefra+GAR9uHH3hRfcqc6Rkoufs1Aoeu2bnwxo2SMsL50NDpSpqFrBa7SHhs1iZs4zBC
XKgI9vSFM105H5e/Q6ea/iJBosGYQj1KQHkZMclAPsNUzgIG0Ldnz7bdjHBPoxlFBa3D15CA4xzC
KPKQlZsWAbZ4NMK9mWkypmNNXyM+AFAznUgePXE1/AHa/L+3B2A5GU2dEloPDNpt5XSdmv4BVuH3
S6v+q0e6cA1IinYjgWO55k3BEsFZ6YZl67+u1/yaqYPpWH/InWWAxHp1lw3uqz8FNK67rY9I28CM
g4A3cN/rB01elRg/egE7NRP75s/qcR2YhIv77fmzbABTwQReyITWMOW8ysWRJ0Er5zitnMPbrVs2
gKlhQmctJlrBqnpx/EPoO8dmgNFdqT+myZYUh6W2z0x3MuGLOSqHIrq6cLxcNxnoBH+4kXweU/8R
IqAneBc+wr8aDu1KxTAK3ahH2MZmnAY5TAbTvEa/3djGOSGnjtBHGVSvdDzenj3b2hhHgk66vkh1
MV7HFHpdWQPjZRLKjcYt5zMzIr8DdicJHT5cYVTMDq2XPydVHkG2cUupwfbvjeCHNWoYOkM1XntZ
EBScvO4+7dzyfHtuLH/f1C3RuRMUhKXj1S1KOHwT9Q2YgS/rA/J2+5bVNf3JdI1vo6qEIXQz5TEK
NR/Xqm6nAkiAymYjOiwzZMqWAGdd0ZVeeiUUZt8JWL9fkETXGykuy5EVrCN7czFOLW6M0M35tZvo
qQ7KI9DQA7QI8VUyg4uRFtCur//EAyC+PWO20awr9aa/QPIqyJchvPpOAe0gAtqinJu/bjduOQ1N
7RKXdhmcnN3uOtHm6tHgnzWweQCir9cH/4+Htm0QRlDPtCjKRLDuNZ1ALmR6PvlkEqfbg7DtWSOe
Ocu5B1p0cK2KAGbpedS3f8CkR373ImeXlgXqXEZYuy6gViMyv9emQQUfhRN+9IT+ensAttkxQpqM
MKWmTLZXks8vxIVZtC+mLTVuy+yYiiVepyEw0aj2qkeADEktYQOsy58lvLb3zb+pWqLlQrRISHsN
26A4Dm5SHXINchiNqn3wA2bCADkUafyiCNqrPw0yHnXVfQ7IPuKiz36DAeoSWAr4K1+TvA8K+NsV
zXKcK6n/ub2+liPDFCrpcuLPU9q2V0QazGunH6uHW1rBttYv76D+9WF9ewwwr97X3brN3pwY8I8l
Yxb5Pe639Hst5LPboZtR3ivojasq+wLDvUudb8HtLWeICQIUjISEQIHivyPd5/XdXIxnEfCHRfnf
3H6XUDEWyYhy3cHEbwS//poGoDDRBWBlOLTvwsmidSO+oQ5aVQGUnK4gLs3e46i6xgU1ra7VvneB
ifZrMigpOXDVuwLr8DS4MFob66YGKHOL42U5REx4X7mavcoKHTjNWD0A64fLIhPLRob3/VOEmonk
paYQLmE8iUNUqABTJ9FRiJx91h2ktW5v2/cHQM0kciD7qRpckcRgb8xgO1T5i1/U6vPt1m0DWH9/
ExTA9xLXA3s47pakS45asl6focLi5Ic8HBU93+7GNggj9kQW9EXGQviLy+G7V8r2xBOybw/RyLhF
Uw/yZZmXp7FTkeI+8r1/Yb7unDM1y401sM2SEWTKZaqE2FQSk2bI7hs/V0ftt/6DL9MtYMb6Tvo9
qQ6ji18XIuF+6q1yLHEPSOwD6sTJMaHau2Ntj+TuVM4bX2DvH0uQ/P+1HzYXoeRZmsZDv4Ah3oPM
rdyntsrPgqnLtCQbkWFZcRMB4gdeUAAel8RpoMsToMj6gRRqK7P3fvoC4sW/jiKSlDV9Xybx3MpH
Klj0MJftU+mTU8uTNvZzlFlxvWykLSxrY1a3oR+6KKh7YiwFC1HUKD4SMTWnIKkfsmUfFJWa3Klk
CqEGG1VJzAbAHUKohMXIincbO9i2HEacNy1stRMINcRVJWBKDtRcPUCttxzr/rArxM1s6JKM2h+K
Lo1dFoEmELrNmpdeVhPefR0Ya15Ec7cE/pLEVeTA4h3qtidY228h5CwhbpJmhJzkVAV1Gk9OB0sb
v69/1CGqUhTeplv8QUvsmflQIWHI06U4RqY6eV4SWh9g332fyuExC/lzsxT7Ys9Mhiq/HYO6IUlc
ZmlzFKTHyxPWkxtXtiUaQuMsH9NkTmpcFzGe5yj7pV+mUFeoxyVxFpT7+CHUFGSe5whALCDnY52w
5EBhDYMax5ZVtG0djONcQzooDBciY9Hp7qKEuHM68ZRVc3/oRZ0jL1VvhJ3lnDJVmRMyDE2oZqw4
zZEvbD7Q5Vzx/DVL6wfwjY5tXf68HR22noxzvYZHUs0dncSqix6i6LWDyGoLRlAXTmef53GaDfue
DGYOFJ+p0Led1jGBugVAPr5r/DZX56zi6UaoWwZj5j9HAXgcBN3RRUW/qMY7+qo5TrV7vyxpXMxP
IWQ8bk/b+98gUN3+9SIJE9EkaTcksSgXPN3845Tmz7DEi/uOfoR6+v3oRF+KIPl6uzvLMWzmP2UG
Id+2wk1C+gTWjE6NZDtkqhwWbIS+ZWubKVAPkpJFlmbO2XGSH1kZnd2RAjEzQ8Ivq7vHjG7RdGwj
MU6BqcENUrbKObt1ANBRm/cPQjrzl9vzZDmNTcHmVSkHgvjYzVPdVcWD60ytPvIg0h7cggAEPt3u
xjYI4yDIZCuhlEPEOZE0PBCwTU9BJreYRZaD0sx5VrLSbjnhkVLB3PlurAl5llBKfZlZnxwnGuZ3
+0ZhhL5fwXm3A+rrXCM7+bWBi91Rwtpho4hnmSMz9TkkIZ2apBXndAyPdOqHgy/GLaKJZYrMvGdK
yDIWNZUxJFerRzzdnGk89KCzpIcZgEnVH/xU5buKndRMgOZDnYTwKcQRKRZaXxvepOpj4ud8l8y4
T80c6MIoBe8anx4FNDk/B51w47aDJM2uZQ6MJ1xW9cSB+IM4S+F4HyBEJ4560OXL7dYtsDtq5jxz
ECKLjqLOrJGVRG0mHAqni3sIHdbNOXHdzlVxN+JdiiRoWYhR3rFapQhIpmFBHhxdxVmyMVRL+JtZ
gWWh7SJkBuOl3C/vKzom996Y6fusL3bOppkXgADaIkCUFzA75bgwkzF/ZJDC3HrqWTa2yftLAq0z
gO7EGeqD4Ld2xb3qqoc+Jf/07rRFLrRcXibDj2UdT7Jpik7VOBxrNsRO4j9Cyf0+r8YYb49zmFR3
qzfz7S1iuVsC/9e7sgdACzJIlTg3nVIfnCChHwGfgQYibcWx9CCQ7I3Aa9/uzDKBpvI2gyqbTGri
nOccB/ISFOKuzRr9NACBcpIVE+fb/diON/O7O2qlGrNGnMskr+LRc5PD2AO4c7t1y0Y2tbfdYEin
HrWRM4QqnQfd193R55KegDfeMm6wTJSZyA6bgrs+6cQZGJ37safNYZmGL0Pv5gdn9n/cHodllsxc
doeSoEdmJc7L4pYxARH8uQxovvEqsg3BeIS5AaS7IMLgrLEIxZakEZ8Xztqjp7B/23nMHvaNYu3/
TbJLOI4YvZI556YvxNGpfHABo1LubH3dA29ahz6FH02Fds65YAHy8KD+U3grbzxULTvJpLS7dQd3
Ur/EPm0j5zShWv+0MJF/nDq6paJrW2QjvlGjI4x2WOSgpMUnAce4h7QSWwUXW+vGW4tnWdQH6+VI
nCo7T77jHhshtzj3ttaNMI6iFiimCGcTMC3i+xCk/YPM03rfC8uUelZKo75S4jRvxto7TS7NTtxx
tyirlnPVZDiXc0i4Umhdkuih4cM3nqnsDCz6YWpd90g8IA12BYAp9yyXpWwlk+JMoIlwBIVntbrP
qo3DzjYOY/9g5lWu4XF7pn7+A1n8HBJP3Z+j79+FNP0LhIet5IDlvPCNraSrvsq0h1jABRh9lwXP
P9Qd7x4IPnTPbuLKnUkhkwddZaKNdOlEZ5G26ZF3bXY/B6V/TBTZUq+1TZrxeC8cDs/jYHbO1Zh8
8roZLnhz/meU9PeMierQyGYLYmvpyWRGuzRQwFa64qxln/avUTkn8lFlLS0filEExxnoRXwGc+1t
PYIsQWmyo0sm575Tk3MOO3f6qUK3/iz4tEtsyqcmN7qGhHHr91F0djIdHSVaP3lZ1m7gbThO7Xfy
8SY5GmafyUL8Cq17+VeoTaTnWivnUIz6vnfmn+AgonhYzht3h2VH/8aUrjJQ1nkT4WmViHgWfhG7
RHf3GsWxYyPncuMAsPWzrtSbOwrZ8qAtmMdOVAlE54NwFhTsATHbwKdbbilT89nLRTRCAY+dpPfk
6A8Zru/g0+2zy9a0EfQFKUTmJmg6kbg9zp4DP+pyS2TC1rhxffQDbPHa3mWnMHsh090EFnO683+b
AT6pLnAhsH1i9BuZPsKTiGxdS5Z/bfKjoeiM6mYUROcwY30M18DoCIvC6aC03plKNunRQHV4zCvC
6Axhckh8lOFyHJYmvLu9ppYDwpR3xtfCBHEDNzrrqMGnV9/P0aGMlvZ6u3nLbjepvL1wC142Mzv1
UD5hU3EHBvkRTn9x2uYbgWtbgvX3NwFVQ2cwKr0Ju9Ivz4NbHuG3GCtv3GjeNkFGvDp6AETS1+zU
quDYyz9GpF9uz43lNjApvCVvVI2CIzsJTg60wquGjEjxQEC0gFEw2ZLltc2PEbUygZE7rLLYyU/u
wro/Rm12YO7Wo9iCxsRX06/TT/F0KgRbmx+/lvOlk/IsCv6Vyn9DGoeBOkvlgGMtThBa25g426Yy
4jn3mB+O7chOUTseSbk8tn5xLDvvki1bp5Fl1U26qzfAoJuk6CJU8BJZPk/hFgbQ8ud/k3keIlqT
DvNVdddgTI5hdKycZ7xsT7d3la39dbe9CYcmGgrNXPxzjozQEISPKDYf66k/ZMsW4MWyo0yh53yh
6TJO6KKZ50fpixMi7i5L/A0coyUuTLZrQoJSqgwzJH33sSzmY7CEELlqn6CfETfuzsA2Sa5VToK2
W5d4EsuJTd+rxdvYn7b5MV7hfsLashMD5sd9aoqfM4UX4T45GkqMaK6aRrlQ2sZxBMRWjc/nJN+Y
dtvGMQIZr7ey9wjhJ9bLB0RYLJC2qgL5HAzZv7f3pm1ijMDlHMh9UeHPd/lXNbyO1cf/4+zKmuPU
ue0vokoDEvAKPdhtx07amV+oDOcgJiEBEsOvv6u/pxxu2l3ll1SqKxEgaWsPWnutWH94y9B82xPb
ydGXbsDQSqAbL/kcJS9+/vb62H8/DCDp9F+TGkIKWfLl8trzp8HF6dy4GyWFv291vgUvTSVKkkAD
4DCwv/36NWma+647ROFyiJNbKtB/X1c0jPz37de48lDnwD5f++6kQCHI/omk3hX0/Prs/H1R+bYF
tnNBVJMI30AnNNYHH+buSXXD/vXBr0395fc/TjOfxBziSwMGlypb+q92ubEVrw28sdGY1qvIY8Q9
Ja/VCZSz7MhVX/zz+mtfm5ONlVZWNBNYu+XOt98adIDPoJII4xtdSdcG3xhqJfsi0hoTHi+dSLHg
9320nJru1na/Nv7GSgsCn17HmHMTfTLxSZNxR8Jx96aZ2YKSGIE2MolhSzkBJqn5tnb7GqKzbxt8
Y6irAd10MRAEs437iSrE71IMF+BF+fFt4298K2isq7FMephScBgo30eAA/bNrTLylS25hR+1Bly7
ice8M/sA1ko2//P6W18b97LOf9hQWEgGghWMa5fhw2jo+zB6E/8w59uGWz6itA6iOrlrSfJO2SQb
+K3euyu78P+12nrtIBuHuebh5x6lejEcXHILQHNt8I19Js6DHaW6LCT/7JoobZtDDMqp1+f72uAb
++QuccAxWYmo96HQa8qgu6ZvVSqvLebGOEsRT2JYYPwJaBhLTcp0UNOPN734Fj/muKiQJ+DFo/kl
Scq7uXyXs7cBOPm2ibZHqyFFSxPWU9bHZvnc1Kc1j/Zve/ONYQ7VCGEB0SEquuSA/i5fk90kb5y3
V6Z8ixlTHr1kHBJRu1Y3d7MvD0zcMvkrvnkLExvHJMJVEYau+OdKQ9V2ASN8dI4t3b0+MX+voYHL
9b+2P+lGuZjhAVFA3jUCRTqkTGbuoeHa1mMqTP0zItOn1x92ZeNvEWMgGqvLjtbJXpI2z3I9VWlc
Rv6Y1MutK4wE7/3/a4Kge/zv9/hVgzvNtFiL/gBOhzTSbieSb7X6sUD5R41z9iaWbQ4Wsv8+aa7i
sIYeDPbrZO8nNMQX1ar3U0Rv9TFeif2ijSUPvM8vDBsS+hrPbTzfi+n9NHzt9I+Jurs3LcgWJybD
NqqSEI8Yqnuxfp74udO3kvArO2sLEJPzGIVJgLHR932Kg88msGljfjal35Exq+s3AX/5Fh0G9paq
mVo8xqsfURenF+OukJK3t1zBFRPc4sEAb0B4qaTYtd7sepI8rYu/V6s8287esIsrB8gWEWZxZz/S
QCX7tmjm5xlipe/dvL4JqIEGkf/uU9mvVtYKF0pT4Yzb2aAX9d4uNJ53NKni36/vpGuztAmXAf8w
AVtUvM+LZTiiV666E0vBUtIG6wFv0L1//TnXdtXGvqOpIVGkeQymKfm9XpP5WDHvMx+1e+pAJxAS
qJiiHftGce+KDW7xYdXqOxA1zfF+7tq7ohK/4mn9WkC+cA2np6Smt4o+V05GubH1upIlmoe7aL+M
qsvKmPS7SPsuXTyC1ddn7som+38gMTP52egm2icAxJ+gzBLet6apbsQ010a/rNcfMWRpawjGN5B/
INFCnkTezO7ONknyNpQGFKb/O34PSqLGFlzugn7MqkAC2cyOTT28zYVvYWGS9ANNoibcM9m7A2m7
5GTWQP3ztqm/rPqfk9P0dcKqWOzjhvLpRMy8ouTJy1nd2KbXZv/y+x8P6Mgsgb2fBORu13FX4G8P
UU/kl9df/4rNbUFFbFBqDkGjC1Jdelzyr2XXPZSR2JGVP/BSPnrQJr7+pGvfsbFuqHJ3AcTtBOgM
wD0QFsmwj/QtYohrg28cNhVmHgaWhPswL+fkEGsHUSNkxpB9fP3tr5yBWySRQ4VsahgP90MV3RPZ
/gJn85G29JkH679vesQWSeRi2scgRbsIkeZxfof+2/5xoRAHWhnjz2jENeHd2560MWhXybnqV8xW
R8tnaepDDb0SNJhW54twSfq2h2ysejG+NiH40PbWDfc5cS/5FL2vuvJZ8ZDceMaVZd+2yBaMzbid
gaAemLD8+zK03SMvZtygvP4J14bf2DaY++gYRxieNfnws85J/1X0U/L59dGvbKktpKgFv7JH9Szc
SwcRkYKG0571JoDYO4fylIpr/Pm2J20c+Jisfm2Lvn1BYPsO2hynXEBTpNXdIwnpjfzxijfdNsIO
cZ4vLprbl7hW30HVfaJ+eEFB43zpIqbipqzxtedsLD0GfmZoWqtenPB3YCojA1IZLPmRQhO67scb
BfFrS79x2qRGyAbVVba3La9P9qLqFxTwHK8vyGUD/SWT2aJfgeotGubFeF7Ddf64Im7eV0HTvkMS
1bytbr1FwLbd3FsRxuO5xgXZ3RKwAnInN6m9rqzCFvo69T4qq1GzfXzRoy0o+THBUTjnmx1AbPt5
Jse3zdTFeP7wfuNIRtqVdDwnbl3TwDc6W5qpuOduYIfXH3Flqbf4L2j6LaGJmvmswAyQeh/TzCeV
e5vb22K+ctC0DhU0rM+JgBze/ziXkph9ef3VrxwhW4mLLgQBI4EMxZ44UDQQdTdV/kMy9feqeev7
b9w2a3vRh6NMzp0p78C9k6dNUd0CeF2b+o0xj8U654bm/mwCUmSgWe+zpVC3WiKvWdnGhvMpzpeY
2uGsmMv3nfY6g/L2euDLzRrOlQ/YgrrKSNKZTG44h8Gjy/+Jbt3HXRt346FHHVax0iY6Fwn9l0ip
99Uc3WLTuTb4xaj/sKm5iupZ1Tnmhcp9osd3VfgmOXLOt7AtBmZX1zmCoVWQupndFeqNZ+YWowVp
TGnzeu7P3Vo+cD99RlcwxCvjW9dx12bl8vufs9LbWAkX9+dkDWnzjiaWuTPXk5Ef32SsW3CWtdBt
mkfdn6WR50APXyd0IApBvprgVhfJlR3PNsZajI6SvCb2jK7vp2nUVRo08n5U6BF8/RuuTdLGYIe+
qZp2pvY8j61NCevndKD121wW29grcTpop6Xrz4NJfNoM03cX8ltZ+JWjcgvWMnmVoA9swuCDXY4B
gQjHwgZ36hPZZUtY9TfO+ytLsEVsxYH0rAhje46NbXy2As8wZ5Nm5FdYQpZz9/o6XPG/W+SW4oQl
Xdi5cxcAg045cjb2pbX2fi7YA2e31BKvPWbjfQuUKEtqeHiGWM1O2u5bM/UnA5YQZD7FTgAn8Prn
XJu0y+9/2F6DNHQYpmo+0yLZFaNPbdvhMv8Wsv7a8BvTHgSaFkcIwZ0ROoKZeHEsC6n2qQqa8sYX
XNtemxBboD3MDbmxZxPZh0t+eImuI+kP2GOf3jZJG+OWTcMhG6DmswveS/I/6sZUjrcIlK9Y9hbK
NYFeq27lMJ/rKjGZFUWX0uhteiT8f01vf6yvcFxTrXFsUBrkRcqG0H8aeDXcODiurO8WsJVLM0qQ
MNuzLbrP6P37FY/gl6b+1k3NlbnZwrbadmFuHHJ2rmne7PImVLjguDn6lRLMVp0AFDm+rPuYnwvX
fGw8KHjQN85FCXXP+C4Y4Ud5e359CyWwp7/kHVvwFmQClmBZGDtXBPlfS4+gCMkAQf8+SH3sEvch
L/XnDvb9tsdd1uuPZZ9yyG1YH/Iz8oLzhX8p4vYxGocnUqL/5/Jl1B2GN7aJ8C2oywYsGVefG0QI
Bt+norL7sA7C3CoH/N3G2fZWWoqigI1EzTkn3Wceu7tLVePyOT0aIt7kYMHv9d8ps6wwEkji5izr
cUopj9tdeFvM75qhbE6pEY3dZqbMnMc6+j11yW/WBjot4/qWl732gM3rh0PPre4pTtq1xkkbr8cR
5Ohwh7fm54pHIpsAZKRgfTGksueRjl8JDU/V2h6RIBapRn99VCQ3rp6uPWcTiwRRb7i3mKluXY68
iPatH35GjTiJ/6Eqbz3m7ycL2yLXCqg0RYxZc24AjUlHR0xWLeutM/3vq8G22DWIWCGR1VOHkwVs
5fOQ63SudXlYaa+Or5v4tQ+4zN8fJh76ANLN02TOVd3/9Hocd8p3+Q1juGJwW/TaIgX3HbTez6VE
rQfeKJmmFxQVvzZgG3rb+2+OqLxZRjqJrjsHyVqfCtr2D6Qtb/X8XJudy+9/zE7eiHxcOXdn5sQ/
YhjL+oNbu6V+//rL/32Tsi3zVs7LLjal0+cO7NeXkN/Z+iAbzFNsHkN+s2/t2jpsrFqCdBVMZet4
JkmyzmlTrhT3cygjp7Wq4o9Dk6iPr3/RtQnbmPdAkfaGqlvPfulFSpcmzvoF1PSvj37NHjZGvYg8
gEqn7s4SoP6slCv5BIrAMO3Lsvv5pkdsIW5V2w8i0ZU+U15BpG6G7EeO6nEatze74q6sxpZ8S6yt
77no9bmf1mdIUv683NdEiThccr23fcXGqiHNAVXWJWjPEyLaqrMnaCo8ukjc8qRXFmKLdquidQp1
lbdnvrZlBhzHlAIOb/YQOV3fVPNmW82JwgdmGhlmCZyr70c7FAcEh49lWA+7oW0+vz5P15ZiY9+l
k2RgsdFnwvLyYU4K8xGRR76vCzHtmGPQnH39QdcmbGMXYdNOK7QOyjOOq2fwptwrsX5R7FZ8fm34
jWFABykZhj4sz9SU/Auq92WWJEvwCwjcW/SfVx6xxZepOKiggcPUWUT8YaKQYkdEnQZv1WRnW4zZ
VBcgYO1WdZ4JP+nE/6jq+dPrs//3CJ1tyckgwNt4EFaRvZNhOi0f1PzY14+lv0cWgC44u7/xmPB/
F1f/P0BnW7iZUL1cRxv4valnZqudJlXJXoBA99Ww060Pi3iHaI3wNtOCJz1LwXKjwhnXFK2JWIri
A0GLj7VdWECtE4wRo82KQAZq2c8274ol7aBbD8atNgScaQc8PivOUjQ9lrwdFkl/LgsO+98EeMCg
eIb0swnGXWmGWX6VZmjt96Urp06li1mb/BcDrfFwsuM0F1OqOGpmJ8LnuJzSGBxoUG0tp36YSSrE
QvdjB27cyUrR4kUtGcpPLHDa9ikPuFA6rV04M5LObsmLEAx2UZIjaolpjDpW1arQvx/LItA8FaPX
8SNo+pfxM3cUnLE1BcPSFJDyd9Wu3TRndRQ3HNjO1gT0iAaBcNX3teSrPkfxZNd1X62Vbn6taiHW
7hiL5rl/QrznWIBO3DLomz0g3AsB75lthXm/BLwde5DK46xiGZ07VtQp7uWF+j2DdsDtK9zk1etR
BmsZfZ0AIfHig1cNLhayeO710u/bHslXv+PjWPZPZm50gDybVGB0yVTf+/HLMjaLBA2WbivyojiX
wTdQEg5ANQ5hHkZzBoWDDveFeRXUY3vnBuXEv0PVkiJIOw8RwC4NTVxER1opHEwp6ZdokcegGahf
03jlefur6gR0aNN6posMdj2UQUL1gnbngj5ELMrvknhOqpQ5O+epYOUUnQe1dvKOlk1V/etpXCU/
EgIa/vaAiA93x2lva9/ybAKVNvBTXnj/nYREwwZV1yXDQ2jGEiX9uGS5bNKlQWnHnuqmWsV4WIKm
AKv30K7goU0TGpUo50LeRixPicpNWR+guWBpnw55ANFUALyTBf8ODQftN4CSiO2zgKhQ/IpIWE7F
vhDgrXsKaM2a5oGIWogfQVCMtDoE0+jF96lrTB2mXAEJfQ77IRw/2qYM1gfTzrK8HyRY2kFqOeXc
/u6N46bOFHA1K02noMUSyjjw/lmIKW7rvW7Rv9emrpeFHXcx1CbXl4SHihcpKHzC+adhSaOKRyMg
JvuuNVNMlh3NSTlUme4HvjQp1X2ODoGC5oLPezgSGdPHwAoIDBx03MXrY2n6hk3pnORlV96RStv4
a91MiY8PglBtsP55Ke5i5fRIdqCqVeAvgIZM/C1wXvnwIWd5WEc7j8JzgIUN88g8Q6dL83tANMnw
JAcT+CM4ervxwXtf5z20O6AB9GgDKLd9bFQu6BeiyApZsWTAFkN3A8M9GelqNZ+aBrSpFTzq6uln
sE+S6WvUiwCyuS0bNLRfxML7n1qNbiSpG5Ipf+ryhCF9MzOsEvSOPZ3AJqmNsu9rFaimyKDtYYol
05ov0MOBkF7c7nWyWPU7Zgh7dKqtGRgafdAT636AaqtWj2z2eT7tbDms68nIxBTfOx3a5awi2oy7
vgStZHXg/drHz9Gs3fhpQoIanyIpcPO0m9XaD59ypuQjZf0YPrmmClv3nEexx015MlbrXKZNL8v6
JQLNhXoRkoPOOgNZKLopexyGFU/ncKGVztYJ4xwhjb3m06/FFoaTfTlakG2llgfD9CAcrhqKNA5z
o39jXYj9VFZQjPwcT7WPd1qF0OzmkJEtdssMzufMTdTWjxVgAidX4MAK02V0pWizrimH8oNKino4
sFXTBhcjIenRyluNS/urC8E6YHf1NCld3UdiSZJncML2oHTUZVMg2dRdqYYcCuSjmX4FJAzUZy8C
q/8tiSvsh07G4VpcaESn7sRrYad/oPQmhy9WsrL618bNEn/3A3Uj2yM+IRTXSXkPKvSmYHTJEttq
8sU0C0FTbhIqnMu0y+f27HgSkA436kLmNgX/wti9D6GLUD+hUKjWDyQeeKuygELr5d+iHEtz1gJT
N+xMCNKBcyu7aCT7mA88zroxb8owZTPRM/T9JmuoTl3NwCRJtaLm1A9JnuSpWr2Rv3U89gzbc/LT
8Fwmq6mPNW4d4Bhbz8vqqfVIdLJ2QSMM+kvNqOMXKbtkemg4xN++etDAdF+trRZ1v/Cmnmja5w6y
KofcWT6/n2i+zOu9zRPUPFBlLgH6ZCQqc74rWRPjsryNTU+O8Yw8p02TUq8WEwHGEVmnJadCm3QC
NLybjmjkdzw+KEvkGn9eCFg8DJRFkSNVjxcJ7pk9lAB4Q1hPeoIetQJSw/ZyIoLztZqPtjRR2KaB
m9zyDx0KHj8BxkDjZQecv4vu9WiFuyh1RBepEQgu2GNR9T14YRB09OR3uRQNKhEVCzxLh3Vaf8xx
6+n9QPIQp7SrqiJWR0ADSf7RDqx3SwrikYS3qTRu7I5Dq8t+502Ye7DJA42cGRF0pThViW4Ey0pU
cAqatpI2gCWAs8fNoIVf2mNDozDaF4BMmnC/4twLsxLw07Shs6lE2hPEvitYxPUKpgABbvzD6qRa
vidtp3im6wiEZSeTTAHsRK5rh6sE7dpF38+eEHfujeGQs/QtEG/lAXeruO1LO16HvUwhnuFmCyG/
AFCik0Mm13QIa2YzPs5qtmJNTRFPEz9g+Rb3XikUJX4qaQsRw6n4JjyNQRwXu6gWQ49e6Khy7VFE
uTY/sVw2NPtek7VNSRnUlByKkqzf4pz5Hwx0E6C+Ugudvd21PJKMHXBkrJXMdAQXd+YtoV17VMFU
yWNeUts+5qYp1HPhRd0RXITOCxoInMO0PVYlCHWxE3hTmN0aczjXeHGFx41dEFSYD9It3dfQ8Fml
U+J6cgf1KXmCJHaYgAIgrkKPINIZPTUQuSumFlHJnMNNZXPlfVTcgw1u5gpIJevok4YTkMeqWkSy
Q/Q4Y6/Dj7j8Pa26OXyuE0Sc9S6Z4Xp/JeB0KT8UTU7VkqownoZ1D52bL9PMSvmCPanWb3yFwleU
JaaKIGYyFnmlwP4Su2VVWT1K3b1bKQ31jyiydorSLgzA2pNGhV+QY/vJ0PHdXJDh5EH+NYQQPiHC
B1nDApwjQC8MIzhZ80JUTAM3EZHiH98nwn5sVV2Fd1OzMjvcswpa9ctBj3DkIAWvoir4CR24C6d5
EdZLPqVJYqv8XQC+fP3PRRbZDKmFzGvnd0yQBUFiUgbArEMgEruNDI5Tj1gBtidREXCteKfHNRh/
RxARVIh2vXcgtUH81Kp/21XpQT/plZJhTiFhGK/zYxPNBd8b6GkO4Q7om26ejiIsBKnSNh9iH6Sj
lBMR9zNkKfQTMEVDcGZalc2XpZppPaR6LalEy/NSOx3fS5yus30EBaRSHwLbrA+KDLExKZSwS3b2
bo3bx2KEAA5A/XlleH3P4mnk7ZGowpfmpIrEmJ99yJA+7sABQ9slTWIduf7U44/aZ73GynR3TQXg
5HrX5XJkfg9/q4w8NqV2zuwRrwzGI7x3oq+PwgW08ed4kT1L9gl3YQ3MyRKO+oTrYKPWTBc0Ue4A
sNmPYK1IhghUV/NuSLTwH2I9VuEIkZg8KZtswXkeuB3lJTIS1BfGcCmz9RLulLtqzckwpGOcCFUf
1jqeiuJQuxLpTjrqac0bxDlegtuLIIBRv1fRmwGbEOdI8gWHkW0/M/TXlOSurWs++f1F+gzn6Dg1
4QpeYRXla38f9wXyr/saUbihBycGHplDp4LR+g8V4XwNUa1rNNoU8T0ePkxzxIHVRYNxiB90HVCv
sCpgX34f6WkQX1ZqDJaTRHDEqipYsyAPS4w4LKibgRsdaojt+msYp6j8oaQrVJxKUJFyGDOdTGwz
0oHj7ZdhfcM/xGpFoLaLvQrEZ1pMVfO+cmpono0iBf/qjKnbcz24nJFDUk9QHM3KtRdxnTUeF5Ey
bThpQAPTxBMQTbjLwS13tBvzsm7EziPCRfyic49GHSl8N0IKeQ788NTImTYcKK5Oth9AIIGYA01J
PvTdjs2VLfQeZKQOudGCoChgu6apXXzMxRB1U9rkJFqTzGm3yK8eJ8P6rUG46L54ovOlQJM2Io5P
FbRGa7/nM2y9BBH9VHTjy+IXV0PAulnDfzlxYdlBCD4iHZiNW2ql2nsIhmiw9o0sN+F7zrGLphTS
wWqp006yAaQccu6S2mSyLLr5dyhLJB93azQz+NkuEYREKb5dgzcKauaionBSzBW/7JgP9AMdLwS9
aY0zeRc2Hf5LW7EiR9+Xrmfb7xIXJbNOoea7iGJfd2C9/zWt5YRzXPYWgiV0FGXe/2LQjy8pskSt
F5LpGRJA9rSUdRnqdEQRwCZPChdhw8mE2GkCqCpZ0o+ELu1A8KmRvLQ8qrpsfwetLZjM8t4vjcj6
mqBlJM1518cfK7iOymRGYZNcygnQOTmCswTbqlLw4d/I1Hfs/UqRm5w4Qknw/UeJb8YnHeqePbl+
racx1UUfVe+UWhayWwT0JxC7i0aYh2SOXGfSYi1ReT30AefVLxsN2ImpRMF/ea4sOjMRxRUhDb5P
POzih2gpetccxykP1y+Ik4uiT1uDwMWmF7LP4QsLrXEO0rJFDFhKY+Wl+bojtAq+x20g3fccoosd
ewKasA6eghDRXo+0dCZWl2k7c14IMK9Mn1zpaPTSRqaafGqq1awfsDsnnO9VCSycSeMqpk4+GKYT
xH1atm0QpFM/yX/yoNZIADhqJkvWE0O8yBhKOhCDHxMwdi6pTVSg56OJV4ckKijqIFoOrUKr00MT
jY0d9tpZF+BE6JF9i6wwSehtSpRvO3kgtFzyXwmhF63nblxpO9zPbTID2bbIxiJrtLZmcMywnUF9
qZ3vnNmZJbLBMdFBMbwAP7AKlhpktS4VfJyeFbbdCtl1jmtnklZxThOX4p2n4GM9Q2L6MyRugksF
W9mhf/YoTvVPIAGJ3LfLRaVpU2UR3H1pGdSR4x3ix06eIZl56U6FpAkSurSirkAWVfDOLl9ipHf5
OzlqAusCET8AVwL5KPjwZmPl+DgWgSmOUZC3iCSHyuXlnShwo/jcrJDMXHaKoMLRZBxNtgrR41i0
9dMYQgVmyPKF18ujpiNjn1hLh+XYrCWUDjO5MjG8hEqt+TPQniZRO1Ac94A4NIRhnHSlcjT2S1co
xCMZXcbS82Pco74BD0pmsC4hP/bdeUI+kfencURaBiPOwQCVOjGv3WmVw7QIZPJg4BtAsVPniFEj
AEAkQq8V7HgHJEQIyVNnyGIJjgEWka+d4MhYkRJoniMnQ4qUh1mbG1FwlNsR5L0MERpPx4zkiGN/
UmISK3YVAucATZxByC7EvzhqepdWBfrTB7wUSm0QIkp6uoag1xws+wxT7FH1kPmI6kVq0bhuZdYj
hMX1wVx2xXOHsKEUmQCWMQJdiS4DdAFYRJz1rwXH+XrqtK2rZ4VQefm2+MaLFAvnQoSIYOizh9gx
Qd/HUFyelj0a/LX6WoLbt4ufSZKDbntvAoMM/NjTNimXU0BwbcT2Yy9GAY3GUpVyPoaOuwXVlIgM
bZc6OA6p71sag3gJ/1x9QkQNH5VZCEnbeD/NoGyjx4iFVFR3sANQgGAanZvH3Tw76m2mCmrGOkMo
6caPaMipiP6M7hxwa6SNQEnU3leGzbS4C9DcMfcvY1HI9+OsI/ksJejbu4wHCvHETg4E/YddP+az
PEM9bNY+K1Gp2peyiF2O6wtVufvBA1O5n/hSN1lvO2BygXqpQCIpCqxLmyK/MrjICqsh+BZDBPkQ
y+FlYtCbyypeN/x3UNaTG9KyVwgj08h4wfW9Vz2yYhz2YwfNb2hulD+sBmX3SWIT5RdxiSKEodWD
t6hOwvdUa33oKK3pt6lHaIPHLxUoXNOYFTR4mXyhvMQ98zhAtQ+IjIof4AJ1bu4cCSaff8xFNXcf
56EZ61+41gtsiTq9Hcd/67FmeBH0YzaomQkyPEQCDjDZ46IIsMZ929VsfmJwwLCuJBnH0KUErq1Z
9jlU9Xhx6CTvqjVLIKdU/ABRq4gxHd0qy/4eL4zDNJtEAZUrkOQ3di/CSrOXaUkAIoFIqUBdi6NA
A+OzsY9+kiQUOKc0DXT4CdHtBHHsDuWA/hBfuDdwYWXX7mig2crXPW+UFUvWIA9CBsVGhDAtkgv7
DMVN0IinBhlncSiLCjdcGRYnbL4KSebkTFBDLH+x1nfL2QZjC4UKCKNR9S4Et6/8bHSeFL9tjcYH
wGkaN3mwfQR2ST4k4O32X7BZ9YLqfczjdyhArd3j7Kr5R+3hz3Pk3H5N9otz2IuIz6qEvCsQqJC7
gkeL/9HUAm6INZLmu6SqE5zjubKV3eWLCntktsx6FMtQOmkABxvKeP5SCCQ6PMPazqizzQub95c2
YILsLdYNaLjQbb70/7q+lPJok7KUP8iK2tgn0C5XDvUagvNqOuUsgkJRFvlqjE8IAOhLq8ci2g1U
DPBgPULhdFW0xMSi+BiAKtGRKAs0csrHvO1ne8KedQe+0hLTUsSygJbSIue0GPu+fCiQeQz3uFe4
yM4xCjU+fHDrs0r7odonSbB+zXNdf1eVx0LV0GAOHmoLqhP4exYMBJ3GIBpF8b0fsm6Qvrlfwj56
npBCPvCwrN+J0SClCHOnT0UbRigNiX78Lqc5/pSvLfuCFF3+EgQU7ruEeP9/HJ3XcpzKFoafiCoy
zS0wUaMZyQqWdUNt2RKpCU2Tn/58cy53bZcsz0D3Wn889hIvAViLwVXVWs3BJ9avjheO+uEwkj9l
8onmAGPcLi917ak1TlVvf/beOj3X3jheOjMVGrKXlhHQoMXpY6iocU8Fz7jPnbq7btSaOLu59OZv
cG83fKHhy/N/OQRNsksDWJU7m/bAaddkHUQPiHH33xDa/Sl0VocROK3ApGg0DL2onNrmqzcNb/iL
yP/ONfYgvXtg5a5LKl4WkIhwVu2h2YywP2xrbm1nMRBNjnewddyjTc6iisKRbsQzrx2RRsgsSjtJ
B9V8SFr6skOL9R3cwW/dqOzDoE9s8LG//WKuZ8f11yWiNcBRSTOP6hZabR/cvTEUXZIz8tUYA/4r
c9NuGWfcIcFurNzig/5WgeU1yOY8Giwl6qsyR5KUHZ1VT0QE6IlKBq9yHsO+815MMje3iFJR2RzX
NXMeARXtr9ISHHlMQuHZ0bzAEb5aWyvWpc0LaP+WTXPsl35UO15E30qou/auI6yVf/Wmihwxr5Ye
KenQMS9ds5ZF5Ax22UQOatazUQ5lGNmSCZCxY2nfxqXm61xkVYdxUyyldwqyKi1j2ZnNEGE6y1Rs
jWNGvKqdjT/u1o79DUhdddA52v7NOrK69GGtWiZCbutvqwuGLdkA57xkYKep4jHoVX7xrXBxDoPD
/H0IPbJOgWcCTKRUY4yLG7EX5+gNzW0hQ29ac++hWLBDR5YwrRemXO4zslgzBs282Oyjewc9dg2b
/FV7gNuJQtPnxFvXOGNEyGC5HRe6br04tWe+e4h4VLyZF+j/qmEFWsmKyZZ7CENPn6bRXn+cSYbl
eSqx0R57mI6C2uWyXB4z4/5RAV70VWIHjXt0CVqv4iCYghvlDOWvasnqcW/XJU9tkJksjKr0u+U0
GZPlgtO6E26PZjWWhEOAPxO2lWy/dbDmr8L1tSLEdO6dPf5yWt5Cpyi8fTl7yxorgwKys1BLf3E1
D8oxZ8JRz7QneFcpcuHv5y0In+uxz2FB/JopPyzGP1aJIj721Fw8dO6WAzTO3PznbRn9+yXu6W43
cGOHMcFrYxOnmwlBIashsEgqW7cptukScLihMay8E3admywR7ewBvUmlgDAgAZ5poODx79vSvube
lJ3WBRYjUWGVQ5+4BsXhDU1ghAsLbe3cSi0FHx63HAyP67xaU+q8Zl3eTpc5H9zlJCA21YF25eUV
hXRzo+PB858yZ+bV7hA4lLuBZZC/XLmiOnRylATPbP52S6Xk383MpF/teZF51HdM9r/HOrS+86Dz
v5bCz1NuuzG3y9sgCkLyAT4KMy6Y863Yxffmxo2y+/nBqpqhOANozumfsYd4iLYunapXDd77I8cp
6BKCSb3x7Ji9y9U0+F5XAhwSTnMdS1vyys+b6b56bu7LuLUmc3ifjWDm0uyQolXnsgtWtABu3lkx
QrghT4Yhy2VkB1UlE/6V5vrdwRRsD4witnrSkHErR5M2PIoAaXc56jGr/4NZ8PiwmJmsk8mfcaOu
6tf14i9OAKTPnQ0Pxq9mxmGm0vRlZdpbKSwEPIt6J9dcVpPrXSlKNlP28PvBz+3o1UdZu8t4yujB
7ZL0fnjttBblZ7eJ6k/BlNf/qzoaOo4wluZtWxS/lt2SLBhtSji3rU3T/tH0M2Ikexfn9tLm4611
l+kDe2nDAh0aLQP5tDjuwRdm/l3rKgBhhxMuo006UKkZiuYY+mk6swEaYaQ1O0UsTEefiTAomj3R
AurfYNluRy6v7W/NQfWWtzD+pZN1Hgif+CfRCT1bzEJuZCpSr/daNDRR24h9ThmrePO3VbQ+sFR7
9gOeNf1r1WCYe7/dQv9Y1UVofrnjZPcfblZYco+2TTCaKOk8VsswUHfGtQOnXA1K7gj85PIzh4r7
mlENIYyt/OWvXzYsKVRHO2xHQ2/U/6oGMvUf+euO3lV1s8YWkbrPFRUXTmQUddv8mi2I5gMkll8+
pkRcTgcjc7r8uIx96h+VP4dObG/mGsQSt+DNhP9SRztHNbBvNz65x7W0g/ZYO+PmnvpU8yP7AM9+
MqCtMC+OMdF16y+ZUe30GMg6GTO72i5pxbBSRKz0RbmrPJD+A1OIX8SZ7XUNv1ujn0Q1V38ttjZx
XpdUO3HRInNh1l/z5bFeBAgqUgWfA5KtOrxphm/5OtWiwIYQhHlZz4di3cawj13bw1A+Ik5TX7YV
hN0BENnaPtulZC3Ra9itUdcLfSm4fTLi/Pr0s3DD7mYCM/QPwAlcElPbW2pnEWpXskWqEItOWRgW
PmKLXPh1YUZTTcVpLNKm/RkKux3Cw0heWv8hRF7p7mMdXbuUt4XySHu+DNI0u3Lct3oDGP63bE2T
c74ojKRnaZh6ncnEaetgiRTea+oHUewZxXKDZm+sa+FZWClHha7onxwh9x9ZryvGeCFAtf3V2NpY
VKwu3b3R3chviECMEMcM0FlcVg3ruWCWDhLmGGknw3LXxrPrZu+dnfZLMssQ8M4PU5eLPLNyUGBI
1OaBiqEpAzGpDDexFanxRyKNw6fCtrfgkE6bvto88/nOW7oV2DIzDTceIUZAF8eyGaOtzYt1RzIj
BKuefD0eLRlU7VODMB4dgxO27yz5yy3YLPWPG8D9MMNBbs9157OVy2HoEME2qwPPHkiYsoqA+SFS
g+OS71S1i/UC/FeORzMExDytSFmM2Bsc6fI+Z3aWZHNQntv78PyQb4ODbzfwuheGqzTd1XYf1B/j
IAZuTZH6L56Y7CfdGtLZyTYI7CmauiKk4cxyOp+rlib1S6kma+HgyrV5Gxu7ql/0VrSnVbSyvtU6
6ItzqFJAjtmr0/mIRJIgZY0bYXJiNAjjtLNEb+vINmheiBhj7C3pyvurQDNDIxOmUckUFfhOuSt9
P5OPQyECqJjJ5NbrsoLCMPhHu400kHV16vDtE+XO91Tu3IGMx6R3pVXtsgYNxdF3JmacjSj5FxBL
8bOWMrxUkym3qF0g0Z/KKvB/+1TUVe8CSuq7dLvycepyWF/Fq2s+GlZg8xZCJnLvydTWrxv8gkCS
tDrbpanvla5BunT6QMFJPgImFLP4kF3vbp9NkHpZHvNsZ00Qz7bONlz5Q3armxnIeIc0qG5usJxl
loRBZwQn2xxG+c3SOIW31SQRP3bngYPNKgx3fGmBAuT7EAShsW9wXAT7YS0A4JasCN8bsw67xywM
l8+8N6Ztrw0/W9661ZqrryqspQkcrQIDRVc1B8LSsVnb4v0eEtAjK7It6z9/Lpsbg948HACncvFE
DxAm46TeUsoy4iwkrve2TL7pXyp3pM07WuZ8do7zUsr2xPYyNLvNDfJirytH2QQ1OLNzWCbNx23A
v+QHCm6Y8+xZ+07U0TFIrpfdWObOnc0+SyTg9dtIr3NwKmrXyRI/tKcPX03BX44hm1m2F8aw0z2/
XGwa3XBCSkDtFwmZO81qmu5YOLrwZCxNah3ybnao/5xGUSJfy0Ep1FV3wbgl0g768SJUCmQc9Qxc
xaVBoVDuut7I+p03m9nwNANUZ//V7IjGzUiLO0DYgji9qEUtD4Y9d9cibJb/sIKZyAbmGS3zhAZo
AIjeJue8Ouk2nKQct+CRK4r/C0/Og7Qx/D26y1rfqi7YqKyq0/4ZtVd4tqHEReKUpuXEbpOW6xNd
TO3bxqdSxHOX5UnnaBBjg5Huy2E+Plobsqn/Cp7K9riwPMtdFwT9f7WY3deZgIkLktXwJ7Sy4XVA
WfTchSJ8qWVNs+fm9uYHpVNMWPNcbf9Y5OATWODyp5l0nieXrfsnlWWTgXrX3ftaFKH4LlmwnYNq
vMCKIRLZuQGYs39zs4I4jt1WXOgRDOY7bN5cNxjnfyhYmc9SlC8JOcksE1Ou1pNgjthnCrXCkQi5
DYpi0X5rOvuZQkB1C0qhJwfENwyCoyjIsrCgZZcYKke1HCwbVJXJkMVytcqKngtLvw/CXX9nIe/b
XSubJYOcIAW6ctAHOk7L6pBNap6T0F2qZ7HSSsQ5ajxMflr+lRiYTu6wAKgOc2amaG/h8VZnmU6d
yQCWSFOXznlodT+dszGgNnrZquE/vyDga+za+Q1s2t0NltO6QMrjaP4eCw5M+ryCv8Pk9tY+xZHR
x9XmMEczEXrb0XSdxowt8MIwcc0uKy8ZUnWYjynj6odZcd/ZrO64r6uHfpeGTubHPHECcUu+0Kre
MsigdDCsq1cU/bTLmPh0jESw9faEF47luZ6G4pLrRs57QHczAeubXNikfluTrbOzdVehQcqg6/3N
OwJPte8dUwlA9jzWZpQiSCGWZmz6SzffBz/gRWRmUrAZETeC01VI36yYwXvf2w1pkD/pcMqmmF8s
NyPTxNjkdnP2jxYzKAOGaDpTW7+x52R1F+kkhr8VL7DX5c3uRJNfoY2VPvSFctI9uqeyflyCbmyP
IwWi+2yzUjB8xQAjwiF/7QMePDsN12s9h3ZOQPkSHO3ORJKdkSD+LNEOntO2tF4RudjzLtcGtIHZ
oQkta93XsYO6roocPcpLWJMGiKIsy8ojQGdmntzAn+tYaiXeOBkDmPetZPgEf6IpBGbxP75mgGsS
D/1Pkz6hltMs4KFrjKaP1jtUmThqXuYYRiC04rpovMfBtIMIt/xy5CsF6JoZ3MsZtGAysoClgZ3f
jeqt6I07NRrM7LNsi6QyOAzr0NWHESUI95YyGivJNmeuXu1Fyn9N0OfP+LRJlmnAuGO1hPx726os
oXOMPhn6cn5jQ2j6OC02SFCjKqsfRmItTrTD09/e9XZ5WMI6+C5MIeSR5hpNClyTjpGdG1onaZ26
3i6Ulu4imxuTod9Oy0erhmtLqALPTjp1OVhNwSl0rtLZEWdwQQ+FUV39NfxQaTgokxMGYNMYorQq
tsc6DyYdrWTmTQmIId8OkrrwIjxKhqCh1p2Xl8zGOT32tAaHurtWWQCjFhTj75HMwwSa3vi1pIH5
us5+dS7yJnx3LSAlpmp33QVsSnM8r73zq6gq5sOusaAs2tUX15Fux69CTlb11+4M1xwiPa2diOFb
BLfEYmnjnKaqtT4bPrj1KAMWTJJjZ+SNfl0UY7xy804H0Ba2Le10XcH5zmGYcJBZ4yUzamQ0XiH6
/yxdAQOyxjqxahUcXjEKXz5MTRjAzDZB+4lC1Dl50II5t2TNQ2C3vAcaMYmTzOgrHurS61DS1F5x
AW3v/o5eax1Sown+oDsuDKDWLq/3q+XBW/lCpiKZRpChAzrj6qPPEBTFldlVbz0gQo5UEAI60l3d
uC8gz95D5wUFdaAGb0sEF88/okEMue0L4jSGk5mxL7L0Bc72wxHXlb+oTTJpnUlFOV9glOr+MFl3
7a7fjPkBpfRYnNK119OjNvLMOYbawpmJenD+dpj3z6tahk9R6fV3rhZ8LTzx1Na44VT9NMU4+5HR
F+OLXu022OdTicpt1Ub2LKtAEdkYetpOSD8YHTTLctZAs3Jskw70a0QuPsun0PPvqV3AkDvSErUV
BSPnRQo6/BXyGVWJXLeZnIQajZQly/oqJl2/jIiiP5ypHIsoK8j6ilNwrX4/khJKV+ayhdSBWK3z
I6jWZIru/fUv8uHxd2Eu5V8biaJCLtWwD3RZOp3rtJyafUeV63IGvrhrhQqv2a4IK5zYCjwVHDMs
2M/ubPjIDH0bNLkbzZlP0hofJhE2v3tHow6NnNUcpr85r8e6D1rDD453ScQDAR5TTKFb/WLcC5mg
ILNaJ8Hid/FcztV5dNLwhfvTfk7bwH7oWsv442jD2Lku7PvcFPDh7v2XhmQmZdOd2DaKYrH3himZ
oZEj5YcsLLk8jSI/QG8EDOhLXrq7pkSZ4CtFymgabs3XMFTgdUY4uhM8izt8Omja3EO3LAOrkKz9
3WQEJNpt28/mzRa0ZuOGwekOZUnKH6VxYjNGhz/2M1ckfJ19RXbvf4aW0QX7HgbgZTIW+5NnwL15
psrftY0IGjmBBoRkrkUpxFk8/NaW2X/Yg7k2iYTkT4ZAAr04OvSeVijU3RRaqG5Iu0Pi7+tcGiCA
lfXZ5mU/XruUhRGcJthwq9jbjH6avxo013e+qq1bX7aAA5ZDlW9y9azpw1hdeQAsX6Aq7fXibVn3
UHrefUmo3fa/dhny74o4iM9+AGCMLD+Hm12Lth9jqQzLiHIo132O8OZtmbqx39um3a3HQRvuHzIX
q8hH6hUPDIoEnHNj78G2iyapVWmR1FyNnsXnhmMgHuts+LIXd6q4eNa0j0e73p5Zk/oHDfL74K33
gx8HKrJtbHB1KtokkwPg96SU/lWtVvGAgqcXsaGVbHc4uhkKfZQCT5MNsdl43RAVyMXyGPGnEalO
Zzs+5QLBbz/0PKFt6/6YTueRN66ZZoaKBL2j1dhOv7MRJlTR7C7eh7fk/vdM4MertpfxT99vxfUu
3Zij2mnUfgYjW+Aebes/aQ0bO9UaPrUy6OLU2ji6VOUdkb178SL7lOliZPCT5eqcvTLU7xzMmxOp
NkgPGXjECcZ+hthFJbWitC4sEmsRqCSpgdI0IXmSwAnBWfutkYpx9g8Kjda91Dk8NO6dF0CthRjB
zZv2y51Mf3wM0AVfsaKknPOG33+TLFI0X8hPdB/R3biUccrf9rimlHcasjT2YyWsRAm/fhzzug0P
c+4DMBStdl/DogbFTHEH4EVADLPrrZr8/ZLhgbDjip++IFAfom6tmB06pxsvaKBVE3lbTuiyVWfF
GlfcefDqQTG8guiW//kWInh4LMD4ITSb89gpUATOv2tFEOCb0Wwc/UO2ggWWkES7TsrhDb19+5AX
TfoUooF4NRC78eCZXb0f0SzejEbCyRhDeZw7WyNA9v0vFd7x6dRfUB8103IpHJvjbs2r4ShENZIL
3dwrbuaq9o68srPzkI299U25Dk9Vz7nT7HLHBoscPFRVqDEARi2/Wk9qncWJEVbXO5/XTkeV4U3/
XGND9OCrwIyE0Y9/ZpVZdkyFhnywWLK5fya5M1vh7gHXl6PXjszrdI1UVkxkg72bmMT/esFgfIdc
WE48ZmUl4gaEb47xHEHNmapiZpsqhYYlsEb9Vkq38HbGbFNcPfpG9g13kv24NGr+yrHT1Fd2E14p
oSZOhdxnLa2lNX9xn1qHyVHuB/e7W54U/7I3JIDlh0rX6rmVQ2cctFz8LynYZiONRBPdZy3+LnW/
dfuFdpSvYV7lboTZerRas8j3hbEAbC8bWUhJ5i3OqZg5d6KQYyne1rk99qNt3lTrjH0c1Is6aiRp
Eg9qm5mJFEzSJ91k07ldpHgwEa285R62uVHVRY+HcclzyG1pfkwaTUfn0ACt53p8cMy1fUMoI//k
lTc9Sd2BNGKUOiLQ8F5xcZS/bITZNCIgjddJPw7hJbUckR5aqGoVuUttIpcSJp9pjii0Zump0iZG
Hqxt3vcBnsZtWJqTuXCtJK/yMFnov0ahTWvVaM8co4MYy0e4POOr6GdtxyIf7EcOdpEoz1EnTV6w
Fc/LUP20dp79G2ohCWVlKGcrAyyeuSkAGgJ9DFEt7sFojTPgFOIWCHHDJqegUX/6LQMSrCmqCHdb
GGpEyGsK6N3aoS9Oto1kNJoBOV8ZtgeNCiRETbERGy3OWcW0BF82jknmD9u/JUPRAZGOwLyTg/97
snx2Yj64+VGaeXAz0wbxG+wHYIvD9FBF3hi05cFQ6AsfhgBOFHE89KBtLJAipTcMZB44nv+s6lo5
icy79NEcnNk9SpfSZqaGom+W/YBjodqhZZ+9s5ra7XlzHPvZAQ3Za1j/fLc2CuXpypi2xODVJcCp
45gX1oyMFhSQRP91m1Rh/dYMlCm/YQDdYqRlWu7D0B5emVmXi1jZy/HfgV05LFlyXwSOAV7S8Pm6
2zS/eYDRKG2cVg+xTA3ry8UfgnQV25lqp8HhUy94MEeT3QOyxZLZG/dU+F4UNFdmsGGtEeSxV5V3
pRHnrjM8IqACgUS7Pha7iU5QQfVkVohX5Mq5ftpmePKFsKUF6Uuh5o7pL6Alto9Vrfjagmmenuw8
rV9ywMfnoDbbpK7D9hfKNjvujS1rj2z/06NlCu/LrLrJevACd8jf6OM130DGA39Xb4rNejRCzz7R
zW0toCWBaBdmgCzNrbNbDINPIHo+YUucu3laTdw0lrVsUbW2wS+sCdK5eRuXT73r54okbaRUMlK5
Gp/9DJEt8S/lbemX7tGCyn9qU8TQXG65aHcAYU7/jGAhINGzRgIVXiyEdJRD0/VjlTfGXCaocptZ
l8MUeDNuAN3CqOXzlzEtl62VpKO0x0NduVuRFN04VwcUd5Svj5ASNkRqiZyCLUdnscFEV8ZbttXD
HlVZm5g4dwjgt0tl8sZb5qlw/eaZXx+cediQbUd5Y/ILpDbd7oF2xYe34SHDEirh+6c+yAVnspl+
hq3Bolkv21U3hj4bQzh/lX2BpKf30pXoIcQXBUkV/BEExnZQPIvO4TY3l268OSpYR+AQstoOXSh5
J6zAwQ+NnsD/ppEOcsJr8/7Bn8T/xSPDFMZeM/LDEUVMYdI7uPSj3uRJJs96pYGTIysVcHF2gx+P
lbuLHLkWiPLQUrytVS7Bo5kvW9hePr0H32qCv6SbyCNDqrpZxmRAHN3f4oZh1zy6hrlwW/jOuNMd
3ox9lTk4VgOuwvSc5+a8R6EAsWYI+1nPZO8WsIj7Yq14VCyr267ox/oHTtjs1FQQJolszQHkv0cU
i2XIkPtpGbcDwJG9XwHNr74Aa3ZGjhyWUl/dVO7MBozYBM/8Ikd+8FkvQr6S9EISy7aVXn7M+Xpe
vTYQV608CLUa7c5l8cL2NZhLfSXuvUQtl7p8Gw5d4G+GhCSO4DiHJEW3xfzHvQbhgNH06JvCn2KH
6fpSQAr+bgGFngRaWESZDIQnTXXwPYEWVLedVf47oGjt0co8+49TWtl7OCCvYf7ly86ll/9ZeOIv
AAvL58QTYCX2NA0Ld/0dbrF50jNAi8L+Euhdz3Yfgvyhp0Otq8YWhgDQznrXqcAgX7ktob2jeJhl
WrwUkk8p3BR0zmjj/dxBoMPMdqNe8xjC3vvJdVvj/JnK8NJlmXG4Bxn/Ro7BaDbZ4s9qsnFFeQs6
gNcotb4Msm4XTuRp+NRDF57n3PFvwVjUxzZb0htgc3hBFOY91WNYM7K4M1TfavbGvqvd4mXoRX3r
jS49VDRW/gz1XUPSgNztghLovcYJ2SAQwNxmY9IFCPK85a+we56lqslRvszDPWu8hMKp4Wr2Gchn
9cd17UH/0uYAgIRLSB4tn3TKwp9naN1cOGPiDrWHzKCSmdi1+HK+Pch19JttjyEFtwHvebU91eht
r5JtOGZl5dVuHdsj1CL05HdeQI/6fS9PgTCbg/ALxEK6zj6ViQ7uSJp/9sce5J3Ace7D1wxxz1KQ
ExSLIDJ7MDOt/zMK0eLlQtV+80h8PxgVpobEmtaq/M/1y+FUZSn4yMyZH3EZof6LPQd7wF4Cdr1P
9YLXW1S+HTmFlU/7HmdueAYt2KxfliC3mZOmY74EUmJntNvNUYfaleUUZbLOp502RyuEAFOO/FOW
zgyJ7fsB+hJ/Ddu9umvlL6hHxn5XdnWg8Zo4/Zr4GGF/k6doGlf804wFZqhEkLDIDzQ2DdMiXtlW
1x9rWjQcHxdg+KNmo1+O1ECAo/u4y6LS6PESb1VRBMfQyAvcgqHI5VXXHjO/iwm4ibb+LvfMglFM
J8ttS/M4wEmfKxwUuCaVN8F99xvnsiXEv5IWVxUVkAJeVKkyS48jWzHgeOqbCHxKE4lQI9buEcW6
+8+osrC4bkGdhjtr9BzupxBtbWQGyHwSQUXx8lh4pldjdPHnL2oTJD4+LTOMAigg+v10nwfQWc58
vOQ5gF9NTHdOhFHBSoKtFtihp2n+5lKcpgsUgPUerB7LU4nqw2B7TEtK1nX4uojGZBllN8FZsLrv
fhNKqKu5qrpD0xB+pbQ747tfK5YKd+rSnajKBQa1WtwafCM0EZ46wkhf6pxgnXlTONAKts64KKl2
iNcg169MhvlyQOHqHLKVNvRkBZ24cfAUEgNBkFb7osVwjvxtAVHL0MXnsDNlSdKwLvv+oSzbvI6D
bMSnJEJZPkAXQ+k0qJ2DyJyFf5w2dUc7rfvGotAxxK05Oyp2qK74NkRfiVu+hptM1BIMtxWh8dXv
lL0elAbRnBTifI7FJa13dodxDjdujw49I7cWRRM/+hFUkLVws3PWXUIAMeO7hc0kO/U+j7rCmCl6
iNIddTyyYMdRgKpzB/bcMcN/Tsg/j3PoDj9CTB1HC0rd/xQ2KP/Zbrv6u07H9U+Kzr07uKvTrkmj
ZDde+6zBsZTLIAntQD/Ow4wRMk/Zu421dEE+s5LO5iPzCJwjh9wCygSgeWI8bd0vLNThP5wmsHxc
0CGfdNV311HUZUz+cVtEC1cNRy2QhBtrMra9DyQ5Hh0NrV+oVgJ1DHmHU3JVBFA2jlzUn6HNNTy3
ciz3kGE9Kt5T4sxMozi3nCeN9YiCTPbZBZEFMCBfwrh4Dymgdh2LbkOPgOQkPbakcv4KQuWru3il
r8F5mxar9yFIR+dnsqfqTSkbpA6nd/uQbspkKkqzKeDeywfjREd1ILDJDdUnGXrwVmNYlftNWN7Y
MFJXEPJr6ae/l6bWwktsKex9WLvro99P0nxH3eu7/yoNTHJz0qG/QK3XdYJuLvvMFHbkyCDuiOsO
Jem8vBplNXvf5MFNXExsimT2R3VgOAEjacFyj48YjCp0K1/tR1YF84ygsCj2YI0ZDOFi3mU9W9f+
sOkG860ZQkslbZ7qs+nZ3LepsJ1fciXcIJqEqSwOBKc5lBK0VWC8p67BBB+3Z3v9gwX2/r5bgvtT
F1L9u0ujf9WkdeZRAY2NuLh2UYxbC2SllfUh0aphM7ZlLPTcWsfeXZcgsQxkuaDmAvEZztkMsdCA
HW/H5Tc1dqxMt/R2FvSkfG7usu4qNkrkvw8rObn/IQiXbVIhmhZXnJlCJi1+yBx3TTXmv0IUzjhZ
SDIIo1y4SOwoqPL8Hb6bxsWCjyM6CpGzXLhKusdwWu163xa4FSPSMfjyQl1l7zMJL7iTCp6CDgz9
Ms+MSDC02ImOdWlYxa+C3sjyFcu+pa4VeDCqF/7jGjj9cnF9A7DFyfKqBVJhiI5RvUzXVIza/zuP
khFhahCFqELUIcx36QM5IBU48/dvLCihQMRKdkZ7DvBprhQEV/rbW1oh9h2FsuqQc/9CNSI90Q9t
yYsIXcW+TWrCbLFQqnKoiHfE/fk6GJ0tjs7gIYmKtpocjvvlOltLtjOcQXdfzKGArFGNjo212G8d
YMjWwun/UmIw0hdwJLDgNRB+eVFIbf7H0ZktyYkkUfSLMIMAguA196x9Ua0vmEpSQ7BDAAF8/Rzm
qW2mJXUpEyLcr997fCJu4pvpFRvtysakiJ7vUGLo6PdcXvP0lK5tTP/AnLB9HzFlvHheU8rjaHI9
n8ewhWsRiKRhrEv0/yk3NhSITUhet0rlS3xkOqcRAjxco8eOBChz4db4T90QLVf82y1e107rG9GU
WC0gInRnV63eG0d1X325nYOBspToYNcowP90BQJR5ZRE0RLdLjTyLS94kfbfMQady8AVnFzqMcpI
9A6D0zxwdBgMdcYVXf68OEH/nCI5/gUg3qNTdjLo77AGZeg/ksCWPjRD2fzUjNxZ82fMmD/XpDYZ
BDVyTc9l2LgsKq3cCSkQQpucv3jvxyjYQwkmuTEoaBj/MniP9qfUAy//TtSdrj+zGv39CYVzcU+Z
gCOOdTlsHeq4oFdn5l0RQ5UgssYPz643qfLFI96+eodQEpS+VjFjjue80J75mW3APCTgxq9vBHyW
6De90hwMKLQNLibul2JMw3NGoCxYsElvfcneJtXUL3tN+SMeOh6D4FI11k+/ASZ4/X8BQlCYMOfi
4N16mzzyLy5xlfZH8a6Y27ypqoCpESObL0iWAu1eKAOlpy6KqKp2ZWAtOJa0HsunVpLBvaI7htXD
sMyh8lhRgDVXY6r5ajIc0aDaw7W4QjpgnM4MLf6vJKAn7yyWqwjzXjdY/7tlfrd1mNMaBDDYuy4+
zWknk5sp8Ibl1mGMkt05w2CyfyseArHwdVPgf6VEqisMCrjqqrcBXlj+HvW+UB+5McZPdjrhkHwX
aS0h9RcFq3EYhxrZRvZqU45Dc8l9PfY5yl+hQufYWVl6yYvOcuvZfeyVdXs/WEvsI6tXYnDnFHpv
FuU7rDI2O6o4ztPL0kHdUoe5JcW8U/RemLj7pgtOhVet677ts6DlRqxCBRsKZWeJ3/tJZF/Lmkb5
bTxQ5O+mkIq6PZdTxyM+IQmZa16b2YHiW8/J2+bfgpqh6yx9CXKP6cMh6YMabcJ1gyG6EdFIyHvX
YxUY3npsTMOFqT2aemIbJ/hw7YhNI1087PL9IOLqODPAHF4xYEf1c9v1g3+LqyykcU2qpThljlD6
mc9kfSLRFugj8Bi6ipxJ30u4RKHe66ogeNlJ5b8UTm+omr2SIR7+gDi9tAi+9pSEUcHREM7xpZqd
AeNKbzE9F347VB+R5QenXqxdL74y80izs1FwX7DGI5s9yBLN6qH3YTvdC1Ms5cXFo7Q+Wg0tqD94
YdSkR136s71oqRP+6tMcT+0Tzri85TH3tgn3tKxrsgvQW/kfmJZNwJHt9OFSnOsoIFUP1KBifITy
wrCSUzv09FkOoTGKq1DSLh9NjX2JfwyNBC+EYUK0w8WObVzch3FrJUaoqu+j/WSkXu+mOmGtE4qz
y6SVhfcoV4yvcaVGi48KV/fzek4Llf5rV9Kk5IqnJLrv24opUq3x6vFUdbiiltijsibW/0qApI92
wmnw7TOzm59sHeB9aYyz3kcd9nQ2QUa2ASoyu48uw9D1GJM/oaLq/ce6L/zl6lYRSfN5FJrJlz8x
d/Sc2P0tALDgONB+rXYLSlx+1FWn/yVSIkI34ZC+sWFLQIiU/YsDMu23RzXGqZO7uGujseiOdT9x
SS4l1+2+NwsDuLwbsrPfiMA7QhhA2wOBoIuHZIRAfvKagCbPG7L0FERl/soACJt0GLOYh2TbVH7k
Sz1ij7GIKrts7GmeTLcxu7gRxR969vHOJBFwhGX2kHqjso3f0xob6T7OZiyl6zqzL2jM0valC2Oc
ifG86XGyskhmnewrjys2yY6AbMQHsFBcWeTrSQPmE9N5n4Xp674seud350DkOdqgcX6reR31jce8
ZYWgrklykEIDCD857hXrG4yHZWupbVy75OMXRiRBrDcjAvOUZJfD9XwDKkXqF1SKN11Sp3UvJcrU
63Yu3i6m5QpMXSyd0LP65irLlCaSuoHEWhyGgbdLmPu/MSmvHtigmBasQbZtj77eltc16gW/G07l
Af9W+BBpF/kqG1uOvjoLd+U0plc9NOvDXOB63FlMP+DypypJCVrOrml+S/hgbsub4Q7zvQmHaGSq
B33pyAguM2ebcwuWZ0scP27JtHvoWgWQkz6+huGqdEuVWevk2V1Ep4f9uOBwP600K+XMFHZYBpaz
uYV7Un1o7FfSydS/MYxnp1MWzzam/BknfTPEFXG4ArWagWVV/wuzwcdkQMbsLsnm6CteG+eH0ozP
ZOIOKQ9LR0KSSftWN2srKJ2SZKY1WVaIczxgxunPgcQjflP6jtJv7dzFTNkUuWbe/jGzV7LBPBNZ
s6hrZiltsb3hltgFbm4+URsprYOVWveiWXefY0w1i3egW+FWsTAsmoe1aVJRvWBcIaY2uZ2blvtq
dT1VXYqsnsVNiCuQ2HaB0yj77JZ5zO4Tuc1oj4VpYkZQykOEJjuCfTorwNYEhJ/onZslshffJ9jr
P6Mxjev7GrFdCIdNmNTyQBamwrBix744hVGnPLTosSFSG1nt9S9TQUSjXAR1mmXI8dBiJyoOU5NG
+sT5j/esW1xME7hl6edCmzLtw95HuUSQwM4fGKFCgswBBrNd1ELE25GKluOtxtn5jps8Mw/NONv5
FJeqsq+W7viuztPV7CM4R9y10jCOKMTUQXObBdm6KnHVcI7k4JiPNOj4CPDZBj4mZN8PzU3mj+Ql
pqFaKaJ5i7EJFU47f9sZC8lt0oHzOWY8j/UvVVKjHbVOmC6ugRN8Eurgg4vWusRXJz1cflU8uM3X
MOfyzkCdms61Y40+DyNq/SNHj3Hn/Qo5jxwt5oYK13EQy5NH6YpNnlL27zIksN341TY4OCOEjjse
nKZlKJs14hyA4Ru+DMaN/xyFbosXYMmHfUIR/rX2E+gMFUS1d9HdUqxvbt4s634aHBmSjsmcJOZ+
Cprv2abtdEMqZ3FvVtyY78HQ62xvYnSKS0l2WJ3V6vRffjqOn2ihdB595YQ1adW8LU+raKb5DBuv
Jbgzxa997THsG1HY8lPnMb89EIrpPhi/Bv+tCqPp3shpJZfYTVuoUzAYWRK5fFXWwoFBB8QDl23C
XFQEtTqINQ1qoqla6d+ofOJZzlk03G0yFZTAuenxm4P4Xa9kNf0zEV/nH6k779oBObf3ICXIfpsG
A6kRK0IkLiLUzrzAdp37Y9WcAmb2NyZPcWCHZWrrB2KITU3dVBL0iqM64lJl6em6x0lNfTr2BjEF
hVdCwKLf3uA9HIL3qLDEKNEl+XJi4uX2yrstwq+kwU2xixIfExsCFFca1Lz409AXEdlAe0x361BT
2XZzxb/kvs0nwAlN+0AwuXn3nHB5rR3pfedOKP5EIXLcP0fqeLrmdPHEAEmPF/YnsSXlSDMU+Xre
cCz6QLwwxndbejRwS4+H51KALGMQiV33PGdIf8hw8NxWp3rUgByWw+yqwj8LuGO4XVhuhB01dIME
PXng3gtgL13HKkhdcJFCfhDGjrwDY0f57cEBjE8ZgwSx4eY4CHNq/l/Il9MlzFf9b4GH9RwBI7oH
dLr85+TURTt4iNBTpi0Pt8vSACiBGIoEghggmHu1huuL13XOPz9z5nXPXvL4OcX5+CZHkGw7pufp
sU+l+JMxe153/NTb7DSs/LuVoTYdCLcgZa/OL63IDCSELj26hc/F2K6peY5F4j/2hFTAkIG2IRld
MgPW7SCqgxxl/LQpuNhaROC6vDJM0eMZ/6SfIvA4Na5CYFFp+S55v4erBjl5NQNEIFwXuXpopKTH
LUyorgUYybsir92XkZTVcuzSdStlCPHqfV0lIB281bkHi2I/rWFVA56SpXexYmZy5mkqszffB4hG
IkYj05WZS769TsO3oAX+ADEzdT/9rhkF3MNmGXewe3H84iEMD103dno3eAwX275NHjW/45jMNQ5r
/lzBwxfGMcI01+x30JviPcNYyih/DWeKkl65QG/mHkrkpdF5FByoCpv+NhlTfjwJ60edZDVaZysV
0BJrvNuvTczIHrG2eOHTJPXSxo7/BlpoOqRBhUnDZLIQf5tmG9mvZeWdACfm2HyiLebowyB4Ad9A
D7JjxuM7t9Yr45OLZg9zZuXTeWe1pGHnQ9pWCn9tWD5gCiLXD1VLDI80Vro4D0tR5OjvdCEPBEfm
kOO4aV/cAVDU3kB6vbPoAQD/ItaqQDb0XZczGZcAKv527peir9pTYLu+fsoHeKg3dT6kI9oIV8qV
bpQqbGBaDO8ujDnKQpQQf5/VExLkboilhJ0VGifxprOdAsbcu1RW7f9NfozU1C5gNuv9dkYqgWNY
RHa4LMx0iapMopInvMjhK7bsMDtZnUhzQotJOxpAg5XyvScPNE/nSnU9HZYU/n8jGxCeQymT5oBb
TWU3k1Xp8OLkaX6VNmRuxvTZ/gjetHjXYd59XpXI73v4yH/51/Vy6L3NpNbhJuA7nEBL7Ij/FuUT
FkGd/GLoRViXP9Ipny0sj+iM6dRGR1qTHLth7suaXEuJLSApjTknA/ihAygb58dGFPR7r1b2O0xo
/1cGVEudPrpZRbZ6Ir2A05Uegc9ZE/22wxyR2VcYJTgU8MRhv6dklQXGb8TDAcclRI8mPUzKZ0t0
RYdW3wQmC+srsnSAmw0jRHgYh8SL3lQdMvHBrvIm4f2eUuKa6ZHINQHtJiGNcAbKiOm/TLgqKZfi
p4hoREKbWjGcrT0rLuVk6vEcF5CYtmKCb6lAtn0QRYfhAViN80J5mEQ3FV5H/ypVShtcN0Y3N9UY
kbBMk4SbYFdoIYH6jCWc1j1f2vIFIy++QGNZIL/xppE9H1woVA2RAYIcTZnd94gqqKhGSe9OM0/s
d+6AJYSBE6E1HJkhg4EuapGGHHL9yy5aKvTyBH/YrxmV4KyGtHbx5pLlOyYyHX5FEIL2pk+69h1D
Pl9hXMXheyZM/lOtTOFso0p1LnKiMrtQBtVrN+ryVxMYO/5Jq8XvfmPdonnqCdOZHbfKFsNJzDyc
VyLazaNCt2zuqrwc73qGcEeCUVV0tl20mRIG0YoXeDryGfW6ZBhU5QTasR+wtHfklzT7YhqTD6tW
de2Qw5hjwB86MY3y1aVIbcj4UgA+fW39JFUncthdfg6aCj8UeyhX1mqPi3kyGOA4vPlwuO95ws7h
bIm51y1zdibZgmHMmLn972615DuwRDHhh7Tj77FSIlOMfb78mVfi6dcOzzNjrnWSZ8Ta9kkZbeu7
TSCf90qTs94TEg7VY65G1iNFSBfDKZla7116S37Ohd94d5iAFHp+VVHVzq42xQlHCos+vBD59w9+
BipZQinyiTa23IIVgHFvVKssWnPtEDB+ytxlPEvfRQto/KrQR5Sp2rmd8YHfeojFT4upw/qvsbWN
D9IN0/rLySwREzUW4bUAyFmf62mo63NIxFHfAWFj9AIdqPnuQF5esR/hSWngOPr71mm87rQYD8+P
woRYQNUkUXZcxdjep2YzNGbadP1TYAtG7oT3YqJ9jcp+pSH6O5EELGHHBdNfcOVgDv5TnZAYW0l6
7Bitze4JZVtp7PnsR8RnMRdnpF7AE7sU2PA7bs98OsckdbZcaFSbSxWmbQfIz5e9/Cuok8B4Vr33
i3hA8AvfAwUT3VfqP4QOOK29MAnh27glhXc7mdFMp1yveNiayLj5tdWBw1DOz/H8pzztE0mZJXCI
XKV0OrMRXvkgbSLXU9nmuYQpvZVUvdfkFx1m5V/EWoSiEbw8LiLWDmO29GPxUa8x9sWJgvzRFuE2
Yx0D9024AxGNZEo0poo8Se+DGGXkZ2wY1J4Ze1NhjgUGgpsGqsAtKBhGUZGs+/HS+KsCVBi6OYmt
ZabyPnUrWxcAXwqwBkEbM83uc0oVaKs9K5cwCpisPuGl68o9PAawFrObDb9bIvHqERaZHB4xw0GZ
DcgvnCSQcmTgbq6PluQo8cKujG5jWWguEnCXZJoKGpJtXYl4Xooo8W5TWyB0gz3cUjD0cJKc2SA3
03MFSUcumcYbPEQknE1j/wGrDn7B1SVUUaQBOeyMI/pThwHHd9m2a30oxoQrj4Qc/lf8h+l0WHKy
KA2S+7qzU1cO11yD89sXeYtkkohQM9toXdWfHMYrfNHVXF5Tf8XlVknca2YoItbSJzXEzmToGIok
PjcK2KiKykg0afEdkaLMdynO9ycXpRKLJ8mtPXF+Yh6doW6GQeyNZxjT4gmkqlvtuTU4iIlgbO7X
BJsBH4/Bil6DKXtuiUxgbRgBNOyk2v6umr6IufEC4WpHF+5ArEX3fEFWcYlSdGF55KbHFSPY4/Dh
FTnj1aJN1N/tinR3QTDJJxg48o5IL8muqAY+g/Vw83pi/sRWnZ8BwuJYpuwJ/KORLrW8dGt8BlxE
ZXNy52HKjq6bpBW2qjLrT1XapY+Wdv85bRP7S0crNWUwje2DFb261x6nA5a/FOyBLzasBeJnLvYY
ufWDmKDjnSBVit8qnSTExM5JX6sW5wg1seAPWrAZyftwZWa7MFI9YthNygvnZ9E+SLGqt7So/K+g
xx4GGXDZpC/6s0uXM73Zu+UcEfvoUz4QawnEgF2fhofEc3L0paYm+jFicD4mHtMe3EE2JrUcED2g
bPNJlHEK3fOllV/aiC313FFF85pP4p4jg+RYK3KsMmHDtwDCnTgVeastQ5XVyZEE7zaAaTe8i4Vd
OSMyztnHMkUhWVTDAbHXc4ttmIKXSom5q2HSWut8XxCIujZ+yTkYpiO+hYr01z8JQCg+jrnPET2G
a/yqmyF7qea5/Igrnfo73UfbwH+N9Oe4bkgGMfT8WtWr+sedoCLwe+N3VURECNxe3imGO9/JGsT+
YdNx+n0TwcfdhR0j1A6DzyvFuWyPuvb4MuhAs+dkzGLcXa1pxOvSJo6+QK3BjTbKzc6TSie4aFdD
CmD8Xv71hmkF/MJE59s1MYYOUyn92hBj/67YW9JdFA5rtGS0H3MowhwTQiORmHYyGnFTphUDe+0J
/k7aqD7dyyjEeOxUuNeIbPGWm2UsSQNpH3tFmmwPvQq5Hop14ZSrQJFzQXdhWJ3lYrKXpt/Q0gAZ
OBLBLSEp4/gdZ8noQFEi5SS2QKhhLdwCf0nfmPkYIFf7R5ky7Txsi+C+KC4425lBkPBtOJafrcAC
iouRn6ZLcQJV3DnNHm2d56TD//PtxAtdgHYs3jJCJBoX39L8Sfu+TkFZBeICNRj9LmEczEKHcCja
49I2y5/OxPj+NCBMnOguy6gh/TOoHuKuv9W9oq1TpTN8QZHlAS9CB+xbmG2ec3zaRMToWYhA4EP8
K1bJjgRIve3HaJCq+DnRFA+MQ5hjdEPvviVFkP8IgtTNzno691j0Y+VNShp2PSueNrKuTut/+XOB
zcitAjqpAlJsfZ59i00RgzCUElaMTdmNbWYT7cZ8CLJTZjC1HY1Xx8WOQe1U3mNpx/nYr5i2LgIg
sb2pOwOJPTWVJRW8Sne5BsIlq4NPBmWDv1zQ4/gEvGQGGfCw6om/izs0HI9DPKF7k4jqroA08QU2
g1xvOzwH8rTo0iZv7bCAnlLrJuB5odsjSpoptNfZcj7QJ/IzUkSrq8qZ8R+6hg4GvcJpgXGk24K6
iAU4VzdTlHzDsnIedPgtsQwqVh/cNdHoL6eppVJaqBnzW9wZ/cLrmevm0tAahHhCMNYUd2LWRf2u
+Rb0Y8AArX9uZYHiCC5ViX2aUq7RqYSt7G5lGEfTiAoJcvMaBIBcbzhn6uyJ12DuOd2pDffQjfr4
MchLbAn4N417Yctvq/s9cD4JqiexfJusnLXAIphV/2NdmmRJF9E3jezbjvwHgJVkmb2owatH9zC6
1bAOlwBeaMRZk21kkSSJJlrBnr0QDw3LUBYkw9gWB+Uzkh+PFRahvrtjUVORvNiFh/Vx9AwgY53F
qLdYO7n8r0PONOQhBdkuby1qsnMEjUR7Qy1S9OfRg4DXQCK2tk5vioBXMEDMwOAMtnPsyLuSMGRk
fkOxhLtpLyTRXvJFOUPU/pJaLOOfFaa7lPxI74oL0J2ux3kSe2vz111d2n7BMVl8dqJmdHwsS7g1
WOPTshcPYTUQIJUrnqt9FVYj0H49A8I50T4JByPi2BECHPnkyHPGmKgw6kBC4lkNcCFTPEwTXz/s
opj2A6PGxHxtpH4gWpJ6lXsnjNDI/v1cZxHLBfI5+SnU9s+D8AtVE8mYSZdi5CnaKvx2HRgyLHVg
w89hkhr1XhcTzzH0KOHfd+0EyTctRsfbiRzRGGujhDh5m8xFqO4irOag5JshCG5KK4PIO+dDmYff
ELbizWWJi41ssL9gUCOh2NbXvuYL2NwZjUj4ksgaXScdtu29qbbOXLUjPe5SuDX4Pi/K5PQONXaq
nixD6eK/FHkELWSZi/Ux6OAIX5ZW4Khm3ibUPVl5zhG3BoX1nA4Q357AUVV4V92+Du4NuHLnOuEZ
AD1cB1XwKoPOW55SEaCSuZBtClzS3dDuApxn3SWB6oQSTEp8PqVT7me/miqV9bdy2yXIjkXnUaRC
FcTqgaEpvhNZA25gckFIRTQF/Z6HdWmvc1QyU1ycaMoO1mPBHwiHoP078prusa7Y6ZO7E+RRnKmh
gssw06nuYBSSRNJAnZPrWCOkIX0rf/mLR9zNxgPKTefCotqc2sPayOrc5x6yETF4+zL62PT32neL
N7R3CgzWaJEKSaTAfgxNoURLHqQ6MNJxmr9EgMPpF0qGj2SCd4nxUJGEC+t8Q75092eQlRx/m8lv
YBuzJHSozmL11gFYlvDVI1Mwj7JSsAzjvcrrtvhAHnGI1ecsfHGOEiMGgYRRpbK5EXM4rISdUVTQ
sEdy3jctYnFxshHJmwxOmj0EOZi9z3JWQ3KZAEXShlaKXhYUWN91WElTKPOkcVP6cHzgDOdQfTNq
ioUikWAUBUtdNOOtoqtfEl5wA1qHqiyGhgNZrCXwsm8svoHp0C2jL87JPKE+LVqk9mMhkQvcL9Vd
+ocgV57eEAMlP7Ut/8Db3GTUIiDgyaHAYkjvmfJs3kKa5eHQADepuEnZBDXtiGz58xUyY+i8i1pj
Xdf08f6wV2nCRILxG4OGbHS5q7Bc9hQjuCWAdwrVx8DKIm95NgS+GfQ5DZeTYPFa88/NnTG84VDr
HtkKwroLvQE5+mIr4IG/kpCrvNoNGCS7RZG+gAFo63+6LrEiLgwg3We6XYyUAcuT8hNegSm4WZi8
AyOGC4t0sU60ERyK6gwKbChS+rJFhZzajbxWvL8kogPf+9GV67oP6TQ6u0jH1fC5AEdgbRVBhtzn
kQR0/g/TnEluqKmW5kE0FofOaekxjPDgNnyiL5C+RPhIn5KdGuCL0wXRgG98j8OXaf/opY16Nnza
Ktr5FKUDE1cfU0Iwr+kMXXDSqCRdTE+7Y4tHFN22RTyPh7Z05VIfkY+H5VAR9/SvKC5z+6THaq3M
HWsS5PisbTXF5Z7hNNCM3dymTD1cBh5QX1eiENnriBLU/q1MgqUNcoSb9E/sZ9hIfJgp4ZY6iokV
uR6uXUhsyBSpBiIJ0EczjhfKMxtxeeUsEYAxl8uYt0SyXRkOTwHoQffW0Pz3xLVV3903hOl/xgHk
yzWlVel/zNr76qMRbLo8KEC35naZMGc+e6OjamgZwfqLvLnvHa3qFu+myuAEfAqvTebHbIQ2cupJ
E7gGX5LgMF2aZegvIzwgD6LGQDgjSUZT3KuF2uGW/Z8kW7rRtPrbOq1TfEi1OM5/Vq9Uw8wbOQoE
8KFwJ/s8UAOGTOa2xzXE674tJNkCKrkp/oFago+Qr+5RdGznfO3EOq0PMKt1heWhVrGPNYjAV3kB
DcWfBkjJfHewvJnTlDl6q4loN+k/3DIwR8Rt9orsMlTr+yBduvFkhzB8paqG3+YKfsK94tUQcKJR
YvYixX9+sFBu9LOskdQ+KRTLDZTlt93JReDxwW1m9E8wUdrlDLMJbxsNdoDBfqJ/nndx7mN6Koo+
pudxTecggMwNWWkYfH7Iy58vr5WbV85j4EyNugs8hDGOf1YT5DvKuXp8w5JVIE5vqFecBzg0yA8t
0bPOk8jekkcQ98Sy4HwAVRFEUNCROKdS1olhIZNuOga/cMBEw3nxFNDbYFnJy7iT7uJHdvoQIUJR
ieyvnDGX3F4hX+7A+Cebbh8vP0GcTvS8TcTRXEB67Y92EgBHAuZGMU0B4u6pJ1C8EjDfbgZwzZFz
AnaXhMzxdV8ur5LfRmqKk2O9ccRIvsCwAdz5nTqiYJJrGfFeVjyYaCpk8sdD0ixafcmUAdvJg+YS
nuaEIdlBybjfxj9xq28NTJPopwlY+cSgCtVvuSHSF+C5s9DJnSOZYO/gtOHQnVpDlhnwDsjxa9Ul
qGcBIKZxZ/HJfXRx1/yJ+j7WR4lruebu9nX7O7HsbFkwC+Ks5zEiDTkHiJPalvhnBiBQB1qsSgAz
BAV8RoaZ2zNMf0401pg5/h3PK4dwWuNGvJdTyzAsIa7u3jQRM7ZxdpLh1E2emonBptp5EKrCTTQO
dTycySXBjQ5M1JlnpXEe3Y7j4GUUDLH3Q1dQeP+UVzTehyXkWgjQqAA7qwXnzrGqCoQkl+VP3Z22
FrBZ4lPN3MsqRzPjcp9dwjk+PDxI1h6ey2bJo0Mn/W64wT7c/GF5F+4xwRG54C0THDbtWmREgYQb
hhDH4JHv5mnVwUMIgG694vxX+p7BS9EdFDYFDLtyJV5AWtzVFw9iWHmm4SB+SYc8e84HY4uh/HZB
TMqrVUjuOMrRU99ax8P7nc6mnx+BCoSvpq2tPCKszdWvBNYvM4Oq5Qox00TdKIM0xgFRNob4DAkP
8F9rJkJyO1FaN1eEpHK5kRS99so5m3dP9B007OmAOS8hohW9umVHC46bCsxEgjZ6YP0eoxhVpIv/
ewyHqr6oes5pYqMNxru41DuKZtplHqgsjamJyVsdGHyX4gKXucjuCbon5nkkLtnVR8Q3btGlbJlV
jCvTRb5Lh8F+hfdUXhiylkDzHVGhXi2K55wZYMNKnRoPHyx8bcf6xM1OdoegQRPzXyP9cx4r/p9/
EjRLdFlGxYuayBgoMJNnOjluVzJPQcVCnotQPniFrovW4M8wejj+07aH6dUs8cCOtW7lkYlYyH6P
uWlxnwfA5N9YFI05mn6hAhFJha9nt/ij9Q4ltieF02WdsbI2a/7YeBMd2uJb8rojw7mKt0F5PxiC
N79dA5eSgrqSXrs3jp88ulAwGJDC9O3ParH+/MAQQbqXEZvLeGCzgFPeB3Xnlme86O4jc6M0vM3y
llJX01D+tfPmVeW09sfPYjW5eoTsisyOmkMe3sUaVVPZGy6dahxz/aOTbryzsiFc0udmjW4LbzPQ
wVShBJSqgp1XeM223qUZ0MMxoegEStqWn1O+RS7RUUqj2Py/vQ4y5tx76wTBr1FKfgm8UfOWsvLK
ee1Cwa1HNlwiCmMua+9mb5jbGz31RYEoBkPJYUxbbvePntHEIbmUPtQvFDtj3KOLS4XTPFex2lP7
JgPeSmt++7haIhqxnEu29EvxGXP5E79m0dQHxT2knjGZoB6qtCW/FLk2hoE0ECIac1Zl7DjLWDXs
42Efnqh4SEFRT/nyKKYAtrNfS5rdnhJpvPch63t3aYO9CZ5PYqdvQdBhe0VmM/xiOU/pvuaSfMdH
0Q7RwDZFRtds6EkcRgUIiXHxSOhgw0nPaXm/AlM/bxvx5G3Mgmr1OPnMYV7rVoY+1Ttr6na8tjw4
yHIorzAp4fdglRXJraHiXW8amct/xGYgbso+zNUtXtHsX0KGLzuxuNBzWcFT85R0ee8GV4KvXvi8
VIDEPgp+7OmhnGbR3MyJWLsPl6CaYlkRTNi9BogbHnQumROagc1rDMB9Vhqft6SFPhiXQCWYKsQ1
hC2cV68MZxQvXcjevgdBoR+ezSjwAwmc4fi7EO4w40sQC1VVxurd7Vanm46NSWT9yC6s3vs7+bZe
76chC30ASu3IEiaavuGft85A7UacvP4DamlNV13YoMJ93Ucz9IaxGyn6m7Cbl0ejly1NAbmf3Tuz
21UPgPJRkJaogUHPuRku38EcINsrmKLlqYtJWe9kPUXuhQ7X30D+ocZXNQSQwCOdBv8x6ZPBS+LC
ggRqCpSMBsiDO/uJlcUlUeHO4XxJI2l/VTXpQaCOQhgKw0qffGqR4kysdZOckFd/M/YKh8eCzpU1
qQOlxwHuqBDnbtks0hy4aNuK/Rr/B2QTZVCB6D9TBwMCS07JQ7u32tTTdK2xDo5P1eSE5S2rq5By
XC/t0Ji0FGF8v1Wr6T2HCTHatIcZddE5KP9LU00FENk2gaEJI3EYD7bFpnoAfTQ3Dxgd1xLz8BoH
r1pMtrySF8Vkit7vGzZBua4niWb+j6Uz27IT15boFzGGAAHidfdd9r1fGE47Td8I0X/9mdS9r3Xq
2JW52WgpVsSMIcmCPzmt9fLCUcjiBt+B/yNUM/6kMPOL+4YmALmnAiJ78bFcJq+o4HV+iAsZJQ+K
3oyaOZiZSb4bn86Ul5z9zXdv267JWTOWtrWPuLFDOqhEnD7Yfsv7IjVihf1nwg/vBJt+Pi3+su5p
xBc1ffsGIYtvR1Qk3XMdMbFtFSUz9kFRCNI8cxEiaIurJ+0ULmTXhvTgIkz8G1w2VijL9rK8NtCg
JjZ0YaaeZyR9AOQu79vc4C6KW4qW0w0WQBZALMYhNjmhnYDlCLg9PRMdTOoTKRjyrd3kDc3XjNqp
MEYR+Vp2Zsw6cRW+gayOPQWRAYrn+iq314E4DZKh3/EpzGwRsL8Gz6Vlr6dq77rDhaQor4rRzWVy
cjMotS9ibnyQrDVMRpjMgNT+ipFRgo3BAjRPEj8v9mNcjvZLOPsIgBJLlPfglpJ314hHODhkxYQG
K1yNsFREvRLEIfMZPdM4kXdhW0LsQeJHkEQU2j5+aH2fVzJUrjk4ormXNoekZ8pkP/ox87uWAaJM
55Jt3gEhEmJX+mY9zhWMTL2zZ9pZNuzBYettkmYg7sIhnS0PsHHlZG17mzqC+9LHOtMc+bNn74YB
eV6eVzmS56oMIP33QwPvG8FJUWRIqoCzx8/jaTzNLD/NrbW80n5yvNnP4AbEAaslvxbA6+nS6x57
IC/FzRlUzs6NFL5/rFY1iVyZyYLpwt8VhBcV5pG+dKRRnl14+tbRTfPogDILM1Dy2wt/xGw31U6g
ro14Wgb/RuEIsRMj1olsKi0USqp6p2sxuYO+9EnNy4T9eXaHjrCi0Rzdo+mDj879vY8FZfXLa1zm
OCjRKepmxfPSCooDj95DFh51msInHzvbZI8MkSRd03IYM05a8l3ykDayL3dwDhKMQ37TdL96FcrG
3uu0r/bzEDHbYr2EDw4ZPq7zXZ6UU/xRt05nPWVA8NwT0TaUXDGS5N+lmHXJXOaAY1nWuRzfTp8V
w3mcmh47YQqy4FdPEF7z97O0R/RcFjd0DzlgLQzEvPqIM84hNUv7ceknsmJWmIuXfgzC/hdlt/5j
r0j7vzBHyuQ+wBU82aeqZB/8wFzTm89Wo5uecoWlEBMco9F2Ijzl6F3RZistQYxzdrdw0ZhhXHAX
OCWD4rY5ugNkaUMnFeWQWUHmVxK6RALxQZzHJWz6b7ikpj72gif+SFMy5wCnCn4cPGmtd5cWJTEu
Kpi9q57rcabeJS5Yr6Y9QTCsmeGirpEkDXYc+bHTM5tH8rKjGlEHWIgn7hffWi96YhElSbYTnjMv
ug6BDae2ZH9u5ZPrcU9t1HwvlshNX+L15b0HsKDyu0hCkbys1GdcEyoA7g2xOfOOTgc2DeD/ouQj
jZTOrzCN6ua17qBrHPreCcLHaCKiuuGWn3R85iwUD3EJTuCp7QlKUySbI9SqfLB/s0TGNUpgCRfc
CGyiOKvJuOkdJlaizLmUo/86TNEoHwoHt6vdDtZyDPXEES606a+VPaXFDtUW2XmSGSM6gcyyA7rt
DhRWBA7QY5eOWwznlDEqrBdODTuFwqr/mlmmFgVpGDJK62BfsFfNtUFLaRiFfKz/ExFO18GvvWP8
pW9rgy+Nu5zmN99uYz4pYDsdYRNQvpiQHJBLHig5IvmR82ewrVo+8rqAIitAkaZ7HRhP73FMGGcP
X69pryrzCYIyl3Hw0pVHf9TGAF6h/DfRtACYaWU257VX0LQxZnwMLCd7Ra1SqYuDo70o/VO2qGxj
APjk4vOifoCgw+PTr41Dr55HMykAbTaH41nQkMA0YSPmfPrIeeMPLTFsitoWF9W+FT1PAkODFfe0
UhpWYNJL0vQZc4afvqPt1TxYYw98KsNTlXyKBtIGeEUGusDgBl7TIzP7xB6C0EvFqeuh6Tjwhkld
es0TLcK8qDgIao7QlsgqXd8oLHDE9z4O0zo9jghjmB+WKWjrO7u3+/Be04AR3YH8A3aWko7FFBMM
rdgHkPBL6OB55j+Cipm9I5tsGPkl+Ax2/14toDZlOgBMhqT+373Hcshfq9phoIOf6woEbmvsy/Jd
UgftuR86t8BTNy5bSccuUdH2UY6xHeRToDgIZ6xyDh0btu5fSjzz6SsYSQzivODc5QF6AuuVzZqG
x7fLUtnZDdKfIJ5hQ/lwe77ADD958EDjQmYfWWJAIhjthjuMR2CHOJ/FYPUKXwdXq9MOpbwTozdS
l+Q1RWNvUB34ZjWEpM2+pwsW6IFmKjsh94Y3wew5fuDU4dWNvkM4HxKK+6BIBi0ac6A3ILhjKYaG
xSsLyFVXusP8zfskEC+Vg1gWiy4iK1kXAubFIizm94G4ePBhknUVnlBn8u5LcuK7ZUws1lpByeSA
Ro5PwHNk212a2p1onHashecy1hhIdjhwXOchsD3HGzbwmmmY5ErXtqdcwie4LWFhwJqBldxPskUI
w1sX0NUHVwA3+zKLytsDC0CUnVgrxxgN1u//KR6MsM69sNMbEg1iU9outr6prOz+cHoV9qPLYoZ6
3SJ1i/8i1x4cayenA457nk2CmTVi2BPPB7HH2jED2+HtHUSf+Rt+j59dDVM7Q5ZapVATOHb0l80A
4hokcWSPlrLKNEk6gtCT9p/Aq8L0PAlf8mHz3Sl4bKJBFpcA64C95YZEpI6La9yegiDz0bLJeMSx
PsnEuG33uNLPvLtIrXE7uK119eNjGRFXyxr1qQb8lvyL59LpwWuTvWjWtIc9/OooTKdtG2dyf0ZO
6uDaq8mLIYYMduE/xxlo73SjlNUxmybTqir7M9I+zT2+iTYG/vVqMy4lv/aynfgPu/OXto6bA4FT
lAXdeLyz0kSpN9IoUlX7cPJRBSuHMfEbj4vjvLky4PawDH1uoarKFmcaAN2gpBQgSujqoYAq9t+L
iF32sKUgCoFbR6UcHwbspuV5onXXerf7ArtN3S/khKgADdUTGSAWIsIfyh+/WU+6akbt3fsDotOx
q2GUsXmr3PwJ2zFPOit8suwDNQPLN42elK/MUzZ+UicZ5beiHvk6yTGJgtcw9FL31RQV2A5AFPYr
Lg0r/NR1073mhFVZ6lolq7ywdNmUdUtWn2LRIJmqSebVheZXfFXclzBFo0qxX0NdmuxdSg93xxun
8Lgd13ohncCcQRfjK2a1tqo3KJis4diiEtY41sPQ9o9QkgL+jlxL58vLaB7bdPR7olpg2a/v6Q4q
SKM7itQJKDRwn/Q7C3KrOEMi5TfXruQawO7ZWet22WWxf+2ZTqDDWlhTItbqzbYOlxivFHvl+pJ3
9eDiwplB2+1LvwnDR54e5nwTDNo5Bmg248HnhAD5GeoeDwAtt4LS+tGpvw22ACxVPsH31zoraUOm
HxzPDB24SLyz1YsHvLzLYKOzse3Z+x7H+6ZyBOetti38qj6XSva+YY5bp2SBuiQHASE6ZPWR+dVb
nSXZZ2JQ2MhRWqAsmcY74Nzf5OPt/NfcsLX7CNUIWXZXFRQEO0AoKfsh7E6T3HhA7nanq0pN2Jx5
O+KPv0yjbd4A480lPV/SWug+0LXnFvU2RhzCEILbexHUeMcjLKCkz22IdxDqGwDioaxjkptTwt0O
CBKHYMTKZ36KiRYtX6WXE3ATrLsXpgKUHbJPifcf57GHQfrFO7Jg8oBUsYj7CoEJNz3TScFNDC4a
9iEqlvjqIOxk7ieP8RD/xKw9m20+kuL5QKi05zNs14VWy6gyCa7qNbrAi7IdfzO3AD+hy8bJJmoA
K2a5n5AfIdo3SLAAtlwU0ExT9VqFw09EgqLaUAuUjv9seDbVvvNGmpM3OHNWBi5T8MosadkrAOxd
4m3my/KnjyuMaBmaaHCqcEr/xe1J3j6G/vToMbM7j5ZDDvVhXU8OG8teIQsCQ/i9m9Zeic/BSdN3
vp5lBjTNc7CzYiyex/hE2UGNLWmoDDVYCNBorhF5dTrNJusaYLjmiz5J5ynlxOWr2DKJ7ocWpueV
X+/U/41Jz9UXKfkagPNzuD3QYoj6MkerlMQpmLjAXNjjCmn4VBNksHE7RL3T3bFi1c0pAWFHB7Gj
kX7JQET+JeLlwNrbQNgmmksJN8neWS1HGlxY76d9SqddSzDV3Pq1bp4duifVjc0NIam0ogljM3hD
1j7jm8QMF6ax80u4GIv4x1Xv08q2ipiLWWzQzISgr1YXY52Lk4y/yQ6Hng1TIVlaeKoCqsUZt8oX
5G0DUJO5Nz6w5mGEKtuyKLZcoXO1i2MyNQCOu67561ikJc6plYagkUsFJQarH8uuc04EDDRgX9fO
t++2KClHTQjwBx0xVJdxjLPPRXQAS0knSljMMc4GrKZe6lz8WMbZT82y2fa3ZJ1CojAcVkPfQfdv
7fhA0xahJ7r0eBuoiqKTO4TZ8J9Z/8roMEcUwzxGBiDzozUEvqH1C6/UQGYX/8v4l8W2lau3RiKO
nt2yDMI3iQkGZZPt2cIHjuxsFKNvWQ3iH4Y4oa4YjpyuAlWzYPHC1gYH68VvWoTcXRhxZ73Qr+bO
eLy4+U+AxNjnJ//y3CvT5IELLBaIrZEUJfPtGOsofZvgTClu5/wKHXbwTbxE97GqCYC/9JYsppnD
Wk+xfuBRWN9kNp8fg2qG7rdeNMNGhVzJqwgML9ez/jMZSOPeFd3cFOE+HaL19RCkLU23egJzRldY
008nURlvoFVIulN3augk8q1dTN6oBL6cab08Mmu51m/fa6uCcwfkUoHGgfkd600T2BPgSVp6quOS
1y5P8ch9IPnN9gRE6WZOnFF8RB1kHTifdY8jKR/a+SWDI1zfUk8TXPNVsF5SS8Om3uPyEq0zaJUL
69vjG0LZDgFZ/FZAtV/8loJ5tki92+25cJojH4D6Cjq71L99NfEnstj8Ue1aOCRIKgFwqhznMMb4
1LGcClSMubC9expra26gXYc7l9LEoLnj2AygW0CzfvaK1aJLPJ61VbrW6QlPqyMKkXszmc4+AWJh
mtPRgCMN/X4xDxRJBfU2wTtyAWK7FFvqaCLq77BPKHY2BcI1F/N+1X2CCujudiU66h2mUFouu5RV
0qud+8DZdj194U2/xRk2CriaU+CwPQ7dNiSmHywdyyN7TW1J2CVgDbRNpIGLyWhzw2AMewnIPy87
Fkxwy7MgsKPzyEYl2TvogJTXtYL1Q50kdJKxw47t14gFIKvFpV6C+7jFFQ6CewwGzHxW5vxRgLWn
UyTysD4Jep/9A72Eprpr8CF4GFOX/KnE4xbRWrnynpO5JcRTz8Jet36TnfXwvAbN5ihUr7FJTXrt
sX6op9K4c3XTxey1Nz1kib/NsbMWu1ImYXrx1eKlLNCW4A8nsoWqZkWyOouiXdlPxQooiFxdvMaL
ZZhn+Ncn0k8rayPdQRwNG24AbFAjiAMeGjodBai3C5e8v+Ce0IZkhms27jw83lCB0DBFrmGt9jGq
6I3IAwH/KKz833Sm6SNUkLH5bifbu/KsWy2CWOeanVlIHRw4YwewDmTOlvKOqAMPU9NMABJbAhQw
P7OM9q5ITNadbJspOeOIatQN4zOfBSbh7g/BTfNdq2zi3r9YrNecJQzSs0rAwd/LChloC4lDHdno
8lMrnqqHuvIdua07hYUHNd8xJ2CVvfnxGVsA0jkBRuDPAZfrO7xXBsFy6DiOKC4HhsGsGjx4TZrS
UQb0g//EeRzYJDlMi1CSrclvfmrX7sr3XDrOF0S3+kR0IG+e5t5u3e8YC1NHwqEUEbIVtuscOZNW
+qzd68KZ050/pt2vOOfcOQq3CZ5HDsmnPvJJh6xw4ZGhdSm+6sgzGeps6blPOchysNbNFKgvJwWI
8QU7U7OKsNChHfqhGhfXdZxxASztiMSeDvrwJR1NCAc7lkDGuIpj6/3v7olEhMNW84iWf5vIQ0YB
IDs+21Ikz/h5GRW0AiS+Xw2D+lJ42Cgxja6r+Tpfmf+EsDFQFDpIiKn/h9w0NmOpha0zhh/MnqBu
sTjU7N3F9woPG+kWCGkxEpI3SNiumKQsj5mYsHHoB0AJ8fCYoV/SXkkNa2/OgAp0csW6MxGTXErJ
DAkWhkKMHAdM122TOLPdx5Tf24Bj2sGZsZtbsBV/CKgP00tslia1eS0UKvtt5mhCZmAzWUoSUV4+
Bb9WDwNnLcQAVZ4ra4opRgz9wLoCzeB7SQSfEMS34wC/+mT/XltnBz3ZZY8tjOqp5YsT6ylC9T7Z
+J7vKraW3qNH6r09dmUGfjNWSKaecmNxhoNPJRsZLDyACngwEYFc+Wg9IWvntkWPOpku49ICIxMu
ulOys58L+P8IyXE+HgK7dPQBd1r/xXG80g3nhC9cb/ovQJY85NNKVL2hqMSEeBd2jeVxCRIZnu2I
L+Et4z1WfzXNmpNUGLK8+xh3xiVIUvFMGZd09r5b2D8z9Rfqqct8PlQBQhZwXpyyeZsjF4UxIBW3
ai10A26ImsXvDrGg9JDAy/tQbZBWd0wazt0UAAZcDzOW+jj3rZ+FKRZXbRzzApayZI2DZ7jXaXsM
mir8OwUE3na1zcyC1rt0XDoG3/wOGuRtLOAslncZ5pG7tIngzY7hGhkI8HAcIB8x82JkY2fhz7am
mrhoOKrqnF3NxvHgywIeWXdNY5LrgFOoZryr6/V1ELv4unFijQ/8u+ZNRVlyAjxompcgIZMGi5+2
Gn4rdT5qbOEjbbuL5jK+qQe4+V40sT4QtpaESiwreMSiiY/VG/i23mLpcakI/STmutcGnQ7fUvDW
rz3mxPbCMmEIsdxbHvI+y7QIaTDCsKmpXkvoWNvjmMZ1quCKSO7E/cIVDe9XRjH90NHKu01YSlWX
soud7xYCQnvAwtbLPacV90emJNClvOqCivEkCZ1ObcN8UPI5K0MQkCYiT3JH13sY7GViEwvpe3xZ
AvAFvABwWfnZI0fb4cVJre7gNWo1GLNiq09Q1rrQe+yMI6VNf6sHWHHHargHhSwJA255L8TtmeGK
HkWjneibFQ2m0g0+4tJcXWwl5Qpebvvo3q5WmWhOJmqs8OaOIOihuXghES0Je+pqloR7DPgCmJF4
z4aV4BcuTFcO/lx94CaUv9lYnIKLMCIdT1KX80vO7zRkyza1jp9tWmM6+8zCEVPZiXBkQ8FLOfJ/
9hihyCwy1M17Cvii9g5CTFG8WVXM4dqoILF305KOFD6znilupGnxanGgjJP9LPqBIBAdYrWJ+cQa
ZKAHsolu+BM2WOTCre/NRXifSq8CrEk9tGHwxNzmxqdIsp3ZR4YB7g7hT7bPi+hhnrKCb3jnkAfk
baXBF6irH1oZ5chuRyQdH7XyuKGIOEdG2PWE5CLYdhTX65+SSbjojgroPW3iJNqWne5cxS2DYmwy
n2BzpvKOx55J009tDFSqNBzzIDlKU93QYIbhiR5iW9kcb/xHU07BJSXZYISgSh4+sbb/xUWamT+M
kSxzWdDmLntDlYrvoKwjOp0HXKbXuAuItadm4HIVBw7MSwRhhvBfJSwIuZ8VfoBgF7siHp6dlKj9
ncbqOf/ivG3ulRk0C1xV+S+j1as7gyh3QpfBHJDT0CRuGFy89Dp53CIeQfr42SlpxjVm7Hpdui8D
/oHws3hAlGHfdimxeQLiy4DtYUkop+Bbd6yRa6qfVgeG72LMQLknKrHJW6ARtB3S7kGbes2cxH6L
TtkKXOUWFIr/M3kCMDPtF+lXJQfPbLGAOt11CQIiyl7AqpKztmHKrG2STpx27EzLnBwLcEVyfnXf
pS4wBpo7U+ngNdTDiGDUCxdHFTXLOflG4u10JahFr1ZKCrRXgx/zFm04Kz5pmal/8F3CH1up3DXq
q9FayrRDFy8HOX+FanWwZUW+NjPqmP7Hgb4GcZo5ywz5aYeUpwo8NiGuWC/5aCnjZ1VnVO1UHeYn
EG4uL0ShBnt6Fpgpq8cU9tf4l2wW1pccSm37RQJxrTphGYMVdV6NFhiqnbs0a3JDqc8CapikBZRJ
Y0qYdH3PZnQ20XhFpmbBwNhJOUWZLK3NVq+mfDemJuHeI1tRHpv/BEnhhbHVH7iTx7SNzxWKsiAT
3u9grofdb0khZ01wPWV/CJZ27NeIQWX7FoI+/NfWHR9pIhWngC1vdEi83A+OQ2TN/jFdFBGXmW/q
7zUMGF+FXiey0C67XyQh2XZMdiv/uqUVVPmGdqHWuXH8iuqOMCVXo3FaEvsHu+74luJPybf8ori7
K9/nHBJWH2Y3dijmh0mP37fySaLWJS/0bewWpaGC3qqfZ8dmS9jmdvvppxnbezkLMLpe2bwSYxoN
PqSEtZXPlgVKns0lBbBU6L1k3sjqDQFMfeKGKtRDmVrOI/Fp3WO0EVARUyCH3XCYkyDgrPbC6hMg
Tv00okgzrMN1eY3HESctEst4kGWNFbI0oSsPxHKqky7brH/Rgoov0dlk/xeVjOwrVgsQSxH8JjSS
OfodaYUiR3LOUZneBm8xz4qHlOgax4A6VAIBCPCKuww7qrK5JdQpxYIzTos+2uI9pjnjhhGyAfQu
hD9+i3hCi6ZYGHJcuelwz/JhA8CdyUEhqh+riYwb+L0RE7ksLcmMSEflsLG9NOA6X2JWAm+bvVCd
g/g52glMs7HFDXdMKyg5f+CG4p0n2UgMN8Vqz9Ybdi7eSRGa9xTdAKYOpfMR0VJwv5Ljt2YpGlXu
ufYnIrYuZqltXHSBdb+GdrOjv4QxrC/gCRj94ULz9UYpDf6xaWqtkzC+sPYiEBzfW0ezDnijWyhp
v0SLpP/mWwJu4IYvSV0Aci9UHUdPyFQ4VOH0VB6HZTHZPbSr3MT/Zp6BQO0SWiXc+IYWIsd7QnPI
bHj4KwiXROz8q8hS+DqYzMD8P7OHzZLqzBq4aO4jnArDC0JK11Ix3KyTHBDYyb2i1WjaFdiEy+xM
qp4hAsuwbd1TMmH1a47dLiR/JHy0eaeSQQyPowZk+OM5PQBuPmsbZ6OxZ45IEuq+NffPvFZFqzd+
1zopTkfFK+/RowrCMIlhCvtj6ybS86tRMzH8zdA42mc8YtJ/s+IkSZ+hdE4M1EjT2DgAgHjJjaRn
OV062HHwcPEZpCPOeFlE87aaPGdBLBwqcWMcZl8KcCxoTwsb5PmZjTrdqtqF+bUdKfgAmAxPMR9x
OTqzAFuSYhsRkUewEjfZ5B/WPxRqnR+O3rMtUpypPagO7zZTHuX8cp1m/kiLzs5PTHwZhQFc/Lz6
uvhtm1y7BjgE1QllU11JKMFqs51+Gv/lFJZXO8gz6CByQYgpcSWuvrY1eNEvBToGPCHGagEQofuI
3RF3Va9b/6LDkAtR4JWzviOwkrWcGkwlmARb8HTskJu15y8K26cE1zYxo7yMDzUpXIxvtE6vSafO
LcJPh64ct+K9tDAMtHYSndRcic9UyaKiHxn24btcivE2AYdyVkHAa388qEP8fAS1WeB4gvA4kE0n
PpCvg1CxCSa+zOTysz+czEERrAmIYCAsg9zO3kQ61K3jp3RVFuBz5YUVPVXJHHR728plnlM8064t
clrYwQcvWftQTU3T31dhzfXEdS18rRCNiHjT5M6yEZlpZU+JgowG7GpGF1KVSDRjQyyP0mUaacAS
W/avMlkztEVFThrM6JRQuFbRjg5KKCy929iuGJ64bddkdoSSdIT+YIcv/DrBlTSzoqzXlFK1Ozdl
n7fvF4VBvARubW1KAh0GqhDSyMEquWkAFRYvsFyx9+ftJOZDTAo2PM7EOuKD9hmXDog94nfMVojY
Kt65qx1nNVEoZZP4VYOQH5x4tsNEQoOyzTRM1Ie/SItIs3qaJt0++oi1P0thRheuOYutu9hDPbxP
B2CMu8hjPbbJsPKGcKekrU9FM2QrZ4hqxo3juOaHx9RLn+HBLvozH7iqnmAlYGAiPMU3GnEYWZ/M
i5bH0csaxona9RrgsPjVQbTAh0hdkv2qCh+Nae3iiInBKR9GyjO9d0EBh+ZIz9ksg/SwFEtj1gGx
ftcmbfErdjJA92JDQow6dzDV9WngFJelwwN9KGzmlWcnHLETJUBA9c0MPsRAx4LTcXGx9errkgjb
2SeS0+BnmKn/8GBdNov3d2ZVkDwh7kneZ6jBoFHyJh0OoEeCltgiv3EISfVM0S0Jj+RCfwqjyuwZ
ePoofLwsehFWHK5JmyHm+vxUh3wpUQt44enoHocNhy7bpNnc8CkRooTMNaVY/VumMPw4FNZHYLLE
mfoR4LwyL3AygkTqYcOGpudwWZIY3492RfC7Z+5uVsgb6JGA3fkGK7POrw68IS487br1ryHK6Uua
UrF2E14GaaQnpU2DfTvyv/IKQfPXIXfmXd4WgbuNW7dzDsK41FlC1F7wmJYO8gYZztVsANVFIMV8
U5PMNwmAu/fuWI53Py8Fvyv6LFCc4LmI7p05lyu2jqm73xMpG7rjykz4YneQ/PBkMT8qzPK/HTcb
n1Vb83DoPsCbhBJMufqIyMFBjPPS2vRQZvNtrieurdjKMI8AOf/vHrkCccpUYBuqMerzwzoej4Sg
4YcX1cr63iRA9P7AX2SZkkNY+yzQACxMm1mO2uChX21lU7e/lNHZhY1aYu2grPmUuALNjlEUolmz
BYTvg/46k5zZwV5DIvPFgpkRoT5WH7HyzaUnqzpfY7i9f7DCk5FOIzfnfNNUiq3ePdISxqHnbIdp
Hj11BBz5FNkALva4z5pmF+cOt6pyAkqzoUg3eE0x06odPiqyeJFjrF/8gOrNCWERYOzl2MKnlOrq
SlgPox5eUzgW2Jr4L8w7C0HV9sx7OXr47nC/ACeGIet/C1EaSUgKCVyew8Llo8GwVZaXlsJX8Ax2
A6+nDzAH1nSTrJdheNAbM4IuRf7B4X7hYsz4Xkf0lR4ATmPyFdEcB/e5Cx5iCzuUdi1gusXVgSpg
zhD4uepTSzMMUHExPhLjDC9Mm5ytkWURBxRKMr3qEbvihi2AoYStzQU7B/50yuUzjQ7HK+6pERNj
knGa8Abk0Pmw+oboX8DEJB+FwwJ9J5wm8Z78AfwIoLYVUDKnxA0Ibq5tRpCepxuUioLgSYdXx3dn
wn3MZfljNKZARLAxSCzW5ET3IGL4McxMYHPHfWSebnEHTmDdnc5wx1bLnnYKbkcoPHJPK98IK50e
q+6ssDRTDd8PsJyI5DBZa2Hx/ZFZzlgcTZp+uAjz13dcOdaV7wlRezzJ/pNvT1wCa53iz04pkEWh
q8ZKPnLsMDT6WHkDkJMNuQ1T2V634fk3yblNPCu+zqGhIycfWVTcEixE0C3wkcVbJHv710wmYmeQ
CFGC24wonJrWAA9veCJ2M9sF+danVjO+5WkILS0LsfOW1BaeiXWuUwdFFIyROJp4g1JIWsM5hHn0
J8cKWG6XoZZvJs5C5yuoCENc1ai8FySB/FCFGceuUqAAN7mblfKsQwF7wMGly6cbh9iSo6UenzPp
oOALk9j7eZ7aid9+NAx86RtSMPgfp+mj0yuDMGrYSWFIWox/lNTYMNwRmSfBMY3G26IhF3zKpliT
QcCrnqoYo9xBjy0gGkkVhMsXq4jox4BbQ/b3kCEdqA+EICoHwCLAMjYWwZMdC0PvhC+iwaacSP1C
4ImD3OEXlb/0Mx7b/2cPR6Ne/kWEC2hL6/uc9mhWL8e+XrC8ZyGe7Autj+aUF/9l6SQdAbiuGwxz
pH/8jjcInZRnmvVIGFosMSgf9imSvY9ByGlujVl3GbETcAPIbfVYsGvoAGX47pe23fg+Cvrk1TaB
wdjmQp9Ys4v9xC6+zr611BTiepNVqg2RjZZX+GSHdcXyOPcfVLfYzabVaP/nyFjhI9YNOmIKJpiX
MQZds+2HwFKUrHB6MDBF4ZGkKUlxynEqbkZkxbBvVDOG2sAP7fF5QWKEddL1IOiDtrMnAD9SYT89
+VGBbSrIdXsLcZD1D8488cuB+JDuAwfH0aFHx5X35AMH6+AYO52oeM8GTEUSNDaFWJ3zi5DMGKFF
F0G2bepp/f4ALKDVl5qvEa824vvBc5krm2xmQwtshkdF+83026Pcg/KbIsUPERbk3GmgHgqLiKBk
sfF/NeQAsMjXRNTVZRuQT/a7aamtH8oS0wkRQ1fA7nUrA7JoaCi3o3Hib6x6qz/Xg78m1tqJ9cdU
e0zTNUAbJsZ6YATMSNbwUk7DkleOBY9h5tS7ulXFXRITj9XtQgT45axYzP+0U4+Rt+lYfR+mLGWF
7pJX+gjmAQoK2Hm7/hs2WYW0Sn9s8BGQFeFP5ENCtYPTFyXw/UCLnstMCpr6eqsOD87s6R7XVoqb
cBuRUTcXK+kajiWATh0+UCK8pC7KyJOYMF0T0OripC3E3pwbJwIkSzi7eZsjkHrYUnDwPVo5eYnv
yZ7D4ndK6R4iK6rsWq2QmESfS+zrzqVQ1sB21NB7kT+Yxl3D5lPS6fYyxUHn5Dtc3D4yi7u4xTGF
8kxxqCFob3D78eAg47PCy7nN5heykwT+y2ZM+VVSE06FUUxf6nIybdY2cIzoDBofHbFCaDyxJuBm
XpDjEXJj8QqlDsOHMhYWJTkPku8yNonkkiL2T/QMtYgHgkF1utU9c+m+xuvlPMu8w6aFZsm2XfJy
ei/JpRJpyjyf7brv9cVLhdJevloUB0y/fOKkH7XGbcYDxyQ+WzRZYJ/Mev1HV2JyOTPTNraRomgl
5mW2QCX4V+qxG+EHzwUWsLPfyIG2Tz6atv3oo0X4arNWGDdiGxCIF1uIboo5u+0HVsbKM4BmwQrE
b1E3GBuxxtVLfuFZcB/KuBq79o4wKc+X7/F6YbbRo8Jkzqo6psqOmQSmeVXjP92VUEsPAkPjOx46
apNa4+hzJhGUCqKiceG+5tKS1a86DGnXBX+Z3erEt1iwatJDjqv9S6+cyS5P0jXQ+WnpQSHax1Ww
xGe3mSzQlXXmlr+1FDo4cOUN029cUgjOFLe7zXPldTJ+K3hbjV9FG6CLsB3vfMCiHTY77y0poPVA
+FuHVdUL/v5Ic539hxIWSsNM0TUIHHphCfqvH7hEAEsw2A9BY7hygaiYDrn2X/qWUBsn9QDtGM04
TGZY28rpnnsr6MrPPoNucuUpmky6c/ya8qytKhhdLyy+V4kx9mw6NHQR2tTKhDEqf2rTePzQT70C
sNP3enzDEVFYM5Z+nh9ri+8kW2M1sJlUf8qRWWaWGt7/GDuz5caRNEu/Slpej1djX9o664IEwJ0U
JVHbDUwRUmDfHDuefj5G1XR3dd+MWVVmSgoxJGJz/88536ksSrQW6XB7GpSZ8NZ4t628oChU4kb1
HlswEg168hWRZYgyJB2MHMxPI3gsGtGnENtzSu75obcMy6WviD1BNe0Q0cZEwdTWJvU7oDgG/LiM
qkx5FHWhSnNVOYUU70skVUtbL9YcEbmgAAeLPxdMVeoB/WFmKT2t1ZzyKuicqCANqLRwEanJRcjF
mkNuR5ALbcah/kL2opkDCmwiRxwXzeG7Zgfyu+HlYWkWOKxwOU/mqiMToSReHJvpe1ooC+we9uxP
URonM16nrnpvUCo0/UhPqqPui1qlrafkXD1mMf7ZlcKuTMWHahMNBX8CV3bVNm7WbNjZDZXrx8mC
TLlWGw2zv1/rOOKuncSsf2as3lFqRPZoHH6Cm9Tnn6VF8+mRlcvi/tIcuK7rjnYEeajZcCokarjv
7hNSQ+BdbZYVnDbkGI8F/tT63NKWIoOxMUe0vbZuHl1joB67hRhmE8wpIQ2uQTjORIQSbOk3NZTy
F4nu2LhOWrpg0GyVOb+EeDbqtRFZIiWGQ4njNmZkS2/5MhZHUYrii56kNt9QbqtAviXZS8HsyGDq
YcAyH22nhqdIuU412Ktns2Xa1zAuLmKt9jrDEp+0P6s02kjewieay1msrfEu4o93iP4C5sVc7QQJ
F2P6AzHNzE+MhRSCeQzCWREUUUp9OINskJ70aaGcyDacvim3y0nS5yyZaNRKdbpKsEEOGtXLRsSg
cI2QJG9KMo2cgwOPCCZUyI/nzJGwVGzyE/qOQOfMIR/pZmIh1bry11Ck0zXTkYJttGXV6X1UXNel
WYJ2pPBCLkjaH0TjGtB1oZN/UvgTtsytI+GOTynnlcnJpIh5XHWTHCyg0xyulTvgcD8a9hI253FG
qTsOfaHDjIQmb38naG36cz2xTsFnGsLccFPCLe7aFXaDGzEyrYsrh8rmDL8vypx2VOmJT4xsnRMw
xO8xuDqCgum485rgC8qNdHuMJX0OLJ03TbWgDeGBPRGcUX6wwuJg5WUWAYrSuNyo/snct3LRiGRg
YwrNlcOMc9xgzaNmVTGF8QyGyHkiFtAxQOfxXCvG+FkD8o29EstrG9CyoBv7AR8YPXX4p8sVZiQb
/4WOTYn7wHzSnRGaYAoql+bhAqINcZ20PyHrFO+Mn0UElKEhjgCCs/iFKWA+VI0zBAk7ndc+SqoH
hokttjuYgSrW27OwcvfFkqr+Dq8tRjE3oCEwYSzEIU2M+tPhhgYzP1QiZys0oyJ9Te8hUzERKTbr
XVgYa4EZ58dAJJXkP3IJroOmK9mpNAgkKNNd9KHljW6t7STOHu++hCe6dNkyTRUjQ2pRsgNVY3RZ
YBBgC1V10TkvW+p/9RZjOrtH0D3JiA9hpNzgl1bb+gF+Sk6aTUYAwNtZ/iICOh1YzFOusrQ0JLDW
KadvofaR5ScNQyDq6jGFPxs2/EtEsyZseGWuCNI5ZVpwkusxc5SVFBQcbKnmHd9afaC6iTOu+mTS
Otzgobp3ml/jgui2DDq8WLlUflxq1Weq9AJTaaaNF5LOzgO45YlIDOsJ67zIBNAF9QyzUt94Ujol
eB2LPm9PTytOvcxmK0L0iFCHPwACORPiLNgpW/cfa5jN/MK+TyVWZ5nsPZHexvR9HGrjPR6d+kAR
NO66JhuGdjuRsSHVEWsGwW9sETsOqxbtWCNPWlCQ3RzfrMGON+NMP8aWYsMuWuUW9okd9wG9CDpd
qQnDUXtRPPRGoSR+bovi0EFpbeFx0JW4MhhDk0S1DJl6lYPXZ6UlmIuOMRS0+O6DixMfuEQRrvl+
80lWRgHCsygnNQhdvep3DPqJmZDmYh5czg24v4b7m7K3CMIoDHVpsHtcrNxpd1qqWq/wMurQo2Sd
OwfDuhIfLFui15EIU87DqMa3SfAi79fsrsNi17d2Yfxc7h1a/MHMdh5wNxqDRxm8bWytPHWELzgT
kL9Tosh3lxCFHXTPGOCvqZDW+fWLqK1CfUN96FAcWBSoBj4jkTtsKOw547V+6xGGWuRvKOxQFsaS
wyWUFku/Loz2Npq55a6czlK+dNhAnyJVBeyPSDc/Abz2AGUWHISonHnxbjsqLmLifsQTBzykNlkX
pyDECS2H5uq+bq6m2TGNqsoesdfVnP0ksXTvwwzLpu+aBsuVVMM85UNM6NBtVYxnCFuNMC5ZPWo/
2tHqyiMxmTa5VU0n3lWh1tXeMqfizG4JmZ1kL4VCUDYM/Fdst6h5q2YqX2SnU0gN7V/ccMfIn7PG
KpvmWKFER0063N4m0UwJqyWspzhzRPGpNJmbsTJlowadEi208ZOC7baPrFrcHDVuuN5oHzraUz1F
7BFit3rsxsSy6VbOAShbZDqvbd/H+ypjP+aJzk1v2BHkzWQjtlfY3IxblwYkQkH4GEKIhrUSP7sl
ceafxDPK6VRGqGDMaM0s9CZtyTEHxZEWIkJ0NaadGKO4ekxdPa1vXa0W04nMatU+Z2mlEyiu49rJ
V8iyTYXFEBD6hpU39bMSko526AdEEWYleVZ+YoDKxPNI8Ha6GPB9agLa5CnXBPkpAXTcsmOcDv+7
YD43lYqbAmBPlcVj38X7D9SuGo+JEhe5r8Z5JRByTAXZX0wiPAH/F8YmwbsJMDOZoV1Rb8k8rkSL
sXf37aR8TwmUuAY5UoMTP4OCDCZMIX65HuE9cO5wnIYTPTuJ9j6SVWynNRiexKQrFo/Fq6IyIvPq
Asrws1jYgry4BMudQGZjaL/zxjQGsx+6N7a6O0XzDQ3LHYMWPQzgFSZvbUO0OCVMG7FKPhFFKe3t
MrJ4WI/VYLqc3mlCyMKu7DQMWqNLjU0/ucK5kbnG57tiaj6mdLiG5is1TCodNDx3bC8dmT4SOaYt
EixT5GbxKsdQRSelTfyeBaGrAW+gKNyblSlKji6TpNLXiDpUW4o52/zBti2HVxirxtavzJ9n7GZa
BiHgvdbspmFbP1fTmtVGVd7yts/7fTQYRfEZh5UwgrRINWl62G1SgmKhUslLTiBPe5hsde5PQxVX
xYXsgL0g2aQzCiBrexcnhNK4+y5HKnqdVZiuPooAddNc7dEcUNyrlc9YDbUZPCeP45uG3zWe14Vh
0DPP2ilHjbUSjGBGPJQGqU7iprec0JD5rXZxaT/cCWOzPy81b5NXwr02MA3NWEc9c4gb20faKHKc
ahGypT8B07rTTWRzjbl60ZK4DbHowy/+y6IVp/PFGNdknxXT/pgmu3gy0WnSILedfvD6JMNoZ1kx
s0FzhO/KcG/GlTFVbvO2FJbNbMmwW5JQ2dhTd8E4FVA0IO3Mc1mqhOcmdo1zk7Jr8ItGzD+oydBZ
KaR9R9bImoize5SDZuRbkOpWI/dpvKGaq71IoqE85wpWd6QjmMUzSCJotVb0ObnUrPTu9pW4fVWo
kGGOi8xyqIFWDMzd1fZLH0d1hHKddrDbE7cdtoqGXg0XIKKi2q7p3oNAhzoAx7LiVsPlgwSqTK6F
s2p2maGOYz1S8hPJDE2MOhBGyOhb1bZ2qXT0q5YpIbEPWEV+VySu9OecbtodHF9W1DFyXbhm+SBt
37XNBkejjnB2oNOtwcHIIJ4G8eKuLLIyttfI1YOzavU8iQKwdETwTZxSdG7dN66YoGLDCVrTlvQX
1zwiVpBRtVc7ZMzi6zhrPkDTj7+isMdYCOSEFoPWaXj0aqmR63vOs+p1SPJ5w4Da6v2aHGnqL22u
GFvuXQp+JzZGF7UKgSsvc6otsPFC+WIbsp1fGkyLA0XpYpx/JmPK+h0qJBQZ3tlx2tIUEp/huqj1
I7sjMODO3Mz6jsdGpCPOOIBEUFlbskkrDNrNeMZ6qVVby4RwA9iOCpUgHF3WgsQ7NLIxshXJKRHE
INYI56W7jYWcK3JlNS2OKycZnPgAFT7Fr9D3VYwRwYh+ENk3NFCwY3xIR/iT54X6y+Xkjn1nXaAa
Lj3wS7bbnimE9WkDl41WpkwGHoxVk2fbbEae8m0ABffPJPKc4nXec3H1H5FLLI8zfsje6ihz4gvB
fTfbUTInl6BoTPsR+M44+RQakefhLjlWt4XZJzYgksEZuXDuIGzwrAmbGjWmHAgzFa8WDL36QMw3
LA9WkaQT7wjSPzbqrmOW55ahBfOq6f2Fl6EQA/wuzmcBXuZmaWS54S9hsQ84YnK5sUd3NY9SibLm
RGrmTyxQ9EdaVayCiQeWXzwMvTTrYzpaY3qUTsaabSE+WfnuUvZALzvMDvCf2NqURS8/F7MeBz+k
jXngF0sKLrZFL4mSD8scWF1s2L6cHZtdDRWe+rNugjn5UmsFKys6aTo+LBSMzJ4YDL3eNJKZ1MbJ
eWqtuF/2FKXMuuN4lVaMNjPmoaSMvOKOEtCsUT9ls9b9IqwN04+gnnUJGzxFeNh6XPGjBVR/l+LQ
GbfCEUnsDcxK+6+C2TnLyhhxG8TIKMONzgRb9bDEQ1PPZ9t9jnqB+1IDoJHvh0J05U5XLKl4SMNi
CHBVMfUzzbiqj4VJutuk9s9ZDXfcCx7K8FyNGmFo0N3fas3GtgEAdtbRsjezU1T9p1n0Of6Rwflw
aopCZak1G7MtxW3QG4fdE4D0xzyZ64tJewXXPNw6n0ti2pSuXX13lNze6WUqpro8DMU6r23tWjMB
+Gy5DwYLdvG9qQx19cAaQj0bobCNjW5nbMx0UJffhYzd95ZR455otQXKUJs8icD6xC1N2ySxUAuf
TL3lg7gtNhAS5ms9KDoBsBKwnt5aP5jFDU91TNn6bl4G8+fMHfngqpPYNV24fMBGhc1aOXazJpnE
9LGlZ3KbSihGgdJPhskTRLF1ry7j9qmKJ2vftoSj11k9YCZNEJGvAqyKDo00tTbYnBK/VOn0BJxt
BVQ74JYp3GGPL7VXaKaureQMtrlPdqVm2JwNtCKuewGDr06TcBe3y0xdJba9FTnY5E2mKSDWsdbp
GxUJfu0VGHJ872arxxgquHgG6lCRcZmjduMrrOG4ofo1ZrciLFUbt1Vjyscw0hEMoA/CtGhCEA14
XdXiNNFV0dQrwqr9F1VfNvjnlr0yrASlPYmOQJ9nojeQ9U2zmXbOplxY4LWzSRgICkkfEC6dQYTr
6oXxvXuMM/LKxP6Wd3uc9Rs1qRgYdBNMBBZN1z7wHsfJjuq6NH3OEAu5rQpeS2k05X0ihalsAR7e
10dM9TpUtKEiyt9loIg4EaN2CytnGY9zyWZyDUaG0AX8VcSjnTKljD5YMBb5prMK/QHKCBTSIW82
6tjKA/w4faPApL44kLResoZiDYo8ZMCqv32M8lK2GydxoVJItmzchR2jkwctw1arg6E0mpWeOALh
oyLA79HiNDNliKSpedTZwb2qVcMacSmTS3iJcujWTTMWT9XcaiemdjR+tvBnXsalqegHaxxkPwc7
sooKYg1ltXXIV1E+Tb8vZEywJHSnD23D0rAcax7eoQtFngZeDiHmFtReujpCP6qX9NS3bCp4CjAv
anjXoGFBgLjC7Z22slbHN0RUKH5LqHwmFD/sQmM2t8SSyh3Jn3T27YhcmTfmi8h2Bgvn4kM0cBUD
vcxGvJO0chprpXaltYvY+WVrTHRq6kcpwtgWkzstTClJRYbzEoquY8GiLCXJ2YGII9WmzVhxtDt2
dpRFLtMmkdnQYqZOlvBATmBxb65DMdJzw/2WpYHZUl45p06YH2HM97SsoLMzqxM0uyg2PfaqUyc/
Us7Ngx11xgF/NERqqZsPGLImFmd8rq6GHKtmoxI/rpuUiWPff40qF6pbymbe6tZdNJaQHOgjJag4
edYULrRCY1veDHIh+FrTfxVeaEgsOw/GT3YGwpVeKJJzZ0xjidwP3fQEKCY1zkqeEupgFIG9iMqR
BDwTjCEvNeiFCjpIuhAMmkWOjCjE0O5xzaktWyrDJCqc1OXCpaqj1CQAcFFx+9ssGCnxQFDJkyab
FPqIOvIKZGpARBAy0fQL3u5FTJ7AL9lvFpKk7A6FWbvFM0ZONem8olVMpw3ACFJrSuwO28nYVQ92
S8RkLEUD+ZE6Q5heftGxD+68RF0ERY9z3xp16wm26n11pEd4yW+0D4v6dR7bgZ+q7jRj2ptqi9a5
k42NkOM5cDzkJ/7FgYBdRbUwesFIfDbmIietHXkms+n7KWfZHVIURMZ5LVzDfXSov2BdAOlBzHuL
Z3b23Xe1gXbktIo0UD7beLmPs9Jee9BUUyi7P//4t7//x7/9nP49+q4Iv89RVbZ//w8+/lkhNyUR
ut6/fvh3wOP87/f3/Oef+R9/ZPNdnT9RhP7nH7r/Pf/5PbzuP/9e77P7/JcP/LJLuvnaf8v58Zsd
Vvf79fkJ73/y//eLf3z/fpXnuf7+68+fVV9291djfln++c8v7b7++lPTzd9vwT/egfvr//OL91/g
rz+fe5l9z//rG74/2+6vPw3jb45OQ4ltGYruKNR8//nH+H3/imb+zbJ1m+E5ZjOHkaH15x8lXZ4x
36T9TcVcodsQ6E2TK1D98w8Wu/cv6ebfHNVkm0wexPzz//3O/3JU/uso/VH2xQOO6a7960+Tl6//
cfDuvxPGNN12FdfAOGCYUKB1na///HxMmGz89af6f2rZDb2t08QlHU54fGI0meHaykMLWhcKTucn
dVZ/Eizm3pkzVPK6gfJ36nbzlcEgN1hSZXhCmakvmqbscueG3BAbizwmdTrt0Xwh+EqV3lslY4uv
KtkPbTKMoIC4uXe78dCI+EtiAJArlbAKqeyBXrqJxRxwRR9zbqyuFgmGAVr9g8RrdIr7BI2yUOMA
SQYLQGdef38xJJicF4v066r5BfmhuiYC/b7pCniySXqYM20geGA6/sBM3Y2kcsL6rAXibu8gmfaj
HLPTfzsD/vlu//d3V1MM5X+9vw7zWxfHmMpzFz32X9/frG8R+BqTWVc5sBMhdrMqsjY8S00Lz2Au
8Q1KyUyrH38kZpSf1cHSKHUef3Rqt+6wLjxpHeAI4tLxQ82QdKPBeYJxGsJXoeA1xgqfF+hqx9/f
yNLAeG6ikyZL/TZpL05ddIdkCku/dhP91YinB0TF5gqJrlth7JwxSWAS+v29vz8s3LIF7seUxZmu
y0IhS15N9/8ic8hTzjzgxthbqts8Z/XLSH82SWvMnKzHkicYysUuat27IaG9mNxRi3U7lfVrYYTZ
KY7CcaVQPuWxw6527jIoW7ejKAAlf3rRiSwHs4NX1Zh761bRQZ9lGK5NXB+6bp8ts3XOscmNErMW
hm/UWotOSnSXSKZvXVrQ12PeX7Zzk7ekcfZaj0/dpLM3xH+OA5iDu6kaWRXBiNnLa4p2tbBReTXh
eTL30hK2bHxIRP8i+3G66mxUVgTpS2+oFXFqzCWlCqFYPga3JTfJ7BE1Lt6SYsx2i15Vm6gEo8Uv
u+CBOxOe2QG2OES9HXNcZb4yCcXvS6ZDEqMs9UDNDOkn6uP31JANQNvOoocyit+F0m/LOE1mz5xF
BnyLtfZpNILRxC+V0IlZgDoCRjuV2xZLy9kgCfmAE3Fd94Zxb799r/VpOOpqofvqYmobrVvMNsD0
SIcNng2vtG1l//tQsovjCaxUHkKy+IYGcEuVZmc304Tdv7NPlJXZp0mdnjRWEVBhTPPw+x8LuwlU
BzZpqj2djTjNdp1sqpMbR1ib+8BkTnEuim48dm3uIe7TWsM4y6/ClhJyRdIAVTUG4NQ2+pzEfCwp
GdwxjbNPnYhNfB4TED0WnI8Gg4tptJvL749EPsS7yaFJII4puTQYYHjKPzhcZrZa3Kl+N/sRnzoi
wEnevVHCfcdeJXEM5e0Fo+LTMIv8PCi2uhoSFM/19BMprIUbvayZFtUn1nnsc2Vz6tW2YDTsksqV
KLIRlDY08944RrH5NYBLP5A6eEWJVU5632+pLamPjTE8FWrkkvWrd0MuvzAfdhvkfwttaTEvGJJJ
pmSfzWTZD8Lhh5isefiIbOfJzNgvEnM+1U2FF1kFXHFPGJTzt720byb110/G0inrlAfMcRjc24AU
8ZLSiBaYlY4Qi/F8U6Tu09jo8ZMm6xuxr8eQntMQ7ftEprQ6RejaB4MmLVsrqjNVPxg7GTLsKIDJ
dwiBrNrqyn6wpsV+mExLBG0fuXjjpq0GhGdvAXI/4d3FRHXXpctuCs91KtUziZr6/kHSKEGuMSaW
Vmg/9OqseepUY0a8v2AK1tgDfGwHkhvI+t6YuVNKNXquTd7o0kysNcJ6f5yqiR6TyH2gvYhZUTk5
GyExtPGgcR+6SmNOVk+L91+fi2i63tIrQ/7g/kfg8kSrabQM5jwNRcZ6qaP/l+UzGmizQ5Mu11lm
F8+uyq+K/z/4/cV8nuNN1QrsggmlkFTu5R9LDJLg93/943OTILq86MrZVMqgZ9f2q4MemGe2/S6q
Tl3LstExYd7vyG7LjkVIvEETY8X3IocGaVH27EqNdqkk1W9mVqC0JNR2iDwTq3SS9SM0kWotF7LR
nRnRCon13au4XVJh4bzGkDN86lOVrZnfZRZiMppnha54+P2PfizfnbAz91NiESER2gZW7WMXOeh/
mBBc44b2UXqa09yGlr5BO14Z9fLWkqdOjeRUhGRDIbU2aref8/jQ6nez+7yJcdCr5aM6iI1LW+xi
8ynclIxNA6ygpBuULVyAVYLT1tbEphHZvsk/kIBOk5K/wm2jQt51gjgtoaHKbY9y6EZovgwT5kzu
BUGuwv3U2CbSFxvcX0pTU680uLFglx5wj5jD5Kd0+zi15WeKijUp9maCKppQdyKiBteE+5kTjcLS
ueTc4at5P/IYUMZiJ5PiGlqtT3nQqiBqwLwQcLdwr9SR7ULT9QZqNEfzwu000KW96RWujT7cKaZx
Yp3zmEdGkIfjKSb/TjZgIeBaTJQCJDbPy/mk4hzVUndFZS+JV+FToDy0iKUh8604hiFGqrbHMu+0
vo6skOHRoabiSAnE4f4m3t+IxRYP+h1l2BfbPowOvc2KfKH+CZ4XdvHuvWeAo01vJq3nsBEVHUuQ
oJpdQxhKCt9uqk2sgiURGrN+YincuPLCoaJWDWQTgNlcd+oIgzTe6JPq32UTpn00Dwwe1lEcLdMB
iN0Kn6xv6xHRSaCabH0K1zgtk3EJBVru1BLehsoXqR7Q0FO7TBwHnNHxsh7DcnfvlpeD4anNeAx7
hefGdBBz/iIr50wChB5HpIKZTCR9oKSP/HTuPaRbtB+5sh+0hADBFPsCJhKTd0uPD6Bfdn34lVfh
DiZ3AFX0CBicoZZ1N1hiHiuuCa0mCXcrmA3GVATz0BOjclAbl00FIkZVG5+EFTQi+6pEFHdECoka
DJpwiT5i/jaFc0uxS2hqRh7YbMO1gQmymvuxAkzY2ZHbPeM6Cbpy8XSgczzVyQ271LJLzInjQY+G
C94nP69BU1Pn6QzOYyN3aFBBzi/2GWsWCTPnhPYKyWi+03x+UAep08VJsxJ/p9vh8LqrGHPj0eC7
1WtjQ1cpJ9ivLm8/EickAhcfCRp4PM/90IuseIsN9GczkrxFGYaq4JEa2KOwb4QpfCaEfqw5QSHE
QxKZL2nUnu6vkjwjp5A0xTZZP6oRKx7OnNy+3/WiK+43QGzmeZTTlq7ioE2J9It5g1Fk7Q7kOxCt
QlD1Q/3VtA5TfhkwdKFP1/Bkm2zu53PSzifaWjCl6YcwWR5yLd3zk3t0obLG9aOuwCQFnIjHaDi2
YCGtzf3zrrRPYNKPbJV3hYVOUSmn2JV7uBCByQXd1+PKUApPt+aLQRuyNnX7+79bxTkmjMIBUbJR
gRPt7HQjpnhn2odmTPFzth7wcREP+n2MW/MM2HDFPNDPnXmvtsf7QQ4hvw5FzQOwZSsdH/WcgghL
vzSJ+fuHGzE8TMMEuWxkKli83O+FhTufKzYW7Ru0a09npeo4WArt4poV/bZnuDbT+ET3e4SqqM3n
0WZdquJP7ymA/nm/n+UHnm5Xg2IKubg7OsaPppNyF6OEwBbQcc1nFm3rjixbOmcPKs4AhS7cSa+D
UdMfTBNaVea+6ebCkDY9LDVLzTfpRpjfs9P9KHTCvBLqwpJobhiCgeebT66Ll0mWbwMqyv3/5si3
EX8QMczeqRY/edBuqCh9b6PwXNblus2tGxNzyETK1tEwSyX9hZvEGllsIxmGgrjzuaL2k6MH6iwD
zR4uJjfMqPzUQcGWlfU4mQwtSj08gy4AZRue+lQ8V9kGGw9z22OpjxsyBB4YiV2eGmuJcbKGzDr3
8ymdxseacGl0D7lWmg99i0e5sbwwvN5lKrE0hq3aotONYr6buL4LrVsDWtLaEXIAQSWWNfFKL5VX
KO94UZrkY0GemBcMxh1FyuM831z91mbZFXQmZoycrS5vJkjbjT0RHNOx4Vi6diaPtDa7nvfKektl
WHoEtY5JNL13nL+WUr/BuYRHUK8ZsjPMdp7aPjmOJWS56ENvr2HkvkLv9xz0Hpp/TrKxDrla7WML
uqtbHkLt7uouonecxzdFCCYxbblS5LAxRc13G5+VGr0Zg3GCAFUQWMMpeQ+oUiMBXZs74rClYXAb
UeRhZsvKmhEXFse+1XHuU/W6iTNAUzKybU9DhegRA6iT9ZpYKcA0gIKoomOYj1+uNXyYPfQ7ML3A
VUe/1bgKxfKRpIGu8C7DLebtz67fGoNnUtg/rBJLLIasn+yMjkzyA0alG3pfrgbho3u88VA2xs4p
FZ4uVw0lFuWrxrdqg5KZwqd2Ok9GfcWE82z07UMo1cd+pGHLegZFc3Njw89qciCSWTDx3jf0lXI1
NfWjDNcYK/Cu2csxmstvIsh4IN/mRX1RaipJBik/uj6i9JwZbDVsLGN80W2noWyiOonMfkbTC5YY
xnNSb9lmb2S7+KqJXFLpn5UdfeocPpLZGz2a8NG0m6UU+3TxMcWRZxH6YbCbN4WTcIW5isvxHDfy
aUrcd8tKKUAU5T75aqr4IGszKOuJfZjnSrbZlf7CeNuXDONwJ5xFdcYx+6jP+alzc8+O06+BVqNe
hhjrypUreLhW6YOJQ34aKQLhfggM5tq6Jv6SnkWKup+UZ1Npr6k6/yin4tJE7iMlHSdwYjs8Gver
M1mUG2tcz1BUz1W7Lz1hK1WoL26dzSvROf1aP7eIvy0tenBOYyLGk8qxrsz3Kl9TxY1RanpN0voN
m98j58xLV9WYfFiPjyDnq/xrmeqzgelm3Xft1uLCv3MghpLdNO6DC9uILVhQRaQHLfxQZ+ujd609
ntmvkXICZkbLOVNnbFoOwIEmweQRnzH3JLVxgeWScrzFV8f6YWV84Y3R1oR4qYiA2yRz5Wcle4Le
3T22U7keIa9Nri/PwkY1qOMjCabNqEanPkKIIG6p7jOaABkdlZckpbILxNEqcemAmDcVehMJOv1H
Yud74CvYJQBrZ+Qpoq4dWY1lh1wT+0UzIOr01QVjC3daNmCbGleF7tJt2BnKuraxbfcOmOkFnIFg
SbCiT4gdE2wbJreO+7rAckc5YdtubuuuHLxFmX4UihV0GCbovvO7zHmfdcRDjcl2A0NVtT9d0T5Q
t+yZv3luiMO2swP77ypDsAz9oeKuP9B0q9YdA+zJc4fuFhnqkVjAqxUNVypo51x/ACDBs/cDr9u6
owthoKalGQBPFxUProqUpCJPyeScCFxSv6E2EAlcHmXCHTZU0x2Gu7K7KHgaauqi/aYAQQpDCc4p
n7JxFiPyM5vg3hlYUfPEk51UVFtQdzNZhL2ce2sVClnGwmQk9CeEDjchgdGBm2aeIF5iWUgAq0F9
5ocGOKifsGJeZbmhTeNhkdN1wpHDpKz/mMonYzA3rqNSGXM3SkKtCYHrrZb+55ItB1w0O0Yc184u
rzB55aZMk3vE5Tao7Q+n4EIIy7VICTRJuz8gfPOUeaRych9F4rxAlUlPiKMDACl3C7LQpwb7V2u6
1A9n5QftTCud3b4BwtnIGfxwr+gEfZzCvmpFs+VMPJhl9NgnwwUTH2AfecAgFiA/Bo1IWBEoOyqL
1lX/MvRgraEF42vZ1DCvmwjcMdzvWKc2WbtVBB07XGYmmGg1/yF4CFFyAZhfy9aGeXdxqbtwZFXK
sphsshLUI9qPfpNR4bdjvFvqH4SyPDo2fTflWZTZ5EiGDSw4T5U5abHpCR/satK4/TA9fQM2vRYd
2yrUHrUNS3BXGkQNwI7rpCh3/RL6nRv7Nfd2v4SKPzCMWQ2L+s4m9snpi+HYuRzCBgMLPuFgnu3H
ASGaHCn7kfRo4eMJF3T1qd2MwPggSzexeQMmuGoHycVWnF28zSul1njUPDJZ4zFLVkVEFworg8ax
niJRXRjuBmnSbeLCPdlDvpl0lMLwl8Fzv5i/HLjT6D97Ll3qkcvyrKiGP01j4JbjtiZMAA/6aiB9
VbX0UxaASyh+lXWIMa06se5U5CdC4cukKkFbhPumar9H5DdlIJBNF6NbRDzHrH0piRcwJQ4IAmEx
vu++FHFMnWpj9NluMizsCOmzHY8BvelrVzsJKkn1WD/WdUKHT7WLBKEeCxEMLCOAarq7k+jisjZV
dJDmfbwJcwWbUQJbOX+pr23yY6xzb/q25bCP/y9hZ7YjN5Il0S8iwM3p5GuQDMa+5J75Qkgpifu+
8+vnhGYeumYG3UAjUeqqUoUyI+h+7ZodS3lUsPwWTr3rJREWHjSfJrvaSdX9QQhvVNfzYsKHtKEO
6rWvFV6rIM6PrROkjvWUYIgFNUhiSyD1TTL6aYE02fS0/1Zd/6fVwqcF0jxQ+Xf2rvy63oP79w2h
keHCPTFWdVDBMtDRHVgKPxD4tM/OOIRVGLuN/Serz9bjNApdW9Jl16lvGZYUEKZHNeSTMukgDuKr
2dd+ZjzVgxXoyfI7gd1prOOxhZCMp2dLWZZHjOeWWsoxzPXtWPU3IbPXaqlOKJI32+4ZkPjAqfFp
VSFd6nXAKPTRj98gdPfxHG7XCHo5sbtxSBFzbMIB2c+xw9tiFv5Is3pr49U3owPNaudOa31LhkgY
PLVxZfhFRUZYJyWdcYF26lMM4WFHafLP8TFOjrYHE2vbhfmWNj6Plc9yii2L5F5EZDFHD8lFP7qR
qpWghlf8yuFnGM7btnMwvtuECIf6ShWCm/ORyY2vQc+/KRbdWhZxZ117Eyb530gNIp5li/jVkTOP
o+U6NOFxrUavMmee/WSZ9JVvcoF6ueZ7khs/J/FDzp/U2nskon7BYT92YPrAOG1QhaE+AJCc0mdS
TIiiwtiQNtguK5J9pFCujWRmh5uloXlQ9u9V53jRwJhMa4RvLMbGIfkGAtWtVmubGYTYTHkgiryd
Ww0Rywg93mSgdHc9EAknTtpNbYgznDFsWJj3FAGr1bhN/K4ScZlP6ianVrrBxsm+ciPcotFvAI+D
Kn8JrR+lfuB/TSO9OcJXtmqRO4nxTaRFAPH/AV4+GNOuXMiSF/F+wXu2ZkmwpAoMRXMGltBRYbDe
LbUHGe7sEmU9kGk+9vl0XvPQRy/8avAcYJIrCeHiKOXaezRXOMnK+rZS0ePGSI0c0Yd8jtnolhtq
vA4DjpdNS4OtyBls2XZzFXGXBoOcfsoI8irccUPyzjHiKWzbPc+H5/6RaLfFASK2X1UQSJb40KnR
LsHwTtIH37cWyBH3scjvZqUBGi2z7Wik2D5Tt1zorSwhbacG0B/MIa2Nc6pyLklMaU5LW21KeVIO
z2jWbxlqALazC7gZxBCslRpET/3njIMzg0N4KecXqnIeusfyg3Iwj7LapxUHHDL2y7T+JknnmpAg
p4pCPopaEFwZ8jvgeqi7Od3iLOJ2ZDSSjQimpgsG/bS0c6Ba+KH6JOAu/6OcwpOIlQvLkWCk8HNP
3JAghQWDQVmfWjPcOnV9oQLZT1k/T5MbhZEvU+ZxTK1zzaCL2mOO9qsYzAUW7A42mmuM0xZeH/hN
FjTq77QzTgkBIs5noqk4IjCLe+1quho2SjkqP8yR2c9sKaaMi1M7Ol9JQWg932tYKMpcuShT4hqS
5eWIe2SDkefctddutfdTy3+CEm+efM8ZcmDCpsh3DHpfi4KnHgYHdQlo39qnGCMHYZMDrQLLPprq
Pq4iPEA6vJAPIrX0TbRgRB6FHO48J0cGCzzBNt6IegvRfrfWlS8H/FZ2Pm/z3rkpfLS0lE6LPnHL
B73VGg5MuzuzK9xhUm5ktoKKPnSYFmcdHrGkeYrT0FdwfNv1M34BzzJ7DOmDJ4cntcVpAdC4+3bC
yu8GxYtxJhCKO8n+izbLlGgrrZSgJM5gHnxqy6pf1sDoAXhoujPAuyshAQfHaa3tbXtf2BEk6U9F
e1HTVzX7MfJHl7/os76tTuw5HAXwpzdAEHxHS4C4F4FNOGQ58Che1R6pEfRAy04q5z4sf9AO9Zwa
0rcgYLLpRoqjXjeuNxYc3DKoo+eUJP80pz5DoJUcu5DCPxJXpTyP3Ld0bUT7W9nR7ooT52LRpUhJ
w8GeCCg3HlMSLSNA8svMj+UH68qjDsXD6CPKXhBKe/0WlV+98m42eyc8pqZ5acfVk/3vqQC2IOBQ
kly8qHJPNIP9258kxQNkdh/S9jNxnO0Q6pGxN1ULQesLgqa31srlYRKX1kHv+4+8mPGRo9urFK8l
YLJZVR9sudOSbm/xFMlhF8XKe2saJ2axhw0mcSd42Lgjb/Z6Qnob2neqJ/wO555qiAvVUyzc1YAk
XpCWIWAuzc0sazuVGKjU7Jrlyj3O072tsZAqUP9wB9WkE/X+KS0Y8uhG9xZtcScku0Xj7kJ1cI47
XO9GxiwgQoNjBsSWTuAOaaOeEZeq/kB+ZgxR6mCROLsFFjnHglpvof7z3s6MW2X4mdZopziKtZPR
OZhIyt7FOhLe48eXFt1bF8PdSkfbLfC+Ao502lPLnYGLaUs0UvaLvBYkpZ+UvD0MdYJJBiNpmT26
K1iznOAuxke6GlzDoj4QUoB1pmW838O26L1mbsWzqsUYH6HsM2IpFxg06kmyKWEtsnANNMp9M0/h
724yTkid744SLTuSPeZFhSUaKLL7w9pyOSrA7pjVo+X495etoULZLbqaWx9/9+8XzGtfySDeSTy1
93QSxY0KkWhsfrLFE0dqJ70Gq8f17xfS5tLFTkvmjvTsccCX6OBPewekVGOnz9YrTRd8vm3UtEQ7
OaZuBnaIYZ/hhyh+Sgz6CScRul9NTTe+fJXwtvUEHaPZJXTUu+Tvli/arhnVV94boi4Fie+/Le8c
GqKyza1ZW+umqNv84vSheIa4doymMPqUI6g39DlFwmDBEp6BN+h5TGks1uewZ5bvuqui0adDpLb9
6WS/TKFM6Ilz/mCaWL4ti+jw969KZN0g0gtuU5JdwGZ67LiVmj4cvXipewfw92J2bj+Nk9+otv5a
18dBH8SLHcEgsjDjH5PVAcY3Jx9KNHv/yWbx/5gsHMvQbFUYjmoL/Z8mi6aUsL9GKl3JH1NmaiSc
ucLJ37CXKVvTxO/dd/OfqA7Vn4hCIPWzk1Fb0WnFXF0FYKxZMOo5VZIrlyI4gn7adxraLTlJjUF+
+x9ervw/L9cB1ix49usa+2rj4cn5F88NJZS9EamT6jYGfGmPnEA01etF6ekIJkvuE1Utb+S0Q1pa
Hqttq62vGQ0gQR7i7LNWXML2gnHxYZlIs/VeLnlUE7pqfrXVyD9g5+ERc4I3mRJ6OjtngoWpc/37
ZU3734X2+u//RNr/dRE5pqqrllQl4QZcRf/8E4GnsZMqj1WXqd0+ddgBrm3HywRMfZmxaXsGRjc/
kxVaK278g0IcwQ0tMDJFgRYhLfHED9atzGW+GX3tBP/h9T1cTP90OfHJErAudMcxLe3v6/+X7zj5
azESLIWbyg8b7Xce/ZKwCSoG6T88rugfiYZuLk3FPsXjy6ouTZDz3bv8/RKNof/vX5GOd+ufr4hv
lWqYptAMYQtNPN4j//KKNHBNg/PQR3FlTv6gKYRlSorfhD6up5IiEa0eXlKAAsx59Nsq+p4+n8wr
IpI5TTrV+9I8gIu7RFY2n0FrYuZExBBOo76Jhjxqm07y6d+/ZktT//erFo+JxODnS0GytEmH/PNV
V03Zce1nITfFonhHoHbjVVtPSpSDQ2xYUWtkg3hPuxD7MUzsdMNe911NhIJ6LD1XSTjSBNfHUbNJ
ukrFRRmyDunag4P6FYeDRF0pboKqco++3sS1W1ekAjR00Za7CG8JFnaqNiLWj5lYL6upfVcxHBVb
q967MuzdsQDdhZLTjQm3dOS4nHKlA5zlO7n+8JknsYsXjXwD6Q4wvN25mcEF9GBONiu1PwSWUjZ5
uelNi4PDW4yfI3lbI9UgUFuEEOal+ZXU0Vcerb2fWS3bqq6GAM+VmN0e56tjoi4ZESCZHL4OeVAt
7Cu/nYyPtphoiSqHYatWClWhzbqph+goW1vsde5PxYL07gBRA8qynMa+OVq9+A0GkJZXEgLGsCq+
SDlae4rWphFTU12av0NoQ4lSagf05ydp1F+UtG5ruym3plSfTUXoO2lPGD/sbTrOv3Wt7Qgmg3lR
NMZsskLo8yf4EptWV69wPdmjM5wW5fLIBTPaijf4sFEw23DNTCv1FHsx3GwdP2RkIGSt4VuuPFVr
ab2Pg3OC6EVatcPk1qqwFqbMYQ5DmAirsTwwgxJZQ5qoxsyASsbY2vAH30C8CXGGZa+z6RrdQK43
W47Smc66bt7N/OCUw7kQkySXu3z2DguzkPljNAWgd6lvZ4t8LgcnwlIJiFOpn8c2J2rxiA8Ode1S
i87M1rvo+q0fFqHBiAuMKk7j14h5qx9Z//alOLHG0E7V1LwQnUm5Vo6d36bgTfJ4hQs3HbMRPwMa
BXiZlE0qMx9l4Gg4Idmu2tK/TIHGGEXa7vERDUPm1WmKvji++43jDK+8TAi+fGQ32kCDd81FmmDa
M41dTBUJ1HWws4BHsqPRAKSFXeM3dYsRz7AI7EBGwWTggMcl/5Qozh7cawxYaXHwZOJED/N9Vulv
XGb+1Hatu+yYqD4yEvW5T+C1p8VLO8cp1CB/rLLoc8Q0oQWpzZtCB8FyMId+Ez9sEqZhbweVbYIl
u9eFEQurzYLQqx+rKvzdDNarsViLV85hkDS3Bh/1Zmit/M3Cgk2O5UeUOrek7r2IkKBLS+EPWX8A
W9gbRXYCObyXXfyaRVbqalIiuY6539rWjZrGdN8BJHRTmRaXFpXZn1Rw0K15w1iq3WfQBE+itTIW
c9m6u5dzaTPf8mUi0HoBDvor7JJLTr84Dd1SurDzHJdEPZGIRJ83gMdhhYzgEmqRsgxrzBO3ddud
TOUHS17Fr7UYLEab7fqpehq1mfV4TL4OgsRPTI4vsSbuil2cSEq2l5Gpd5od9RJLpQOpAKo7n9Xb
WiaflHH0gZoOgaWJb5PAKJTL8b2l8eSA72kbhpXkjCPgHYmnIgLKl4R83gDlHjM8ibLsfne1nHwW
33+GjBItLna626jmj9qwPjsD8daJrN2qcacSQ6MTT1nPSteIm2lWd5DmelBXCJlsYsDTZ0dMnMOW
QG7GA85pL/wDB0Ds9c6x12WHmByos3zAHrttG4/ROe7maaPBuN1S5pid1J4bBtynTeZYZFOUbT8I
9VQ80o5aATty0KZLi23TU1mtEBXpNkand2fDiOMbWbMbCD6efvOCnyiLiWrPqI/kXPYS06urKEXt
R0n8EjqjeiKZBAxDKUvKnRyxCRsIoNmbJDXJhT9Fk5pltkeowuL2gBS31bZadEiWSneqpAD+xMAn
VG15hnCorsYes6hzIsFj3YwOM18GtX/WIVHnMF9d4DtfehHJI13Dz4qd6VfleWJhugX6A/VOAonp
RjUNUuJxG4dLE0o+w3ut4hoik+T13KzIuV4Uo1ODodB1HvHjKyKSH82vLTDkgyM0AF/RZN/KtHNr
pcqeSeQ+O5AIjlM5NeelrLd9is1H7Vfn1Gn3yNB5ksTyzwNcg5lqFnvEMfSNqgvo+KAhDDvC2ND0
Zc766Ikp6o9M0jAViQmGqnrp8ia+kEs3Glx+pGj0oEyGy2xPNqhvlJ5yZAckc69swmgrHas7kzg6
9E4fv5AhQuZXqlPVpMdatdebxfRN0Xp7AL67hWCcPY09FVExV6UK8CPmC+L+rf2zN0wI1yRA9jqf
KDxBhC5qeQtjFRVWn1/I8zVUPerxzlw6OGVm1FzAp3j2HM37XDEVhKDwpSuy8knFEJTWPbWZ6Aau
sYKdFArFxEYa4TIq+8vcDvGeTCdBP0DWad4tXHhxfpBoaCmmPMxWaXKywJZc8attMTVB6MFt7Zor
uJZx0vtDShjbQeoKQnL/fPfj098vFFEg9WbjpdB45GjsY/yOeM4lVkKKjp34c+0jceX4HQL4ZjjR
B1yTcs0+KPL9GQKxCdB+rXM4pthqV+5gSqp6WmiUvtZJ4eZLHF4U2xq3A6cIOGnbofvz75ernW0W
yIF7gicoQm3ONrsAmUVE1k8LRCKZjNCJNPBiq1UQBY6BNSWLc6rtMqGiVP1oHy7ykF24G3dY9TUy
jFlh6Ie6SEt8NQkSCVxF2po4402LTFYWhmcIdcE0pPZmzfrCG/PyiNDNepYOtulY6it0pFawmJOr
2MFAf86S9LMruj7ok9e1xgpEd+hrqo8VEU4TTxepcsiLurY1KvWt7ug2HZlSSZ2wwWucOdxQHaId
xnltX4mgPEkSHUinUCWhp2vHRHe+00EMJ0RnjwGUk5myApBWTKuGFW/HPKqueNbP6PmUQFXUseiy
tn216JC5nZgjbGphqcT1fHEAws52RDJ0aLpjjVsVVabNzrpWP+klC8IuXA5Cz/MbXUeuBOz0hrtT
3zQ0N+xpl6MBSo9u9NHQVgg4+xgzQ7Es9TIHhF9srIGYh3o/mdjPdFJMG6NuEy8kPb6dTKZxM8GY
RRM4QskqHgXe7OsiURBlC29yxvah8ZzedGlq7G2la+8F09kULxRcwWTcZ/oDg5qL65Qh7gxGs/h5
ehoJ6pHbap/4LF40wDkHFv0/6CyWWVUeetvUETat7z5Xwy180V2CUdWnu/vRZlXTYq5m7dksj+Ni
cJHq634HUuhEUOGqxXDfYfZCdNIGXzOSQxlj8hcZAXRUUg0CzeCtdPTusyx/6YRqHhNSlDhKVDKO
ixNvlYoInWVV5m4iPbuxEHHPYEsb687CKz91NcKj5B7lGRoyTV1wTzObOLpw+1POqyVO4JTJTy5e
PFrrodYH+sDhM3FaX8rWbikm4MbExfFjgdGEbPY9LLjAolH3aNhSuZTwzOR2sFPaFDAOZ4UzYKqW
K/7YRlK3HSV7I7cpVYXPSGJA0OyIOAkHpGDTmER6dZi7/n++/P1lxZ5j6yztey5jal0fX4gp9JuJ
O+926UCCpomFpG8v75Y6aHcS+6q39lLxRqPwaM3DPGIqzOTTdpzldITVc0/M1sb12kGlKYiVmeRs
O/oVXLgwE+8rJbtISE8XkpT5ZU0AZ3J1WIChlaxruja7QMnLLn//CtkmuxSLPbscscREVVQdgoUt
vQCm86gV/FFVRHTWHtumBWaJ6qFl+6B6UIOq340HFHsqkFk5liLojBvD4dNvRjB5ir6GzFHAwLHK
oFgmLFwUcsKDNMSW3LrJMeNGzGQ0YyjvIzBzrna1uVEbbTyIsjyvjR7xnMO2txjONzyL5yLLIHc+
eouHU7c2jG3plQ5wl0D5Fbf2tLHwQwRxYr5bxXBU4vn1US8QVRaCdfkE8SB051r5I5oCG/pawYI2
OAO5Z5PUu2v5/OTk+QcwKBzBzQF3f7EpON58+OReYvZF0IZiT58CJM6RdQBu4twFPFFuFQFVcK1g
hWSPnicC7SNbvJJNiPKwKdiChBIhY3hJvVdN7AVDnKLuSFjPN6A1EMfEJrOWKs81yjRhF76IdfAJ
9b9TOGt6XK6JK4Z/KI1R/cmCsDRG+XNSmd96rExBX68Ml8RccYyR+YjOBhqi9yCfOB0pFDlFGAUW
hBGGb3fm1caXbBSN1y/NJcmemwWWhm2V4xaNFJfRA0n++OR0Itm1aDPYLEJfMBBuelvnYp7gA54z
M/ZSlTVxGCLjNvNOwXwH6w7QJdmyjdWDNBl+pH2+7Kepxnid5x70nJ8NFirfUMOA64FyFCs3vglx
mM/S11A0s8u1ud9W0b0fW5wKBvapkTVVnWI70BF3tQFLmD1QSTM3kScNEs6s/tSQTfuycXRKco2V
PFDfs9GByMWx1NI7uvLhtPNPgyYkq8MRZihoANyab6NtOJ7agn6WyKEF2squCvtt1JnPybQcm3Rn
VeTWswb7Ya4+eEHd+LNMunXfdFmQTPOftMpuE8XHgTp9M+k9TUSJfVl0r1FnXf8+lrJZxhCoOo4x
Nldm0mBCybIbfaaZz1v24nBixmFX+l2jVVuVt0HAScBvpoK6TAH8D7Wyz52QGdE+Efn5tbatcqwU
0EYwO850Bx/nIWqIATTMvQB7uAcf5sEIyT73LXbiuPVrtb1EtY4zxO5+gpu+QhFni6a0nIqddSGq
3XtEbiki6IYPLKM8jlWywSu9rJBF3qbHsVZwMHomzCcv5oMCuqE9FmNypuT2qzYn1c/NEXMbvOuG
/5PcFrbA5iW05aNeHPcZ/Kul44+a6+VKYij6oWMG90th9QR2uo8SJX1X1GEfWApmjMV2tGPk9HeK
TKpjlZA2t4gSuGWo+w7bd940j2JSDaqIuUzPALgqXHyQxzi8QsGDYhOXITU7grBGzk3fJmQLgyr6
FA6FVOU6YHIIBx7+Gu25Cb/VrGtn6DnYsmUqt9DM9r2oP5YEgyu05dWlLyzrWCNN8a4ofoWtVb6U
JqlZu7/C4CIFYNHfmjegCpPstaS+02cxXlB6YkbVo3k2hBeuy2PpALzEdy+2VvYx1TZwiyxQs0R7
DVfHtSv7NZuX5Di24USeof492ZgCOWd4f7YAzBgzkPReCVgc1baBNC9z6o4q0FhyQC6otOrNLG/p
PL5m7VBzzPag9lqEpKJpNVdZcDSbau6qImy3CQV1DP5vi9oZnoPGCmRkRjp4wDCqqdjlWvlSZOs3
2j+VV2CA7gTe2OK4aez8kpzraCMKLXPpz7ykIplYAPiVdt3Za38vx6UjEg4BYRFWjJdqcenPqL2Q
DBxhRSxoZWsxZPOxwhnB2BYTkllK0CCxNZxbqdFdqdZ24FiMpLK0qhsQr//+C6UpyRLEsJ1oRWV5
EUHztZLXwRqNnapbP2yexVQzFN8VzzGRzOp+fjCSF+L+mxj4n2VCJ0rT6MhhRWghb54lpPYsqqvT
tIhLNeMvw/dSBGDkssA23qizuem8GVyQD38ebG6gBhRCxfqDeIg/mdowhJF4uDsWI0Y+91mgTLxD
Weo8NS/ARbVtZBBk1+hdyJpIwfVgREHE0eEkHRAiTfllZ8T4B1q8CutHVeD2bs3kB39O50AB8gYd
k7pxneVcjvMCxj4In+xEAUf/1rKzlDROpphxHL24WAuZq0Ypzlhvtp07OGDRwM7zqppP7XGfppvD
4rbw2EyiIWaRPlwWHJuiywF95yvdzeYfB1/YsWQ3qWhIAHVFJxnNCIUnOvZBjPfPjHmh20zpfl34
ptozy8oi9LkC7eoSG79OIJkdbuNmXfFVU5JwgxzwbQwzI2f6K6cp+pDUy0Ysw3otxlrbMMoU2wLo
yia2xakKhyvkuOoMWNcjxTxvnHphyRu1B7q5qgCi7ZOZynPN2yTI03EnDUQGS/RPM58ubsf0DSea
Iz2kG7ZmFvRtvWiTLXDek17weeHjRn3F+qy2eNRb+46x3d6ZKH52sfzEUcYQZzlhsCLcIlvE20TE
t8jOtjV6g4elGy1IpL/7GmNpmoz9UeklxfWq8EECJxtz4OIfxvYLgUT+8zyzRCcR7rQY9B9xoVoa
ZyUsxMuUUmcV1Yfi8d4Hyqa9aU7omTUcyEmX7esURS+krdravshGGXkOr4RdByOYSRMWwt6rarNi
81vfoAen5DEJ9k4zhoaG9Iap4GpIiLDIZP1Er87Oi5UdKTCa9vXfwQTOhJa/hvXD6U59olvbSYmt
X3ew58kfqsHmfzW+SyV3ThnfFmpO6SaULbKD6KI93w6dw75wl7U723gNfGLUGSMLbWLj40mlLeCZ
qrljRuMKD6QMR7mIztVstVuzPGWtWgQFXQ1bvaRTsKxBw2S4Ypthv8jhpTeUu1ofZUkcop+oQ+a+
ne1BF3aK5eXjtHdiOZ6LBZL3JLAGoCD5VeJwD8aXAiR22DRZ+mYMU7ZTut7ZoI38tMIZQqeSfcXW
fIMAHQIm5Gez8CHTmwc40VyDlBZKeoDoxwhrE3eP/pbkmh2kf2KHCMks5B5H1XHl2NtpacvsrhFX
itZnQ/G0QQaJMmdormvi6gBgHOUercQltPyej/SMdGxQKAJFnZRfvTE1XoyAs9HFwi1lwU5iM/RA
8MNKOeO6Ne4h1Zd+RBwaKhjZAwyQssM+A2+o82tQki7uR0CwMx2+VTguNx5hXhc2b6bOVMyx+nOo
jQmi0IGiqe4ACtXn9t/eCuOZPDwKGoBJY9UcIneWvs3ji7LiQ2jTsNkmiXE2eMSy8BaXtrd+FVaT
w4+haCsdH4xjyDd9lWue2iXmhsDu3jQbc6MV8TUptGLPkibmVp3qT2kswVgiQpCzmV2b6d2mgBnX
mObVuWwwI7c3zYLrxExNLhUBrjSr66zYv9e0Lg9Exz+1+l6Yj73IaRZAyYDAf8FH2w8IyYmWiCsQ
Q/7NfHoSKy65NeYZJYn+uYY6PBLj3DjjMwzMD1inSXiSZftERvM4db3c1EiDF4zWTI3xBkY5uSil
rPxm7KyN4lDYbuf168iVA15iqgVEpV/UMQXzB6ccL+Q1JSLorUNmBFAYf6VJqz2B++0CCCS7joQg
whs2377UuE9EGXIeP+KM5sLNVDoR8GXY+GCGNvjzURbSXvV0U7Nw2sjnNeaYbPaT9rYq1b4Dl0Vw
h2SPNTu1Z8pEbDHlAVYvw0+n5WQkiurh+Z36YlvmNUepqb9Pdfw9SOZ4G8Y4ITgE6sGc3mqwtoe2
n79AprJwucNm+aYuYNjEHDiuVT2nCaZs4SSj3zTlrnLosjfsz2jsTzTbIRs7PLG5H6X7NnSGG0Uf
Ax85g9vVkmECiGZQYWG2uERYZyACgNPiWb3qPcgeozhGM0sf57EXAOTI3QfWNlVjuNpm81TkVuey
vnpNgNWrxVsV4rvvxuHd7upXSaK+sjaxgg1+ipyDOlzjDtgWu70qaDO3F/Hw2XJZxKeZP9NOeiYW
jAU/JpncaI/WViwTTZmeNNz66Hbk6HFRHKnXxVxjYprSiUpsTVGTNWSvPyFt4bhAaFFTigHGLsNo
2DBUOBMRR2586L2KEx5SR7pZMULerrdj0r4bNN5tcPEkfkrJ3VDay1ZwuCPEoJXO401vtK02t1ju
6OArvnFP7pIh4kM5AiOKs6AxUNWMge6Ovlcxp/PGWOiAoB9kS6P1nkQwXTUQDDZtoW7h2FEUgm16
DpMjVGuXVCx6bBN79Dd9WryZjxUzEZt6qzyRNMHPSPU8T/LJ1az47nR1cWrWWaVuMgG7Q0xaiJpV
5LIE+YoAj7AXWaoIugOSu7nB6DH5K/JUZusHx+zLWyOBtI80fpU83xW4fwA73SJUSpcocA14WVKm
UKq2r1kFAdxiwdSqPqkrXSdEA6tD2sSjP1j2XrdJatWLqA8dJw1xZY3wUd6gojV9MGTwoiiaRZnG
LLsYyY4ppHCVUSm8Wo3fdah+0pyOQz6CwBIvTV2/rSKk+xiKktdl6Dv1VWWX6ULKfdiQOo+r3aUy
HR15z6h8OotRGnOiuiEUUwuvGpzx4ZSP/YwrjPJh3PxSkNiKG2yw9Gegrjq3yNctqIeOqsqtOWdv
uYqQUFkZifjovWqd76XHDl2n9NNqZMKWEFy2siyZX2YsLPMWLZ9Np1OM51a1AzLtAITCngTKYr9Z
8UsNGxWFQVziwlq2quB9PKyzCzPsSU3BhoVz0vt8J/9YnV4E3aDP2yZFHWnL7sSGooYchJ+65ZNW
11iCcewgHsfSo4YY2Kl9RyO6ULr5k9Sk4jlcdecxPVPTl25VpZo9Fla0wjcSz0rGyd6AxMCp0Wy5
AJu+XIzVVc3ZCriuO2S+l0+BSyCDoHgep/alEinbYD1HNlyjD61UPitKvw5T1Bh+f5rG4aUZciIl
0SeNQYhl52WpuJhk6I1iXg5RYb8MjYxxcmgaJxfKxrxIgwJGRJG8s9513amhtLQ6uSIyI2ZGR5Zc
VtCoLA0RXMt39idXayZupa/XBRHjQDZz2hQyu5earrzGBVmKFIV0Us1u3+UQdPtRXByCMu646lDi
Gfy41LLtq3Rrr+npbuoViJ8xVQaomLs6t16MlIVtqaVuzyfJmyk8CcaCFubBJnhs5aBB4fSmvhZZ
f4Rgfd2AIgwXvQzKSja3XEmp5Bu6N9Z94S6sYVdNZS3pJGqazznaDakMjDzUPjDALUEj9iJTmp3T
TSELveX33LfJYThrYmUSGoEIFJV5X3HPRaL97KpWD0BNCFyvyUctu33DQmU0Ph3KnzG1pj7vSwW/
JJ/PkPE+7mCVmDmiGFQ/r7aRVexQpfE7vVaYrk1sizP2TfdhGEoh+SoTg/xMdhL35snp+Tt2RnBT
SeM3eKNUXZmMoS/cqDwqGKncnZEeq5RDdsiijzit5muqZKRnZ92Vc5MGcHrutJH7uPsWlweaIrhX
rf110cRwGCPGGUvskQs+Oz19mzHVafFIcRsDzaZYzA+6N+Di0cbNRLvyhMnZfBOmlNBYA5xzuOH4
ZK4dop7Vjy/cdH2pszFNlPYepeqdG2Lo9ey3/SkrvyVoc4IlfxeofPN5WV7EQA4N2U7ZsU9pyg9L
/RMOWn50SqitYmTXORutq+V4ujdaJs0jIL59ZxvNJzDjDc/sAUvh3cA+vrGmkBgR7yBnWndJzy2Z
BFP+RsEaBddRknpNK68l5B836SeA/JXzJLQUbp/CbUHIXt/Uukg82Av7lD4IhHCIm3hm2avdQ1N8
gjF+rvLWCoaeH6WcfreCugCzBJai68NtIaifo0HRtfpfRJ3HcuPIFkS/CBFwBbOl96Qorw2i1eqG
dwVTAL7+HbBfxGwYozE9kkhUXZN5Ur8Qs4WwpAXZLIUBDBznkDZ3KQPL2Qpt9tLKA8xlAcQIX9Pm
/SwKzMGOulXNnmdptLAc2qx7SUtbbSkRQfnQXg0WknTnim+nn4qVcLFP4kqn9siMpXkdIJ4f8vqj
Gaoe5cfQ80c3R866iOl73GEX++ulvK9RmxSHcgyezSH6RY/wagpTUJYbB+VprNV83o+I7D4mf2Pv
/4k0ZzuWBWS8vGJUZ1cbPauuBXuzTWtDYZ/wRmZRsYEHtG3T/meqAVhkEdMf0xt+hhDzH6IoM8Yl
ZQ4MqODVG9IqFo2vfBAi4XUyeTbLmF0LOsctAXALb/IwYBdUMRAmEPAGf/Mp/WVyloA0cTfTICGd
xyGdlzld9BbuSqfGN4Zza8PPdkzn/VXN75TomT0pXOxsSZlkGuzQCXNe+732jfhbQ2IoHWNRxNHa
0NXeYe3B8mRtdAbNSBp9+sFMaT8aurdpXbnVDA1wBiMC+AOB135WksExMpip099VOOeEXApuy3A4
WO1HRdYOhpvJVWeLyhQ120KKXpF36wBMMJYoAr/c1Po7Kvnpl/p7XakPP/9yW+MXS6zKdpmmGJL8
1MC/93bCUMc5Tw22KrvL85WhUTOB/ojf/RjxsWZulCXWviWI3S1oX4pPG7URNDvsElOI59XBmJ15
oIULqWPgAcQcKia3qFoYA3SbqvOWc1prG2gnU4mj2Qd0jIoWEs0CmdDl2WGEsA7IW1yWxJROX25m
jSuLh7twAtwT2m/EmDViURIN9TDeSKO44eK/jOVyPmcEnKPa6DD8GAppTVtzG1L1RDAcx1ivdlzQ
7TIaKdDh9WEFs1nzaE+abP8WWZ2vy7bTF1Sbz60VHGznYPlXovyMhRGbpyDS0o3eUHwKAx+uAzTY
ouTUM0EPho4SpSCxMkrn81AZLEUCZ9xO5A62fojXwDiittr4M0GWJQba51NNTPOiwMK9circxML+
6VDPYGqjZrUHe9un0Z/cS/6YSvtqJUuhyC1XJBmkoKTxS5Hu/V1kPbef+aWXebnSs+mAzO4nm5DX
2YH9g/oeKqbx1ZTWi1uhI2vK40xMSKY/k9Y8R9NbpMR7ZY0toYA5K/O/OOlKfOioQafmD90DrZfF
gi41yX3hfcpjI3srrfhP1+T5BauLUdnWUrpES3l5+6KzJllOdUeEQ+S4aJgTtg8AlsjZWZiwhvvE
hv/BymGsbKR7rasvbWnc6Fuw20EGI1ui42jNv0rTRcdtop+im7lKC4TnIACyEKer8SCkh6ykFRms
qNqGvRTYJepbkONMCltarDAOj3huheQbSWT/E+kId6G2kqkbqHsZhR+1wHFUNeJbL3qfpYKLsgUe
uW6XiPCz/qctdEnAYvcRDRx+Xtb8FkF1UxNGYJdsupUJHqft2kPEu2SPXFmhLP/MJvoV9T1LDqAw
IT9++aQr51LTZztgRVdQsc0FXpIPS1N4FPj1IeDFfUvARddEGJXRLB0BED/lks5DqvZMKAMHU5Hs
PIc1UBNQ9+d0mDgzRhxVyXVSwVWWfreRCfOZZPTfy7ziDTYLAnoLB86zBDpiQzwNkBGD3EKPMC5c
ixuHNuhQo4blrOjUJgrRl5tE+vEeJPrVdsgKiAlDWgonMLbCKz4taS71Kd1zL+fLXP8K+mzcGMT9
YX7hkzGYVb5Pki5dKynDT2oCnEFA5BxMfoyL4FfqCUw6AnhdRWSUruf7ATNFKHPv5HUvocMnB7Yh
Oks0hTUOMrZG7XcQVn8KCOyImD7IElN4YLm1+Fjvp8I7F/h0F67u7UyeI4lwxjScc2dbO4tUuaR+
J5STY1ObLzPsJF7Nri9EpJL3LP6TDGgAkfUuY4arY9hfWJ2djQSpUXt5t0zYMMOhkvRRUjG/cYDg
1rF+q4PoyFSx3xbZlD17q0IJY+clxhHRVLDw54hOv6nXqaZf8wnvjAu7Yg1Ob9aKhuuEtHuTJDUS
QiaEStoHM4+6IapXT0Gt2pROaTC855H7hTuh9XU2zfyL7O3rdQlIizKSLTYX2yKNxm8s1L+DMvgi
AKM5OTky2LiagLGtR6noQeKYJ8gnGcydhqsxxj8EiLaz8oE5Wog106SWRILWLDxMP/PpCN78Uxj+
dzA4t4R4SaL9FtQQQL48nopKVT8ducYpAb+h1e8dlb2bI29y3XDNw2dCFfvEVJoIyU7d/KZjY0Mg
Aw8BR9FULGBV85O0rVjxk0SbwA1vRABsunS8qoRRYcugV/AtV7jjli2wdz3s45UUWLkAHlycRh8O
eWpbC8/FIoQH825hPiL4c8utVRrURbbD2kdAmDTMkos3pCigwluawW8fIKou2hjwj/ZDa/mjPDhY
dojNPsz407pAwxU0I8+K6nfQ+IDuOaIXvub/Gvz2pUdXAbTBWqQ2ZRcMMWftg3BKDGuvpgb6j2TX
UJXeIVDZ73Zwmai2H3gDP8wmeA8pol/r3P+TMYXAbOJejcb/iN0C78xkMyNO+w1zjc1YeWc3kOOW
OX6ydFS1S8rgh+3EV1FnZ9ToKzYL08JEteAwDNLrishc0jWWcfGRYwSLbauki4n4b53hQIv1FHcH
kkq2qhI7yUhHp21bpfOPmzvBorJj+9imxrYGvwSFhSzHyn1GMnUgY4mbjf1wrpOFWR5CW8LtNJjB
y5BzJPPRUpJj61WH6G9QmESB2XXHs4F6tRB3MxDUyMnVcOMTvKGQucc+APe1iFuiMLDTtktPlBtM
SYg/tHAVxN7vzmctPjdn7JrymV/kN3+1WcjjFTPMDd4SdUO18cqaMbGH8L7DpLEj9Q6nvx6m2wki
pl2f2J7+SiLt3NuwzbmNV8zTmdY59YclSfjiXPvyx2JVWf3fenbJhye94Pyosj/dsM81ig9pYHIy
LSY+ZHltbIMcy9CZnoYQuKNqx6W0ul+DacprXBUIXJOvlIKCsk2Vy0AfxT6lqF4EzMtudjwbfctV
2/1QIe/8VP5SM6A6eYsRsuztAi2XYzcMPkIWDpOnVpFOL5bmVbTuYA9n4fhqoDDlivro/RBDM6P6
FYK1VcwSjimjBz4pehYEbOzAZmerRqwroYOzCdBtFYa1HgRM6qY1mNs2EcW1dqhG42+MqdkxWrCn
iXOh5phgrocnYlM5o5i5d2VJ2E1hf5ZeB1VNM5YGeq9FJAhrKaJ3XUSMRnrmipoAipanxHOQK7EE
rPzBu7OJymDcxKAFal29Jsn0mdXT3VPqr4FtOieXrovwW82DXhu1xCo0sk/WuFBtgowcXNrTlTlN
K1UTLmkOr0muwQgl3SKzmZejJxdshzjCfR4gbriABXHnbzrb/F2MJpyt3BvmMCKKVY7Kga5rpZOK
uxiQsPhFnF1SfYJaz1e2DyaUT+BwaApbPoEFefbQsvWwgJDvWZk8V03xTM6L8xNFsGxQ7ywxUatt
6HfzNpuXSDuVibKuIYOP0u2MF6Vkdu309rmPxWDsVBg114ddyzOAC2U+bkoffQSwueFTNOlbF3rl
31j8yBq/b85Hqkc6+VRw0iKjgx6iIcAeW8M/J1ru9SBMkF+jUNPO/704MICqlKPc9PML7nG0h7bI
vnuf3IuIkvO78TTKvyuGq5IZI0b+PCLHWYk6+dU33qEeovEdncPZaNClOTVselfXMRWWlcEyJY5f
a7+/kptUHtGheFcGTsOaZ7lcAaLjo2mgpA1bQN7EU5MdO1gMkNNgYVZxjoBGXdoiZSBumeFTqDss
lmcDXTM766gAbwPwzNkJIg+hL7MnJ89Z+U3QDImj/SbK7dpUfvBaYXVfMU4kXb2nZbBKNeWwF/Kz
ETE/nr+BCcr+y+iUAS7X14S0449qztruVpxt0z1OuYKFp4ZbPBLDh/XLOZLDZl/i1pz2/3xRJDOg
0iLa50RNSa9svjZB7xKp4P4hNzDetU7PtdcDZUvaXv/OHCe4a1HSAQ3Cb2tTgUFQ4r3TkuwGPMKi
zXT/jPgZF4mdW+cgbQnPawdzO+Xc5ejK/auIX0oivGghUj1n2jNorwauiE3umDBfcqY1RDXAYWQ2
bkNKroax2Ra+zzi7NbQ34jLEYkpkcXKt8myZsQfWD/ml3tQjKoFwIAGrVyyYSrPmFC95qzTYGN6M
Xa3hXnHdBS/YytnLTPkLDR8VvSQbKJxg+EeRltNJvfBEuedkxrwCy1OLTJHqDnFx9fAWPl5cfR5i
IP7bGLjkLtRx3XLg2HzY6KBN4nFwwoNfxcYLMZFcE7hwN86YbIrGaw6jsuVJt+5m5nXPEoRjMeg2
IKIlaBT5bAVrRYtwf3zResG0Ygb9k5qdxJkfvmXoluGZvqlMjR/EjpBIY4ijF/W8xQ7xW5uGC/7Q
uOafx9vDfs/EDIetZDcm3jwYK/NTNn4B9jPxlrdvVmOtcz1CJeVbW6uL6jvW2bqm2owQegEuCMDP
OD4ApdA4PtCmheAjJWRxaDQd2F1HgeRBs/fxOdI+lYk4jg2/bp2Vp+YkV1Oq5EqL0G7/feasoSnX
hsqPue2frKmDTGp3d8cv/2YjoG5AOEj1arTx73mq3xjvjE9F7KJb1HzvtSCyph9wag6Odnm8q7EB
o5XK9qXXOnnqut5D1s+QqqlTdZJjUC/IJKH0+FWNxfQ6texbU0JwQpQJH6X/Tfnav3bFcFQClWQE
XZu9GnpyCTLM9vX8ZRzEtHp8UCKDEnI0WM9EBeazBttTheJGRuYa74m/Deg8b+hF3FXvog6Jqv67
VXX+243EO0Eya1kPyS5sbXNbVg3VjWquI26vlRjaBpKyO+16PffRbBCZd+JulKfBzt79oRmBpwIP
oJVxNj1j5nuiyHPK2hfPtKvn2pw4/CIPrtYDoazXjOHwingLI/Mnjh7LWFnsi/M21hBgRe3ZMmxz
5WpdtjMz8C2WstyjTIxfZWabJzngJ0amCTBBDqQGk3daBcCJHy/sAaNdI7R3wzWbo2e1jL3mvwrM
8dKkyNEDOM0QMwfFzDnzYWV6LPN5XdUenb6SUX3KqJ4Isyx2qvCqXd/nlLCju8p8QS0yDi8hEjc4
iIBnEk03aLY5QkJbf5rzUskfVefHSyswVvcWIzecwP7VYcl/rpW/nkJkKpaKqlcW2RUCJrmF5Ehw
h24cxgRehesU0/OQxtNesiVhYOFijYgalDNW8UdBHOMkvDPGysjKnPGllovezpK/xhR8Ry5IAe4i
64JLpDklmXypvQpngdNon5kfMvZyh1s/yl/JaMlT4rTlJnGJV1iQe21QSkywJMsYbWpUlecUTPNS
TG6x00xSYRw3dQE0SgGdVavXU4D0opZVcuMW1J/4/t/MbjSY1nXxtqIFfqK7mB3/YHwhC4K1NTU4
hMIed5mPDYCMNPHsxTGAwAwUnJP26EgSdKpG0sBmpGpnrFUTHENmhpWwyutyklpoTvszTrXgKGtF
B2ewS1F+i3GhQsGrUcYv+qnOjx1yl+OoT/kxZca4CZpWK5dJiG8rn52hj5e0w+tndSzMcpnCWZif
hawylsNEeSpgDjz+LZIco3POGKM2A+DbBnoCw9Ka++MlnuiMIXHz2CPDjXTzNannASubmB2Bl4PW
lW9CUryFblTuEwdUkhOn9SHTqdxMe9Q3dtgZuMrhrWJU9J9GJAiFiuKt5kwVrHK+uR4O04FR1nNS
eeNJmMVBL2r1lEo8RjNyOigAjhBqA5mp9bnOu+ANOSNi4bhBoxVHRKFlxjdSI3BE8ZvluLtQ+GKt
grTbOX0y7EOnu9WtV1w6X/4yZqCE0wEpqIK9NUyHMYz/aB7xoZVeqQOq1+EW+WBM4omfk+Drj7FH
H2kABoiE/e/FG4onK2vLa67H9paW8FO5CJwc9IafjQJoYGjj9zQ6TIHQHEq3t96tfKI2Lit1yiV4
7F47NZp96nUwpAI45MWdX0KVv0axF23Zf/kHt/b9w+Ov9Fb3D5VRZbsx6HZt2NVHnanWv5dikECz
0iz66/kMiT3GnsrdGb7+ZQ3dtG4k9PMM4f/RpF+GL+2cHi9yVM6JydX1n82YcLdp99+hQgnsrpwM
Uxszqt5eaJq6uLCoDv8uEwCpOSrnXR5MLS1TIBNSWdKIvnfUkgO6HnONB8MCtGdbR1aY1vHxZZgl
8ZaVHrORojqJ+QUjbdaibEV6GeUwF9l8nEGesTeeGz4EUd7JJL4cJGnvnRKcYOguSbqpnIGck6jQ
hq2y65XeuZusnAZOmWo4Oa43nIrRz7oFGTeXGsEgJhdzXPcc12ttRPPriOZOQeuirFw/vmC+096j
nnDZOiTkobKHfeW7LeB0is9anzDukrey4nFueLIJUHmUwmXPL7dq7zGWwWef8ZMbNMk7ovAMgF3e
09I4yXvpZQDGqJO3RsaKyGoujOrbSxU27eXxpRYEEIUb0shavsnUYi3yeNfoKcvzfy///l6BCh/7
LdswfVuz2j12IBF2EzHuma1a1uhz2TTRH5w53Khe67Xd9TarCVtYy9xCkq/PlcccCcW3lLDOJlRB
cC2/loP6eYAiSq27ARWut21eOW9uDos5m7EEIZlWPjNSPIM+PzKq7Inw3Q1j0/jgdSFVcKmYsyZx
sfGaIP7hPwetSgQ9Z5LOBTNHS+Sz4yhtqAu1rGYjaAFpqmVzTb2Rm8mOLgmIOtAhoX4okQCxGLzX
ExoxLTDlrfRmGWWd2VfD3jy+CDgJKIq0r7ooWULoHZ9BdlafpZueprraJG2QX4w5cAKLBWeO6T2x
TcwPSQQjvBcGPJrWy+n1XVLercnfVZpH+qdZBBvdyoZn3WFv7DpJtI9CtA8igTanADKRQXQFw8Yd
5mVYOqyEJUzqdC+x0221wjORc7PUMXpJTNzj5DF6PnXDymuj6JyGOoL6uo13OMLtFX6FYiNqSf6A
MrSz5ioYy5n83TZ0KT51xEs31v7aNrzsZApWIIRycw7p1BtpFB7sWP0ug4NL1t/To+IsrSzbMtmB
+27SPg+8c48b27UsWGA9erqCPSVIa36kGWJzZxK09mrcx0wF1DIXYNZXJnPA9VQHfrbXmzDcGUIc
YxTebDyycjcA/U4y1zgVs3E9yWwyjhVOnWr+knsPxdpkvQZSHlXX+Ts/Mz1AriRyEKLl+KsIxN4R
Z7UgmUk3Z7Zwnq/NfoAjnwQOwpJpDqacV0P64CPHD63h22lmZfnYo4mdK36rnXQSrbIfs7DCK+p7
btf5jU/09nehi6tpN9pRjyNqbGflouZnUB6xSGlBkqeIR22n5FcwjB4M0scPLFpEAI+jFVP9/49W
M7A+ej2wwYNT4rN5EMcpbEia8DwY1hH+MCO8EEsznR71gIslBH0dDcODp0IyYLUmWMdfOFg2x0Us
pdpocXzTq25nWA64z2amwdOLIJL6ywIw3CFbx9xmpPY2DPOcdy8yyhORtuux7Jwt8Sh//6sF0Yxp
57bt3hLCIHYFk8FTAGCoy8was1prdpsSgdtCztiNYLKDowm4eu0DrwU+1CPPj6qUbyqkpabD2jZ8
nA+DTYChsIuVm8L4IJZ044mWxXfCRiGyexaWqgkWPTarLempV3rM7mZkFZycnLchmqLw7GKeEzGM
0miMvpRU7IwJznpK8BD5Q9mdYy7gVTd4H27uwjhrhott8PANRdZ+WVq96r3sQI1tvPRMNJ+Sqlsz
CiYGTT6xWMPCFsppn0zjmuAW51MbjXAtWwHIKHH2HTOXJ7SMYM5rbqVa4stpQcFm+PW9lD2Z4YcW
+BeJys2P/W05814F49gFksTfDbMxESNtWZQoWCBNmjwRD+qHRsGd5IIHPaYiWVgGZmBGns6eXeDR
e4wt2KQyqTbOOXYSF25Iu7c91aGEj8yjnWIl7FocYXlV47Rm1DPf/vQMUfs6wR8UeB3//18xlfgY
0qK4NTX/DM8vIuNlVzvFro5KguHnb9vwWKuHnbCxmcOaINbhrBhdLv+1d3Ab4t3jgZ+sIZwF9vu4
4QQVduys/n3scWuvrLEXh9T2QxoLiD1p1tB8Jvn+cae0/GLWJZEEIdlmA066CpPJTcZIvMjK/Ejy
RnBhBf6BBKTpqTefmsxD78pkkFZ8QFAwByLhR+qXztz4AwcRq5ZNEo1XQngdUKk9lE4gHDZ6maiJ
bq7lwWULsgsanfJi4EG3dzYxmYexiIazgyMTeONc4sopJUdZvv57nEMVqz1RIwj2KnsXBKb72ldQ
abBy/bvjSWsXyyHR+61mamJdQExZ94FrbwxmZuRiyObA2OTkCK/ckTqHjnm+HLE+TJmCq9g/caPJ
p5huBGMHK9mmap7G3P7UEj86FbbiGZGNOGcYoYD8dIxsbZ7xMJZ7V03sZQw8fCHxIo/MI8/sn4E+
sSbo+Sh5ZXpQPG9LslKtCy0h0t2oMQ9hPNnvomBo7I/7qsjys1ni2jQ62ADoDo+Ce5RAJYZbY8t/
zEyBoTNjlJ4Ym+OjudDygCzU+V5yAkp6wm7WQ91397HSm3nHnr019vA+9gkDC0d5T8rPkMBwLz9e
/N7BADWSIOFn7tt/5Yc52ux/JhATDYThUxhwehC9hwT6cbpPWNJWfRGxQnY5iSLH+Iiirn92svT2
760zFX4tqtb/6tfJxq6JJLqUJ1ExNrU7/dTNf/jjRRJMsnCrIlk7cGROsuuo6sBFsKSr8GDNfy+w
G2sXxdkt5Vy+MvkApdrKavkYRVidR3ILQwdu8IBvztfxb9qIcnDzkiuVu9QfWuXqWzuO1QZEzVWS
XPxklmF6DxHGNvTKXtYXb7pDeRnlbYsrqqeYdhp3z4DoCNX7vQDSd3DBWnkLzfLavTuysAFeC6qq
OOUjaAl7CMPjvyI7QboWjnxkpdBeNOCVB72sszcOfchks+9cq012JRIuShCyY20m+zPo9YIIVtTv
cqnydO+kHYvXuj0nNQuGbJTWKa9cY+2zOppBaHfk/d/k2LRXZRoBbF0j/2oArgEMa3iX0+mlJEgp
Eb52bmz/q5j5Zl5HL/QYMFIkktYU1MYR4Ozp0dl3GljD+cPEVkWtY9sJtwYKoN3EbGfJx5TzMk81
BjYhlbcj+gsJUgRTlxofv/lLkhBvBLSNl1B0PcIUEjZk3FiXwREkchWNvx3Kks2aZYljqyVXLWZy
Uoelfy48w7w7ev1cmXicpKB4Z/yD+FTo6tL0xm/oEOOJcMp7HOvJPdL8s5xA25Z6DxQmaPCoz5uC
pjbhq2O0iKBtuYuYjKNFZ1Hky6llArQqawVpBcQIlUHSHKKKRLn5Q0jlSr6AEjrHBnQWiMXsNHhw
ov5PWGk2frFQsb+MycF1/QFLOytAQp+4zienA4SWzEi4GTUXU1Xj2Q6c9eNzaQofe4yTHlDYBTsJ
C2xZ5gMlS+AcHSghW82XiHQ8iOKuDV3bpAE+aWPurezaZ+tnE9hW2pRFhZjC/eN5tkdZgtMLKK2y
LNuLRG4n4ASHRCn9hIlbQt2hDiqFTPddh83HriIcwPNU2nAR3ZVGA9MgG1jF29FXUlnZG6GU5QKn
oMliHm7Z45IIPAJJxrBHdOLpJz9KEIUlmX9gWTFtOov9OiWfQ/yG2S2ZQQ8fgvpxWZjuWoEpWFtj
Z1+0sPxt1mPNVcCvxkCxOBWi3qK6kVuDfvx4SW3cmgxjOI/Cm6WL8W6LiC26hEDVs6LGPZJQ9j4O
0UJN6VpTcP0ZUQ830fyONKvYtaPRYY3Akip7TRxKoAtaW49XYjnwNzwyAg2dAC8ERek56fMvmvn8
7mn6Z5oO2kbkrjxMkvbBjYKz04o9otP8BUQ1zujuma3qvbCsesmT6q8s5TV30gugiERaf45kry5s
g+89RKBt+/h/5YHertioe1sYBxYG6mHYqQwAVK4CCsMpycHLz2qiaR7odPN85/FXHom+i8R0buGQ
YrjL4hpDPXQcBB8mhOQBJ83kEeNAG87Sgfk09y5HnGvlO7j9/opog37VzO1Vmwy/HmMSc0TGSUGo
zQXh1PIjZeZpUCbe03kuxaxCLR7/osjc7JYRPDIW2pfbS54ZxWiIEOz6/xeYrHggVM2Uwy6jOY7I
KXVG/nm1jLv6tbUEM0sbm39ZmcTA1NGVISopNXk83vCOkQ1cEpLmMmdeVTYAec2zV0SW6nT5pr7u
rVqg36LrMEtiG+An2YgnihKiwoioJ9J98xSP2Hul8WLPOWlCWMHWJHJrVWvniFLmb+aV30FLYUHB
6W0HcowKC0tzC/liF2Bf2fu6ky4E3x6+/ZKNI8PRtbJ9ucX7yEGthwdDj+pjBfNg71swTJTNU5Nw
9KAv0zIX/O2cQjfhK8Jh7qdghizxHJjwiZFxjZ774yEGpL7CGlzwEG91N2oPbMQQbYc1cD3fZYE3
FxhJMOYnq/j/L1ZvA/0PaD6sbIVx7DlX6GQsxFpAB/Za37xpKp++tSSX97oknFWfGyKkWvqh8Tdl
L+Y1skierFk2otmFvxwJ4tpSsvyqRwWIoh72PeODTT4gLvcYz6yoxEvi6zrxlqUU89KnD3TtClQI
U/y1EyD+Y8PSb72KgYMrgxl9kNT3MQ6e+yGnFxjYV3gBIrmsh5US4bby63xHsNhwy3ynunRB0T8r
YW0dPLK7OZz+Df11t29ccUgIAT0xQLNulepYBJlU/diuSJ8mS8aIX3tZ+9uCSPVS2jOJPRsXOfiQ
vcVtx3rWPNmeWS7LIo6vrgazuCRaTswDHuni6eCCDPZe+IujF8DU/Ec1yJ0OboyzG1F3MkdBgQIs
v8wJdJme8j8uuLEPsWl5N7Lse3BF7geT3uxVslnRRIJeKlJ0CwT1ULpOgJexcT9WIYOLkiUiCn6n
4Q3VdAlucF7y4jpea6EmjnVmlpfRyX+MwiGPuM/xzM+/Uvz7NRtx5y8OWzxCHEK8JcDVY9npm0gU
zdlvcRywHeoxbSTV0S+bT0Nj8u3V+kCaqcN5atEbVxPR4pXDvEyYexKxBx7B7IAy1NobBVpebG3T
azci6IebfwyE7VwNxwfpCVhaI8/4Ujg1iNz5eyqL1kEzQQdA52GdXRzQq2m+3SzJ9mUoXWuFYBnk
al4cMZFMR88PqzVBC6caXTamLgy/VLvvbdn8VqESh8wifkIDbQkoRQ7nETPszDYktbXL4XPCTmux
tZgwj9M83CU20qpI4Ut67EzD1kq3bUijaDaz8J0Yt3k69piJuYFQO109p05/H7sInH/P6PQ4f2k0
dxKvLfS+w4Baq+uQhssKWE7fZHun4loRqnurGWfPAhIfaWzGvWwYoLRzgTCcz/Shbkofcr4e7GuN
Ocvc2igQved+IjRVq4l84JE28Wu37Px7IKyCPK0wNbW9bUYw+EzWeMAF+AdZyGHC425Z+qXSYrl8
bCkqin3YCmVzALH+RD2WL1EhBGdSbD3cwcI+lxPYafyFJ6e0bNxU3HRDyYyCzdKxt0LzKECikQme
Z7u0Jduw7CZIb2HZXRuqizfT5WBrRdosnS4i1ASpL+GHAFp1L3qGFc45s4Hkk/xUNTbqUgzJltoH
+5DXZFusttxdjVcsJotj1JATA4Jo6JbkpubED2iHnhjwWz/LVArN/g3Si5ZSn949U8sAugTQErMA
YoU3pLvBS+9I/pEfevxLxmyUTNr8RvrtTqVV9lF3YoueMySwSntF+b3UPM89Rsj4T5wbTNKj74aW
F0LWcKJ8QM4XdIcpKZFsg1RKQr09jlqkVqEt7cXYWne3DLxtkU9bRJjZGb4YCWbaNWBCxsAseS4M
L/p2vWVh62AJSKI+myxJkJT/zPKULaD69IQh8xmqv34AYHj3c9wxevkKRqC8EbzZ7FyzT1dDMXu+
QmiM4F4X+BgHBqgmQFf0GACgg5o5GDWxBtspjZCTJlXJynh+yupyiHbOvMpo8+FQ5L5OmaGP66gW
9CkCi58flRpO953RW/2xsOm5WyZwcuD5Ce7NvNNpSoM7VDdPQMG81Ti/TUmi//2Pq1qb7c7u0TGk
sv7EMYglWrnGcjJsZlnmYPPum9a2Ljr6dUo0D4PqfuhYMI+D8ZV5qMEZF48fYoy6deu5MMjmj1VV
FfoFtQTTUH7UsXZfHkhjpFaHSSAJ8vI6YC+UV0drXo4KN1EHimLWdu6lh6lAuLNiDtcf+t6LTnpf
fTpTlB9Qn7nAPRiMtm3trJOuas6P4q7PzPbWAeKzvTB4LlOyTQcqj0081jaec64UO4U/EroBuonK
/MWvaF0jE+jqwXg2sPbvFT0sNgbNXwKKqNfNBJECFldykgTBzwEoE5NSVOeejlychiRbyqwfSdVt
E8SjdB+N5u66EqBlqzu3lNnE2VLIyx6/AOx57jMInG7phcMmYP72AVdiTht23dLYPTo9G4nRyc9k
y+aU+sZUb3YA/c/JYzjXg8fYl7pa00dvlSMbWLZa2xyCpnlPBDGdpt98hYJdJocMkUqZ5Z3DXHVb
gQlcaPDV5KPSGyOcsoyhMEQz+WUu7vzbnmexzA7cgnPR/UfxjUmeaHx3j1+KUoqjVZajOnRm9KRP
0Vbppn6Z3KA/J3F5/DekmJIVhhttW80sXNjVzafywzd9/C1l8mkM8CwevQNHeXDIs27aMZxCLjKN
Yvs/7s5luXEk6dKvIqvVzAJq3C9jf5dZSqIk6p6SUsqqDQ2SmABIXEjcCGI1rzHrWc1idvMG/Sbz
JPMFKFYRlDpvwHTx77a2KpPECgQDER7ux48f16SXBXKUV9XkSK5tnJ8Y7J/gmHoDLZ+QcQlnHxch
um82hAOyK9RP5oJBMKlq79yvKxBcQQyUgmx6r8f1oy/RmRr+REojiwVh/0IlvmmMa0F3uRpKsEG3
0dFce3QQGxE7VE6JGkn3nlPXL8P9PJXCUeRC4oMUWgKmm4mLhM8AZNY6cObz61R0TBbsEMWi62Tz
/lIK/C1Npec0zbJP9PoWHR+sIxc04SEmpKD3jY0g1E1GEdgtCCDDUgR3khjUmsAKq88XoKUn03qB
UC6NrwbUmhkHWRigZ15DnkUNGodfhF+ygv8O9AyoGY7mYKHVnZejMeEIoyHpU4dOILAJNAvhJgrl
NJCAWhMVp86N5UWkhhJJOyhz9YxkWDJYWqPZMETmB05gSgpO+NVTG3X/yZKOB5I2is/M+tmTNGr4
GzRwPj+i/Fe699EGPFRL6tfnVnkbIXJw7QfmWUIbnunB5CmN7cUl5WDBQZ3CGQPwwUuDF33ozZbR
MTqhlMMUNlplM3wyyhqrmzlUslJW/HtVxaODNHTpG4h0QeBCkD6UnYP5HPti6xECm7A2EfdzqovM
K59mGQwMnQz++aScSOeaPCxoundMMkseNJZUoIBSlYc3Pu1KvAAxFb04CgQNoCwIxxN/EZ4EgvOx
oNdJXUyqJ9ukrHBp3y8Rc4TeblwHI3JPsiylp7NFyXsFRzgqq9g/ptiOemVx3iFnnEJuDGnSOhWq
QPAOjMI+MWs0BIuFvDwe2ZECG/ReLULg46mKmBWlhQEggG2iOU3QfdDIwwP/UIvVBLGeTV82U0mc
69ii/HyhgVt57G4vckhZCOa6T+Xl+SIFCgO1BQVVPKs8Nrz0gbYP9am0KBHaJ5+PAPDoPPCLk4me
nJVQh/RTQWHMVPZ4WdfOtVwh7VNMaQYUIPhueEj7eAqMeIcSm9NEmoq2w8gtiNOiz8qbhbKoztGI
LY9lahwPUvoKmv6kOs6AoqPDRy+iGMTIw+qjZ4Y5VDmE48O5fIa26ZOy8MLrwOCVSaSKxI4u5klA
PypyvOks/pzA4ji1ErFq2cIRgSsEmYrm4YhhDBFiW9xT5OEdpVn5u4UFOIqn1UMc1NLJUqViN8zR
6pRiE+lSsZWbi8xDV/W4JIJoLospKCAlt4BT+bxABtj+ra4XvBANlthDSCpYOC1yCduWfIK24rAk
9qS+0NTluTKrnYfZ6NGCOnacLuXiSGQyG4AMdPGxARtrhz6KEV0aaJNKUy+yQbMBgBAWt6TtLeW7
Mq3S0UudTpHwnfkY2iYpFE8hN9kVXSuriTOhlwX15RMfyJqK/eTYbMrnkO+VDyJqebxk+bsjNPic
9LgJXaSl6Kcwx+9sYB8iFutat6zb3EJpA/Xjw4mcXlnwX4bUTaYX1IsdVSJjMF8gyhrL2ifiRYh8
TRSUsymdRVGdN68709TwaM7uvpNeJqEBZTeeAEqbYA164B9bcjY6VU2JysiJnTzi+hKfOdlkmKt0
wAsDxzixjJyuehKCB1VoHo3UwjmXtd815K1B3BEsQvYvPnOQ9Bnp6hK/O0OorJGYt5beFMqYwCNk
mpU4E5jxS9pIAsDNT+ahNTqeRwGSWmQpJMchuLYC59LTaI6yBAgkpVHG53RjSA8KJCjjZeyswlTD
ttQb4AyKEj2c76pCOIsrWoKQeEriV7pMHSjL4MeVnJ7AKJ/ezIIUbRZ04IecyyWdzbw7rr+5cCKC
89yo3YWW+Hc1cpQflxVagRrdgoYr2CMuUhOx6MWcBihJfEyHptmDJtqKU6J0QM43uNCpjF4laKY6
vTikeMHLsiuExdEVmNU2qLGhzRHcm8/vslQRKdYZfC3iVQU9iGsoRGjp0APwohwtvySLuBggJzG/
Ran5kxHV8mNNV/RpCRkdqWvsbzhyDRy7sjLLyxmSuZfBVEPaRYEBIxnKVUgf3UV5X8Du/FyXKBhW
kLUOGvILb+LeqaDpLFIDHKnS8DwU5ZNdADmQcqPgy4HdNwkMxPlEVg4E4oqSYMiHMkibuIHJ8J04
4WRxvcgo68qW1ege8AAG+4LCdKKNqEH+DMU7WwSFs3ImyCs6lygKQii6W3AejuLR7POqR0DjbFiq
cIW1NL9F+/qADp7O4YQe7QdFJhkXiupMjoJaMw5L0PbjqY64Xri08rNkFqZ0++LKhGGIpDmCAsNU
ltEBS4Arzsw00B6JpAoui+mQLw2FIfBm9ekir2ZXhu08BNLiM0TmAayA8CMqofb5qPnUPJnrXHI4
OPV0fufbi0+el9JOiqOM9kV4GIrItipCExGDrBpWVK9rZUm+HAcEcgneUwUr7jTOFPhPhUElBPX5
AY0th0lNM3iwHHloU3p+SBPfE1jc0+tZNvEvQxrWIBk0SKtqebtU5hcokXrnRgF7a5Yv6HwrvOCY
orgZ1NBjhlqc1YlLZxS6qNAiTw4i5OIKuzzDhwkJYIcSnOml2NU50kulfkyjx/w2m6hX9NI1h3Md
5MukBJpED7daHppIzHhXASnaa+AnCNPipkg9nzzLQhuIjMZ1TG3eEXRkCtukL6GpSGiE1dl1yUmd
5+borAzh62iy/pTMDRqF5TCmtYnsfZ5FBRAF/RYkw3mY6359NkJchnYLSDs1xEkLH/OIoPIltCF8
ZqDB97EmfVmQ5EW9wHxxrIsk/JipdfKYFHR797PsU+qgLz2tVe2xmNnw9qucSj1a2dDwlxupcRsa
+yg5JJTrxI8Ghm9LD9NMA8lXfXpaCExTS+YnjQg1NSXoaY+E7rrI7Mw1nD/Hozyf+3Z6autQ/JpQ
J1NmFGdFtgKdnu8XqqMUmUyqtALKzegjNYgLa3q0HMlYfBH6KWrkpnyHYQxDKOZ4KtPp8oh+JPPf
HPiyB5cANsktpHJISUayGKzchiSUHBIGCxRylHyYpnTP9BYlwskj57i20UKJ8cyOm82WptZHxyvh
iSHofb9Q5tEBZc3XOQLWkGq4h1SqZI9rkR1PAvOlWR0zBV4Ooczc6gvkEXMDJ7DhxwLtoAonkCBT
iLNBe7SOGnudTeYqUZ0AahMnIHFh5NonWOwIkdOgEMhFuco8yRpCxysBGKmboiZPxCyw7OhnkARg
UPbCOZZpl3hgqiGNd6qYPg2ZH19DB14OZKiX59PZTSr5xu3UJ4tu5faVouZoElrPqeh+iE6Mfxil
lO8uTDpRBY5oR0IlrBrlHwPSDqdNJhbC2jCdf3Sk6iYTEV4azB+UKr7A45r9ps7ofkjRCLTteUSk
huBuakxHn6g5JL1fjc7AD6nEWljFWbZEMydYJmj3U7lzip4JHYaM6POImjGZzkK5AwtnXlqUSVBL
SfXxbPm7pdEJDAI1LTyrgwn1gSeLukTmaQJ8mQjlHgPJd21kk/Us/eM68qTDQkn1m0VaUq83m5OK
wovyPs7uHXWEdEqKalJpoqJTzkVFzOxOQ1PrWRPt8iC2AAYtIrwwK5qcNVuhLoLZuamRmlfqKryu
gAsOqiS4mGeZ/rrfF7UvnYFIovozQiDYJNh/vaphekaHNa91juwOBX2N68D9HUGH0eAAzUgpo2rI
qdAtMg/OEnR8ManOZK+AVh3MEPc0kJBqtgjgYzL0kaPO/XKGTrj52azD6e3MMSa3hVN9FBg6bSeS
izCdj4a57bMOsXJXylr56MkH+TLyb0aTj5IXBddFTUVfOK2ti0DPT+vZTEP4EDoNqtTlHRUiGQko
KtRCRBQOml2+Mm8kgGEwQ5nhErmv6RxM//FquJjqE/pcpgNNWfjXzT8CGJW5hXo5Kno60tCVf5zD
xz2u6px+X9YsGS5oTnrkUH0EaXJ50cQZyXx0GifS/JJsGTGXjP6cEXn6UE/JG5ZZ6X9SEHWilQqT
oOtH47EZquSgYJaDXCzj5CjQR+EJ9Y6amuafJ3MaeflLHQJBKZUnpQT3nBbVaNFZKLrGC1F4EvnT
6NGPkxun8KePdpwdBwqs+Vkw0T5NZ1NkJ+gmfpgp8IsoVX2kiiA6mutkcCLH/hg4JHgaREl3HHK2
HowjmFkEBqhPa95IHi65mRmRptVxScknTiLyq5RZJojlx7S11a06O40DKDGHkEmj5ae09FR074wb
akLkhroPCelKGiFbrWTabQXl4pTU6+RUFLzTREaht71cDwgCcvT9JfvWC/PLHLl5KF4UVaLth1TB
UgfBKTSfrvCR6TxkpjcolqZ8mlmzT6ZjK5dGomlCfsWyzhbT6qNShMFVWqRPuUTvRsP2k9tKBeZz
HITIU7LJIDRPy6CihMaqbxvLRmWUT7Nteocv9RyR/QVIkR84SM8H2uzyNWyzLPVsmdkPjrPwHumH
V1Eeb3OtZuiXLkVDLCXPCDWpqBpGGG/CCQjEqUP6DXHayfw0g+x1rkyVy0RDLX1Ob2xvVJan6BV8
AYKTzwOqEQYplTtHqcgiTIimpha1XIZqA3jWngawX95jMSUhtWqUF7IzSw+h0YCwO8sA8d5qyKHD
s6z8sDjSI3V5sTp7DY3oNA/JCDjFzEdbDkJmTDx4CDxfX0xR0QCGkOXbajLyz+IifqSbgz8czSdP
fBv/DipRflBOFPV8blqzBwu8eVBJFbz2El9ALvJwIKsT+lHbS+POzG5C4fHNKqc4k2z/2Fikwa0d
1WiOmC9GKdPwIsmyj5YfpQMpCl5sKlZvufnJDmpyeIIyCfdqnNAyM0ChIJYX5GmMJRIYZUS/vGVm
HU2yeX0OvRCtjdpHHKaOnnUnefICWp4h7AmTeymX1UGVRel5MZ/qF5NcPlcWdJalqC99skn1Rn74
RZvOrUekh4mVJubYWsoPIuNwXFkIB0bB7CPNhZCiu4SIVBJXsVAxTPMjJeUmoNIagQzkNw4VkROk
tGZ6if4xtAkkhgBlc5ipcqg596N5pJ6izW7BDZua5xC30M9IQ/sROTEIy7rn/y4XUnTmKKgDlYUS
DaZlIfhKOtIzSZBcgqNPjiKZBD7nYHJbOem9LYRVyjRSBnqllhcpRSLHpj66tVIzAj9E1aKIJO9i
EY7lMiAk9hfADKtNbFuo38IRoTbIKz9pZM/PtRl1ELUfUwOczy+DclReh1mAIlks1a+uRypBEW1S
dtQ9gZIWfnxCPSvKpSBNw5BpnhYqfNBCVoPP6sIGigqj6SVNmetH9AqAOfGcCc+PSlH9sfCKCzOf
GaTNKQ2ZTsmWQdq5ky3KQxKIpPe2I8eomIJ35aWnQ2BJrKvYoyJF/FRGUXwRT6lGIDQ1HhJYpEem
TpYROajg1KrhBCE7/aTbFi2KGrzF9PWLpq+fGkDmRFpVDqcELHFwJweFfad7FLr6xERxOv0sGdPq
0hfi/io1HZpPptnTwPm1okhOI9+uB2k8khCZ4UA04dMkiz2KYBLawUR0Uq5ktbosyXwhhBTBDGlA
iFHoThs6YW6gqbFwwnO9iLTTZJIW55p9Ii8L2jwI9BH7rJErRqJJOPa0L12kM0RRsgr3tixOA62Q
rw3deahJoaIBRS8lhdoDapiRrZCK4n4K24iO9PP60Zs6SDDwWeRviB0rT4LxmUG+cbwYymamHZPN
V36bBsCxRSRfLL38t1rwEBca+mSeIWlnlZWV91SwuDn0zAGiwRTjG4X0UC2sM4+E+21ZzA6h2VNe
lebqR256NLSTkOx6lAUIdZVnI6qw2OcFnQfSRB2MGLQ0iwrWTjScNq624gTWUZIm01vVcibXTpRS
8zIJP2cv4G3VZQghY4XDoAhKWUuUGJeAA6gy5ok0VEjIHaGSSNtL+MbHjqj+8y0jQQ+k5EaapurA
8z3vlovhCXeMQv6M7s20kjgNp+FlAZZ5bggUbqJOv6DvqmN5FspRFS5vm0RlnQfOVRgmv5F6WVxI
C4tkeT1A+6Ae4kPqaIGX5pA+5tWQOvTqIK5PAQlISszInqdlVJ40EDJK/IOykMkEhgiu5nlVnlih
VR0mydQ/DKo4eV4EM3g0fvQwKrLPMxK2B0apTm8mthRcUvxmHgotLP3Jo6VIzPWWkGukbclcmyPk
FWYPkzS78eUMXq74KZRR8NWq8ExfqvMBRjHkkqZho5TId6MqUT5BB6J5Bvk8dO2iY/Lq1jBVfO8Q
4DL+ZIVn05DW9XRKhh+nfRTdDOBWkoP0UhdVwOulREVGUcssE+UsM3gpfAcKHh3DSCBIgR+kAFkT
BdWrYh6iGlIatzrYzQBwRAjfosEgOt3mkZ2fUAqHPDP8+IkPO2b00ZAW4RHptZQKjYLWJWliXtWR
WtI9t7hT6LZD6QfKuFJqPc4dVADSmDZGNUE09brcVRbyjTaKLQgKTM+DKj86bzrO/e25+m/eOLlZ
dejLfv0Pfn5OZss08Px868df75OI//+H+G/++Ez7v/j1Mngm8kq+5F/91Mk4uXKjcbb9odbIPP11
dkdu7rZ+GMQ0Jll+LMbp8nacFWH+9b+uvgdfUwx0k1DVeY9g+dYQ3/Wh5tv+04H2xs2g98vZ+O+/
PCdFnIv5eUES//L6p+HL33+xnY1ef3/MqPkyXxsgdJlw8cLI1r5j6hZV5Ipqyo5tarRYJG3tvf5Z
UvZV2XDQO4O9bsq4p8bmq/7jie+swde/3nqpV1vm/XG+9g1WqyOWwKIr6N/ePOwHlkDR9kk8mabp
mA59JEFm20tg2/u2aalUOZq6YXB10j2RB27sp3+2Dd7M6oeX6fuWQDVozNlpDdB32lc0m4Y9OvGl
ITsWjSs39oFi7auqKpuKYliqSo/T1aLv0BooSvejYKqWafM1HVLkVPxt7QNjn5JD1SZ3awOAm7q5
c0cBsLbjPpD3DU0zdU2WLdWydR2mVmsfaNa+bTgwBC2FaFOl0enOnQVF7rgGir4POwQasco5oDhL
bR8Fib/rFN3ZmiqWivazLNGO2QOt6z6QzH0soq5i96kksQkW2ewb9kDT90mraJqmGoqDgqW6e2fB
4Ph2s4lcDKqiQVEwbJt/2RaGv70GcGlsMG+bu9GiY/TO7QOz872gOPsyWR2+Im+Zu0FhxI01UJ19
coGmLbNZZA7Mzq2A3H0F9h3HMWXes2MbVL+3rQEL4KiGzTGgLFzhAzu3BCYT7nQOVHPfkFF3peRE
xejJWvsYNFsAoT0Tx6n5wK7tAcVavZMtV/MHPERnnzdsGhobQVPR1ttyku19mdtCw2eyFSRD5NWC
75BvZOHUd9oC9r7JF9dxe0QQIFs67t+GFdAc8XcKnBz63htWs0N260ZUzK63garti9AAlwdbyL+2
LkRJkVWOiUWPGc1hJXbwRlT1rmtAsmKfJrLQ/1RZZyF40619IBnmPkaQT6y3yc6FCcYqePt5W8A2
kE3LMh0Zo0hGRMe4bBwFydL2ZRpyOCqBRBMo7dyFoBhdvUNN2bd1TZEVg0DJ1IkT2muA84jTROWv
8hovrjbeDllEJtbRJEryvoJfYCKtZ1qsBb5w+zAoxAmyzEfwG3ARdhA26GwTQYdEcMDL5nIEAFec
rY1g2fuaJdbI1qwdDRfF+e10NyrqvkoFKA6waVgGkXHbQWSNLB3n0JQ1wDUbT3nnbKK6Clx+3iZy
/RuEi9DLVSIEYsa2TVT3KUDm9bNLDB2zoK/ckR0yB0A+HXeBpNrECaZGuKxamolgcvsoqAbXApJj
GqZA4Tw4uxcsyl1NosU2ELAJd59lUQmwBZyAGO3bKoiK7oCymShiNWu+Q9uAGXbcBoq9r9Kkmv+Z
XAmGIkCIlndg7WMGHMfWFQ0YkU6Mu7YGqtk1WJDATYRviB2gYRrXothYG4ugWjiRBn8ASIRToopg
YreiBbXrEohggV5xAjThSkAFrb0NHJkrAztI4sWxZVgRO7cLlM6oAc6PRjCM+LNuG29DRhEuEZgL
rF03dFzJ3XMRu18JfEVsvoVbQFE++5yNvnkONDBUHTuIlWiOwe6dA2HBuzlHBmkloFNd19BoMEkv
tZaA9y4CRo0lsAWwtHsAIpBexyWQMAbkSoDHXm8E8SU3toFk4CSTeARUwFIIbGXn9oGidDaI+IBk
CkR3IdlyVsd9Yw0sh2sRrwEXkuwat+PqHt4l18Ds6iRLIodKao3iV8WUdRk8ubUPNJFf5JhYhi3S
bwj07Nq1yDnueBZwkgXNAHEcjS4MuIEMuLENbIGxmXSMMYmXyD3JO3gpdM0uApfj/5Eu+jMW2lgB
E64BaRZujcZD3sGckrbalj8fLIKU7nPxEwo7XPyAiSIU2lgCyRAIGmQ7FgHWyera3C3/sDt4xGFX
OAaWztWHm4S6cXsNTP6uGwrrA8i2g3m1V5/953cBsaIqzKDAjEQksMUzsNkjsgJ0xEmxLA2ruWvG
kDC+ozEUYZLY5Rp0CpN4SLjcG+eAloH7wIbsDVg3Ak9YPW+H7kS9qy0EOrNAiIHHuPTwe4Sv1VoB
fd/hT1yar27Brm0Cp2uMoBj7Jv1j5BVwuNrnGysgESlqhNIG+OJO5td7SCkJS2iiVgp8CkL2xhJa
MBAV0ndoWqm6CJZXS75Dx0DwxDoFSZJicg5IGnIAVGAx/tk6B5Kpg6yRWtRAz3bzPsCMdV0EBzwA
cTU0jjnsr4jA5lGwBC0LHgbZFhkWxg4mmXk/HRfBFvQ7DgF01Nerv7UR5H0iRFVRZVK5qDftINOA
ELfjEoCgQrIgk0CqRACkgrzR2gbqPs6ziWvAXhH35+55BlpXFBl2HXxs4ACZFCqVbcLmbawBdBQk
/VgfEUeIo7JzkSJ4R9dtQAoZVRcBGYj8srPNvQNPADkUMLMj/IYdhA87c7J1c99GVZPEGuwrTrzI
UW3sAo7aPqlnGOlkXUQwvXMXY+cVgFtH9RWsIkdlI8C5bS0Aqqa4DhDvSDLsqClQXhGMn4+TIBFA
JEH9lLSRTLC4tQkkG3KeWCRWaRf5l8AYXQ2BCtdE12BhqwSMq22+cQokm8SqJrYB5oAMs/1K9tsh
/5Dd23ENcAtEOhVD+D73jGhZJtdE0TQ3xg9Ch9+xUH9UM1GnHb40xU7BONuomPrmB9aFMG8H2Khl
Ygdb8i+tj4rqp9Xgf1ZD/fqMfGoQ84umBGfjD6LebOPH5Hnsxt/4TKuwalVCtjHCusanmfbrXF7X
6+03aU18IIq3WKT1L0+Dceqmzz7ye6JU7PVbi7q1v//y4UsaPLubVV0Nv/LPeYj6r9evvLGRvjpk
nPO0fGtY5Gi5IzqNmwWtieKLdhxxUKTJbLyelajnEg4PUEeXaV5RJevvfYjG2wuLIRXVW13G/lBk
eeqGW+sgst3dxr1L6JL+3pw1RXOIMLvMmUV2t94cwYNC8QaNMUXiBcaCYK+1n1H8WXKYNfvuva3/
Rx3c2wPRLvH78b+/TqfZE2Lnrs/S5mlsn/jWaf7PcPLfPaY4dF95FX/xmxCm6d/wRYQetqJl2ojh
/ulx+G4r7CVha9A3NmLjjH3noAdJni3cuDWsKH3sOtmDcRy0SosFK7DzoEVaxC/BeiBxlAWS33XY
Q999WY8ixnx7X/z4ut6OZzR3CZ73ki97uT/eQ/XeS1oP+ZqB/M6X1wy691+Obg//a2voHjbbIb5E
mrSrw/Ue9gUNVBCN4AJYvTSx3AbBfedXyABco3sr5yfeWy//euTmOUA/nZ/jzsZ7D+P0peVjiCKu
riMfTYIn7uzW5hbc3q7j0sZolq+HEcsg8kKdB50Xbp5g4sK9kwLnuWU+BHLQ+QFICqftYQVk03nY
nP7es7ZlFtVMXce954SfuNFTe2T7mxfvKpD/mut94j61D6FAxrtO98Tfsvhvvc3iT2/tO43R240A
L6P7XA//8X/y8d7L//3v/2NYJkHaOndNkX7XxTgfx8vW/n0nCPnx1bgInrZdAFqJd1+Oi3GW5H7r
JoH018O4wdPWKug93KyX7ovrudmzm65nKCwQjJT1j+/qkfyR/frawbh0l0met7eD0cNRvnRDd9Gy
wg3ruusuY9itQXs4x5dcpc/P7c0gqrG6T7bA/rpx25xBrulh6KQWdnJetN+coMN1nfVVgNe9HqbZ
Z32Y9mbUrYUQoGDX2a7MpXQQZJlbrIdrZv02PC9+2Bjf4tO/tKwaSdD1U37+0L2iCm8QpqbgpeuK
3I3jseeG61mKtVCF+kbncQHLUnfvYpzErU2HGEMPgyfRG/RGZI86T7p4cdvxUx9R2X3SDkKaFHPn
qf7jfyZ7iG/943/tsen2btJ//O/4OWijcGibdF+T+yIOtnAn6qd7GNeN621jpwo6bdeV+eS9OYUi
k9l12AOU2ILY3Tt2s5btp2S+++CAyMGWH9voQXWd9ACYAZy9dQlC3u0+4d/f+N1NzVHX+f4eRE/u
06JtMUQVXteBVzb07s35tnqwGrSh27vHfWkZUUP75sh/HRSrW9ARO0OAm/P//5ZYOXD91G2DWkoP
TtzhcpYW2XpfiVuvDxfuxK3dvbs8DWabIzfcjq4beJi2bybodOtn/LxnMcxSd9zatrA4exg2defr
URrnSu0BRThL0q3LGbXD9VN+fgnOi4UbtKAaSLzdh70YP7lxG0MgBdR93Otoaxv0YRw/ooLZ9uGd
HnbBnVu8BHsfUnf7YhOqK12Pwx2CpG1PW1RcdR31Uxzk45dmznuDKEjdfNyyETB4uj/kcZzlewdu
PF0P1fjcQnOq6/R/G0fjtvtq9nDwTsh/xHun40YAdj1JMWddqIquf/HzJxAH82lvmPGQl9Ziw7vB
Gomiiq7r8uGp2LssstZ+eR39m5tm85Ib/EEIeO+3G1yKVnJt/V99199fv2uzJQQk1hrp9ZL9T54v
/eIBhAYZSMf6zYpv20Ok8qEep09uMGkP3MO5+pByrtrmpgf7iAnwQvdlnPmb6yDK1rvu98ulG9Mx
Zz1Qs5n6mLBfbL+0HszhAdnFcStA0XqYK5m0p+Sl/c76iALv0mDvAtvdsiV9QMwQItr54D7CylPy
n3t0qvb27j7cbm4HpQ9cahi/AO5sYQONKFPXDczI7VfXFC93HfXMnbVNA/Ts9aL8/PV1vky9Zb1t
zlAG6T70igJ1nmzl5CjG7z72KiB+Z+wejvQ5YdDUf7skPZzrC7edxkbvuvtaXLrPbvLmiIjawK5b
7lIQELZ4ZtTK9TCwG74EZds7Rbqzl4Hd5faZ7iN7fTWetWHmphK96wLfuKn7PA7f9R9FVUn38adv
XBVYyj0MDA03mM1I47ecXhh93ce+C2LPnWE21kOt3Mkedse97wbCUW8NLARGuq7zvTsJ3q40VSF9
DB2Ql1mP0yxFHx7GPXiwcAu3zVyjtt51OT7VT+N3lkPvYaUfgnEeu1FrPfowdUNaZxez14O4ObqC
QFAP86ZFqZv5QK2rULH1BAvl3vUvfv4mv5sR8IfL92wJah9CL6Dra70MXl7C8d7AzfL1YGI/ruDY
fz46FuK7svN3fjBNcNHfWSK4t5Tg9xCti0z90t07J1cdQg/JpuKn2+DFaxkbqNTI6PWAo90HMNck
+Bdt0oElenyIMsWub4T059SdFu+9c0RcqMXo4RlHyfQl2fsbOYIpwV4Quetpi3dPMSgNSXp4Medu
EaRBC1SizpjiMqHn2XWZblwpDKRnP3ClLCvW44n5vz6jh1d9Rzz8zsg9mI4Ld5b7W87Hamm+eb28
B/T8a+jylAFRd9UV/9mc/yt8tPmrwSui1WBTrWet/7L+5ddYQQfjMKhb578PnPQw4WrFtLTLavpw
ngfh3p0blu5L0sJIhJZl14NyAkVzDDmhfcZ7ON6E8i+iAmQ9xdXZ6+HYXbHAqesVrRk3JX9d1+IG
vmPb2DVVdF8f9r3d+a85cKuapfV+PxRlcv8egGtIKqoNp/SwbT4A/kDw2dyO3zSm3ybeNoVZ7bkK
tcGvb5lvD4uB8oKi7fMqPQybZCxsw785Haf12EtoH9paEiET2MPk3a1c9duCveKHyWoHRei5W0k0
rYfpHo0F9tzyQ/rIQg3T8Xbg2Qd9cZDlydbhoH618zs7rMfCWVoPJIx1H/TF4yDeXgShVN51hx27
aTJ+zwV+W2f54/vsOHXj55ZzYPdwok+CJypPttLWfeAyJ/SQjLPxcr2qjY/eh2MwTkndt4ftYx3S
8bi9ukKJr+uGOEwTaGOt7YuSWfdxTwuAqbS1CI0YQtf5DoEAt1AphFq7z3eYu2F7tkoPq3A2Trc2
mNJH1u+MwB9+fpsB0Kjxdl3eCzcvt3ZDH7m0iyD3i23XBCGQ7u/tLkxKd7o95R5C+YsAu56PY+CI
LU5aH+m6i6Iak7Ys0nYc3Afqd5mEL6zJemmb6EEolHXdGiQ43O1aiB6OCChT3p5sHwDf1Zii0FRY
inYY1QcJlFzdwm3bij6uZvowbxu2PhgxN4grFFu0f8Xp4YDcwszf8qfUPgrSxIne5mAgXNF9A4M6
YTXTIG6TuvuIOu5mW8RVdAF7mHDpEtClL+uRxFGm3e36xw7w92L80r48EOvpY9ggh5izvY3RQ+o+
9qep4Aa3nEu6VfQw7ooHeE4e7SVph419cD0ecK6e2XeHqMisJ9u8xl5K6ZCZETU9aXtD9xHV3MGv
al+qtBBef4Gf33gkdMaiYv+ynaVTjF4IvisSBSn+MWyV9uzRLO3Dnzunv33ZWm2HHgnI4H9raf46
rGulofPvh3UdAjm2K/D6yHmdEGS9Cbz7uC0vx1Ww5T2Jfm5dnbI7jGK+dyMq8MYNOnUpSj8RXFsP
3RibbyvUfBtYeyVM3+VvmNKi+0PX73HIAI2+xDsiUE125J8/AQfvu1Kmh1z9T09ojK1n23jGQokP
ac71794xbavx/7oDLLovNFPseoY3v8Ir3L35q0EvCaIPafHUdue/srTf+eY+MDOyFs3+PnDTJ0q7
1oM223v9wzsv77uf4BVB2E7lKD0gpGK25J7YQqsD0my5HoImoYdBuRQ5l9bQfZAcr9zSpWT6HWJB
H1zEQ3dJ1PAeANlH6Hu4tfdEH6+ulukoiaiqbGcm+4hQ1+O+r6XTB7+Pu2z7iuwjoDxm2GdfIv35
wkVTtOuQ+6itP6VKK1i/uJWR1tY//vwRP+OwbL3Gpn9g1/3xuhwElqL6lst3PdVm5n1oLwG85Jko
sc/bQ/dgn26AwPNEZN5bTi2K5etH/fyC3+V750GeZ43ZvhqXQdtU9UEU4xEXxXPb00divPvc70EJ
ghf3pZn7ffLkbpX195HsE6zC1eIcsjGT7D2jiKh49y/DKj0EJGZwFAGYGrW0lWl4w0jtQ5LmAGWT
IPN5ZOoF71p6ZCy7f6lPd199Qg/79wC8c0sPCVHj7jM/hNsBCX09UOPB9ME9u3Pbjpdq9eCXr+KL
ASKqABlF+wT3keZcjY+bBFwbjqMWRkIbyvUidbJCwjS30S46UvTBc+dgrcz+epriXdI+8dvh1nt+
97+G+iK4Zv+WtYZs0Tc6v99Gjf+6F7HSCe4a032lQPSvksdOPeFStckxfTCqD6iu2cpN9qEKcJC6
dVvPQ7SF6eoVCk5ZyxPsgyF9mITJtgZiH3z+wTO+fJsg2Qc2tfKMhYDllhpiH0m4YzecikTDe16T
1YPTdFJQWduCGaA/d98Xd5DpoUq2tgbd4roPLKqjwEhaF2jTDLfrTr4Zp8V6ek1I04dA5qe02J4s
HVPWj/n52/6BdEgN/tl6ceq35RD/umvgPWH3rpfC5rcRa0lbg81fDXoB+k7GCQ5+a6H7qMK7LbKt
kkQaTXffGCLYajO9yIt8a9j3Fu0rS7kW0H/vP9tQhHh9G8/h2E1//X8AAAD//w==</cx:binary>
              </cx:geoCache>
            </cx:geography>
          </cx:layoutPr>
          <cx:valueColors>
            <cx:minColor>
              <a:schemeClr val="accent2">
                <a:lumMod val="50000"/>
              </a:schemeClr>
            </cx:minColor>
            <cx:maxColor>
              <a:schemeClr val="accent2">
                <a:lumMod val="75000"/>
              </a:schemeClr>
            </cx:maxColor>
          </cx:valueColors>
        </cx:series>
      </cx:plotAreaRegion>
    </cx:plotArea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31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1C1269B-2F1F-413E-93A9-4390F976A0B3}" type="datetimeFigureOut">
              <a:rPr lang="en-ZA" smtClean="0"/>
              <a:t>2021/03/17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2F25218-6483-46F5-A05F-92210860D09F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4018790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F25218-6483-46F5-A05F-92210860D09F}" type="slidenum">
              <a:rPr lang="en-ZA" smtClean="0"/>
              <a:t>1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13569023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F25218-6483-46F5-A05F-92210860D09F}" type="slidenum">
              <a:rPr lang="en-ZA" smtClean="0"/>
              <a:t>10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9688789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F25218-6483-46F5-A05F-92210860D09F}" type="slidenum">
              <a:rPr lang="en-ZA" smtClean="0"/>
              <a:t>11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05543083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sz="1600" dirty="0">
              <a:cs typeface="+mn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F25218-6483-46F5-A05F-92210860D09F}" type="slidenum">
              <a:rPr lang="en-ZA" smtClean="0"/>
              <a:t>12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35981050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598BF3-6578-4612-955C-E9F3F7EB9A7B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647105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F25218-6483-46F5-A05F-92210860D09F}" type="slidenum">
              <a:rPr lang="en-ZA" smtClean="0"/>
              <a:t>14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09437592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F25218-6483-46F5-A05F-92210860D09F}" type="slidenum">
              <a:rPr lang="en-ZA" smtClean="0"/>
              <a:t>15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62567974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F25218-6483-46F5-A05F-92210860D09F}" type="slidenum">
              <a:rPr lang="en-ZA" smtClean="0"/>
              <a:t>16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71292762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F25218-6483-46F5-A05F-92210860D09F}" type="slidenum">
              <a:rPr lang="en-ZA" smtClean="0"/>
              <a:t>17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1211030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F25218-6483-46F5-A05F-92210860D09F}" type="slidenum">
              <a:rPr lang="en-ZA" smtClean="0"/>
              <a:t>2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7106794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F25218-6483-46F5-A05F-92210860D09F}" type="slidenum">
              <a:rPr lang="en-ZA" smtClean="0"/>
              <a:t>3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5310084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200" dirty="0">
              <a:latin typeface="+mj-lt"/>
              <a:cs typeface="Calibri Light"/>
            </a:endParaRP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598BF3-6578-4612-955C-E9F3F7EB9A7B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90087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F25218-6483-46F5-A05F-92210860D09F}" type="slidenum">
              <a:rPr lang="en-ZA" smtClean="0"/>
              <a:t>5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6444891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>
              <a:cs typeface="Calibri"/>
            </a:endParaRPr>
          </a:p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F25218-6483-46F5-A05F-92210860D09F}" type="slidenum">
              <a:rPr lang="en-ZA" smtClean="0"/>
              <a:t>6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7323721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F25218-6483-46F5-A05F-92210860D09F}" type="slidenum">
              <a:rPr lang="en-ZA" smtClean="0"/>
              <a:t>7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66052967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F25218-6483-46F5-A05F-92210860D09F}" type="slidenum">
              <a:rPr lang="en-ZA" smtClean="0"/>
              <a:t>8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8572688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>
              <a:cs typeface="Calibri"/>
            </a:endParaRPr>
          </a:p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F25218-6483-46F5-A05F-92210860D09F}" type="slidenum">
              <a:rPr lang="en-ZA" smtClean="0"/>
              <a:t>9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6267095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jpe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jpe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jpe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jpe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jpe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jpe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jpe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jpe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7" Type="http://schemas.openxmlformats.org/officeDocument/2006/relationships/image" Target="../media/image9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10.emf"/><Relationship Id="rId4" Type="http://schemas.openxmlformats.org/officeDocument/2006/relationships/image" Target="../media/image7.jpe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jpe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jpe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7" Type="http://schemas.openxmlformats.org/officeDocument/2006/relationships/image" Target="../media/image9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10.emf"/><Relationship Id="rId4" Type="http://schemas.openxmlformats.org/officeDocument/2006/relationships/image" Target="../media/image7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page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078" y="1"/>
            <a:ext cx="9166815" cy="6857999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12721" y="5546873"/>
            <a:ext cx="1260000" cy="738282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19485" y="876069"/>
            <a:ext cx="7380000" cy="615553"/>
          </a:xfrm>
        </p:spPr>
        <p:txBody>
          <a:bodyPr lIns="0" tIns="0" rIns="0" bIns="0">
            <a:spAutoFit/>
          </a:bodyPr>
          <a:lstStyle>
            <a:lvl1pPr algn="l">
              <a:defRPr sz="4000" b="1" i="0" cap="all" baseline="0">
                <a:solidFill>
                  <a:srgbClr val="4B7396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22774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numbering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40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1631"/>
          <a:stretch/>
        </p:blipFill>
        <p:spPr>
          <a:xfrm>
            <a:off x="-27588" y="-25409"/>
            <a:ext cx="9171588" cy="936209"/>
          </a:xfrm>
          <a:prstGeom prst="rect">
            <a:avLst/>
          </a:prstGeom>
        </p:spPr>
      </p:pic>
      <p:sp>
        <p:nvSpPr>
          <p:cNvPr id="14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563340" y="2162928"/>
            <a:ext cx="7754472" cy="246221"/>
          </a:xfrm>
        </p:spPr>
        <p:txBody>
          <a:bodyPr wrap="square" lIns="0" tIns="0" rIns="0" bIns="0">
            <a:spAutoFit/>
          </a:bodyPr>
          <a:lstStyle>
            <a:lvl1pPr marL="270000" indent="-270000">
              <a:buClr>
                <a:srgbClr val="4B7396"/>
              </a:buClr>
              <a:buFont typeface="+mj-lt"/>
              <a:buAutoNum type="arabicPeriod"/>
              <a:defRPr sz="16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3" name="Picture 4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0000" y="147681"/>
            <a:ext cx="1078637" cy="630000"/>
          </a:xfrm>
          <a:prstGeom prst="rect">
            <a:avLst/>
          </a:prstGeom>
        </p:spPr>
      </p:pic>
      <p:sp>
        <p:nvSpPr>
          <p:cNvPr id="44" name="Title 1"/>
          <p:cNvSpPr>
            <a:spLocks noGrp="1"/>
          </p:cNvSpPr>
          <p:nvPr>
            <p:ph type="title"/>
          </p:nvPr>
        </p:nvSpPr>
        <p:spPr>
          <a:xfrm>
            <a:off x="540000" y="1530815"/>
            <a:ext cx="7791670" cy="400110"/>
          </a:xfrm>
        </p:spPr>
        <p:txBody>
          <a:bodyPr wrap="square" lIns="0" tIns="0" rIns="0" bIns="0" anchor="ctr" anchorCtr="0">
            <a:spAutoFit/>
          </a:bodyPr>
          <a:lstStyle>
            <a:lvl1pPr algn="l">
              <a:defRPr sz="2600" b="1" i="0" baseline="0">
                <a:solidFill>
                  <a:srgbClr val="4B7396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17" name="Group 16"/>
          <p:cNvGrpSpPr/>
          <p:nvPr/>
        </p:nvGrpSpPr>
        <p:grpSpPr>
          <a:xfrm>
            <a:off x="0" y="5846618"/>
            <a:ext cx="9111517" cy="990599"/>
            <a:chOff x="0" y="5846618"/>
            <a:chExt cx="9111517" cy="990599"/>
          </a:xfrm>
        </p:grpSpPr>
        <p:pic>
          <p:nvPicPr>
            <p:cNvPr id="18" name="Picture 17"/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5846618"/>
              <a:ext cx="9111517" cy="990599"/>
            </a:xfrm>
            <a:prstGeom prst="rect">
              <a:avLst/>
            </a:prstGeom>
          </p:spPr>
        </p:pic>
        <p:sp>
          <p:nvSpPr>
            <p:cNvPr id="19" name="TextBox 18"/>
            <p:cNvSpPr txBox="1"/>
            <p:nvPr/>
          </p:nvSpPr>
          <p:spPr>
            <a:xfrm>
              <a:off x="577195" y="6232964"/>
              <a:ext cx="7754475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algn="r" rtl="0"/>
              <a:r>
                <a:rPr lang="en-US" sz="1600" b="1" i="0" u="none" strike="noStrike" kern="1200" baseline="0" dirty="0">
                  <a:solidFill>
                    <a:srgbClr val="3D6890"/>
                  </a:solidFill>
                  <a:latin typeface="Calibri" panose="020F0502020204030204" pitchFamily="34" charset="0"/>
                  <a:ea typeface="+mn-ea"/>
                  <a:cs typeface="+mn-cs"/>
                </a:rPr>
                <a:t>www.microinsurancenetwork.org</a:t>
              </a:r>
              <a:endParaRPr lang="en-US" sz="1600" b="1" baseline="0" dirty="0">
                <a:solidFill>
                  <a:srgbClr val="3D6890"/>
                </a:solidFill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818929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63346" y="2132033"/>
            <a:ext cx="7874071" cy="3323272"/>
          </a:xfrm>
        </p:spPr>
        <p:txBody>
          <a:bodyPr lIns="144000" tIns="144000" rIns="0" bIns="0">
            <a:normAutofit/>
          </a:bodyPr>
          <a:lstStyle>
            <a:lvl1pPr marL="0" indent="0">
              <a:buNone/>
              <a:defRPr sz="1800">
                <a:latin typeface="Arial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1631"/>
          <a:stretch/>
        </p:blipFill>
        <p:spPr>
          <a:xfrm>
            <a:off x="-27588" y="-25409"/>
            <a:ext cx="9171588" cy="93620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0000" y="147681"/>
            <a:ext cx="1078637" cy="630000"/>
          </a:xfrm>
          <a:prstGeom prst="rect">
            <a:avLst/>
          </a:prstGeom>
        </p:spPr>
      </p:pic>
      <p:sp>
        <p:nvSpPr>
          <p:cNvPr id="31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563346" y="5489984"/>
            <a:ext cx="3745960" cy="153888"/>
          </a:xfrm>
        </p:spPr>
        <p:txBody>
          <a:bodyPr wrap="square" lIns="0" tIns="0" rIns="0" bIns="0" anchor="b" anchorCtr="0">
            <a:spAutoFit/>
          </a:bodyPr>
          <a:lstStyle>
            <a:lvl1pPr marL="0" indent="0">
              <a:buNone/>
              <a:defRPr sz="1000" baseline="0">
                <a:latin typeface="Calibri" panose="020F0502020204030204" pitchFamily="34" charset="0"/>
              </a:defRPr>
            </a:lvl1pPr>
            <a:lvl5pPr marL="0" indent="0">
              <a:buFontTx/>
              <a:buNone/>
              <a:defRPr sz="900" baseline="0">
                <a:latin typeface="Arial"/>
              </a:defRPr>
            </a:lvl5pPr>
          </a:lstStyle>
          <a:p>
            <a:r>
              <a:rPr lang="en-GB" dirty="0"/>
              <a:t>© Source</a:t>
            </a:r>
          </a:p>
        </p:txBody>
      </p:sp>
      <p:sp>
        <p:nvSpPr>
          <p:cNvPr id="32" name="Title 1"/>
          <p:cNvSpPr>
            <a:spLocks noGrp="1"/>
          </p:cNvSpPr>
          <p:nvPr>
            <p:ph type="title"/>
          </p:nvPr>
        </p:nvSpPr>
        <p:spPr>
          <a:xfrm>
            <a:off x="540000" y="1530815"/>
            <a:ext cx="7791670" cy="400110"/>
          </a:xfrm>
        </p:spPr>
        <p:txBody>
          <a:bodyPr wrap="square" lIns="0" tIns="0" rIns="0" bIns="0" anchor="ctr" anchorCtr="0">
            <a:spAutoFit/>
          </a:bodyPr>
          <a:lstStyle>
            <a:lvl1pPr algn="l">
              <a:defRPr sz="2600" b="1" i="0" baseline="0">
                <a:solidFill>
                  <a:srgbClr val="4B7396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18" name="Group 17"/>
          <p:cNvGrpSpPr/>
          <p:nvPr/>
        </p:nvGrpSpPr>
        <p:grpSpPr>
          <a:xfrm>
            <a:off x="0" y="5846618"/>
            <a:ext cx="9111517" cy="990599"/>
            <a:chOff x="0" y="5846618"/>
            <a:chExt cx="9111517" cy="990599"/>
          </a:xfrm>
        </p:grpSpPr>
        <p:pic>
          <p:nvPicPr>
            <p:cNvPr id="19" name="Picture 18"/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5846618"/>
              <a:ext cx="9111517" cy="990599"/>
            </a:xfrm>
            <a:prstGeom prst="rect">
              <a:avLst/>
            </a:prstGeom>
          </p:spPr>
        </p:pic>
        <p:sp>
          <p:nvSpPr>
            <p:cNvPr id="20" name="TextBox 19"/>
            <p:cNvSpPr txBox="1"/>
            <p:nvPr/>
          </p:nvSpPr>
          <p:spPr>
            <a:xfrm>
              <a:off x="577195" y="6232964"/>
              <a:ext cx="7754475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algn="r" rtl="0"/>
              <a:r>
                <a:rPr lang="en-US" sz="1600" b="1" i="0" u="none" strike="noStrike" kern="1200" baseline="0" dirty="0">
                  <a:solidFill>
                    <a:srgbClr val="3D6890"/>
                  </a:solidFill>
                  <a:latin typeface="+mj-lt"/>
                  <a:ea typeface="+mn-ea"/>
                  <a:cs typeface="+mn-cs"/>
                </a:rPr>
                <a:t>www.microinsurancenetwork.org</a:t>
              </a:r>
              <a:endParaRPr lang="en-US" sz="1600" b="1" baseline="0" dirty="0">
                <a:solidFill>
                  <a:srgbClr val="3D6890"/>
                </a:solidFill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305968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idx="1"/>
          </p:nvPr>
        </p:nvSpPr>
        <p:spPr>
          <a:xfrm>
            <a:off x="549162" y="1466717"/>
            <a:ext cx="7929820" cy="3960000"/>
          </a:xfrm>
        </p:spPr>
        <p:txBody>
          <a:bodyPr lIns="144000" tIns="144000" rIns="0" bIns="0">
            <a:normAutofit/>
          </a:bodyPr>
          <a:lstStyle>
            <a:lvl1pPr marL="0" indent="0">
              <a:buNone/>
              <a:defRPr sz="1400">
                <a:latin typeface="Arial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882000" y="5473190"/>
            <a:ext cx="3510914" cy="153888"/>
          </a:xfrm>
        </p:spPr>
        <p:txBody>
          <a:bodyPr wrap="square" lIns="0" tIns="0" rIns="0" bIns="0" anchor="b" anchorCtr="0">
            <a:spAutoFit/>
          </a:bodyPr>
          <a:lstStyle>
            <a:lvl1pPr marL="0" indent="0">
              <a:buNone/>
              <a:defRPr sz="1000" baseline="0">
                <a:latin typeface="Calibri" panose="020F0502020204030204" pitchFamily="34" charset="0"/>
              </a:defRPr>
            </a:lvl1pPr>
            <a:lvl5pPr marL="0" indent="0">
              <a:buFontTx/>
              <a:buNone/>
              <a:defRPr sz="900" baseline="0">
                <a:latin typeface="Arial"/>
              </a:defRPr>
            </a:lvl5pPr>
          </a:lstStyle>
          <a:p>
            <a:r>
              <a:rPr lang="en-GB" dirty="0"/>
              <a:t>© Source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1631"/>
          <a:stretch/>
        </p:blipFill>
        <p:spPr>
          <a:xfrm>
            <a:off x="-27588" y="-25409"/>
            <a:ext cx="9171588" cy="93620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0000" y="147681"/>
            <a:ext cx="1078637" cy="630000"/>
          </a:xfrm>
          <a:prstGeom prst="rect">
            <a:avLst/>
          </a:prstGeom>
        </p:spPr>
      </p:pic>
      <p:grpSp>
        <p:nvGrpSpPr>
          <p:cNvPr id="17" name="Group 16"/>
          <p:cNvGrpSpPr/>
          <p:nvPr/>
        </p:nvGrpSpPr>
        <p:grpSpPr>
          <a:xfrm>
            <a:off x="0" y="5846618"/>
            <a:ext cx="9111517" cy="990599"/>
            <a:chOff x="0" y="5846618"/>
            <a:chExt cx="9111517" cy="990599"/>
          </a:xfrm>
        </p:grpSpPr>
        <p:pic>
          <p:nvPicPr>
            <p:cNvPr id="18" name="Picture 17"/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5846618"/>
              <a:ext cx="9111517" cy="990599"/>
            </a:xfrm>
            <a:prstGeom prst="rect">
              <a:avLst/>
            </a:prstGeom>
          </p:spPr>
        </p:pic>
        <p:sp>
          <p:nvSpPr>
            <p:cNvPr id="19" name="TextBox 18"/>
            <p:cNvSpPr txBox="1"/>
            <p:nvPr/>
          </p:nvSpPr>
          <p:spPr>
            <a:xfrm>
              <a:off x="577195" y="6232964"/>
              <a:ext cx="7754475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algn="r" rtl="0"/>
              <a:r>
                <a:rPr lang="en-US" sz="1600" b="1" i="0" u="none" strike="noStrike" kern="1200" baseline="0" dirty="0">
                  <a:solidFill>
                    <a:srgbClr val="3D6890"/>
                  </a:solidFill>
                  <a:latin typeface="Calibri" panose="020F0502020204030204" pitchFamily="34" charset="0"/>
                  <a:ea typeface="+mn-ea"/>
                  <a:cs typeface="+mn-cs"/>
                </a:rPr>
                <a:t>www.microinsurancenetwork.org</a:t>
              </a:r>
              <a:endParaRPr lang="en-US" sz="1600" b="1" baseline="0" dirty="0">
                <a:solidFill>
                  <a:srgbClr val="3D6890"/>
                </a:solidFill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049647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text_picture_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 Placeholder 29"/>
          <p:cNvSpPr>
            <a:spLocks noGrp="1"/>
          </p:cNvSpPr>
          <p:nvPr>
            <p:ph type="body" sz="quarter" idx="13"/>
          </p:nvPr>
        </p:nvSpPr>
        <p:spPr>
          <a:xfrm>
            <a:off x="577192" y="2090507"/>
            <a:ext cx="7754477" cy="541687"/>
          </a:xfrm>
        </p:spPr>
        <p:txBody>
          <a:bodyPr wrap="square" lIns="0" tIns="0" rIns="0" bIns="0">
            <a:spAutoFit/>
          </a:bodyPr>
          <a:lstStyle>
            <a:lvl1pPr marL="0" indent="0">
              <a:buFontTx/>
              <a:buNone/>
              <a:defRPr sz="1600" b="1" i="0" baseline="0">
                <a:solidFill>
                  <a:srgbClr val="4B7396"/>
                </a:solidFill>
                <a:latin typeface="Calibri" panose="020F0502020204030204" pitchFamily="34" charset="0"/>
              </a:defRPr>
            </a:lvl1pPr>
            <a:lvl2pPr marL="0" indent="0">
              <a:buFontTx/>
              <a:buNone/>
              <a:defRPr sz="1600">
                <a:latin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1631"/>
          <a:stretch/>
        </p:blipFill>
        <p:spPr>
          <a:xfrm>
            <a:off x="-27588" y="-25409"/>
            <a:ext cx="9171588" cy="93620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0000" y="147681"/>
            <a:ext cx="1078637" cy="630000"/>
          </a:xfrm>
          <a:prstGeom prst="rect">
            <a:avLst/>
          </a:prstGeom>
        </p:spPr>
      </p:pic>
      <p:sp>
        <p:nvSpPr>
          <p:cNvPr id="46" name="Title 1"/>
          <p:cNvSpPr>
            <a:spLocks noGrp="1"/>
          </p:cNvSpPr>
          <p:nvPr>
            <p:ph type="title"/>
          </p:nvPr>
        </p:nvSpPr>
        <p:spPr>
          <a:xfrm>
            <a:off x="540000" y="1530815"/>
            <a:ext cx="7791670" cy="400110"/>
          </a:xfrm>
        </p:spPr>
        <p:txBody>
          <a:bodyPr wrap="square" lIns="0" tIns="0" rIns="0" bIns="0" anchor="ctr" anchorCtr="0">
            <a:spAutoFit/>
          </a:bodyPr>
          <a:lstStyle>
            <a:lvl1pPr algn="l">
              <a:defRPr sz="2600" b="1" i="0" baseline="0">
                <a:solidFill>
                  <a:srgbClr val="4B7396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17" name="Group 16"/>
          <p:cNvGrpSpPr/>
          <p:nvPr/>
        </p:nvGrpSpPr>
        <p:grpSpPr>
          <a:xfrm>
            <a:off x="0" y="5846618"/>
            <a:ext cx="9111517" cy="990599"/>
            <a:chOff x="0" y="5846618"/>
            <a:chExt cx="9111517" cy="990599"/>
          </a:xfrm>
        </p:grpSpPr>
        <p:pic>
          <p:nvPicPr>
            <p:cNvPr id="18" name="Picture 17"/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5846618"/>
              <a:ext cx="9111517" cy="990599"/>
            </a:xfrm>
            <a:prstGeom prst="rect">
              <a:avLst/>
            </a:prstGeom>
          </p:spPr>
        </p:pic>
        <p:sp>
          <p:nvSpPr>
            <p:cNvPr id="19" name="TextBox 18"/>
            <p:cNvSpPr txBox="1"/>
            <p:nvPr/>
          </p:nvSpPr>
          <p:spPr>
            <a:xfrm>
              <a:off x="577195" y="6232964"/>
              <a:ext cx="7754475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algn="r" rtl="0"/>
              <a:r>
                <a:rPr lang="en-US" sz="1600" b="1" i="0" u="none" strike="noStrike" kern="1200" baseline="0" dirty="0">
                  <a:solidFill>
                    <a:srgbClr val="3D6890"/>
                  </a:solidFill>
                  <a:latin typeface="Calibri" panose="020F0502020204030204" pitchFamily="34" charset="0"/>
                  <a:ea typeface="+mn-ea"/>
                  <a:cs typeface="+mn-cs"/>
                </a:rPr>
                <a:t>www.microinsurancenetwork.org</a:t>
              </a:r>
              <a:endParaRPr lang="en-US" sz="1600" b="1" baseline="0" dirty="0">
                <a:solidFill>
                  <a:srgbClr val="3D6890"/>
                </a:solidFill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702242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idx="1"/>
          </p:nvPr>
        </p:nvSpPr>
        <p:spPr>
          <a:xfrm>
            <a:off x="545210" y="2076658"/>
            <a:ext cx="3708131" cy="2520000"/>
          </a:xfrm>
        </p:spPr>
        <p:txBody>
          <a:bodyPr lIns="144000" tIns="144000" rIns="0" bIns="0">
            <a:normAutofit/>
          </a:bodyPr>
          <a:lstStyle>
            <a:lvl1pPr marL="0" indent="0">
              <a:buNone/>
              <a:defRPr sz="1800">
                <a:latin typeface="Arial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2"/>
          <p:cNvSpPr>
            <a:spLocks noGrp="1"/>
          </p:cNvSpPr>
          <p:nvPr>
            <p:ph type="pic" idx="10"/>
          </p:nvPr>
        </p:nvSpPr>
        <p:spPr>
          <a:xfrm>
            <a:off x="4571999" y="2076658"/>
            <a:ext cx="3759385" cy="2520000"/>
          </a:xfrm>
        </p:spPr>
        <p:txBody>
          <a:bodyPr lIns="144000" tIns="144000" rIns="0" bIns="0">
            <a:normAutofit/>
          </a:bodyPr>
          <a:lstStyle>
            <a:lvl1pPr marL="0" indent="0">
              <a:buNone/>
              <a:defRPr sz="1800">
                <a:latin typeface="Arial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545211" y="4671269"/>
            <a:ext cx="3708130" cy="153888"/>
          </a:xfrm>
        </p:spPr>
        <p:txBody>
          <a:bodyPr wrap="square" lIns="0" tIns="0" rIns="0" bIns="0" anchor="b" anchorCtr="0">
            <a:spAutoFit/>
          </a:bodyPr>
          <a:lstStyle>
            <a:lvl1pPr marL="0" indent="0">
              <a:buNone/>
              <a:defRPr sz="1000" baseline="0">
                <a:latin typeface="Calibri" panose="020F0502020204030204" pitchFamily="34" charset="0"/>
              </a:defRPr>
            </a:lvl1pPr>
            <a:lvl5pPr marL="0" indent="0">
              <a:buFontTx/>
              <a:buNone/>
              <a:defRPr sz="900" baseline="0">
                <a:latin typeface="Arial"/>
              </a:defRPr>
            </a:lvl5pPr>
          </a:lstStyle>
          <a:p>
            <a:r>
              <a:rPr lang="en-GB" dirty="0"/>
              <a:t>© Source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0" y="4671269"/>
            <a:ext cx="3763886" cy="153888"/>
          </a:xfrm>
        </p:spPr>
        <p:txBody>
          <a:bodyPr wrap="square" lIns="0" tIns="0" rIns="0" bIns="0" anchor="b" anchorCtr="0">
            <a:spAutoFit/>
          </a:bodyPr>
          <a:lstStyle>
            <a:lvl1pPr marL="0" indent="0">
              <a:buNone/>
              <a:defRPr sz="1000" baseline="0">
                <a:latin typeface="Calibri" panose="020F0502020204030204" pitchFamily="34" charset="0"/>
              </a:defRPr>
            </a:lvl1pPr>
            <a:lvl5pPr marL="0" indent="0">
              <a:buFontTx/>
              <a:buNone/>
              <a:defRPr sz="900" baseline="0">
                <a:latin typeface="Arial"/>
              </a:defRPr>
            </a:lvl5pPr>
          </a:lstStyle>
          <a:p>
            <a:r>
              <a:rPr lang="en-GB" dirty="0"/>
              <a:t>© Source</a:t>
            </a: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1631"/>
          <a:stretch/>
        </p:blipFill>
        <p:spPr>
          <a:xfrm>
            <a:off x="-27588" y="-25409"/>
            <a:ext cx="9171588" cy="936209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0000" y="147681"/>
            <a:ext cx="1078637" cy="630000"/>
          </a:xfrm>
          <a:prstGeom prst="rect">
            <a:avLst/>
          </a:prstGeom>
        </p:spPr>
      </p:pic>
      <p:sp>
        <p:nvSpPr>
          <p:cNvPr id="49" name="Title 1"/>
          <p:cNvSpPr>
            <a:spLocks noGrp="1"/>
          </p:cNvSpPr>
          <p:nvPr>
            <p:ph type="title"/>
          </p:nvPr>
        </p:nvSpPr>
        <p:spPr>
          <a:xfrm>
            <a:off x="540000" y="1530815"/>
            <a:ext cx="7791670" cy="400110"/>
          </a:xfrm>
        </p:spPr>
        <p:txBody>
          <a:bodyPr wrap="square" lIns="0" tIns="0" rIns="0" bIns="0" anchor="ctr" anchorCtr="0">
            <a:spAutoFit/>
          </a:bodyPr>
          <a:lstStyle>
            <a:lvl1pPr algn="l">
              <a:defRPr sz="2600" b="1" i="0" baseline="0">
                <a:solidFill>
                  <a:srgbClr val="4B7396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20" name="Group 19"/>
          <p:cNvGrpSpPr/>
          <p:nvPr/>
        </p:nvGrpSpPr>
        <p:grpSpPr>
          <a:xfrm>
            <a:off x="0" y="5846618"/>
            <a:ext cx="9111517" cy="990599"/>
            <a:chOff x="0" y="5846618"/>
            <a:chExt cx="9111517" cy="990599"/>
          </a:xfrm>
        </p:grpSpPr>
        <p:pic>
          <p:nvPicPr>
            <p:cNvPr id="21" name="Picture 20"/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5846618"/>
              <a:ext cx="9111517" cy="990599"/>
            </a:xfrm>
            <a:prstGeom prst="rect">
              <a:avLst/>
            </a:prstGeom>
          </p:spPr>
        </p:pic>
        <p:sp>
          <p:nvSpPr>
            <p:cNvPr id="22" name="TextBox 21"/>
            <p:cNvSpPr txBox="1"/>
            <p:nvPr/>
          </p:nvSpPr>
          <p:spPr>
            <a:xfrm>
              <a:off x="577195" y="6232964"/>
              <a:ext cx="7754475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algn="r" rtl="0"/>
              <a:r>
                <a:rPr lang="en-US" sz="1600" b="1" i="0" u="none" strike="noStrike" kern="1200" baseline="0" dirty="0">
                  <a:solidFill>
                    <a:srgbClr val="3D6890"/>
                  </a:solidFill>
                  <a:latin typeface="Calibri" panose="020F0502020204030204" pitchFamily="34" charset="0"/>
                  <a:ea typeface="+mn-ea"/>
                  <a:cs typeface="+mn-cs"/>
                </a:rPr>
                <a:t>www.microinsurancenetwork.org</a:t>
              </a:r>
              <a:endParaRPr lang="en-US" sz="1600" b="1" baseline="0" dirty="0">
                <a:solidFill>
                  <a:srgbClr val="3D6890"/>
                </a:solidFill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9856325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idx="1"/>
          </p:nvPr>
        </p:nvSpPr>
        <p:spPr>
          <a:xfrm>
            <a:off x="545212" y="2201234"/>
            <a:ext cx="2363115" cy="2160000"/>
          </a:xfrm>
        </p:spPr>
        <p:txBody>
          <a:bodyPr lIns="144000" tIns="144000" rIns="0" bIns="0">
            <a:normAutofit/>
          </a:bodyPr>
          <a:lstStyle>
            <a:lvl1pPr marL="0" indent="0">
              <a:buNone/>
              <a:defRPr sz="1800">
                <a:latin typeface="Arial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2"/>
          <p:cNvSpPr>
            <a:spLocks noGrp="1"/>
          </p:cNvSpPr>
          <p:nvPr>
            <p:ph type="pic" idx="10"/>
          </p:nvPr>
        </p:nvSpPr>
        <p:spPr>
          <a:xfrm>
            <a:off x="3034143" y="2201234"/>
            <a:ext cx="2618510" cy="2160000"/>
          </a:xfrm>
        </p:spPr>
        <p:txBody>
          <a:bodyPr lIns="144000" tIns="144000" rIns="0" bIns="0">
            <a:normAutofit/>
          </a:bodyPr>
          <a:lstStyle>
            <a:lvl1pPr marL="0" indent="0">
              <a:buNone/>
              <a:defRPr sz="1800">
                <a:latin typeface="Arial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545203" y="4525846"/>
            <a:ext cx="2363124" cy="153888"/>
          </a:xfrm>
        </p:spPr>
        <p:txBody>
          <a:bodyPr wrap="square" lIns="0" tIns="0" rIns="0" bIns="0" anchor="b" anchorCtr="0">
            <a:spAutoFit/>
          </a:bodyPr>
          <a:lstStyle>
            <a:lvl1pPr marL="0" indent="0">
              <a:buNone/>
              <a:defRPr sz="1000" baseline="0">
                <a:latin typeface="Calibri" panose="020F0502020204030204" pitchFamily="34" charset="0"/>
              </a:defRPr>
            </a:lvl1pPr>
            <a:lvl5pPr marL="0" indent="0">
              <a:buFontTx/>
              <a:buNone/>
              <a:defRPr sz="900" baseline="0">
                <a:latin typeface="Arial"/>
              </a:defRPr>
            </a:lvl5pPr>
          </a:lstStyle>
          <a:p>
            <a:r>
              <a:rPr lang="en-GB" dirty="0"/>
              <a:t>© Source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idx="13"/>
          </p:nvPr>
        </p:nvSpPr>
        <p:spPr>
          <a:xfrm>
            <a:off x="5807960" y="2201234"/>
            <a:ext cx="2620298" cy="2160000"/>
          </a:xfrm>
        </p:spPr>
        <p:txBody>
          <a:bodyPr lIns="144000" tIns="144000" rIns="0" bIns="0">
            <a:normAutofit/>
          </a:bodyPr>
          <a:lstStyle>
            <a:lvl1pPr marL="0" indent="0">
              <a:buNone/>
              <a:defRPr sz="1800">
                <a:latin typeface="Arial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3075708" y="4525846"/>
            <a:ext cx="2576946" cy="153888"/>
          </a:xfrm>
        </p:spPr>
        <p:txBody>
          <a:bodyPr wrap="square" lIns="0" tIns="0" rIns="0" bIns="0" anchor="b" anchorCtr="0">
            <a:spAutoFit/>
          </a:bodyPr>
          <a:lstStyle>
            <a:lvl1pPr marL="0" indent="0">
              <a:buNone/>
              <a:defRPr sz="1000" baseline="0">
                <a:latin typeface="Calibri" panose="020F0502020204030204" pitchFamily="34" charset="0"/>
              </a:defRPr>
            </a:lvl1pPr>
            <a:lvl5pPr marL="0" indent="0">
              <a:buFontTx/>
              <a:buNone/>
              <a:defRPr sz="900" baseline="0">
                <a:latin typeface="Arial"/>
              </a:defRPr>
            </a:lvl5pPr>
          </a:lstStyle>
          <a:p>
            <a:r>
              <a:rPr lang="en-GB" dirty="0"/>
              <a:t>© Source</a:t>
            </a:r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5820034" y="4525846"/>
            <a:ext cx="2608223" cy="153888"/>
          </a:xfrm>
        </p:spPr>
        <p:txBody>
          <a:bodyPr wrap="square" lIns="0" tIns="0" rIns="0" bIns="0" anchor="b" anchorCtr="0">
            <a:spAutoFit/>
          </a:bodyPr>
          <a:lstStyle>
            <a:lvl1pPr marL="0" indent="0">
              <a:buNone/>
              <a:defRPr sz="1000" baseline="0">
                <a:latin typeface="Calibri" panose="020F0502020204030204" pitchFamily="34" charset="0"/>
              </a:defRPr>
            </a:lvl1pPr>
            <a:lvl5pPr marL="0" indent="0">
              <a:buFontTx/>
              <a:buNone/>
              <a:defRPr sz="900" baseline="0">
                <a:latin typeface="Arial"/>
              </a:defRPr>
            </a:lvl5pPr>
          </a:lstStyle>
          <a:p>
            <a:r>
              <a:rPr lang="en-GB" dirty="0"/>
              <a:t>© Source</a:t>
            </a: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1631"/>
          <a:stretch/>
        </p:blipFill>
        <p:spPr>
          <a:xfrm>
            <a:off x="-27588" y="-25409"/>
            <a:ext cx="9171588" cy="936209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0000" y="147681"/>
            <a:ext cx="1078637" cy="630000"/>
          </a:xfrm>
          <a:prstGeom prst="rect">
            <a:avLst/>
          </a:prstGeom>
        </p:spPr>
      </p:pic>
      <p:sp>
        <p:nvSpPr>
          <p:cNvPr id="51" name="Title 1"/>
          <p:cNvSpPr>
            <a:spLocks noGrp="1"/>
          </p:cNvSpPr>
          <p:nvPr>
            <p:ph type="title"/>
          </p:nvPr>
        </p:nvSpPr>
        <p:spPr>
          <a:xfrm>
            <a:off x="539999" y="1530815"/>
            <a:ext cx="7888257" cy="400110"/>
          </a:xfrm>
        </p:spPr>
        <p:txBody>
          <a:bodyPr wrap="square" lIns="0" tIns="0" rIns="0" bIns="0" anchor="ctr" anchorCtr="0">
            <a:spAutoFit/>
          </a:bodyPr>
          <a:lstStyle>
            <a:lvl1pPr algn="l">
              <a:defRPr sz="2600" b="1" i="0" baseline="0">
                <a:solidFill>
                  <a:srgbClr val="4B7396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22" name="Group 21"/>
          <p:cNvGrpSpPr/>
          <p:nvPr/>
        </p:nvGrpSpPr>
        <p:grpSpPr>
          <a:xfrm>
            <a:off x="0" y="5846618"/>
            <a:ext cx="9111517" cy="990599"/>
            <a:chOff x="0" y="5846618"/>
            <a:chExt cx="9111517" cy="990599"/>
          </a:xfrm>
        </p:grpSpPr>
        <p:pic>
          <p:nvPicPr>
            <p:cNvPr id="23" name="Picture 22"/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5846618"/>
              <a:ext cx="9111517" cy="990599"/>
            </a:xfrm>
            <a:prstGeom prst="rect">
              <a:avLst/>
            </a:prstGeom>
          </p:spPr>
        </p:pic>
        <p:sp>
          <p:nvSpPr>
            <p:cNvPr id="24" name="TextBox 23"/>
            <p:cNvSpPr txBox="1"/>
            <p:nvPr/>
          </p:nvSpPr>
          <p:spPr>
            <a:xfrm>
              <a:off x="577195" y="6232964"/>
              <a:ext cx="7754475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algn="r" rtl="0"/>
              <a:r>
                <a:rPr lang="en-US" sz="1600" b="1" i="0" u="none" strike="noStrike" kern="1200" baseline="0" dirty="0">
                  <a:solidFill>
                    <a:srgbClr val="3D6890"/>
                  </a:solidFill>
                  <a:latin typeface="Calibri" panose="020F0502020204030204" pitchFamily="34" charset="0"/>
                  <a:ea typeface="+mn-ea"/>
                  <a:cs typeface="+mn-cs"/>
                </a:rPr>
                <a:t>www.microinsurancenetwork.org</a:t>
              </a:r>
              <a:endParaRPr lang="en-US" sz="1600" b="1" baseline="0" dirty="0">
                <a:solidFill>
                  <a:srgbClr val="3D6890"/>
                </a:solidFill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263463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25"/>
          <p:cNvSpPr>
            <a:spLocks noGrp="1"/>
          </p:cNvSpPr>
          <p:nvPr>
            <p:ph type="body" sz="quarter" idx="10"/>
          </p:nvPr>
        </p:nvSpPr>
        <p:spPr>
          <a:xfrm>
            <a:off x="535628" y="2173633"/>
            <a:ext cx="7740622" cy="541687"/>
          </a:xfrm>
        </p:spPr>
        <p:txBody>
          <a:bodyPr wrap="square" lIns="0" tIns="0" rIns="0" bIns="0">
            <a:spAutoFit/>
          </a:bodyPr>
          <a:lstStyle>
            <a:lvl1pPr marL="180000" indent="-180000">
              <a:buClr>
                <a:srgbClr val="4B7396"/>
              </a:buClr>
              <a:defRPr sz="1600" baseline="0">
                <a:latin typeface="Calibri" panose="020F0502020204030204" pitchFamily="34" charset="0"/>
              </a:defRPr>
            </a:lvl1pPr>
            <a:lvl2pPr marL="442800" indent="-234000">
              <a:defRPr sz="1600" baseline="0">
                <a:latin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1631"/>
          <a:stretch/>
        </p:blipFill>
        <p:spPr>
          <a:xfrm>
            <a:off x="-27588" y="-25409"/>
            <a:ext cx="9171588" cy="936209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0000" y="147681"/>
            <a:ext cx="1078637" cy="630000"/>
          </a:xfrm>
          <a:prstGeom prst="rect">
            <a:avLst/>
          </a:prstGeom>
        </p:spPr>
      </p:pic>
      <p:sp>
        <p:nvSpPr>
          <p:cNvPr id="33" name="Title 1"/>
          <p:cNvSpPr>
            <a:spLocks noGrp="1"/>
          </p:cNvSpPr>
          <p:nvPr>
            <p:ph type="title"/>
          </p:nvPr>
        </p:nvSpPr>
        <p:spPr>
          <a:xfrm>
            <a:off x="540000" y="1530815"/>
            <a:ext cx="7791670" cy="400110"/>
          </a:xfrm>
        </p:spPr>
        <p:txBody>
          <a:bodyPr wrap="square" lIns="0" tIns="0" rIns="0" bIns="0" anchor="ctr" anchorCtr="0">
            <a:spAutoFit/>
          </a:bodyPr>
          <a:lstStyle>
            <a:lvl1pPr algn="l">
              <a:defRPr sz="2600" b="1" i="0" baseline="0">
                <a:solidFill>
                  <a:srgbClr val="4B7396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17" name="Group 16"/>
          <p:cNvGrpSpPr/>
          <p:nvPr/>
        </p:nvGrpSpPr>
        <p:grpSpPr>
          <a:xfrm>
            <a:off x="0" y="5846618"/>
            <a:ext cx="9111517" cy="990599"/>
            <a:chOff x="0" y="5846618"/>
            <a:chExt cx="9111517" cy="990599"/>
          </a:xfrm>
        </p:grpSpPr>
        <p:pic>
          <p:nvPicPr>
            <p:cNvPr id="25" name="Picture 24"/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5846618"/>
              <a:ext cx="9111517" cy="990599"/>
            </a:xfrm>
            <a:prstGeom prst="rect">
              <a:avLst/>
            </a:prstGeom>
          </p:spPr>
        </p:pic>
        <p:sp>
          <p:nvSpPr>
            <p:cNvPr id="34" name="TextBox 33"/>
            <p:cNvSpPr txBox="1"/>
            <p:nvPr/>
          </p:nvSpPr>
          <p:spPr>
            <a:xfrm>
              <a:off x="577195" y="6232964"/>
              <a:ext cx="7754475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algn="r" rtl="0"/>
              <a:r>
                <a:rPr lang="en-US" sz="1600" b="1" i="0" u="none" strike="noStrike" kern="1200" baseline="0" dirty="0">
                  <a:solidFill>
                    <a:srgbClr val="3D6890"/>
                  </a:solidFill>
                  <a:latin typeface="Calibri" panose="020F0502020204030204" pitchFamily="34" charset="0"/>
                  <a:ea typeface="+mn-ea"/>
                  <a:cs typeface="+mn-cs"/>
                </a:rPr>
                <a:t>www.microinsurancenetwork.org</a:t>
              </a:r>
              <a:endParaRPr lang="en-US" sz="1600" b="1" baseline="0" dirty="0">
                <a:solidFill>
                  <a:srgbClr val="3D6890"/>
                </a:solidFill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1408413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 contents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1631"/>
          <a:stretch/>
        </p:blipFill>
        <p:spPr>
          <a:xfrm>
            <a:off x="-27588" y="-25409"/>
            <a:ext cx="9171588" cy="936209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0000" y="147681"/>
            <a:ext cx="1078637" cy="630000"/>
          </a:xfrm>
          <a:prstGeom prst="rect">
            <a:avLst/>
          </a:prstGeom>
        </p:spPr>
      </p:pic>
      <p:grpSp>
        <p:nvGrpSpPr>
          <p:cNvPr id="15" name="Group 14"/>
          <p:cNvGrpSpPr/>
          <p:nvPr/>
        </p:nvGrpSpPr>
        <p:grpSpPr>
          <a:xfrm>
            <a:off x="0" y="5846618"/>
            <a:ext cx="9111517" cy="990599"/>
            <a:chOff x="0" y="5846618"/>
            <a:chExt cx="9111517" cy="990599"/>
          </a:xfrm>
        </p:grpSpPr>
        <p:pic>
          <p:nvPicPr>
            <p:cNvPr id="16" name="Picture 15"/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5846618"/>
              <a:ext cx="9111517" cy="990599"/>
            </a:xfrm>
            <a:prstGeom prst="rect">
              <a:avLst/>
            </a:prstGeom>
          </p:spPr>
        </p:pic>
        <p:sp>
          <p:nvSpPr>
            <p:cNvPr id="17" name="TextBox 16"/>
            <p:cNvSpPr txBox="1"/>
            <p:nvPr/>
          </p:nvSpPr>
          <p:spPr>
            <a:xfrm>
              <a:off x="577195" y="6232964"/>
              <a:ext cx="7754475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algn="r" rtl="0"/>
              <a:r>
                <a:rPr lang="en-US" sz="1600" b="1" i="0" u="none" strike="noStrike" kern="1200" baseline="0" dirty="0">
                  <a:solidFill>
                    <a:srgbClr val="3D6890"/>
                  </a:solidFill>
                  <a:latin typeface="Calibri" panose="020F0502020204030204" pitchFamily="34" charset="0"/>
                  <a:ea typeface="+mn-ea"/>
                  <a:cs typeface="+mn-cs"/>
                </a:rPr>
                <a:t>www.microinsurancenetwork.org</a:t>
              </a:r>
              <a:endParaRPr lang="en-US" sz="1600" b="1" baseline="0" dirty="0">
                <a:solidFill>
                  <a:srgbClr val="3D6890"/>
                </a:solidFill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892927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picture &amp;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061520"/>
            <a:ext cx="9144000" cy="579648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01891" y="233782"/>
            <a:ext cx="7380000" cy="553998"/>
          </a:xfrm>
        </p:spPr>
        <p:txBody>
          <a:bodyPr lIns="0" tIns="0" rIns="0" bIns="0">
            <a:spAutoFit/>
          </a:bodyPr>
          <a:lstStyle>
            <a:lvl1pPr algn="l">
              <a:defRPr sz="3600" b="1" i="0" cap="all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00000" y="5400000"/>
            <a:ext cx="1260000" cy="735929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265092" y="6488668"/>
            <a:ext cx="71846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Source</a:t>
            </a:r>
          </a:p>
        </p:txBody>
      </p:sp>
    </p:spTree>
    <p:extLst>
      <p:ext uri="{BB962C8B-B14F-4D97-AF65-F5344CB8AC3E}">
        <p14:creationId xmlns:p14="http://schemas.microsoft.com/office/powerpoint/2010/main" val="171073255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slide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80108"/>
            <a:ext cx="9143999" cy="665018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81999" y="720000"/>
            <a:ext cx="7380000" cy="553998"/>
          </a:xfrm>
        </p:spPr>
        <p:txBody>
          <a:bodyPr lIns="0" tIns="0" rIns="0" bIns="0">
            <a:spAutoFit/>
          </a:bodyPr>
          <a:lstStyle>
            <a:lvl1pPr algn="l">
              <a:defRPr sz="3600" b="1" i="0" cap="all" baseline="0">
                <a:solidFill>
                  <a:srgbClr val="4B7396"/>
                </a:solidFill>
                <a:latin typeface="Calibri" panose="020F0502020204030204" pitchFamily="34" charset="0"/>
              </a:defRPr>
            </a:lvl1pPr>
          </a:lstStyle>
          <a:p>
            <a:r>
              <a:rPr lang="fr-CH" dirty="0"/>
              <a:t>THANK YOU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863998" y="2180409"/>
            <a:ext cx="7398001" cy="41242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GB" sz="1600" b="1" baseline="0" dirty="0">
              <a:solidFill>
                <a:srgbClr val="4B7396"/>
              </a:solidFill>
              <a:latin typeface="Calibri" panose="020F0502020204030204" pitchFamily="34" charset="0"/>
            </a:endParaRP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GB" sz="1600" b="1" baseline="0" dirty="0">
              <a:solidFill>
                <a:srgbClr val="4B7396"/>
              </a:solidFill>
              <a:latin typeface="Calibri" panose="020F0502020204030204" pitchFamily="34" charset="0"/>
            </a:endParaRP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GB" sz="1600" b="1" baseline="0" dirty="0">
              <a:solidFill>
                <a:srgbClr val="4B7396"/>
              </a:solidFill>
              <a:latin typeface="Calibri" panose="020F0502020204030204" pitchFamily="34" charset="0"/>
            </a:endParaRP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GB" sz="1600" b="1" baseline="0" dirty="0">
              <a:solidFill>
                <a:srgbClr val="4B7396"/>
              </a:solidFill>
              <a:latin typeface="Calibri" panose="020F0502020204030204" pitchFamily="34" charset="0"/>
            </a:endParaRP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GB" sz="1600" b="1" baseline="0" dirty="0">
              <a:solidFill>
                <a:srgbClr val="4B7396"/>
              </a:solidFill>
              <a:latin typeface="Calibri" panose="020F0502020204030204" pitchFamily="34" charset="0"/>
            </a:endParaRP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GB" sz="1600" b="1" baseline="0" dirty="0">
              <a:solidFill>
                <a:srgbClr val="4B7396"/>
              </a:solidFill>
              <a:latin typeface="Calibri" panose="020F0502020204030204" pitchFamily="34" charset="0"/>
            </a:endParaRP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600" b="1" baseline="0" dirty="0">
                <a:solidFill>
                  <a:srgbClr val="4B7396"/>
                </a:solidFill>
                <a:latin typeface="Calibri" panose="020F0502020204030204" pitchFamily="34" charset="0"/>
              </a:rPr>
              <a:t>Microinsurance Network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600" b="0" baseline="0" dirty="0">
                <a:solidFill>
                  <a:srgbClr val="4B7396"/>
                </a:solidFill>
                <a:latin typeface="Calibri" panose="020F0502020204030204" pitchFamily="34" charset="0"/>
              </a:rPr>
              <a:t>39 Rue </a:t>
            </a:r>
            <a:r>
              <a:rPr lang="en-GB" sz="1600" b="0" baseline="0" dirty="0" err="1">
                <a:solidFill>
                  <a:srgbClr val="4B7396"/>
                </a:solidFill>
                <a:latin typeface="Calibri" panose="020F0502020204030204" pitchFamily="34" charset="0"/>
              </a:rPr>
              <a:t>Glesener</a:t>
            </a:r>
            <a:br>
              <a:rPr lang="en-GB" sz="1600" b="0" baseline="0" dirty="0">
                <a:solidFill>
                  <a:srgbClr val="4B7396"/>
                </a:solidFill>
                <a:latin typeface="Calibri" panose="020F0502020204030204" pitchFamily="34" charset="0"/>
              </a:rPr>
            </a:br>
            <a:r>
              <a:rPr lang="en-GB" sz="1600" b="0" baseline="0" dirty="0">
                <a:solidFill>
                  <a:srgbClr val="4B7396"/>
                </a:solidFill>
                <a:latin typeface="Calibri" panose="020F0502020204030204" pitchFamily="34" charset="0"/>
              </a:rPr>
              <a:t>1631 Luxembourg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GB" sz="1600" b="0" baseline="0" dirty="0">
              <a:solidFill>
                <a:srgbClr val="4B7396"/>
              </a:solidFill>
              <a:latin typeface="Calibri" panose="020F0502020204030204" pitchFamily="34" charset="0"/>
            </a:endParaRP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600" b="0" baseline="0" dirty="0">
                <a:solidFill>
                  <a:srgbClr val="4B7396"/>
                </a:solidFill>
                <a:latin typeface="Calibri" panose="020F0502020204030204" pitchFamily="34" charset="0"/>
              </a:rPr>
              <a:t>+352 262978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600" b="1" baseline="0" dirty="0">
                <a:solidFill>
                  <a:srgbClr val="4B7396"/>
                </a:solidFill>
                <a:latin typeface="Calibri" panose="020F0502020204030204" pitchFamily="34" charset="0"/>
              </a:rPr>
              <a:t>info@microinsurancenetwork.org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600" b="1" baseline="0" dirty="0">
              <a:solidFill>
                <a:srgbClr val="4B7396"/>
              </a:solidFill>
              <a:latin typeface="Calibri" panose="020F0502020204030204" pitchFamily="34" charset="0"/>
            </a:endParaRP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600" b="1" baseline="0" dirty="0">
              <a:solidFill>
                <a:srgbClr val="4B7396"/>
              </a:solidFill>
              <a:latin typeface="Calibri" panose="020F0502020204030204" pitchFamily="34" charset="0"/>
            </a:endParaRPr>
          </a:p>
          <a:p>
            <a: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800" b="1" baseline="0" dirty="0">
                <a:solidFill>
                  <a:srgbClr val="4B7396"/>
                </a:solidFill>
                <a:latin typeface="Calibri" panose="020F0502020204030204" pitchFamily="34" charset="0"/>
              </a:rPr>
              <a:t>www.microinsurancenetwork.org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GB" sz="1600" b="1" baseline="0" dirty="0">
              <a:solidFill>
                <a:srgbClr val="4B7396"/>
              </a:solidFill>
              <a:latin typeface="Calibri" panose="020F050202020403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42721" y="720000"/>
            <a:ext cx="1260000" cy="7382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02981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page -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80547"/>
          <a:stretch/>
        </p:blipFill>
        <p:spPr>
          <a:xfrm>
            <a:off x="-4151" y="4548"/>
            <a:ext cx="9180000" cy="1339345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720" b="9514"/>
          <a:stretch/>
        </p:blipFill>
        <p:spPr>
          <a:xfrm>
            <a:off x="-3" y="465030"/>
            <a:ext cx="9144003" cy="637912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00000" y="5400000"/>
            <a:ext cx="1260000" cy="735929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895849" y="923531"/>
            <a:ext cx="7380000" cy="615553"/>
          </a:xfrm>
        </p:spPr>
        <p:txBody>
          <a:bodyPr lIns="0" tIns="0" rIns="0" bIns="0">
            <a:spAutoFit/>
          </a:bodyPr>
          <a:lstStyle>
            <a:lvl1pPr algn="l">
              <a:defRPr sz="4000" b="1" i="0" cap="all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582816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slide - 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80000" cy="6885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00000" y="720000"/>
            <a:ext cx="1260000" cy="73592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00000" y="1833983"/>
            <a:ext cx="7380000" cy="553998"/>
          </a:xfrm>
        </p:spPr>
        <p:txBody>
          <a:bodyPr lIns="0" tIns="0" rIns="0" bIns="0">
            <a:spAutoFit/>
          </a:bodyPr>
          <a:lstStyle>
            <a:lvl1pPr algn="l">
              <a:defRPr sz="3600" b="1" i="0" cap="all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r>
              <a:rPr lang="fr-CH" dirty="0"/>
              <a:t>THANK YOU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881999" y="2992582"/>
            <a:ext cx="7398001" cy="33855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600" b="1" baseline="0" dirty="0">
                <a:solidFill>
                  <a:schemeClr val="bg1"/>
                </a:solidFill>
                <a:latin typeface="Calibri" panose="020F0502020204030204" pitchFamily="34" charset="0"/>
              </a:rPr>
              <a:t>Microinsurance Network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600" b="0" baseline="0" dirty="0">
                <a:solidFill>
                  <a:schemeClr val="bg1"/>
                </a:solidFill>
                <a:latin typeface="Calibri" panose="020F0502020204030204" pitchFamily="34" charset="0"/>
              </a:rPr>
              <a:t>39 Rue </a:t>
            </a:r>
            <a:r>
              <a:rPr lang="en-GB" sz="1600" b="0" baseline="0" dirty="0" err="1">
                <a:solidFill>
                  <a:schemeClr val="bg1"/>
                </a:solidFill>
                <a:latin typeface="Calibri" panose="020F0502020204030204" pitchFamily="34" charset="0"/>
              </a:rPr>
              <a:t>Glesener</a:t>
            </a:r>
            <a:br>
              <a:rPr lang="en-GB" sz="1600" b="0" baseline="0" dirty="0">
                <a:solidFill>
                  <a:schemeClr val="bg1"/>
                </a:solidFill>
                <a:latin typeface="Calibri" panose="020F0502020204030204" pitchFamily="34" charset="0"/>
              </a:rPr>
            </a:br>
            <a:r>
              <a:rPr lang="en-GB" sz="1600" b="0" baseline="0" dirty="0">
                <a:solidFill>
                  <a:schemeClr val="bg1"/>
                </a:solidFill>
                <a:latin typeface="Calibri" panose="020F0502020204030204" pitchFamily="34" charset="0"/>
              </a:rPr>
              <a:t>1631 Luxembourg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600" b="0" baseline="0" dirty="0">
                <a:solidFill>
                  <a:schemeClr val="bg1"/>
                </a:solidFill>
                <a:latin typeface="Calibri" panose="020F0502020204030204" pitchFamily="34" charset="0"/>
              </a:rPr>
              <a:t>+352 262978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GB" sz="1600" b="1" baseline="0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600" b="1" baseline="0" dirty="0">
                <a:solidFill>
                  <a:schemeClr val="bg1"/>
                </a:solidFill>
                <a:latin typeface="Calibri" panose="020F0502020204030204" pitchFamily="34" charset="0"/>
              </a:rPr>
              <a:t>info@microinsurancenetwork.org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GB" sz="1600" b="0" baseline="0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GB" sz="1600" b="0" baseline="0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GB" sz="1600" b="0" baseline="0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GB" sz="1600" b="0" baseline="0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GB" sz="1600" b="0" baseline="0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800" b="1" baseline="0" dirty="0">
                <a:solidFill>
                  <a:schemeClr val="bg1"/>
                </a:solidFill>
                <a:latin typeface="Calibri" panose="020F0502020204030204" pitchFamily="34" charset="0"/>
              </a:rPr>
              <a:t>www.microinsurancenetwork.org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GB" sz="1600" b="0" baseline="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39446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1631"/>
          <a:stretch/>
        </p:blipFill>
        <p:spPr>
          <a:xfrm>
            <a:off x="-7924" y="-25409"/>
            <a:ext cx="9171588" cy="93620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0000" y="147681"/>
            <a:ext cx="1078637" cy="630000"/>
          </a:xfrm>
          <a:prstGeom prst="rect">
            <a:avLst/>
          </a:prstGeom>
        </p:spPr>
      </p:pic>
      <p:sp>
        <p:nvSpPr>
          <p:cNvPr id="41" name="Title 1"/>
          <p:cNvSpPr>
            <a:spLocks noGrp="1"/>
          </p:cNvSpPr>
          <p:nvPr>
            <p:ph type="title"/>
          </p:nvPr>
        </p:nvSpPr>
        <p:spPr>
          <a:xfrm>
            <a:off x="540000" y="1530815"/>
            <a:ext cx="7791670" cy="400110"/>
          </a:xfrm>
        </p:spPr>
        <p:txBody>
          <a:bodyPr wrap="square" lIns="0" tIns="0" rIns="0" bIns="0" anchor="ctr" anchorCtr="0">
            <a:spAutoFit/>
          </a:bodyPr>
          <a:lstStyle>
            <a:lvl1pPr algn="l">
              <a:defRPr sz="2600" b="1" i="0" baseline="0">
                <a:solidFill>
                  <a:srgbClr val="4B7396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16" name="Group 15"/>
          <p:cNvGrpSpPr/>
          <p:nvPr/>
        </p:nvGrpSpPr>
        <p:grpSpPr>
          <a:xfrm>
            <a:off x="0" y="5846618"/>
            <a:ext cx="9111517" cy="990599"/>
            <a:chOff x="0" y="5846618"/>
            <a:chExt cx="9111517" cy="990599"/>
          </a:xfrm>
        </p:grpSpPr>
        <p:pic>
          <p:nvPicPr>
            <p:cNvPr id="17" name="Picture 16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5846618"/>
              <a:ext cx="9111517" cy="990599"/>
            </a:xfrm>
            <a:prstGeom prst="rect">
              <a:avLst/>
            </a:prstGeom>
          </p:spPr>
        </p:pic>
        <p:sp>
          <p:nvSpPr>
            <p:cNvPr id="18" name="TextBox 17"/>
            <p:cNvSpPr txBox="1"/>
            <p:nvPr/>
          </p:nvSpPr>
          <p:spPr>
            <a:xfrm>
              <a:off x="577195" y="6232964"/>
              <a:ext cx="7754475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algn="r" rtl="0"/>
              <a:r>
                <a:rPr lang="en-US" sz="1600" b="1" i="0" u="none" strike="noStrike" kern="1200" baseline="0" dirty="0">
                  <a:solidFill>
                    <a:srgbClr val="3D6890"/>
                  </a:solidFill>
                  <a:latin typeface="Calibri" panose="020F0502020204030204" pitchFamily="34" charset="0"/>
                  <a:ea typeface="+mn-ea"/>
                  <a:cs typeface="+mn-cs"/>
                </a:rPr>
                <a:t>www.microinsurancenetwork.org</a:t>
              </a:r>
              <a:endParaRPr lang="en-US" sz="1600" b="1" baseline="0" dirty="0">
                <a:solidFill>
                  <a:srgbClr val="3D6890"/>
                </a:solidFill>
                <a:latin typeface="Calibri" panose="020F0502020204030204" pitchFamily="34" charset="0"/>
              </a:endParaRPr>
            </a:p>
          </p:txBody>
        </p:sp>
      </p:grp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887538" y="225425"/>
            <a:ext cx="7099300" cy="423863"/>
          </a:xfrm>
        </p:spPr>
        <p:txBody>
          <a:bodyPr lIns="0" tIns="0" rIns="0" bIns="0">
            <a:noAutofit/>
          </a:bodyPr>
          <a:lstStyle>
            <a:lvl1pPr marL="0" indent="0" algn="r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4052645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45C2811-FF33-432A-B73F-281D7CBC03C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824248" cy="6858000"/>
          </a:xfrm>
          <a:solidFill>
            <a:schemeClr val="bg2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80FC1BB-2DF8-43AB-B56E-42E07B01A5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5001" y="187479"/>
            <a:ext cx="5254844" cy="1421928"/>
          </a:xfrm>
        </p:spPr>
        <p:txBody>
          <a:bodyPr wrap="square">
            <a:spAutoFit/>
          </a:bodyPr>
          <a:lstStyle>
            <a:lvl1pPr algn="l">
              <a:defRPr sz="4800" b="1"/>
            </a:lvl1pPr>
          </a:lstStyle>
          <a:p>
            <a:r>
              <a:rPr lang="en-US"/>
              <a:t>ADD YOUR TITLE HERE</a:t>
            </a:r>
          </a:p>
        </p:txBody>
      </p:sp>
    </p:spTree>
    <p:extLst>
      <p:ext uri="{BB962C8B-B14F-4D97-AF65-F5344CB8AC3E}">
        <p14:creationId xmlns:p14="http://schemas.microsoft.com/office/powerpoint/2010/main" val="185263594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201D59F-2ED3-4977-9BD1-C51B126432C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" y="1"/>
            <a:ext cx="9143999" cy="4827181"/>
          </a:xfrm>
          <a:solidFill>
            <a:schemeClr val="bg2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8C8A31-8AD9-4E47-BEBC-DF50F217FA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90322" y="201329"/>
            <a:ext cx="6363357" cy="1421928"/>
          </a:xfrm>
        </p:spPr>
        <p:txBody>
          <a:bodyPr wrap="square">
            <a:spAutoFit/>
          </a:bodyPr>
          <a:lstStyle>
            <a:lvl1pPr algn="ctr">
              <a:defRPr sz="4800" b="1"/>
            </a:lvl1pPr>
          </a:lstStyle>
          <a:p>
            <a:r>
              <a:rPr lang="en-US"/>
              <a:t>ADD YOUR TITLE HERE</a:t>
            </a:r>
          </a:p>
        </p:txBody>
      </p:sp>
    </p:spTree>
    <p:extLst>
      <p:ext uri="{BB962C8B-B14F-4D97-AF65-F5344CB8AC3E}">
        <p14:creationId xmlns:p14="http://schemas.microsoft.com/office/powerpoint/2010/main" val="185258101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2CF2FB-0923-402B-94C7-1AA9458B784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A060E4A-EE0E-4456-A9A4-3A935B33BB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B31FAD-906B-460D-8256-64D5E2435F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52384D4-04DA-FB49-BAA3-62F89C5E117D}" type="datetime2">
              <a:rPr lang="fr-LU" smtClean="0">
                <a:solidFill>
                  <a:prstClr val="black">
                    <a:tint val="75000"/>
                  </a:prstClr>
                </a:solidFill>
              </a:rPr>
              <a:pPr defTabSz="685800"/>
              <a:t>mercredi 17 mars 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AD3681-12A1-4947-9CC8-C90620A728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585EC4-CD55-4F99-B7D2-BE7EB3B73B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94178646-FC5A-9D4A-8AE8-F38483F8D50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3762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rest slide, title, auth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1631"/>
          <a:stretch/>
        </p:blipFill>
        <p:spPr>
          <a:xfrm>
            <a:off x="-27588" y="-25409"/>
            <a:ext cx="9171588" cy="93620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7194" y="1467053"/>
            <a:ext cx="7754476" cy="492443"/>
          </a:xfrm>
        </p:spPr>
        <p:txBody>
          <a:bodyPr wrap="square" lIns="0" tIns="0" rIns="0" bIns="0" anchor="t" anchorCtr="0">
            <a:spAutoFit/>
          </a:bodyPr>
          <a:lstStyle>
            <a:lvl1pPr algn="l">
              <a:defRPr sz="3200" b="1" i="0" cap="all" baseline="0">
                <a:solidFill>
                  <a:srgbClr val="4B7396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77194" y="2831114"/>
            <a:ext cx="7754475" cy="307777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2000" b="1" cap="all">
                <a:solidFill>
                  <a:schemeClr val="tx1">
                    <a:alpha val="80000"/>
                  </a:schemeClr>
                </a:solidFill>
                <a:latin typeface="Calibri" panose="020F0502020204030204" pitchFamily="34" charset="0"/>
                <a:ea typeface="Batang" panose="02030600000101010101" pitchFamily="18" charset="-127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styl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0"/>
          </p:nvPr>
        </p:nvSpPr>
        <p:spPr>
          <a:xfrm>
            <a:off x="577195" y="3427252"/>
            <a:ext cx="7754474" cy="246221"/>
          </a:xfrm>
        </p:spPr>
        <p:txBody>
          <a:bodyPr wrap="square" lIns="0" tIns="0" rIns="0" bIns="0" anchor="t" anchorCtr="0">
            <a:spAutoFit/>
          </a:bodyPr>
          <a:lstStyle>
            <a:lvl1pPr marL="0" indent="0">
              <a:buNone/>
              <a:defRPr sz="1600" b="0" i="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3" name="Picture 3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0000" y="147681"/>
            <a:ext cx="1078637" cy="63000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628" y="5846618"/>
            <a:ext cx="9111517" cy="990599"/>
          </a:xfrm>
          <a:prstGeom prst="rect">
            <a:avLst/>
          </a:prstGeom>
        </p:spPr>
      </p:pic>
      <p:sp>
        <p:nvSpPr>
          <p:cNvPr id="35" name="TextBox 34"/>
          <p:cNvSpPr txBox="1"/>
          <p:nvPr/>
        </p:nvSpPr>
        <p:spPr>
          <a:xfrm>
            <a:off x="747959" y="6227235"/>
            <a:ext cx="4321125" cy="24622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rtl="0"/>
            <a:r>
              <a:rPr lang="en-US" sz="1600" b="1" i="0" u="none" strike="noStrike" kern="1200" baseline="0" dirty="0">
                <a:solidFill>
                  <a:srgbClr val="3D6890"/>
                </a:solidFill>
                <a:latin typeface="Arial"/>
                <a:ea typeface="+mn-ea"/>
                <a:cs typeface="+mn-cs"/>
              </a:rPr>
              <a:t>www.microinsurancenetwork.org</a:t>
            </a:r>
            <a:endParaRPr lang="en-US" sz="1600" b="1" baseline="0" dirty="0">
              <a:solidFill>
                <a:srgbClr val="3D6890"/>
              </a:solidFill>
              <a:latin typeface="Arial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8331670" y="6318000"/>
            <a:ext cx="27007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9265BE4-E135-334A-9963-73658F3A57D7}" type="slidenum">
              <a:rPr lang="en-US" sz="1200" baseline="0" smtClean="0">
                <a:latin typeface="Arial"/>
              </a:rPr>
              <a:pPr algn="r"/>
              <a:t>‹#›</a:t>
            </a:fld>
            <a:endParaRPr lang="en-US" sz="1200" baseline="0" dirty="0">
              <a:latin typeface="Arial"/>
            </a:endParaRPr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0000" y="6030000"/>
            <a:ext cx="1440000" cy="504000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80000" y="6030000"/>
            <a:ext cx="948000" cy="504000"/>
          </a:xfrm>
          <a:prstGeom prst="rect">
            <a:avLst/>
          </a:prstGeom>
        </p:spPr>
      </p:pic>
      <p:grpSp>
        <p:nvGrpSpPr>
          <p:cNvPr id="4" name="Group 3"/>
          <p:cNvGrpSpPr/>
          <p:nvPr/>
        </p:nvGrpSpPr>
        <p:grpSpPr>
          <a:xfrm>
            <a:off x="0" y="5846618"/>
            <a:ext cx="9111517" cy="990599"/>
            <a:chOff x="0" y="5846618"/>
            <a:chExt cx="9111517" cy="990599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5846618"/>
              <a:ext cx="9111517" cy="990599"/>
            </a:xfrm>
            <a:prstGeom prst="rect">
              <a:avLst/>
            </a:prstGeom>
          </p:spPr>
        </p:pic>
        <p:sp>
          <p:nvSpPr>
            <p:cNvPr id="16" name="TextBox 15"/>
            <p:cNvSpPr txBox="1"/>
            <p:nvPr/>
          </p:nvSpPr>
          <p:spPr>
            <a:xfrm>
              <a:off x="577195" y="6232964"/>
              <a:ext cx="7754475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algn="r" rtl="0"/>
              <a:r>
                <a:rPr lang="en-US" sz="1600" b="1" i="0" u="none" strike="noStrike" kern="1200" baseline="0" dirty="0">
                  <a:solidFill>
                    <a:srgbClr val="3D6890"/>
                  </a:solidFill>
                  <a:latin typeface="Calibri" panose="020F0502020204030204" pitchFamily="34" charset="0"/>
                  <a:ea typeface="+mn-ea"/>
                  <a:cs typeface="+mn-cs"/>
                </a:rPr>
                <a:t>www.microinsurancenetwork.org</a:t>
              </a:r>
              <a:endParaRPr lang="en-US" sz="1600" b="1" baseline="0" dirty="0">
                <a:solidFill>
                  <a:srgbClr val="3D6890"/>
                </a:solidFill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766197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1631"/>
          <a:stretch/>
        </p:blipFill>
        <p:spPr>
          <a:xfrm>
            <a:off x="-27588" y="-25409"/>
            <a:ext cx="9171588" cy="93620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0000" y="147681"/>
            <a:ext cx="1078637" cy="630000"/>
          </a:xfrm>
          <a:prstGeom prst="rect">
            <a:avLst/>
          </a:prstGeom>
        </p:spPr>
      </p:pic>
      <p:sp>
        <p:nvSpPr>
          <p:cNvPr id="41" name="Title 1"/>
          <p:cNvSpPr>
            <a:spLocks noGrp="1"/>
          </p:cNvSpPr>
          <p:nvPr>
            <p:ph type="title"/>
          </p:nvPr>
        </p:nvSpPr>
        <p:spPr>
          <a:xfrm>
            <a:off x="540000" y="1530815"/>
            <a:ext cx="7791670" cy="400110"/>
          </a:xfrm>
        </p:spPr>
        <p:txBody>
          <a:bodyPr wrap="square" lIns="0" tIns="0" rIns="0" bIns="0" anchor="ctr" anchorCtr="0">
            <a:spAutoFit/>
          </a:bodyPr>
          <a:lstStyle>
            <a:lvl1pPr algn="l">
              <a:defRPr sz="2600" b="1" i="0" baseline="0">
                <a:solidFill>
                  <a:srgbClr val="4B7396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16" name="Group 15"/>
          <p:cNvGrpSpPr/>
          <p:nvPr/>
        </p:nvGrpSpPr>
        <p:grpSpPr>
          <a:xfrm>
            <a:off x="0" y="5846618"/>
            <a:ext cx="9111517" cy="990599"/>
            <a:chOff x="0" y="5846618"/>
            <a:chExt cx="9111517" cy="990599"/>
          </a:xfrm>
        </p:grpSpPr>
        <p:pic>
          <p:nvPicPr>
            <p:cNvPr id="17" name="Picture 16"/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5846618"/>
              <a:ext cx="9111517" cy="990599"/>
            </a:xfrm>
            <a:prstGeom prst="rect">
              <a:avLst/>
            </a:prstGeom>
          </p:spPr>
        </p:pic>
        <p:sp>
          <p:nvSpPr>
            <p:cNvPr id="18" name="TextBox 17"/>
            <p:cNvSpPr txBox="1"/>
            <p:nvPr/>
          </p:nvSpPr>
          <p:spPr>
            <a:xfrm>
              <a:off x="577195" y="6232964"/>
              <a:ext cx="7754475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algn="r" rtl="0"/>
              <a:r>
                <a:rPr lang="en-US" sz="1600" b="1" i="0" u="none" strike="noStrike" kern="1200" baseline="0" dirty="0">
                  <a:solidFill>
                    <a:srgbClr val="3D6890"/>
                  </a:solidFill>
                  <a:latin typeface="Calibri" panose="020F0502020204030204" pitchFamily="34" charset="0"/>
                  <a:ea typeface="+mn-ea"/>
                  <a:cs typeface="+mn-cs"/>
                </a:rPr>
                <a:t>www.microinsurancenetwork.org</a:t>
              </a:r>
              <a:endParaRPr lang="en-US" sz="1600" b="1" baseline="0" dirty="0">
                <a:solidFill>
                  <a:srgbClr val="3D6890"/>
                </a:solidFill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017624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with GIZ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40000" y="1530815"/>
            <a:ext cx="7791670" cy="400110"/>
          </a:xfrm>
        </p:spPr>
        <p:txBody>
          <a:bodyPr wrap="square" lIns="0" tIns="0" rIns="0" bIns="0" anchor="ctr" anchorCtr="0">
            <a:spAutoFit/>
          </a:bodyPr>
          <a:lstStyle>
            <a:lvl1pPr algn="l">
              <a:defRPr sz="2600" b="1" i="0" baseline="0">
                <a:solidFill>
                  <a:srgbClr val="4B7396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1631"/>
          <a:stretch/>
        </p:blipFill>
        <p:spPr>
          <a:xfrm>
            <a:off x="-27588" y="-25409"/>
            <a:ext cx="9171588" cy="93620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0000" y="147681"/>
            <a:ext cx="1078637" cy="630000"/>
          </a:xfrm>
          <a:prstGeom prst="rect">
            <a:avLst/>
          </a:prstGeom>
        </p:spPr>
      </p:pic>
      <p:grpSp>
        <p:nvGrpSpPr>
          <p:cNvPr id="20" name="Group 19"/>
          <p:cNvGrpSpPr/>
          <p:nvPr/>
        </p:nvGrpSpPr>
        <p:grpSpPr>
          <a:xfrm>
            <a:off x="0" y="5778000"/>
            <a:ext cx="9144000" cy="1090551"/>
            <a:chOff x="0" y="5778000"/>
            <a:chExt cx="9144000" cy="1090551"/>
          </a:xfrm>
        </p:grpSpPr>
        <p:pic>
          <p:nvPicPr>
            <p:cNvPr id="21" name="Picture 20"/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8628" y="5846618"/>
              <a:ext cx="9111517" cy="990599"/>
            </a:xfrm>
            <a:prstGeom prst="rect">
              <a:avLst/>
            </a:prstGeom>
          </p:spPr>
        </p:pic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0" y="5778000"/>
              <a:ext cx="9144000" cy="38090"/>
            </a:xfrm>
            <a:prstGeom prst="rect">
              <a:avLst/>
            </a:prstGeom>
          </p:spPr>
        </p:pic>
        <p:sp>
          <p:nvSpPr>
            <p:cNvPr id="23" name="TextBox 22"/>
            <p:cNvSpPr txBox="1"/>
            <p:nvPr/>
          </p:nvSpPr>
          <p:spPr>
            <a:xfrm>
              <a:off x="747959" y="6227235"/>
              <a:ext cx="4321125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rtl="0"/>
              <a:r>
                <a:rPr lang="en-US" sz="1600" b="1" i="0" u="none" strike="noStrike" kern="1200" baseline="0" dirty="0">
                  <a:solidFill>
                    <a:srgbClr val="3D6890"/>
                  </a:solidFill>
                  <a:latin typeface="Arial"/>
                  <a:ea typeface="+mn-ea"/>
                  <a:cs typeface="+mn-cs"/>
                </a:rPr>
                <a:t>www.microinsurancenetwork.org</a:t>
              </a:r>
              <a:endParaRPr lang="en-US" sz="1600" b="1" baseline="0" dirty="0">
                <a:solidFill>
                  <a:srgbClr val="3D6890"/>
                </a:solidFill>
                <a:latin typeface="Arial"/>
              </a:endParaRP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8331670" y="6318000"/>
              <a:ext cx="270070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fld id="{A9265BE4-E135-334A-9963-73658F3A57D7}" type="slidenum">
                <a:rPr lang="en-US" sz="1200" baseline="0" smtClean="0">
                  <a:latin typeface="Arial"/>
                </a:rPr>
                <a:pPr algn="r"/>
                <a:t>‹#›</a:t>
              </a:fld>
              <a:endParaRPr lang="en-US" sz="1200" baseline="0" dirty="0">
                <a:latin typeface="Arial"/>
              </a:endParaRPr>
            </a:p>
          </p:txBody>
        </p:sp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660000" y="6030000"/>
              <a:ext cx="1440000" cy="504000"/>
            </a:xfrm>
            <a:prstGeom prst="rect">
              <a:avLst/>
            </a:prstGeom>
          </p:spPr>
        </p:pic>
        <p:pic>
          <p:nvPicPr>
            <p:cNvPr id="26" name="Picture 25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580000" y="6030000"/>
              <a:ext cx="948000" cy="504000"/>
            </a:xfrm>
            <a:prstGeom prst="rect">
              <a:avLst/>
            </a:prstGeom>
          </p:spPr>
        </p:pic>
        <p:pic>
          <p:nvPicPr>
            <p:cNvPr id="27" name="Picture 26"/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5877952"/>
              <a:ext cx="9111517" cy="990599"/>
            </a:xfrm>
            <a:prstGeom prst="rect">
              <a:avLst/>
            </a:prstGeom>
          </p:spPr>
        </p:pic>
        <p:sp>
          <p:nvSpPr>
            <p:cNvPr id="28" name="TextBox 27"/>
            <p:cNvSpPr txBox="1"/>
            <p:nvPr/>
          </p:nvSpPr>
          <p:spPr>
            <a:xfrm>
              <a:off x="796671" y="6258569"/>
              <a:ext cx="4321125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rtl="0"/>
              <a:r>
                <a:rPr lang="en-US" sz="1600" b="1" i="0" u="none" strike="noStrike" kern="1200" baseline="0" dirty="0">
                  <a:solidFill>
                    <a:srgbClr val="3D6890"/>
                  </a:solidFill>
                  <a:latin typeface="Calibri" panose="020F0502020204030204" pitchFamily="34" charset="0"/>
                  <a:ea typeface="+mn-ea"/>
                  <a:cs typeface="+mn-cs"/>
                </a:rPr>
                <a:t>www.microinsurancenetwork.org</a:t>
              </a:r>
              <a:endParaRPr lang="en-US" sz="1600" b="1" baseline="0" dirty="0">
                <a:solidFill>
                  <a:srgbClr val="3D6890"/>
                </a:solidFill>
                <a:latin typeface="Calibri" panose="020F0502020204030204" pitchFamily="34" charset="0"/>
              </a:endParaRPr>
            </a:p>
          </p:txBody>
        </p:sp>
        <p:pic>
          <p:nvPicPr>
            <p:cNvPr id="29" name="Picture 28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93610" y="6061334"/>
              <a:ext cx="1440000" cy="504000"/>
            </a:xfrm>
            <a:prstGeom prst="rect">
              <a:avLst/>
            </a:prstGeom>
          </p:spPr>
        </p:pic>
        <p:pic>
          <p:nvPicPr>
            <p:cNvPr id="41" name="Picture 40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55194" y="6061334"/>
              <a:ext cx="948000" cy="50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981351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ubtitle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8"/>
          <p:cNvSpPr>
            <a:spLocks noGrp="1"/>
          </p:cNvSpPr>
          <p:nvPr>
            <p:ph type="body" sz="quarter" idx="11"/>
          </p:nvPr>
        </p:nvSpPr>
        <p:spPr>
          <a:xfrm>
            <a:off x="521786" y="2408940"/>
            <a:ext cx="7809884" cy="251886"/>
          </a:xfrm>
        </p:spPr>
        <p:txBody>
          <a:bodyPr wrap="square" lIns="0" tIns="0" rIns="0" bIns="0">
            <a:spAutoFit/>
          </a:bodyPr>
          <a:lstStyle>
            <a:lvl1pPr marL="180000" indent="-180000">
              <a:buClr>
                <a:srgbClr val="4B7396"/>
              </a:buClr>
              <a:buFont typeface="Arial"/>
              <a:buChar char="•"/>
              <a:defRPr sz="16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558550" y="2065322"/>
            <a:ext cx="7773120" cy="246221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600" b="1" i="0" baseline="0">
                <a:solidFill>
                  <a:srgbClr val="4B7396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1631"/>
          <a:stretch/>
        </p:blipFill>
        <p:spPr>
          <a:xfrm>
            <a:off x="-27588" y="-25409"/>
            <a:ext cx="9171588" cy="936209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0000" y="147681"/>
            <a:ext cx="1078637" cy="630000"/>
          </a:xfrm>
          <a:prstGeom prst="rect">
            <a:avLst/>
          </a:prstGeom>
        </p:spPr>
      </p:pic>
      <p:sp>
        <p:nvSpPr>
          <p:cNvPr id="45" name="Title 1"/>
          <p:cNvSpPr>
            <a:spLocks noGrp="1"/>
          </p:cNvSpPr>
          <p:nvPr>
            <p:ph type="title"/>
          </p:nvPr>
        </p:nvSpPr>
        <p:spPr>
          <a:xfrm>
            <a:off x="540000" y="1530815"/>
            <a:ext cx="7791670" cy="400110"/>
          </a:xfrm>
        </p:spPr>
        <p:txBody>
          <a:bodyPr wrap="square" lIns="0" tIns="0" rIns="0" bIns="0" anchor="ctr" anchorCtr="0">
            <a:spAutoFit/>
          </a:bodyPr>
          <a:lstStyle>
            <a:lvl1pPr algn="l">
              <a:defRPr sz="2600" b="1" i="0" baseline="0">
                <a:solidFill>
                  <a:srgbClr val="4B7396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18" name="Group 17"/>
          <p:cNvGrpSpPr/>
          <p:nvPr/>
        </p:nvGrpSpPr>
        <p:grpSpPr>
          <a:xfrm>
            <a:off x="0" y="5846618"/>
            <a:ext cx="9111517" cy="990599"/>
            <a:chOff x="0" y="5846618"/>
            <a:chExt cx="9111517" cy="990599"/>
          </a:xfrm>
        </p:grpSpPr>
        <p:pic>
          <p:nvPicPr>
            <p:cNvPr id="19" name="Picture 18"/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5846618"/>
              <a:ext cx="9111517" cy="990599"/>
            </a:xfrm>
            <a:prstGeom prst="rect">
              <a:avLst/>
            </a:prstGeom>
          </p:spPr>
        </p:pic>
        <p:sp>
          <p:nvSpPr>
            <p:cNvPr id="20" name="TextBox 19"/>
            <p:cNvSpPr txBox="1"/>
            <p:nvPr/>
          </p:nvSpPr>
          <p:spPr>
            <a:xfrm>
              <a:off x="577195" y="6232964"/>
              <a:ext cx="7754475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algn="r" rtl="0"/>
              <a:r>
                <a:rPr lang="en-US" sz="1600" b="1" i="0" u="none" strike="noStrike" kern="1200" baseline="0" dirty="0">
                  <a:solidFill>
                    <a:srgbClr val="3D6890"/>
                  </a:solidFill>
                  <a:latin typeface="+mj-lt"/>
                  <a:ea typeface="+mn-ea"/>
                  <a:cs typeface="+mn-cs"/>
                </a:rPr>
                <a:t>www.microinsurancenetwork.org</a:t>
              </a:r>
              <a:endParaRPr lang="en-US" sz="1600" b="1" baseline="0" dirty="0">
                <a:solidFill>
                  <a:srgbClr val="3D6890"/>
                </a:solidFill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30628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549485" y="2076652"/>
            <a:ext cx="7768330" cy="246221"/>
          </a:xfrm>
        </p:spPr>
        <p:txBody>
          <a:bodyPr wrap="square" lIns="0" tIns="0" rIns="0" bIns="0">
            <a:spAutoFit/>
          </a:bodyPr>
          <a:lstStyle>
            <a:lvl1pPr marL="0" indent="0">
              <a:buClr>
                <a:srgbClr val="4B7396"/>
              </a:buClr>
              <a:buFontTx/>
              <a:buNone/>
              <a:defRPr sz="16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1631"/>
          <a:stretch/>
        </p:blipFill>
        <p:spPr>
          <a:xfrm>
            <a:off x="-27588" y="-25409"/>
            <a:ext cx="9171588" cy="93620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0000" y="147681"/>
            <a:ext cx="1078637" cy="630000"/>
          </a:xfrm>
          <a:prstGeom prst="rect">
            <a:avLst/>
          </a:prstGeom>
        </p:spPr>
      </p:pic>
      <p:sp>
        <p:nvSpPr>
          <p:cNvPr id="43" name="Title 1"/>
          <p:cNvSpPr>
            <a:spLocks noGrp="1"/>
          </p:cNvSpPr>
          <p:nvPr>
            <p:ph type="title"/>
          </p:nvPr>
        </p:nvSpPr>
        <p:spPr>
          <a:xfrm>
            <a:off x="540000" y="1530815"/>
            <a:ext cx="7791670" cy="400110"/>
          </a:xfrm>
        </p:spPr>
        <p:txBody>
          <a:bodyPr wrap="square" lIns="0" tIns="0" rIns="0" bIns="0" anchor="ctr" anchorCtr="0">
            <a:spAutoFit/>
          </a:bodyPr>
          <a:lstStyle>
            <a:lvl1pPr algn="l">
              <a:defRPr sz="2600" b="1" i="0" baseline="0">
                <a:solidFill>
                  <a:srgbClr val="4B7396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28" name="Group 27"/>
          <p:cNvGrpSpPr/>
          <p:nvPr/>
        </p:nvGrpSpPr>
        <p:grpSpPr>
          <a:xfrm>
            <a:off x="0" y="5846618"/>
            <a:ext cx="9111517" cy="990599"/>
            <a:chOff x="0" y="5846618"/>
            <a:chExt cx="9111517" cy="990599"/>
          </a:xfrm>
        </p:grpSpPr>
        <p:pic>
          <p:nvPicPr>
            <p:cNvPr id="29" name="Picture 28"/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5846618"/>
              <a:ext cx="9111517" cy="990599"/>
            </a:xfrm>
            <a:prstGeom prst="rect">
              <a:avLst/>
            </a:prstGeom>
          </p:spPr>
        </p:pic>
        <p:sp>
          <p:nvSpPr>
            <p:cNvPr id="30" name="TextBox 29"/>
            <p:cNvSpPr txBox="1"/>
            <p:nvPr/>
          </p:nvSpPr>
          <p:spPr>
            <a:xfrm>
              <a:off x="577195" y="6232964"/>
              <a:ext cx="7754475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algn="r" rtl="0"/>
              <a:r>
                <a:rPr lang="en-US" sz="1600" b="1" i="0" u="none" strike="noStrike" kern="1200" baseline="0" dirty="0">
                  <a:solidFill>
                    <a:srgbClr val="3D6890"/>
                  </a:solidFill>
                  <a:latin typeface="Calibri" panose="020F0502020204030204" pitchFamily="34" charset="0"/>
                  <a:ea typeface="+mn-ea"/>
                  <a:cs typeface="+mn-cs"/>
                </a:rPr>
                <a:t>www.microinsurancenetwork.org</a:t>
              </a:r>
              <a:endParaRPr lang="en-US" sz="1600" b="1" baseline="0" dirty="0">
                <a:solidFill>
                  <a:srgbClr val="3D6890"/>
                </a:solidFill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917206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text subtit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549484" y="2104360"/>
            <a:ext cx="7782186" cy="246221"/>
          </a:xfrm>
        </p:spPr>
        <p:txBody>
          <a:bodyPr wrap="square" lIns="0" tIns="0" rIns="0" bIns="0">
            <a:spAutoFit/>
          </a:bodyPr>
          <a:lstStyle>
            <a:lvl1pPr marL="0" indent="0">
              <a:buClr>
                <a:srgbClr val="4B7396"/>
              </a:buClr>
              <a:buFontTx/>
              <a:buNone/>
              <a:defRPr sz="160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8"/>
          <p:cNvSpPr>
            <a:spLocks noGrp="1"/>
          </p:cNvSpPr>
          <p:nvPr>
            <p:ph type="body" sz="quarter" idx="11"/>
          </p:nvPr>
        </p:nvSpPr>
        <p:spPr>
          <a:xfrm>
            <a:off x="549484" y="3004360"/>
            <a:ext cx="7782186" cy="246221"/>
          </a:xfrm>
        </p:spPr>
        <p:txBody>
          <a:bodyPr wrap="square" lIns="0" tIns="0" rIns="0" bIns="0">
            <a:spAutoFit/>
          </a:bodyPr>
          <a:lstStyle>
            <a:lvl1pPr marL="0" indent="0">
              <a:buClr>
                <a:srgbClr val="4B7396"/>
              </a:buClr>
              <a:buFontTx/>
              <a:buNone/>
              <a:defRPr sz="160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/>
          </p:nvPr>
        </p:nvSpPr>
        <p:spPr>
          <a:xfrm>
            <a:off x="549484" y="2644360"/>
            <a:ext cx="7782186" cy="246221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600" b="1" i="0" baseline="0">
                <a:solidFill>
                  <a:srgbClr val="4B7396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1631"/>
          <a:stretch/>
        </p:blipFill>
        <p:spPr>
          <a:xfrm>
            <a:off x="-27588" y="-25409"/>
            <a:ext cx="9171588" cy="936209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0000" y="147681"/>
            <a:ext cx="1078637" cy="630000"/>
          </a:xfrm>
          <a:prstGeom prst="rect">
            <a:avLst/>
          </a:prstGeom>
        </p:spPr>
      </p:pic>
      <p:sp>
        <p:nvSpPr>
          <p:cNvPr id="47" name="Title 1"/>
          <p:cNvSpPr>
            <a:spLocks noGrp="1"/>
          </p:cNvSpPr>
          <p:nvPr>
            <p:ph type="title"/>
          </p:nvPr>
        </p:nvSpPr>
        <p:spPr>
          <a:xfrm>
            <a:off x="540000" y="1530815"/>
            <a:ext cx="7791670" cy="400110"/>
          </a:xfrm>
        </p:spPr>
        <p:txBody>
          <a:bodyPr wrap="square" lIns="0" tIns="0" rIns="0" bIns="0" anchor="ctr" anchorCtr="0">
            <a:spAutoFit/>
          </a:bodyPr>
          <a:lstStyle>
            <a:lvl1pPr algn="l">
              <a:defRPr sz="2600" b="1" i="0" baseline="0">
                <a:solidFill>
                  <a:srgbClr val="4B7396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19" name="Group 18"/>
          <p:cNvGrpSpPr/>
          <p:nvPr/>
        </p:nvGrpSpPr>
        <p:grpSpPr>
          <a:xfrm>
            <a:off x="0" y="5846618"/>
            <a:ext cx="9111517" cy="990599"/>
            <a:chOff x="0" y="5846618"/>
            <a:chExt cx="9111517" cy="990599"/>
          </a:xfrm>
        </p:grpSpPr>
        <p:pic>
          <p:nvPicPr>
            <p:cNvPr id="21" name="Picture 20"/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5846618"/>
              <a:ext cx="9111517" cy="990599"/>
            </a:xfrm>
            <a:prstGeom prst="rect">
              <a:avLst/>
            </a:prstGeom>
          </p:spPr>
        </p:pic>
        <p:sp>
          <p:nvSpPr>
            <p:cNvPr id="22" name="TextBox 21"/>
            <p:cNvSpPr txBox="1"/>
            <p:nvPr/>
          </p:nvSpPr>
          <p:spPr>
            <a:xfrm>
              <a:off x="577195" y="6232964"/>
              <a:ext cx="7754475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algn="r" rtl="0"/>
              <a:r>
                <a:rPr lang="en-US" sz="1600" b="1" i="0" u="none" strike="noStrike" kern="1200" baseline="0" dirty="0">
                  <a:solidFill>
                    <a:srgbClr val="3D6890"/>
                  </a:solidFill>
                  <a:latin typeface="+mj-lt"/>
                  <a:ea typeface="+mn-ea"/>
                  <a:cs typeface="+mn-cs"/>
                </a:rPr>
                <a:t>www.microinsurancenetwork.org</a:t>
              </a:r>
              <a:endParaRPr lang="en-US" sz="1600" b="1" baseline="0" dirty="0">
                <a:solidFill>
                  <a:srgbClr val="3D6890"/>
                </a:solidFill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015736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549485" y="2104355"/>
            <a:ext cx="7740620" cy="246221"/>
          </a:xfrm>
        </p:spPr>
        <p:txBody>
          <a:bodyPr wrap="square" lIns="0" tIns="0" rIns="0" bIns="0">
            <a:spAutoFit/>
          </a:bodyPr>
          <a:lstStyle>
            <a:lvl1pPr marL="180000" indent="-180000">
              <a:buClr>
                <a:srgbClr val="4B7396"/>
              </a:buClr>
              <a:defRPr sz="1600" baseline="0">
                <a:latin typeface="Arial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1631"/>
          <a:stretch/>
        </p:blipFill>
        <p:spPr>
          <a:xfrm>
            <a:off x="-27588" y="-25409"/>
            <a:ext cx="9171588" cy="936209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0000" y="147681"/>
            <a:ext cx="1078637" cy="630000"/>
          </a:xfrm>
          <a:prstGeom prst="rect">
            <a:avLst/>
          </a:prstGeom>
        </p:spPr>
      </p:pic>
      <p:grpSp>
        <p:nvGrpSpPr>
          <p:cNvPr id="32" name="Group 31"/>
          <p:cNvGrpSpPr/>
          <p:nvPr/>
        </p:nvGrpSpPr>
        <p:grpSpPr>
          <a:xfrm>
            <a:off x="0" y="5778000"/>
            <a:ext cx="9144000" cy="1059217"/>
            <a:chOff x="0" y="5778000"/>
            <a:chExt cx="9144000" cy="1059217"/>
          </a:xfrm>
        </p:grpSpPr>
        <p:pic>
          <p:nvPicPr>
            <p:cNvPr id="33" name="Picture 32"/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8628" y="5846618"/>
              <a:ext cx="9111517" cy="990599"/>
            </a:xfrm>
            <a:prstGeom prst="rect">
              <a:avLst/>
            </a:prstGeom>
          </p:spPr>
        </p:pic>
        <p:pic>
          <p:nvPicPr>
            <p:cNvPr id="34" name="Picture 33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0" y="5778000"/>
              <a:ext cx="9144000" cy="38090"/>
            </a:xfrm>
            <a:prstGeom prst="rect">
              <a:avLst/>
            </a:prstGeom>
          </p:spPr>
        </p:pic>
        <p:sp>
          <p:nvSpPr>
            <p:cNvPr id="35" name="TextBox 34"/>
            <p:cNvSpPr txBox="1"/>
            <p:nvPr/>
          </p:nvSpPr>
          <p:spPr>
            <a:xfrm>
              <a:off x="747959" y="6227235"/>
              <a:ext cx="4321125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rtl="0"/>
              <a:r>
                <a:rPr lang="en-US" sz="1600" b="1" i="0" u="none" strike="noStrike" kern="1200" baseline="0" dirty="0">
                  <a:solidFill>
                    <a:srgbClr val="3D6890"/>
                  </a:solidFill>
                  <a:latin typeface="Arial"/>
                  <a:ea typeface="+mn-ea"/>
                  <a:cs typeface="+mn-cs"/>
                </a:rPr>
                <a:t>www.microinsurancenetwork.org</a:t>
              </a:r>
              <a:endParaRPr lang="en-US" sz="1600" b="1" baseline="0" dirty="0">
                <a:solidFill>
                  <a:srgbClr val="3D6890"/>
                </a:solidFill>
                <a:latin typeface="Arial"/>
              </a:endParaRP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8331670" y="6318000"/>
              <a:ext cx="270070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fld id="{A9265BE4-E135-334A-9963-73658F3A57D7}" type="slidenum">
                <a:rPr lang="en-US" sz="1200" baseline="0" smtClean="0">
                  <a:latin typeface="Arial"/>
                </a:rPr>
                <a:pPr algn="r"/>
                <a:t>‹#›</a:t>
              </a:fld>
              <a:endParaRPr lang="en-US" sz="1200" baseline="0" dirty="0">
                <a:latin typeface="Arial"/>
              </a:endParaRPr>
            </a:p>
          </p:txBody>
        </p:sp>
        <p:pic>
          <p:nvPicPr>
            <p:cNvPr id="37" name="Picture 36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660000" y="6030000"/>
              <a:ext cx="1440000" cy="504000"/>
            </a:xfrm>
            <a:prstGeom prst="rect">
              <a:avLst/>
            </a:prstGeom>
          </p:spPr>
        </p:pic>
        <p:pic>
          <p:nvPicPr>
            <p:cNvPr id="38" name="Picture 37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580000" y="6030000"/>
              <a:ext cx="948000" cy="504000"/>
            </a:xfrm>
            <a:prstGeom prst="rect">
              <a:avLst/>
            </a:prstGeom>
          </p:spPr>
        </p:pic>
        <p:sp>
          <p:nvSpPr>
            <p:cNvPr id="40" name="TextBox 39"/>
            <p:cNvSpPr txBox="1"/>
            <p:nvPr/>
          </p:nvSpPr>
          <p:spPr>
            <a:xfrm>
              <a:off x="796671" y="6258569"/>
              <a:ext cx="4321125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rtl="0"/>
              <a:r>
                <a:rPr lang="en-US" sz="1600" b="1" i="0" u="none" strike="noStrike" kern="1200" baseline="0" dirty="0">
                  <a:solidFill>
                    <a:srgbClr val="3D6890"/>
                  </a:solidFill>
                  <a:latin typeface="Arial"/>
                  <a:ea typeface="+mn-ea"/>
                  <a:cs typeface="+mn-cs"/>
                </a:rPr>
                <a:t>www.microinsurancenetwork.org</a:t>
              </a:r>
              <a:endParaRPr lang="en-US" sz="1600" b="1" baseline="0" dirty="0">
                <a:solidFill>
                  <a:srgbClr val="3D6890"/>
                </a:solidFill>
                <a:latin typeface="Arial"/>
              </a:endParaRPr>
            </a:p>
          </p:txBody>
        </p:sp>
        <p:pic>
          <p:nvPicPr>
            <p:cNvPr id="41" name="Picture 40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93610" y="6061334"/>
              <a:ext cx="1440000" cy="504000"/>
            </a:xfrm>
            <a:prstGeom prst="rect">
              <a:avLst/>
            </a:prstGeom>
          </p:spPr>
        </p:pic>
        <p:pic>
          <p:nvPicPr>
            <p:cNvPr id="42" name="Picture 41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55194" y="6061334"/>
              <a:ext cx="948000" cy="504000"/>
            </a:xfrm>
            <a:prstGeom prst="rect">
              <a:avLst/>
            </a:prstGeom>
          </p:spPr>
        </p:pic>
      </p:grpSp>
      <p:sp>
        <p:nvSpPr>
          <p:cNvPr id="43" name="Title 1"/>
          <p:cNvSpPr>
            <a:spLocks noGrp="1"/>
          </p:cNvSpPr>
          <p:nvPr>
            <p:ph type="title"/>
          </p:nvPr>
        </p:nvSpPr>
        <p:spPr>
          <a:xfrm>
            <a:off x="540000" y="1530815"/>
            <a:ext cx="7791670" cy="400110"/>
          </a:xfrm>
        </p:spPr>
        <p:txBody>
          <a:bodyPr wrap="square" lIns="0" tIns="0" rIns="0" bIns="0" anchor="ctr" anchorCtr="0">
            <a:spAutoFit/>
          </a:bodyPr>
          <a:lstStyle>
            <a:lvl1pPr algn="l">
              <a:defRPr sz="2600" b="1" i="0" baseline="0">
                <a:solidFill>
                  <a:srgbClr val="4B7396"/>
                </a:solidFill>
                <a:latin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17" name="Group 16"/>
          <p:cNvGrpSpPr/>
          <p:nvPr/>
        </p:nvGrpSpPr>
        <p:grpSpPr>
          <a:xfrm>
            <a:off x="0" y="5846618"/>
            <a:ext cx="9111517" cy="990599"/>
            <a:chOff x="0" y="5846618"/>
            <a:chExt cx="9111517" cy="990599"/>
          </a:xfrm>
        </p:grpSpPr>
        <p:pic>
          <p:nvPicPr>
            <p:cNvPr id="20" name="Picture 19"/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5846618"/>
              <a:ext cx="9111517" cy="990599"/>
            </a:xfrm>
            <a:prstGeom prst="rect">
              <a:avLst/>
            </a:prstGeom>
          </p:spPr>
        </p:pic>
        <p:sp>
          <p:nvSpPr>
            <p:cNvPr id="21" name="TextBox 20"/>
            <p:cNvSpPr txBox="1"/>
            <p:nvPr/>
          </p:nvSpPr>
          <p:spPr>
            <a:xfrm>
              <a:off x="577195" y="6232964"/>
              <a:ext cx="7754475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algn="r" rtl="0"/>
              <a:r>
                <a:rPr lang="en-US" sz="1600" b="1" i="0" u="none" strike="noStrike" kern="1200" baseline="0" dirty="0">
                  <a:solidFill>
                    <a:srgbClr val="3D6890"/>
                  </a:solidFill>
                  <a:latin typeface="Calibri" panose="020F0502020204030204" pitchFamily="34" charset="0"/>
                  <a:ea typeface="+mn-ea"/>
                  <a:cs typeface="+mn-cs"/>
                </a:rPr>
                <a:t>www.microinsurancenetwork.org</a:t>
              </a:r>
              <a:endParaRPr lang="en-US" sz="1600" b="1" baseline="0" dirty="0">
                <a:solidFill>
                  <a:srgbClr val="3D6890"/>
                </a:solidFill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376644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CH" dirty="0"/>
              <a:t>Click to edit Master text styles</a:t>
            </a:r>
          </a:p>
          <a:p>
            <a:pPr lvl="1"/>
            <a:r>
              <a:rPr lang="fr-CH" dirty="0"/>
              <a:t>Second level</a:t>
            </a:r>
          </a:p>
          <a:p>
            <a:pPr lvl="2"/>
            <a:r>
              <a:rPr lang="fr-CH" dirty="0"/>
              <a:t>Third level</a:t>
            </a:r>
          </a:p>
          <a:p>
            <a:pPr lvl="3"/>
            <a:r>
              <a:rPr lang="fr-CH" dirty="0" err="1"/>
              <a:t>Fourth</a:t>
            </a:r>
            <a:r>
              <a:rPr lang="fr-CH" dirty="0"/>
              <a:t> </a:t>
            </a:r>
            <a:r>
              <a:rPr lang="fr-CH" dirty="0" err="1"/>
              <a:t>level</a:t>
            </a:r>
            <a:endParaRPr lang="fr-CH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fld id="{852384D4-04DA-FB49-BAA3-62F89C5E117D}" type="datetime2">
              <a:rPr lang="fr-LU" smtClean="0"/>
              <a:pPr/>
              <a:t>mercredi 17 mars 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1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fld id="{94178646-FC5A-9D4A-8AE8-F38483F8D50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0053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5" r:id="rId2"/>
    <p:sldLayoutId id="2147483649" r:id="rId3"/>
    <p:sldLayoutId id="2147483654" r:id="rId4"/>
    <p:sldLayoutId id="2147483678" r:id="rId5"/>
    <p:sldLayoutId id="2147483686" r:id="rId6"/>
    <p:sldLayoutId id="2147483687" r:id="rId7"/>
    <p:sldLayoutId id="2147483685" r:id="rId8"/>
    <p:sldLayoutId id="2147483650" r:id="rId9"/>
    <p:sldLayoutId id="2147483684" r:id="rId10"/>
    <p:sldLayoutId id="2147483657" r:id="rId11"/>
    <p:sldLayoutId id="2147483679" r:id="rId12"/>
    <p:sldLayoutId id="2147483652" r:id="rId13"/>
    <p:sldLayoutId id="2147483681" r:id="rId14"/>
    <p:sldLayoutId id="2147483682" r:id="rId15"/>
    <p:sldLayoutId id="2147483680" r:id="rId16"/>
    <p:sldLayoutId id="2147483683" r:id="rId17"/>
    <p:sldLayoutId id="2147483674" r:id="rId18"/>
    <p:sldLayoutId id="2147483688" r:id="rId19"/>
    <p:sldLayoutId id="2147483673" r:id="rId20"/>
    <p:sldLayoutId id="2147483690" r:id="rId21"/>
    <p:sldLayoutId id="2147483698" r:id="rId22"/>
    <p:sldLayoutId id="2147483699" r:id="rId23"/>
  </p:sldLayoutIdLst>
  <p:hf sldNum="0" hdr="0" ftr="0"/>
  <p:txStyles>
    <p:titleStyle>
      <a:lvl1pPr algn="ctr" defTabSz="457200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j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400" kern="1200">
          <a:solidFill>
            <a:schemeClr val="tx1"/>
          </a:solidFill>
          <a:latin typeface="+mj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CH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CH" dirty="0"/>
              <a:t>Click to edit Master text styles</a:t>
            </a:r>
          </a:p>
          <a:p>
            <a:pPr lvl="1"/>
            <a:r>
              <a:rPr lang="fr-CH" dirty="0"/>
              <a:t>Second level</a:t>
            </a:r>
          </a:p>
          <a:p>
            <a:pPr lvl="2"/>
            <a:r>
              <a:rPr lang="fr-CH" dirty="0"/>
              <a:t>Third level</a:t>
            </a:r>
          </a:p>
          <a:p>
            <a:pPr lvl="3"/>
            <a:r>
              <a:rPr lang="fr-CH" dirty="0" err="1"/>
              <a:t>Fourth</a:t>
            </a:r>
            <a:r>
              <a:rPr lang="fr-CH" dirty="0"/>
              <a:t> </a:t>
            </a:r>
            <a:r>
              <a:rPr lang="fr-CH" dirty="0" err="1"/>
              <a:t>level</a:t>
            </a:r>
            <a:endParaRPr lang="fr-CH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pPr defTabSz="685800"/>
            <a:fld id="{852384D4-04DA-FB49-BAA3-62F89C5E117D}" type="datetime2">
              <a:rPr lang="fr-LU" smtClean="0">
                <a:solidFill>
                  <a:prstClr val="black">
                    <a:tint val="75000"/>
                  </a:prstClr>
                </a:solidFill>
              </a:rPr>
              <a:pPr defTabSz="685800"/>
              <a:t>mercredi 17 mars 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4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pPr defTabSz="68580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1" y="635635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pPr defTabSz="685800"/>
            <a:fld id="{94178646-FC5A-9D4A-8AE8-F38483F8D50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33779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</p:sldLayoutIdLst>
  <p:hf sldNum="0" hdr="0" ftr="0"/>
  <p:txStyles>
    <p:titleStyle>
      <a:lvl1pPr algn="ctr" defTabSz="342900" rtl="0" eaLnBrk="1" latinLnBrk="0" hangingPunct="1">
        <a:spcBef>
          <a:spcPct val="0"/>
        </a:spcBef>
        <a:buNone/>
        <a:defRPr sz="3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342900" rtl="0" eaLnBrk="1" latinLnBrk="0" hangingPunct="1">
        <a:spcBef>
          <a:spcPct val="20000"/>
        </a:spcBef>
        <a:buFont typeface="Arial"/>
        <a:buChar char="•"/>
        <a:defRPr sz="1950" kern="1200">
          <a:solidFill>
            <a:schemeClr val="tx1"/>
          </a:solidFill>
          <a:latin typeface="+mj-lt"/>
          <a:ea typeface="+mn-ea"/>
          <a:cs typeface="+mn-cs"/>
        </a:defRPr>
      </a:lvl1pPr>
      <a:lvl2pPr marL="557213" indent="-214313" algn="l" defTabSz="342900" rtl="0" eaLnBrk="1" latinLnBrk="0" hangingPunct="1">
        <a:spcBef>
          <a:spcPct val="20000"/>
        </a:spcBef>
        <a:buFont typeface="Arial"/>
        <a:buChar char="–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857250" indent="-171450" algn="l" defTabSz="342900" rtl="0" eaLnBrk="1" latinLnBrk="0" hangingPunct="1">
        <a:spcBef>
          <a:spcPct val="20000"/>
        </a:spcBef>
        <a:buFont typeface="Arial"/>
        <a:buChar char="•"/>
        <a:defRPr sz="1200" kern="1200">
          <a:solidFill>
            <a:schemeClr val="tx1"/>
          </a:solidFill>
          <a:latin typeface="+mj-lt"/>
          <a:ea typeface="+mn-ea"/>
          <a:cs typeface="+mn-cs"/>
        </a:defRPr>
      </a:lvl3pPr>
      <a:lvl4pPr marL="1200150" indent="-171450" algn="l" defTabSz="342900" rtl="0" eaLnBrk="1" latinLnBrk="0" hangingPunct="1">
        <a:spcBef>
          <a:spcPct val="20000"/>
        </a:spcBef>
        <a:buFont typeface="Arial"/>
        <a:buChar char="–"/>
        <a:defRPr sz="1050" kern="1200">
          <a:solidFill>
            <a:schemeClr val="tx1"/>
          </a:solidFill>
          <a:latin typeface="+mj-lt"/>
          <a:ea typeface="+mn-ea"/>
          <a:cs typeface="+mn-cs"/>
        </a:defRPr>
      </a:lvl4pPr>
      <a:lvl5pPr marL="1543050" indent="-171450" algn="l" defTabSz="342900" rtl="0" eaLnBrk="1" latinLnBrk="0" hangingPunct="1">
        <a:spcBef>
          <a:spcPct val="20000"/>
        </a:spcBef>
        <a:buFont typeface="Arial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8.xml"/><Relationship Id="rId4" Type="http://schemas.openxmlformats.org/officeDocument/2006/relationships/image" Target="../media/image2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9.xml"/><Relationship Id="rId4" Type="http://schemas.openxmlformats.org/officeDocument/2006/relationships/image" Target="../media/image2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0.xml"/><Relationship Id="rId4" Type="http://schemas.openxmlformats.org/officeDocument/2006/relationships/image" Target="../media/image2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1.xml"/><Relationship Id="rId5" Type="http://schemas.openxmlformats.org/officeDocument/2006/relationships/hyperlink" Target="https://www.rug.nl/research/globalisation-studies-groningen/research/conferencesandseminars/conferences/eumicrofinconf2011/papers/13.erlbeck-altuntas-berrystolzle.pdf" TargetMode="External"/><Relationship Id="rId4" Type="http://schemas.openxmlformats.org/officeDocument/2006/relationships/hyperlink" Target="https://www.bnm.gov.my/-/discussion-paper-on-microinsurance-and-microtakaful" TargetMode="Externa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2.xml"/><Relationship Id="rId6" Type="http://schemas.openxmlformats.org/officeDocument/2006/relationships/hyperlink" Target="https://www.rug.nl/research/globalisation-studies-groningen/research/conferencesandseminars/conferences/eumicrofinconf2011/papers/13.erlbeck-altuntas-berrystolzle.pdf" TargetMode="External"/><Relationship Id="rId5" Type="http://schemas.openxmlformats.org/officeDocument/2006/relationships/hyperlink" Target="https://www.bnm.gov.my/-/discussion-paper-on-microinsurance-and-microtakaful" TargetMode="External"/><Relationship Id="rId4" Type="http://schemas.openxmlformats.org/officeDocument/2006/relationships/image" Target="../media/image30.jpe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14.xml"/><Relationship Id="rId4" Type="http://schemas.openxmlformats.org/officeDocument/2006/relationships/tags" Target="../tags/tag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7" Type="http://schemas.openxmlformats.org/officeDocument/2006/relationships/image" Target="../media/image1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4" Type="http://schemas.openxmlformats.org/officeDocument/2006/relationships/image" Target="../media/image16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21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14/relationships/chartEx" Target="../charts/chartEx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7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.xml"/><Relationship Id="rId4" Type="http://schemas.openxmlformats.org/officeDocument/2006/relationships/image" Target="../media/image23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6.xml"/><Relationship Id="rId4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7.xml"/><Relationship Id="rId4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DD24B0-E32F-418C-B51F-D247B11878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2711" y="330727"/>
            <a:ext cx="8498578" cy="1231106"/>
          </a:xfrm>
        </p:spPr>
        <p:txBody>
          <a:bodyPr/>
          <a:lstStyle/>
          <a:p>
            <a:pPr algn="ctr"/>
            <a:r>
              <a:rPr lang="en-GB" dirty="0"/>
              <a:t>Supporting Low-income customers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F561C86-C05A-4A54-98B2-953AE5A6BA68}"/>
              </a:ext>
            </a:extLst>
          </p:cNvPr>
          <p:cNvSpPr txBox="1">
            <a:spLocks/>
          </p:cNvSpPr>
          <p:nvPr/>
        </p:nvSpPr>
        <p:spPr>
          <a:xfrm>
            <a:off x="322711" y="5840481"/>
            <a:ext cx="3593211" cy="8309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000" b="1" i="0" kern="1200" cap="all" baseline="0">
                <a:solidFill>
                  <a:srgbClr val="4B7396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r>
              <a:rPr lang="en-GB" sz="1800" b="0" cap="none" dirty="0"/>
              <a:t>Mark Robertson</a:t>
            </a:r>
          </a:p>
          <a:p>
            <a:r>
              <a:rPr lang="en-GB" sz="1800" b="0" cap="none" dirty="0"/>
              <a:t>Microinsurance Network (MiN)</a:t>
            </a:r>
          </a:p>
          <a:p>
            <a:r>
              <a:rPr lang="en-GB" sz="1800" b="0" cap="none" dirty="0"/>
              <a:t>18 March 2021</a:t>
            </a:r>
          </a:p>
        </p:txBody>
      </p:sp>
    </p:spTree>
    <p:extLst>
      <p:ext uri="{BB962C8B-B14F-4D97-AF65-F5344CB8AC3E}">
        <p14:creationId xmlns:p14="http://schemas.microsoft.com/office/powerpoint/2010/main" val="18769665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A0C95D5C-489E-4D51-92FD-34AC217F857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0" y="6278843"/>
            <a:ext cx="8928100" cy="579157"/>
          </a:xfrm>
          <a:prstGeom prst="rect">
            <a:avLst/>
          </a:prstGeom>
          <a:noFill/>
          <a:effectLst/>
        </p:spPr>
        <p:txBody>
          <a:bodyPr vert="horz" wrap="square" lIns="45719" rIns="45719" rtlCol="0" anchor="b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ZA" sz="1000" dirty="0">
                <a:latin typeface="Calibri"/>
                <a:cs typeface="Calibri" pitchFamily="34" charset="0"/>
              </a:rPr>
              <a:t>Source: </a:t>
            </a:r>
            <a:r>
              <a:rPr lang="en-ZA" sz="1000" dirty="0" err="1">
                <a:latin typeface="Calibri"/>
                <a:cs typeface="Calibri" pitchFamily="34" charset="0"/>
              </a:rPr>
              <a:t>MiN</a:t>
            </a:r>
            <a:r>
              <a:rPr lang="en-ZA" sz="1000" dirty="0">
                <a:latin typeface="Calibri"/>
                <a:cs typeface="Calibri" pitchFamily="34" charset="0"/>
              </a:rPr>
              <a:t> Landscape of Microinsurance 2020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026BA26-6984-428B-B7FC-AD1CD756085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4038" y="1016000"/>
            <a:ext cx="7495924" cy="5233003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B1315FDA-E7C7-4108-BE53-17DBF9FBB6D8}"/>
              </a:ext>
            </a:extLst>
          </p:cNvPr>
          <p:cNvSpPr txBox="1">
            <a:spLocks/>
          </p:cNvSpPr>
          <p:nvPr/>
        </p:nvSpPr>
        <p:spPr>
          <a:xfrm>
            <a:off x="550689" y="216381"/>
            <a:ext cx="8377411" cy="49244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600" b="1" i="0" kern="1200" baseline="0">
                <a:solidFill>
                  <a:srgbClr val="4B7396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 algn="r"/>
            <a:r>
              <a:rPr lang="en-GB" sz="3200" dirty="0">
                <a:solidFill>
                  <a:schemeClr val="bg1"/>
                </a:solidFill>
              </a:rPr>
              <a:t>Claims ratios by product differ significantly</a:t>
            </a:r>
            <a:endParaRPr lang="en-ZA" sz="3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101355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A0C95D5C-489E-4D51-92FD-34AC217F857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0" y="6278843"/>
            <a:ext cx="8928100" cy="579157"/>
          </a:xfrm>
          <a:prstGeom prst="rect">
            <a:avLst/>
          </a:prstGeom>
          <a:noFill/>
          <a:effectLst/>
        </p:spPr>
        <p:txBody>
          <a:bodyPr vert="horz" wrap="square" lIns="45719" rIns="45719" rtlCol="0" anchor="b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ZA" sz="1000" dirty="0">
                <a:latin typeface="Calibri"/>
                <a:cs typeface="Calibri" pitchFamily="34" charset="0"/>
              </a:rPr>
              <a:t>Source: </a:t>
            </a:r>
            <a:r>
              <a:rPr lang="en-ZA" sz="1000" dirty="0" err="1">
                <a:latin typeface="Calibri"/>
                <a:cs typeface="Calibri" pitchFamily="34" charset="0"/>
              </a:rPr>
              <a:t>MiN</a:t>
            </a:r>
            <a:r>
              <a:rPr lang="en-ZA" sz="1000" dirty="0">
                <a:latin typeface="Calibri"/>
                <a:cs typeface="Calibri" pitchFamily="34" charset="0"/>
              </a:rPr>
              <a:t> Landscape of Microinsurance 2020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4CAB230-E199-4CA1-890F-88EF7BF49BD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87755" y="1016000"/>
            <a:ext cx="5368491" cy="5221289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3C53438-07EE-4385-B3C6-E4C74DCFC8AD}"/>
              </a:ext>
            </a:extLst>
          </p:cNvPr>
          <p:cNvSpPr txBox="1">
            <a:spLocks/>
          </p:cNvSpPr>
          <p:nvPr/>
        </p:nvSpPr>
        <p:spPr>
          <a:xfrm>
            <a:off x="550689" y="216381"/>
            <a:ext cx="8377411" cy="49244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600" b="1" i="0" kern="1200" baseline="0">
                <a:solidFill>
                  <a:srgbClr val="4B7396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 algn="r"/>
            <a:r>
              <a:rPr lang="en-GB" sz="3200" dirty="0">
                <a:solidFill>
                  <a:schemeClr val="bg1"/>
                </a:solidFill>
              </a:rPr>
              <a:t>Traditional distribution remains key  </a:t>
            </a:r>
            <a:endParaRPr lang="en-ZA" sz="3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903936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A0C95D5C-489E-4D51-92FD-34AC217F857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0" y="6278843"/>
            <a:ext cx="8928100" cy="579157"/>
          </a:xfrm>
          <a:prstGeom prst="rect">
            <a:avLst/>
          </a:prstGeom>
          <a:noFill/>
          <a:effectLst/>
        </p:spPr>
        <p:txBody>
          <a:bodyPr vert="horz" wrap="square" lIns="45719" rIns="45719" rtlCol="0" anchor="b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ZA" sz="1000" dirty="0">
                <a:latin typeface="Calibri"/>
                <a:cs typeface="Calibri" pitchFamily="34" charset="0"/>
              </a:rPr>
              <a:t>Source: </a:t>
            </a:r>
            <a:r>
              <a:rPr lang="en-ZA" sz="1000" dirty="0" err="1">
                <a:latin typeface="Calibri"/>
                <a:cs typeface="Calibri" pitchFamily="34" charset="0"/>
              </a:rPr>
              <a:t>MiN</a:t>
            </a:r>
            <a:r>
              <a:rPr lang="en-ZA" sz="1000" dirty="0">
                <a:latin typeface="Calibri"/>
                <a:cs typeface="Calibri" pitchFamily="34" charset="0"/>
              </a:rPr>
              <a:t> Landscape of Microinsurance 2020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DA7A819-F1C5-464B-B16F-37D8285D662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5900" y="1468055"/>
            <a:ext cx="8712200" cy="3921891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99BB73DB-5B07-4874-8E62-5B1DF3D87BDC}"/>
              </a:ext>
            </a:extLst>
          </p:cNvPr>
          <p:cNvSpPr txBox="1">
            <a:spLocks/>
          </p:cNvSpPr>
          <p:nvPr/>
        </p:nvSpPr>
        <p:spPr>
          <a:xfrm>
            <a:off x="550689" y="216381"/>
            <a:ext cx="8377411" cy="49244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600" b="1" i="0" kern="1200" baseline="0">
                <a:solidFill>
                  <a:srgbClr val="4B7396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 algn="r"/>
            <a:r>
              <a:rPr lang="en-GB" sz="3200" dirty="0">
                <a:solidFill>
                  <a:schemeClr val="bg1"/>
                </a:solidFill>
              </a:rPr>
              <a:t>Gender is not widely enough measured</a:t>
            </a:r>
            <a:endParaRPr lang="en-ZA" sz="3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573410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A person riding a bike down a dirt road&#10;&#10;Description automatically generated">
            <a:extLst>
              <a:ext uri="{FF2B5EF4-FFF2-40B4-BE49-F238E27FC236}">
                <a16:creationId xmlns:a16="http://schemas.microsoft.com/office/drawing/2014/main" id="{4D571A5E-6FFF-4DB4-833E-33A06B39274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716768" y="0"/>
            <a:ext cx="9982199" cy="5597495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4AA93FF8-7B7C-4BEC-9097-36095445E1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" y="5850546"/>
            <a:ext cx="9143997" cy="707886"/>
          </a:xfrm>
        </p:spPr>
        <p:txBody>
          <a:bodyPr anchor="ctr"/>
          <a:lstStyle/>
          <a:p>
            <a:r>
              <a:rPr lang="en-US" sz="4000" dirty="0">
                <a:solidFill>
                  <a:schemeClr val="accent4"/>
                </a:solidFill>
              </a:rPr>
              <a:t>Where to from here?</a:t>
            </a:r>
          </a:p>
        </p:txBody>
      </p:sp>
    </p:spTree>
    <p:extLst>
      <p:ext uri="{BB962C8B-B14F-4D97-AF65-F5344CB8AC3E}">
        <p14:creationId xmlns:p14="http://schemas.microsoft.com/office/powerpoint/2010/main" val="1019479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1F4D9644-8EDA-4249-97BD-1A3D63247236}"/>
              </a:ext>
            </a:extLst>
          </p:cNvPr>
          <p:cNvSpPr txBox="1">
            <a:spLocks/>
          </p:cNvSpPr>
          <p:nvPr/>
        </p:nvSpPr>
        <p:spPr>
          <a:xfrm>
            <a:off x="550689" y="216381"/>
            <a:ext cx="8377411" cy="49244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600" b="1" i="0" kern="1200" baseline="0">
                <a:solidFill>
                  <a:srgbClr val="4B7396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 algn="r"/>
            <a:r>
              <a:rPr lang="en-GB" sz="3200" dirty="0" err="1">
                <a:solidFill>
                  <a:schemeClr val="bg1"/>
                </a:solidFill>
              </a:rPr>
              <a:t>Microtakaful</a:t>
            </a:r>
            <a:r>
              <a:rPr lang="en-GB" sz="3200" dirty="0">
                <a:solidFill>
                  <a:schemeClr val="bg1"/>
                </a:solidFill>
              </a:rPr>
              <a:t> has growth potential…</a:t>
            </a:r>
            <a:endParaRPr lang="en-ZA" sz="3200" dirty="0">
              <a:solidFill>
                <a:schemeClr val="bg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DFE8BF7-BA99-418E-8471-7EC4EA05CCDE}"/>
              </a:ext>
            </a:extLst>
          </p:cNvPr>
          <p:cNvSpPr txBox="1">
            <a:spLocks/>
          </p:cNvSpPr>
          <p:nvPr/>
        </p:nvSpPr>
        <p:spPr>
          <a:xfrm>
            <a:off x="988142" y="1520825"/>
            <a:ext cx="7167716" cy="372960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600" b="1" i="0" kern="1200" baseline="0">
                <a:solidFill>
                  <a:srgbClr val="4B7396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 marL="285750" indent="-28575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en-US" sz="1800" dirty="0">
                <a:ln>
                  <a:noFill/>
                </a:ln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+mj-lt"/>
                <a:ea typeface="Arial Unicode MS"/>
                <a:cs typeface="Arial Unicode MS"/>
              </a:rPr>
              <a:t>Although fragmented, the global Takaful market grew at a CAGR of 18% between 2007 and 2012 and is expected to grow from USD24bn in 2019 to over USD 40bn by 2023.</a:t>
            </a:r>
          </a:p>
          <a:p>
            <a:pPr marL="285750" indent="-28575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chemeClr val="tx1"/>
                </a:solidFill>
                <a:latin typeface="+mj-lt"/>
              </a:rPr>
              <a:t>The global Muslim population is forecasted to increase to 2.2 billion by 2030, at which point an estimated 79 countries will have a million or more Muslims inhabitants. </a:t>
            </a:r>
          </a:p>
          <a:p>
            <a:pPr marL="285750" indent="-28575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en-US" sz="1800" dirty="0">
                <a:ln>
                  <a:noFill/>
                </a:ln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+mj-lt"/>
                <a:ea typeface="Arial Unicode MS"/>
                <a:cs typeface="Arial Unicode MS"/>
              </a:rPr>
              <a:t>Most of these are low- or middle-income countries and have low insurance penetration rates, suggesting an opportunity for growth. </a:t>
            </a:r>
          </a:p>
          <a:p>
            <a:pPr marL="285750" indent="-28575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en-GB" sz="1800" dirty="0" err="1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+mj-lt"/>
                <a:ea typeface="Arial Unicode MS"/>
                <a:cs typeface="Arial Unicode MS"/>
              </a:rPr>
              <a:t>M</a:t>
            </a:r>
            <a:r>
              <a:rPr lang="en-GB" sz="1800" dirty="0" err="1">
                <a:ln>
                  <a:noFill/>
                </a:ln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+mj-lt"/>
                <a:ea typeface="Arial Unicode MS"/>
                <a:cs typeface="Arial Unicode MS"/>
              </a:rPr>
              <a:t>icrotakaful’s</a:t>
            </a:r>
            <a:r>
              <a:rPr lang="en-GB" sz="1800" dirty="0">
                <a:ln>
                  <a:noFill/>
                </a:ln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+mj-lt"/>
                <a:ea typeface="Arial Unicode MS"/>
                <a:cs typeface="Arial Unicode MS"/>
              </a:rPr>
              <a:t> poverty-reduction role could support (and thus form part of) government/ public social protection schemes.</a:t>
            </a:r>
            <a:endParaRPr lang="en-GB" sz="18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165E422-BBD4-4595-8A0D-E10D9D8ABED2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0" y="5842001"/>
            <a:ext cx="9144000" cy="1016000"/>
          </a:xfrm>
          <a:prstGeom prst="rect">
            <a:avLst/>
          </a:prstGeom>
          <a:solidFill>
            <a:schemeClr val="bg1"/>
          </a:solidFill>
          <a:effectLst/>
        </p:spPr>
        <p:txBody>
          <a:bodyPr vert="horz" wrap="square" lIns="45719" rIns="45719" rtlCol="0" anchor="b" anchorCtr="0">
            <a:noAutofit/>
          </a:bodyPr>
          <a:lstStyle/>
          <a:p>
            <a:r>
              <a:rPr lang="en-ZA" sz="1000" dirty="0">
                <a:latin typeface="Calibri"/>
                <a:cs typeface="Calibri" pitchFamily="34" charset="0"/>
              </a:rPr>
              <a:t>Sources: </a:t>
            </a:r>
            <a:r>
              <a:rPr lang="en-US" sz="100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Helvetica Neue"/>
                <a:cs typeface="Helvetica Neue"/>
              </a:rPr>
              <a:t>Pew Research Center’s forum on Religion and Public Life - The Future of the Global Muslim Population - January 2011</a:t>
            </a:r>
            <a:r>
              <a:rPr lang="en-ZA" sz="1000" dirty="0">
                <a:ln>
                  <a:noFill/>
                </a:ln>
                <a:solidFill>
                  <a:srgbClr val="000000"/>
                </a:solidFill>
                <a:effectLst/>
                <a:latin typeface="Calibri"/>
                <a:ea typeface="Helvetica Neue"/>
                <a:cs typeface="Calibri" pitchFamily="34" charset="0"/>
              </a:rPr>
              <a:t>; </a:t>
            </a:r>
            <a:r>
              <a:rPr lang="en-US" sz="100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Helvetica Neue"/>
                <a:cs typeface="Helvetica Neue"/>
              </a:rPr>
              <a:t>Shaikh, </a:t>
            </a:r>
            <a:r>
              <a:rPr lang="en-US" sz="1000" dirty="0" err="1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Helvetica Neue"/>
                <a:cs typeface="Helvetica Neue"/>
              </a:rPr>
              <a:t>S.A.,Ismail</a:t>
            </a:r>
            <a:r>
              <a:rPr lang="en-US" sz="100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Helvetica Neue"/>
                <a:cs typeface="Helvetica Neue"/>
              </a:rPr>
              <a:t>, A. G., &amp; </a:t>
            </a:r>
            <a:r>
              <a:rPr lang="en-US" sz="1000" dirty="0" err="1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Helvetica Neue"/>
                <a:cs typeface="Helvetica Neue"/>
              </a:rPr>
              <a:t>Mohd</a:t>
            </a:r>
            <a:r>
              <a:rPr lang="en-US" sz="100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Helvetica Neue"/>
                <a:cs typeface="Helvetica Neue"/>
              </a:rPr>
              <a:t> </a:t>
            </a:r>
            <a:r>
              <a:rPr lang="en-US" sz="1000" dirty="0" err="1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Helvetica Neue"/>
                <a:cs typeface="Helvetica Neue"/>
              </a:rPr>
              <a:t>Shafiai</a:t>
            </a:r>
            <a:r>
              <a:rPr lang="en-US" sz="100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Helvetica Neue"/>
                <a:cs typeface="Helvetica Neue"/>
              </a:rPr>
              <a:t>, M. H. (2017). Application of waqf for social and development finance. ISRA International Journal of Islamic Finance, 9(1), 5-14</a:t>
            </a:r>
            <a:r>
              <a:rPr lang="en-ZA" sz="1000" dirty="0">
                <a:solidFill>
                  <a:srgbClr val="000000"/>
                </a:solidFill>
                <a:latin typeface="Helvetica Neue"/>
                <a:ea typeface="Helvetica Neue"/>
                <a:cs typeface="Helvetica Neue"/>
              </a:rPr>
              <a:t>; </a:t>
            </a:r>
            <a:r>
              <a:rPr lang="en-US" sz="100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Helvetica Neue"/>
                <a:cs typeface="Helvetica Neue"/>
              </a:rPr>
              <a:t>Bank Negara Malaysia (2016). Discussion paper on micro-insurance and </a:t>
            </a:r>
            <a:r>
              <a:rPr lang="en-US" sz="1000" dirty="0" err="1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Helvetica Neue"/>
                <a:cs typeface="Helvetica Neue"/>
              </a:rPr>
              <a:t>microtakaful</a:t>
            </a:r>
            <a:r>
              <a:rPr lang="en-US" sz="100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Helvetica Neue"/>
                <a:cs typeface="Helvetica Neue"/>
              </a:rPr>
              <a:t>. Kuala Lumpur - </a:t>
            </a:r>
            <a:r>
              <a:rPr lang="de-DE" sz="100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Helvetica Neue"/>
                <a:cs typeface="Helvetica Neue"/>
              </a:rPr>
              <a:t>BNM </a:t>
            </a:r>
            <a:r>
              <a:rPr lang="en-US" sz="1000" u="sng" dirty="0">
                <a:ln>
                  <a:noFill/>
                </a:ln>
                <a:solidFill>
                  <a:srgbClr val="0000FF"/>
                </a:solidFill>
                <a:effectLst/>
                <a:uFill>
                  <a:solidFill>
                    <a:srgbClr val="0000FF"/>
                  </a:solidFill>
                </a:u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4"/>
              </a:rPr>
              <a:t>https://www.bnm.gov.my/-/discussion-paper-on-microinsurance-and-microtakaful</a:t>
            </a:r>
            <a:r>
              <a:rPr lang="en-US" sz="1000" u="sng" dirty="0">
                <a:ln>
                  <a:noFill/>
                </a:ln>
                <a:solidFill>
                  <a:srgbClr val="0000FF"/>
                </a:solidFill>
                <a:effectLst/>
                <a:uFill>
                  <a:solidFill>
                    <a:srgbClr val="0000FF"/>
                  </a:solidFill>
                </a:u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; </a:t>
            </a:r>
            <a:r>
              <a:rPr lang="en-ZA" sz="100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Helvetica Neue"/>
                <a:cs typeface="Helvetica Neue"/>
              </a:rPr>
              <a:t>M</a:t>
            </a:r>
            <a:r>
              <a:rPr lang="en-US" sz="1000" dirty="0" err="1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Helvetica Neue"/>
                <a:cs typeface="Helvetica Neue"/>
              </a:rPr>
              <a:t>icrotakaful</a:t>
            </a:r>
            <a:r>
              <a:rPr lang="en-US" sz="100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Helvetica Neue"/>
                <a:cs typeface="Helvetica Neue"/>
              </a:rPr>
              <a:t>: Field study evidence and conceptual issues Groningen conference paper- </a:t>
            </a:r>
            <a:r>
              <a:rPr lang="en-US" sz="1000" u="sng" dirty="0">
                <a:ln>
                  <a:noFill/>
                </a:ln>
                <a:solidFill>
                  <a:srgbClr val="0000FF"/>
                </a:solidFill>
                <a:effectLst/>
                <a:uFill>
                  <a:solidFill>
                    <a:srgbClr val="0000FF"/>
                  </a:solidFill>
                </a:u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5"/>
              </a:rPr>
              <a:t>https://www.rug.nl/research/globalisation-studies-groningen/research/conferencesandseminars/conferences/eumicrofinconf2011/papers/13.erlbeck-altuntas-berrystolzle.pdf</a:t>
            </a:r>
            <a:endParaRPr lang="en-ZA" sz="1000" dirty="0">
              <a:ln>
                <a:noFill/>
              </a:ln>
              <a:solidFill>
                <a:srgbClr val="000000"/>
              </a:solidFill>
              <a:effectLst/>
              <a:latin typeface="Helvetica Neue"/>
              <a:ea typeface="Helvetica Neue"/>
              <a:cs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53986760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" name="Picture Placeholder 4" descr="A picture containing water, outdoor, sky, watercraft&#10;&#10;Description automatically generated">
            <a:extLst>
              <a:ext uri="{FF2B5EF4-FFF2-40B4-BE49-F238E27FC236}">
                <a16:creationId xmlns:a16="http://schemas.microsoft.com/office/drawing/2014/main" id="{4FE97002-C0A2-414B-83DF-13D1FF804EC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9143999" cy="6858000"/>
          </a:xfrm>
          <a:prstGeom prst="rect">
            <a:avLst/>
          </a:prstGeom>
        </p:spPr>
      </p:pic>
      <p:sp>
        <p:nvSpPr>
          <p:cNvPr id="103" name="Rectangle 102">
            <a:extLst>
              <a:ext uri="{FF2B5EF4-FFF2-40B4-BE49-F238E27FC236}">
                <a16:creationId xmlns:a16="http://schemas.microsoft.com/office/drawing/2014/main" id="{81EBE839-9F67-4750-BCC2-E042C1D8DA92}"/>
              </a:ext>
            </a:extLst>
          </p:cNvPr>
          <p:cNvSpPr/>
          <p:nvPr/>
        </p:nvSpPr>
        <p:spPr>
          <a:xfrm>
            <a:off x="0" y="0"/>
            <a:ext cx="4572000" cy="6858000"/>
          </a:xfrm>
          <a:prstGeom prst="rect">
            <a:avLst/>
          </a:prstGeom>
          <a:solidFill>
            <a:schemeClr val="accent4">
              <a:lumMod val="20000"/>
              <a:lumOff val="80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C91F9B9A-ACDF-4AFD-BCB8-842833A17332}"/>
              </a:ext>
            </a:extLst>
          </p:cNvPr>
          <p:cNvSpPr txBox="1">
            <a:spLocks/>
          </p:cNvSpPr>
          <p:nvPr/>
        </p:nvSpPr>
        <p:spPr>
          <a:xfrm>
            <a:off x="550689" y="216381"/>
            <a:ext cx="8377411" cy="49244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600" b="1" i="0" kern="1200" baseline="0">
                <a:solidFill>
                  <a:srgbClr val="4B7396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 algn="r"/>
            <a:r>
              <a:rPr lang="en-GB" sz="3200" dirty="0">
                <a:solidFill>
                  <a:schemeClr val="tx1"/>
                </a:solidFill>
              </a:rPr>
              <a:t>…but it will not be easy…</a:t>
            </a:r>
            <a:endParaRPr lang="en-ZA" sz="3200" dirty="0">
              <a:solidFill>
                <a:schemeClr val="tx1"/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059023E-7147-4EE9-BD0F-E82F58E84882}"/>
              </a:ext>
            </a:extLst>
          </p:cNvPr>
          <p:cNvSpPr txBox="1">
            <a:spLocks/>
          </p:cNvSpPr>
          <p:nvPr/>
        </p:nvSpPr>
        <p:spPr>
          <a:xfrm>
            <a:off x="230648" y="1027711"/>
            <a:ext cx="4161965" cy="56323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600" b="1" i="0" kern="1200" baseline="0">
                <a:solidFill>
                  <a:srgbClr val="4B7396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800" dirty="0">
                <a:ln>
                  <a:noFill/>
                </a:ln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+mj-lt"/>
                <a:ea typeface="Arial Unicode MS"/>
                <a:cs typeface="Arial Unicode MS"/>
              </a:rPr>
              <a:t>Shariah-based products are often limited (in type/ design). 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800" dirty="0">
                <a:ln>
                  <a:noFill/>
                </a:ln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+mj-lt"/>
                <a:ea typeface="Arial Unicode MS"/>
                <a:cs typeface="Arial Unicode MS"/>
              </a:rPr>
              <a:t>In many countries, regulatory inclusion of takaful products is still required.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+mj-lt"/>
                <a:ea typeface="Arial Unicode MS"/>
                <a:cs typeface="Arial Unicode MS"/>
              </a:rPr>
              <a:t>M</a:t>
            </a:r>
            <a:r>
              <a:rPr lang="en-US" sz="1800" dirty="0">
                <a:ln>
                  <a:noFill/>
                </a:ln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+mj-lt"/>
                <a:ea typeface="Arial Unicode MS"/>
                <a:cs typeface="Arial Unicode MS"/>
              </a:rPr>
              <a:t>ore region-specific product designs are needed to address needs particular to a region (vs. translating products from elsewhere).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+mj-lt"/>
                <a:ea typeface="Arial Unicode MS"/>
                <a:cs typeface="Arial Unicode MS"/>
              </a:rPr>
              <a:t>The </a:t>
            </a:r>
            <a:r>
              <a:rPr lang="en-US" sz="1800" dirty="0" err="1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+mj-lt"/>
                <a:ea typeface="Arial Unicode MS"/>
                <a:cs typeface="Arial Unicode MS"/>
              </a:rPr>
              <a:t>microtakaful</a:t>
            </a:r>
            <a:r>
              <a:rPr lang="en-US" sz="1800" dirty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+mj-lt"/>
                <a:ea typeface="Arial Unicode MS"/>
                <a:cs typeface="Arial Unicode MS"/>
              </a:rPr>
              <a:t> industry lags microinsurance and is contingent on (and overshadowed by) the takaful industry</a:t>
            </a:r>
            <a:endParaRPr lang="en-US" sz="1800" dirty="0">
              <a:ln>
                <a:noFill/>
              </a:ln>
              <a:solidFill>
                <a:srgbClr val="000000"/>
              </a:solidFill>
              <a:effectLst/>
              <a:uFill>
                <a:solidFill>
                  <a:srgbClr val="000000"/>
                </a:solidFill>
              </a:uFill>
              <a:latin typeface="+mj-lt"/>
              <a:ea typeface="Arial Unicode MS"/>
              <a:cs typeface="Arial Unicode MS"/>
            </a:endParaRP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800" dirty="0">
                <a:ln>
                  <a:noFill/>
                </a:ln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+mj-lt"/>
                <a:ea typeface="Arial Unicode MS"/>
                <a:cs typeface="Arial Unicode MS"/>
              </a:rPr>
              <a:t>There is limited </a:t>
            </a:r>
            <a:r>
              <a:rPr lang="en-GB" sz="1800" dirty="0" err="1">
                <a:ln>
                  <a:noFill/>
                </a:ln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+mj-lt"/>
                <a:ea typeface="Arial Unicode MS"/>
                <a:cs typeface="Arial Unicode MS"/>
              </a:rPr>
              <a:t>microtakaful</a:t>
            </a:r>
            <a:r>
              <a:rPr lang="en-GB" sz="1800" dirty="0">
                <a:ln>
                  <a:noFill/>
                </a:ln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+mj-lt"/>
                <a:ea typeface="Arial Unicode MS"/>
                <a:cs typeface="Arial Unicode MS"/>
              </a:rPr>
              <a:t> data available, especially relating to financial inclusion, which hampers growth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en-US" sz="1800" dirty="0">
              <a:ln>
                <a:noFill/>
              </a:ln>
              <a:solidFill>
                <a:srgbClr val="000000"/>
              </a:solidFill>
              <a:effectLst/>
              <a:uFill>
                <a:solidFill>
                  <a:srgbClr val="000000"/>
                </a:solidFill>
              </a:uFill>
              <a:latin typeface="+mj-lt"/>
              <a:ea typeface="Arial Unicode MS"/>
              <a:cs typeface="Arial Unicode MS"/>
            </a:endParaRP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es-PE" sz="1800" dirty="0">
              <a:latin typeface="+mj-l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A946802-587E-4218-89A6-5B828857CED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0" y="5842001"/>
            <a:ext cx="9144000" cy="1016000"/>
          </a:xfrm>
          <a:prstGeom prst="rect">
            <a:avLst/>
          </a:prstGeom>
          <a:noFill/>
          <a:effectLst/>
        </p:spPr>
        <p:txBody>
          <a:bodyPr vert="horz" wrap="square" lIns="45719" rIns="45719" rtlCol="0" anchor="b" anchorCtr="0">
            <a:noAutofit/>
          </a:bodyPr>
          <a:lstStyle/>
          <a:p>
            <a:r>
              <a:rPr lang="en-ZA" sz="1000" dirty="0">
                <a:latin typeface="Calibri"/>
                <a:cs typeface="Calibri" pitchFamily="34" charset="0"/>
              </a:rPr>
              <a:t>Sources: </a:t>
            </a:r>
            <a:r>
              <a:rPr lang="en-US" sz="100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Helvetica Neue"/>
                <a:cs typeface="Helvetica Neue"/>
              </a:rPr>
              <a:t>Pew Research Center’s forum on Religion and Public Life - The Future of the Global Muslim Population - January 2011</a:t>
            </a:r>
            <a:r>
              <a:rPr lang="en-ZA" sz="1000" dirty="0">
                <a:ln>
                  <a:noFill/>
                </a:ln>
                <a:solidFill>
                  <a:srgbClr val="000000"/>
                </a:solidFill>
                <a:effectLst/>
                <a:latin typeface="Calibri"/>
                <a:ea typeface="Helvetica Neue"/>
                <a:cs typeface="Calibri" pitchFamily="34" charset="0"/>
              </a:rPr>
              <a:t>; </a:t>
            </a:r>
            <a:r>
              <a:rPr lang="en-US" sz="100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Helvetica Neue"/>
                <a:cs typeface="Helvetica Neue"/>
              </a:rPr>
              <a:t>Shaikh, </a:t>
            </a:r>
            <a:r>
              <a:rPr lang="en-US" sz="1000" dirty="0" err="1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Helvetica Neue"/>
                <a:cs typeface="Helvetica Neue"/>
              </a:rPr>
              <a:t>S.A.,Ismail</a:t>
            </a:r>
            <a:r>
              <a:rPr lang="en-US" sz="100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Helvetica Neue"/>
                <a:cs typeface="Helvetica Neue"/>
              </a:rPr>
              <a:t>, A. G., &amp; </a:t>
            </a:r>
            <a:r>
              <a:rPr lang="en-US" sz="1000" dirty="0" err="1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Helvetica Neue"/>
                <a:cs typeface="Helvetica Neue"/>
              </a:rPr>
              <a:t>Mohd</a:t>
            </a:r>
            <a:r>
              <a:rPr lang="en-US" sz="100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Helvetica Neue"/>
                <a:cs typeface="Helvetica Neue"/>
              </a:rPr>
              <a:t> </a:t>
            </a:r>
            <a:r>
              <a:rPr lang="en-US" sz="1000" dirty="0" err="1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Helvetica Neue"/>
                <a:cs typeface="Helvetica Neue"/>
              </a:rPr>
              <a:t>Shafiai</a:t>
            </a:r>
            <a:r>
              <a:rPr lang="en-US" sz="100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Helvetica Neue"/>
                <a:cs typeface="Helvetica Neue"/>
              </a:rPr>
              <a:t>, M. H. (2017). Application of waqf for social and development finance. ISRA International Journal of Islamic Finance, 9(1), 5-14</a:t>
            </a:r>
            <a:r>
              <a:rPr lang="en-ZA" sz="1000" dirty="0">
                <a:solidFill>
                  <a:srgbClr val="000000"/>
                </a:solidFill>
                <a:latin typeface="Helvetica Neue"/>
                <a:ea typeface="Helvetica Neue"/>
                <a:cs typeface="Helvetica Neue"/>
              </a:rPr>
              <a:t>; </a:t>
            </a:r>
            <a:r>
              <a:rPr lang="en-US" sz="100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Helvetica Neue"/>
                <a:cs typeface="Helvetica Neue"/>
              </a:rPr>
              <a:t>Bank Negara Malaysia (2016). Discussion paper on micro-insurance and </a:t>
            </a:r>
            <a:r>
              <a:rPr lang="en-US" sz="1000" dirty="0" err="1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Helvetica Neue"/>
                <a:cs typeface="Helvetica Neue"/>
              </a:rPr>
              <a:t>microtakaful</a:t>
            </a:r>
            <a:r>
              <a:rPr lang="en-US" sz="100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Helvetica Neue"/>
                <a:cs typeface="Helvetica Neue"/>
              </a:rPr>
              <a:t>. Kuala Lumpur - </a:t>
            </a:r>
            <a:r>
              <a:rPr lang="de-DE" sz="100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Helvetica Neue"/>
                <a:cs typeface="Helvetica Neue"/>
              </a:rPr>
              <a:t>BNM </a:t>
            </a:r>
            <a:r>
              <a:rPr lang="en-US" sz="1000" u="sng" dirty="0">
                <a:ln>
                  <a:noFill/>
                </a:ln>
                <a:solidFill>
                  <a:srgbClr val="0000FF"/>
                </a:solidFill>
                <a:effectLst/>
                <a:uFill>
                  <a:solidFill>
                    <a:srgbClr val="0000FF"/>
                  </a:solidFill>
                </a:u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5"/>
              </a:rPr>
              <a:t>https://www.bnm.gov.my/-/discussion-paper-on-microinsurance-and-microtakaful</a:t>
            </a:r>
            <a:r>
              <a:rPr lang="en-US" sz="1000" u="sng" dirty="0">
                <a:ln>
                  <a:noFill/>
                </a:ln>
                <a:solidFill>
                  <a:srgbClr val="0000FF"/>
                </a:solidFill>
                <a:effectLst/>
                <a:uFill>
                  <a:solidFill>
                    <a:srgbClr val="0000FF"/>
                  </a:solidFill>
                </a:u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; </a:t>
            </a:r>
            <a:r>
              <a:rPr lang="en-ZA" sz="100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Helvetica Neue"/>
                <a:cs typeface="Helvetica Neue"/>
              </a:rPr>
              <a:t>M</a:t>
            </a:r>
            <a:r>
              <a:rPr lang="en-US" sz="1000" dirty="0" err="1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Helvetica Neue"/>
                <a:cs typeface="Helvetica Neue"/>
              </a:rPr>
              <a:t>icrotakaful</a:t>
            </a:r>
            <a:r>
              <a:rPr lang="en-US" sz="100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Helvetica Neue"/>
                <a:cs typeface="Helvetica Neue"/>
              </a:rPr>
              <a:t>: Field study evidence and conceptual issues Groningen conference paper- </a:t>
            </a:r>
            <a:r>
              <a:rPr lang="en-US" sz="1000" u="sng" dirty="0">
                <a:ln>
                  <a:noFill/>
                </a:ln>
                <a:solidFill>
                  <a:srgbClr val="0000FF"/>
                </a:solidFill>
                <a:effectLst/>
                <a:uFill>
                  <a:solidFill>
                    <a:srgbClr val="0000FF"/>
                  </a:solidFill>
                </a:u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6"/>
              </a:rPr>
              <a:t>https://www.rug.nl/research/globalisation-studies-groningen/research/conferencesandseminars/conferences/eumicrofinconf2011/papers/13.erlbeck-altuntas-berrystolzle.pdf</a:t>
            </a:r>
            <a:endParaRPr lang="en-ZA" sz="1000" dirty="0">
              <a:ln>
                <a:noFill/>
              </a:ln>
              <a:solidFill>
                <a:srgbClr val="000000"/>
              </a:solidFill>
              <a:effectLst/>
              <a:latin typeface="Helvetica Neue"/>
              <a:ea typeface="Helvetica Neue"/>
              <a:cs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376758100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1F4D9644-8EDA-4249-97BD-1A3D63247236}"/>
              </a:ext>
            </a:extLst>
          </p:cNvPr>
          <p:cNvSpPr txBox="1">
            <a:spLocks/>
          </p:cNvSpPr>
          <p:nvPr/>
        </p:nvSpPr>
        <p:spPr>
          <a:xfrm>
            <a:off x="550689" y="216381"/>
            <a:ext cx="8377411" cy="49244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600" b="1" i="0" kern="1200" baseline="0">
                <a:solidFill>
                  <a:srgbClr val="4B7396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 algn="r"/>
            <a:r>
              <a:rPr lang="en-GB" sz="3200" dirty="0">
                <a:solidFill>
                  <a:schemeClr val="bg1"/>
                </a:solidFill>
              </a:rPr>
              <a:t>…and many challenges remain</a:t>
            </a:r>
            <a:endParaRPr lang="en-ZA" sz="3200" dirty="0">
              <a:solidFill>
                <a:schemeClr val="bg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DFE8BF7-BA99-418E-8471-7EC4EA05CCDE}"/>
              </a:ext>
            </a:extLst>
          </p:cNvPr>
          <p:cNvSpPr txBox="1">
            <a:spLocks/>
          </p:cNvSpPr>
          <p:nvPr/>
        </p:nvSpPr>
        <p:spPr>
          <a:xfrm>
            <a:off x="971550" y="1811215"/>
            <a:ext cx="7200900" cy="403078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600" b="1" i="0" kern="1200" baseline="0">
                <a:solidFill>
                  <a:srgbClr val="4B7396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 marL="285750" indent="-28575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chemeClr val="tx1"/>
                </a:solidFill>
              </a:rPr>
              <a:t>Product affordability</a:t>
            </a:r>
          </a:p>
          <a:p>
            <a:pPr marL="285750" indent="-28575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chemeClr val="tx1"/>
                </a:solidFill>
              </a:rPr>
              <a:t>Skills availability</a:t>
            </a:r>
          </a:p>
          <a:p>
            <a:pPr marL="285750" indent="-28575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chemeClr val="tx1"/>
                </a:solidFill>
              </a:rPr>
              <a:t>Building the right governance and regulatory/ supervisory environments</a:t>
            </a:r>
          </a:p>
          <a:p>
            <a:pPr marL="285750" indent="-28575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chemeClr val="tx1"/>
                </a:solidFill>
              </a:rPr>
              <a:t>Reaching scale</a:t>
            </a:r>
          </a:p>
          <a:p>
            <a:pPr marL="285750" indent="-28575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chemeClr val="tx1"/>
                </a:solidFill>
              </a:rPr>
              <a:t>Reducing the costs of distribution</a:t>
            </a:r>
          </a:p>
          <a:p>
            <a:pPr marL="285750" indent="-28575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chemeClr val="tx1"/>
                </a:solidFill>
              </a:rPr>
              <a:t>Product design</a:t>
            </a:r>
          </a:p>
          <a:p>
            <a:pPr marL="285750" indent="-28575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chemeClr val="tx1"/>
                </a:solidFill>
              </a:rPr>
              <a:t>Persistency/ renewals</a:t>
            </a:r>
          </a:p>
          <a:p>
            <a:pPr marL="285750" indent="-28575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chemeClr val="tx1"/>
                </a:solidFill>
              </a:rPr>
              <a:t>Education</a:t>
            </a:r>
          </a:p>
          <a:p>
            <a:pPr marL="285750" indent="-28575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chemeClr val="tx1"/>
                </a:solidFill>
              </a:rPr>
              <a:t>…</a:t>
            </a:r>
          </a:p>
          <a:p>
            <a:pPr>
              <a:spcBef>
                <a:spcPts val="1800"/>
              </a:spcBef>
            </a:pPr>
            <a:endParaRPr lang="en-GB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534970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4A392EB4-7137-4573-9C48-36950D1002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5849" y="1050908"/>
            <a:ext cx="7744914" cy="2092881"/>
          </a:xfrm>
        </p:spPr>
        <p:txBody>
          <a:bodyPr/>
          <a:lstStyle/>
          <a:p>
            <a:r>
              <a:rPr lang="en-GB" dirty="0"/>
              <a:t>Thank you</a:t>
            </a:r>
            <a:br>
              <a:rPr lang="en-GB" dirty="0"/>
            </a:br>
            <a:br>
              <a:rPr lang="en-GB" dirty="0"/>
            </a:br>
            <a:r>
              <a:rPr lang="en-GB" sz="2800" dirty="0">
                <a:solidFill>
                  <a:srgbClr val="FFFF00"/>
                </a:solidFill>
              </a:rPr>
              <a:t>mrobertson@microinsurancenetwork.org</a:t>
            </a:r>
            <a:br>
              <a:rPr lang="en-ZA" sz="3600" dirty="0">
                <a:solidFill>
                  <a:srgbClr val="FFFF00"/>
                </a:solidFill>
              </a:rPr>
            </a:br>
            <a:endParaRPr lang="en-ZA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29273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ounded Rectangle 4">
            <a:extLst>
              <a:ext uri="{FF2B5EF4-FFF2-40B4-BE49-F238E27FC236}">
                <a16:creationId xmlns:a16="http://schemas.microsoft.com/office/drawing/2014/main" id="{9163A817-EC6A-4AD3-8126-CCC6D04A1B4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503238" y="5277571"/>
            <a:ext cx="8137526" cy="566610"/>
          </a:xfrm>
          <a:prstGeom prst="roundRect">
            <a:avLst/>
          </a:prstGeom>
          <a:solidFill>
            <a:schemeClr val="bg2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spcBef>
                <a:spcPts val="400"/>
              </a:spcBef>
            </a:pPr>
            <a:r>
              <a:rPr lang="en-US" b="1" u="sng" dirty="0">
                <a:solidFill>
                  <a:schemeClr val="tx1"/>
                </a:solidFill>
                <a:latin typeface="+mj-lt"/>
                <a:cs typeface="Arial" pitchFamily="34" charset="0"/>
              </a:rPr>
              <a:t>Ultimate outcome</a:t>
            </a:r>
            <a:r>
              <a:rPr lang="en-US" b="1" dirty="0">
                <a:solidFill>
                  <a:schemeClr val="tx1"/>
                </a:solidFill>
                <a:latin typeface="+mj-lt"/>
                <a:cs typeface="Arial" pitchFamily="34" charset="0"/>
              </a:rPr>
              <a:t>: </a:t>
            </a:r>
            <a:r>
              <a:rPr lang="en-GB" b="1" dirty="0">
                <a:solidFill>
                  <a:schemeClr val="tx1"/>
                </a:solidFill>
                <a:latin typeface="+mj-lt"/>
                <a:cs typeface="Arial" pitchFamily="34" charset="0"/>
              </a:rPr>
              <a:t>Improved resilience of low-income households &amp; MSMEs</a:t>
            </a:r>
          </a:p>
        </p:txBody>
      </p:sp>
      <p:sp>
        <p:nvSpPr>
          <p:cNvPr id="20" name="Isosceles Triangle 19">
            <a:extLst>
              <a:ext uri="{FF2B5EF4-FFF2-40B4-BE49-F238E27FC236}">
                <a16:creationId xmlns:a16="http://schemas.microsoft.com/office/drawing/2014/main" id="{ED14F393-20EE-4C56-B0FE-52AC01620054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 rot="10800000">
            <a:off x="1585612" y="4888071"/>
            <a:ext cx="5972776" cy="247326"/>
          </a:xfrm>
          <a:prstGeom prst="triangle">
            <a:avLst/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4990"/>
              </a:solidFill>
              <a:latin typeface="Calibri"/>
              <a:cs typeface="Calibri" pitchFamily="34" charset="0"/>
              <a:sym typeface="Calibri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F4D9644-8EDA-4249-97BD-1A3D63247236}"/>
              </a:ext>
            </a:extLst>
          </p:cNvPr>
          <p:cNvSpPr txBox="1">
            <a:spLocks/>
          </p:cNvSpPr>
          <p:nvPr/>
        </p:nvSpPr>
        <p:spPr>
          <a:xfrm>
            <a:off x="550689" y="216381"/>
            <a:ext cx="8377411" cy="49244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600" b="1" i="0" kern="1200" baseline="0">
                <a:solidFill>
                  <a:srgbClr val="4B7396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 algn="r"/>
            <a:r>
              <a:rPr lang="en-GB" sz="3200" dirty="0">
                <a:solidFill>
                  <a:schemeClr val="bg1"/>
                </a:solidFill>
              </a:rPr>
              <a:t>The work we do at the MiN</a:t>
            </a:r>
            <a:endParaRPr lang="en-ZA" sz="3200" dirty="0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72C38C6-43E3-4795-B8BD-248A6242D018}"/>
              </a:ext>
            </a:extLst>
          </p:cNvPr>
          <p:cNvSpPr/>
          <p:nvPr/>
        </p:nvSpPr>
        <p:spPr>
          <a:xfrm>
            <a:off x="973123" y="1529214"/>
            <a:ext cx="720614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ZA" sz="2400" dirty="0">
                <a:solidFill>
                  <a:schemeClr val="accent5"/>
                </a:solidFill>
              </a:rPr>
              <a:t>“Through membership and partnerships we bring together the entire inclusive insurance eco-system united by a common vision.”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BC2A10C-4E58-492B-B1F3-A6181C4176E4}"/>
              </a:ext>
            </a:extLst>
          </p:cNvPr>
          <p:cNvSpPr/>
          <p:nvPr/>
        </p:nvSpPr>
        <p:spPr>
          <a:xfrm>
            <a:off x="263874" y="3606018"/>
            <a:ext cx="4074308" cy="92333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ZA" dirty="0">
                <a:latin typeface="+mj-lt"/>
              </a:rPr>
              <a:t>A world where people of all income levels are more resilient and less vulnerable to daily and catastrophic risks.</a:t>
            </a:r>
            <a:endParaRPr lang="en-GB" dirty="0">
              <a:latin typeface="+mj-lt"/>
            </a:endParaRPr>
          </a:p>
        </p:txBody>
      </p:sp>
      <p:sp>
        <p:nvSpPr>
          <p:cNvPr id="21" name="Rounded Rectangle 4">
            <a:extLst>
              <a:ext uri="{FF2B5EF4-FFF2-40B4-BE49-F238E27FC236}">
                <a16:creationId xmlns:a16="http://schemas.microsoft.com/office/drawing/2014/main" id="{4A3AE47D-930B-4BC9-B393-6EAE42617B4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2672" y="3025211"/>
            <a:ext cx="4176713" cy="1655846"/>
          </a:xfrm>
          <a:prstGeom prst="roundRect">
            <a:avLst>
              <a:gd name="adj" fmla="val 8676"/>
            </a:avLst>
          </a:prstGeom>
          <a:noFill/>
          <a:ln w="38100">
            <a:solidFill>
              <a:schemeClr val="accent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t"/>
          <a:lstStyle/>
          <a:p>
            <a:pPr algn="ctr">
              <a:spcBef>
                <a:spcPts val="400"/>
              </a:spcBef>
            </a:pPr>
            <a:r>
              <a:rPr lang="en-ZA" sz="2400" b="1" dirty="0">
                <a:solidFill>
                  <a:schemeClr val="tx1"/>
                </a:solidFill>
                <a:latin typeface="+mj-lt"/>
                <a:cs typeface="Arial" pitchFamily="34" charset="0"/>
              </a:rPr>
              <a:t>VISION</a:t>
            </a:r>
            <a:endParaRPr lang="en-GB" sz="2400" b="1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717FFA8-4BEB-40A8-8A68-66A4C998A5A1}"/>
              </a:ext>
            </a:extLst>
          </p:cNvPr>
          <p:cNvSpPr/>
          <p:nvPr/>
        </p:nvSpPr>
        <p:spPr>
          <a:xfrm>
            <a:off x="4809158" y="3467520"/>
            <a:ext cx="4074308" cy="120032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ZA" dirty="0">
                <a:latin typeface="+mj-lt"/>
              </a:rPr>
              <a:t>To promote the development and delivery of effective risk management tools, including insurance services, for unserved people.</a:t>
            </a:r>
            <a:endParaRPr lang="en-GB" dirty="0">
              <a:latin typeface="+mj-lt"/>
            </a:endParaRPr>
          </a:p>
        </p:txBody>
      </p:sp>
      <p:sp>
        <p:nvSpPr>
          <p:cNvPr id="22" name="Rounded Rectangle 4">
            <a:extLst>
              <a:ext uri="{FF2B5EF4-FFF2-40B4-BE49-F238E27FC236}">
                <a16:creationId xmlns:a16="http://schemas.microsoft.com/office/drawing/2014/main" id="{038A958D-0D4F-4936-89EA-A1B80B626B7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757956" y="3025211"/>
            <a:ext cx="4176713" cy="1655846"/>
          </a:xfrm>
          <a:prstGeom prst="roundRect">
            <a:avLst>
              <a:gd name="adj" fmla="val 8676"/>
            </a:avLst>
          </a:prstGeom>
          <a:noFill/>
          <a:ln w="38100">
            <a:solidFill>
              <a:schemeClr val="accent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t"/>
          <a:lstStyle/>
          <a:p>
            <a:pPr algn="ctr">
              <a:spcBef>
                <a:spcPts val="400"/>
              </a:spcBef>
            </a:pPr>
            <a:r>
              <a:rPr lang="en-ZA" sz="2400" b="1" dirty="0">
                <a:solidFill>
                  <a:schemeClr val="tx1"/>
                </a:solidFill>
                <a:latin typeface="+mj-lt"/>
                <a:cs typeface="Arial" pitchFamily="34" charset="0"/>
              </a:rPr>
              <a:t>MISSION</a:t>
            </a:r>
            <a:endParaRPr lang="en-GB" sz="2400" b="1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35883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1F4D9644-8EDA-4249-97BD-1A3D63247236}"/>
              </a:ext>
            </a:extLst>
          </p:cNvPr>
          <p:cNvSpPr txBox="1">
            <a:spLocks/>
          </p:cNvSpPr>
          <p:nvPr/>
        </p:nvSpPr>
        <p:spPr>
          <a:xfrm>
            <a:off x="550689" y="216381"/>
            <a:ext cx="8377411" cy="49244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600" b="1" i="0" kern="1200" baseline="0">
                <a:solidFill>
                  <a:srgbClr val="4B7396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 algn="r"/>
            <a:r>
              <a:rPr lang="en-GB" sz="3200" dirty="0">
                <a:solidFill>
                  <a:schemeClr val="bg1"/>
                </a:solidFill>
              </a:rPr>
              <a:t>Why we believe in insurance (&amp; takaful) </a:t>
            </a:r>
            <a:endParaRPr lang="en-ZA" sz="3200" dirty="0">
              <a:solidFill>
                <a:schemeClr val="bg1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0DF226E-6F9B-4E2F-BC2B-1DD4A7AE38FA}"/>
              </a:ext>
            </a:extLst>
          </p:cNvPr>
          <p:cNvSpPr txBox="1"/>
          <p:nvPr/>
        </p:nvSpPr>
        <p:spPr>
          <a:xfrm>
            <a:off x="223270" y="1526235"/>
            <a:ext cx="416934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2000" b="1" dirty="0">
                <a:solidFill>
                  <a:schemeClr val="tx2"/>
                </a:solidFill>
                <a:latin typeface="+mj-lt"/>
                <a:sym typeface="Wingdings" panose="05000000000000000000" pitchFamily="2" charset="2"/>
              </a:rPr>
              <a:t>Supports household resilience and contribute to economic development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4DE7E60-DE8A-4218-BB13-D24DD787FFD1}"/>
              </a:ext>
            </a:extLst>
          </p:cNvPr>
          <p:cNvSpPr txBox="1"/>
          <p:nvPr/>
        </p:nvSpPr>
        <p:spPr>
          <a:xfrm>
            <a:off x="4763253" y="1529675"/>
            <a:ext cx="387751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>
                <a:solidFill>
                  <a:schemeClr val="tx2"/>
                </a:solidFill>
                <a:latin typeface="+mj-lt"/>
                <a:sym typeface="Wingdings" panose="05000000000000000000" pitchFamily="2" charset="2"/>
              </a:rPr>
              <a:t>Provides the foundation for achieving development goals</a:t>
            </a:r>
            <a:endParaRPr lang="en-GB" sz="2000" b="1" dirty="0">
              <a:solidFill>
                <a:schemeClr val="tx2"/>
              </a:solidFill>
              <a:latin typeface="+mj-lt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C2C18D91-9E2F-40DB-9AD2-5E1FCE1C13B5}"/>
              </a:ext>
            </a:extLst>
          </p:cNvPr>
          <p:cNvGrpSpPr/>
          <p:nvPr/>
        </p:nvGrpSpPr>
        <p:grpSpPr>
          <a:xfrm>
            <a:off x="153824" y="2392821"/>
            <a:ext cx="4238789" cy="4197521"/>
            <a:chOff x="2052771" y="957596"/>
            <a:chExt cx="5297840" cy="5049289"/>
          </a:xfrm>
        </p:grpSpPr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C1255376-A635-4CE6-BA77-9D5D41E3EA7D}"/>
                </a:ext>
              </a:extLst>
            </p:cNvPr>
            <p:cNvSpPr/>
            <p:nvPr/>
          </p:nvSpPr>
          <p:spPr>
            <a:xfrm>
              <a:off x="2124849" y="1757243"/>
              <a:ext cx="508915" cy="2567179"/>
            </a:xfrm>
            <a:prstGeom prst="roundRect">
              <a:avLst>
                <a:gd name="adj" fmla="val 50000"/>
              </a:avLst>
            </a:prstGeom>
            <a:solidFill>
              <a:schemeClr val="tx2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0" rtlCol="0" anchor="ctr"/>
            <a:lstStyle/>
            <a:p>
              <a:pPr algn="ctr"/>
              <a:r>
                <a:rPr lang="en-ZA" sz="1400" b="1" dirty="0">
                  <a:solidFill>
                    <a:schemeClr val="bg1"/>
                  </a:solidFill>
                  <a:latin typeface="+mj-lt"/>
                </a:rPr>
                <a:t>Insurance</a:t>
              </a:r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A6CF18FC-C903-4F9D-979C-2414A37B83B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0918" y="2626119"/>
              <a:ext cx="69842" cy="69842"/>
            </a:xfrm>
            <a:custGeom>
              <a:avLst/>
              <a:gdLst>
                <a:gd name="T0" fmla="*/ 6 w 12"/>
                <a:gd name="T1" fmla="*/ 12 h 12"/>
                <a:gd name="T2" fmla="*/ 6 w 12"/>
                <a:gd name="T3" fmla="*/ 12 h 12"/>
                <a:gd name="T4" fmla="*/ 0 w 12"/>
                <a:gd name="T5" fmla="*/ 6 h 12"/>
                <a:gd name="T6" fmla="*/ 0 w 12"/>
                <a:gd name="T7" fmla="*/ 6 h 12"/>
                <a:gd name="T8" fmla="*/ 6 w 12"/>
                <a:gd name="T9" fmla="*/ 0 h 12"/>
                <a:gd name="T10" fmla="*/ 6 w 12"/>
                <a:gd name="T11" fmla="*/ 0 h 12"/>
                <a:gd name="T12" fmla="*/ 12 w 12"/>
                <a:gd name="T13" fmla="*/ 6 h 12"/>
                <a:gd name="T14" fmla="*/ 12 w 12"/>
                <a:gd name="T15" fmla="*/ 6 h 12"/>
                <a:gd name="T16" fmla="*/ 6 w 12"/>
                <a:gd name="T1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12">
                  <a:moveTo>
                    <a:pt x="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9"/>
                    <a:pt x="9" y="12"/>
                    <a:pt x="6" y="12"/>
                  </a:cubicBezTo>
                  <a:close/>
                </a:path>
              </a:pathLst>
            </a:custGeom>
            <a:noFill/>
            <a:ln w="17463" cap="flat">
              <a:solidFill>
                <a:srgbClr val="A7A9AC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sz="1400">
                <a:latin typeface="+mj-lt"/>
              </a:endParaRPr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A95712A5-1CB4-41A2-B74B-6DB7624B859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0918" y="3162258"/>
              <a:ext cx="69842" cy="69842"/>
            </a:xfrm>
            <a:custGeom>
              <a:avLst/>
              <a:gdLst>
                <a:gd name="T0" fmla="*/ 6 w 12"/>
                <a:gd name="T1" fmla="*/ 12 h 12"/>
                <a:gd name="T2" fmla="*/ 6 w 12"/>
                <a:gd name="T3" fmla="*/ 12 h 12"/>
                <a:gd name="T4" fmla="*/ 0 w 12"/>
                <a:gd name="T5" fmla="*/ 6 h 12"/>
                <a:gd name="T6" fmla="*/ 0 w 12"/>
                <a:gd name="T7" fmla="*/ 6 h 12"/>
                <a:gd name="T8" fmla="*/ 6 w 12"/>
                <a:gd name="T9" fmla="*/ 0 h 12"/>
                <a:gd name="T10" fmla="*/ 6 w 12"/>
                <a:gd name="T11" fmla="*/ 0 h 12"/>
                <a:gd name="T12" fmla="*/ 12 w 12"/>
                <a:gd name="T13" fmla="*/ 6 h 12"/>
                <a:gd name="T14" fmla="*/ 12 w 12"/>
                <a:gd name="T15" fmla="*/ 6 h 12"/>
                <a:gd name="T16" fmla="*/ 6 w 12"/>
                <a:gd name="T1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12">
                  <a:moveTo>
                    <a:pt x="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10"/>
                    <a:pt x="9" y="12"/>
                    <a:pt x="6" y="12"/>
                  </a:cubicBezTo>
                  <a:close/>
                </a:path>
              </a:pathLst>
            </a:custGeom>
            <a:noFill/>
            <a:ln w="17463" cap="flat">
              <a:solidFill>
                <a:srgbClr val="A7A9AC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sz="1400">
                <a:latin typeface="+mj-lt"/>
              </a:endParaRPr>
            </a:p>
          </p:txBody>
        </p:sp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5CC0BD21-22DA-4BE2-A840-9092D650BDF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0918" y="3712776"/>
              <a:ext cx="69842" cy="67787"/>
            </a:xfrm>
            <a:custGeom>
              <a:avLst/>
              <a:gdLst>
                <a:gd name="T0" fmla="*/ 6 w 12"/>
                <a:gd name="T1" fmla="*/ 12 h 12"/>
                <a:gd name="T2" fmla="*/ 6 w 12"/>
                <a:gd name="T3" fmla="*/ 12 h 12"/>
                <a:gd name="T4" fmla="*/ 0 w 12"/>
                <a:gd name="T5" fmla="*/ 6 h 12"/>
                <a:gd name="T6" fmla="*/ 0 w 12"/>
                <a:gd name="T7" fmla="*/ 6 h 12"/>
                <a:gd name="T8" fmla="*/ 6 w 12"/>
                <a:gd name="T9" fmla="*/ 0 h 12"/>
                <a:gd name="T10" fmla="*/ 6 w 12"/>
                <a:gd name="T11" fmla="*/ 0 h 12"/>
                <a:gd name="T12" fmla="*/ 12 w 12"/>
                <a:gd name="T13" fmla="*/ 6 h 12"/>
                <a:gd name="T14" fmla="*/ 12 w 12"/>
                <a:gd name="T15" fmla="*/ 6 h 12"/>
                <a:gd name="T16" fmla="*/ 6 w 12"/>
                <a:gd name="T1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12">
                  <a:moveTo>
                    <a:pt x="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10"/>
                    <a:pt x="9" y="12"/>
                    <a:pt x="6" y="12"/>
                  </a:cubicBezTo>
                  <a:close/>
                </a:path>
              </a:pathLst>
            </a:custGeom>
            <a:noFill/>
            <a:ln w="17463" cap="flat">
              <a:solidFill>
                <a:srgbClr val="A7A9AC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sz="1400" dirty="0">
                <a:latin typeface="+mj-lt"/>
              </a:endParaRPr>
            </a:p>
          </p:txBody>
        </p:sp>
        <p:sp>
          <p:nvSpPr>
            <p:cNvPr id="26" name="Freeform 11">
              <a:extLst>
                <a:ext uri="{FF2B5EF4-FFF2-40B4-BE49-F238E27FC236}">
                  <a16:creationId xmlns:a16="http://schemas.microsoft.com/office/drawing/2014/main" id="{F60A161C-D2DB-4CA8-8D32-486845D3030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0762" y="3197179"/>
              <a:ext cx="493001" cy="0"/>
            </a:xfrm>
            <a:custGeom>
              <a:avLst/>
              <a:gdLst>
                <a:gd name="T0" fmla="*/ 0 w 240"/>
                <a:gd name="T1" fmla="*/ 240 w 240"/>
                <a:gd name="T2" fmla="*/ 0 w 24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40">
                  <a:moveTo>
                    <a:pt x="0" y="0"/>
                  </a:moveTo>
                  <a:lnTo>
                    <a:pt x="24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sz="1400">
                <a:latin typeface="+mj-lt"/>
              </a:endParaRP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9105F933-B8F2-47C6-963D-CB32E8DA083F}"/>
                </a:ext>
              </a:extLst>
            </p:cNvPr>
            <p:cNvGrpSpPr/>
            <p:nvPr/>
          </p:nvGrpSpPr>
          <p:grpSpPr>
            <a:xfrm>
              <a:off x="2680762" y="1535357"/>
              <a:ext cx="568396" cy="1195526"/>
              <a:chOff x="1814921" y="1741722"/>
              <a:chExt cx="577816" cy="1215341"/>
            </a:xfrm>
          </p:grpSpPr>
          <p:sp>
            <p:nvSpPr>
              <p:cNvPr id="73" name="Freeform 13">
                <a:extLst>
                  <a:ext uri="{FF2B5EF4-FFF2-40B4-BE49-F238E27FC236}">
                    <a16:creationId xmlns:a16="http://schemas.microsoft.com/office/drawing/2014/main" id="{6D7C8177-75D4-4E97-B304-1124EFA6C1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92503" y="1741722"/>
                <a:ext cx="100234" cy="110675"/>
              </a:xfrm>
              <a:custGeom>
                <a:avLst/>
                <a:gdLst>
                  <a:gd name="T0" fmla="*/ 48 w 48"/>
                  <a:gd name="T1" fmla="*/ 28 h 53"/>
                  <a:gd name="T2" fmla="*/ 0 w 48"/>
                  <a:gd name="T3" fmla="*/ 53 h 53"/>
                  <a:gd name="T4" fmla="*/ 6 w 48"/>
                  <a:gd name="T5" fmla="*/ 28 h 53"/>
                  <a:gd name="T6" fmla="*/ 0 w 48"/>
                  <a:gd name="T7" fmla="*/ 0 h 53"/>
                  <a:gd name="T8" fmla="*/ 48 w 48"/>
                  <a:gd name="T9" fmla="*/ 28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53">
                    <a:moveTo>
                      <a:pt x="48" y="28"/>
                    </a:moveTo>
                    <a:lnTo>
                      <a:pt x="0" y="53"/>
                    </a:lnTo>
                    <a:lnTo>
                      <a:pt x="6" y="28"/>
                    </a:lnTo>
                    <a:lnTo>
                      <a:pt x="0" y="0"/>
                    </a:lnTo>
                    <a:lnTo>
                      <a:pt x="48" y="28"/>
                    </a:lnTo>
                    <a:close/>
                  </a:path>
                </a:pathLst>
              </a:custGeom>
              <a:solidFill>
                <a:srgbClr val="A7A9AC"/>
              </a:solidFill>
              <a:ln w="4763" cap="flat">
                <a:solidFill>
                  <a:srgbClr val="A7A9AC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ZA" sz="1400">
                  <a:latin typeface="+mj-lt"/>
                </a:endParaRPr>
              </a:p>
            </p:txBody>
          </p:sp>
          <p:sp>
            <p:nvSpPr>
              <p:cNvPr id="74" name="Freeform 16">
                <a:extLst>
                  <a:ext uri="{FF2B5EF4-FFF2-40B4-BE49-F238E27FC236}">
                    <a16:creationId xmlns:a16="http://schemas.microsoft.com/office/drawing/2014/main" id="{A69283BF-153C-4BFD-8258-6E27CD4B84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14921" y="1800192"/>
                <a:ext cx="478201" cy="1156871"/>
              </a:xfrm>
              <a:custGeom>
                <a:avLst/>
                <a:gdLst>
                  <a:gd name="T0" fmla="*/ 0 w 81"/>
                  <a:gd name="T1" fmla="*/ 185 h 197"/>
                  <a:gd name="T2" fmla="*/ 42 w 81"/>
                  <a:gd name="T3" fmla="*/ 147 h 197"/>
                  <a:gd name="T4" fmla="*/ 42 w 81"/>
                  <a:gd name="T5" fmla="*/ 33 h 197"/>
                  <a:gd name="T6" fmla="*/ 81 w 81"/>
                  <a:gd name="T7" fmla="*/ 0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1" h="197">
                    <a:moveTo>
                      <a:pt x="0" y="185"/>
                    </a:moveTo>
                    <a:cubicBezTo>
                      <a:pt x="0" y="185"/>
                      <a:pt x="42" y="197"/>
                      <a:pt x="42" y="147"/>
                    </a:cubicBezTo>
                    <a:cubicBezTo>
                      <a:pt x="42" y="97"/>
                      <a:pt x="42" y="33"/>
                      <a:pt x="42" y="33"/>
                    </a:cubicBezTo>
                    <a:cubicBezTo>
                      <a:pt x="42" y="33"/>
                      <a:pt x="38" y="0"/>
                      <a:pt x="81" y="0"/>
                    </a:cubicBezTo>
                  </a:path>
                </a:pathLst>
              </a:custGeom>
              <a:noFill/>
              <a:ln w="17463" cap="flat">
                <a:solidFill>
                  <a:srgbClr val="A7A9A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ZA" sz="1400">
                  <a:latin typeface="+mj-lt"/>
                </a:endParaRPr>
              </a:p>
            </p:txBody>
          </p: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7721E97D-5202-4070-BEEC-D4E015B8C7FE}"/>
                </a:ext>
              </a:extLst>
            </p:cNvPr>
            <p:cNvGrpSpPr/>
            <p:nvPr/>
          </p:nvGrpSpPr>
          <p:grpSpPr>
            <a:xfrm>
              <a:off x="2680762" y="3681964"/>
              <a:ext cx="566051" cy="1191420"/>
              <a:chOff x="1814921" y="3923906"/>
              <a:chExt cx="575432" cy="1211166"/>
            </a:xfrm>
          </p:grpSpPr>
          <p:sp>
            <p:nvSpPr>
              <p:cNvPr id="71" name="Freeform 15">
                <a:extLst>
                  <a:ext uri="{FF2B5EF4-FFF2-40B4-BE49-F238E27FC236}">
                    <a16:creationId xmlns:a16="http://schemas.microsoft.com/office/drawing/2014/main" id="{E3A6D4F4-7C40-4125-A504-3794B917C1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90119" y="5022308"/>
                <a:ext cx="100234" cy="112764"/>
              </a:xfrm>
              <a:custGeom>
                <a:avLst/>
                <a:gdLst>
                  <a:gd name="T0" fmla="*/ 48 w 48"/>
                  <a:gd name="T1" fmla="*/ 28 h 54"/>
                  <a:gd name="T2" fmla="*/ 0 w 48"/>
                  <a:gd name="T3" fmla="*/ 54 h 54"/>
                  <a:gd name="T4" fmla="*/ 6 w 48"/>
                  <a:gd name="T5" fmla="*/ 28 h 54"/>
                  <a:gd name="T6" fmla="*/ 0 w 48"/>
                  <a:gd name="T7" fmla="*/ 0 h 54"/>
                  <a:gd name="T8" fmla="*/ 48 w 48"/>
                  <a:gd name="T9" fmla="*/ 28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54">
                    <a:moveTo>
                      <a:pt x="48" y="28"/>
                    </a:moveTo>
                    <a:lnTo>
                      <a:pt x="0" y="54"/>
                    </a:lnTo>
                    <a:lnTo>
                      <a:pt x="6" y="28"/>
                    </a:lnTo>
                    <a:lnTo>
                      <a:pt x="0" y="0"/>
                    </a:lnTo>
                    <a:lnTo>
                      <a:pt x="48" y="28"/>
                    </a:lnTo>
                    <a:close/>
                  </a:path>
                </a:pathLst>
              </a:custGeom>
              <a:solidFill>
                <a:srgbClr val="A7A9AC"/>
              </a:solidFill>
              <a:ln w="4763" cap="flat">
                <a:solidFill>
                  <a:srgbClr val="A7A9AC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ZA" sz="1400">
                  <a:latin typeface="+mj-lt"/>
                </a:endParaRPr>
              </a:p>
            </p:txBody>
          </p:sp>
          <p:sp>
            <p:nvSpPr>
              <p:cNvPr id="72" name="Freeform 17">
                <a:extLst>
                  <a:ext uri="{FF2B5EF4-FFF2-40B4-BE49-F238E27FC236}">
                    <a16:creationId xmlns:a16="http://schemas.microsoft.com/office/drawing/2014/main" id="{1830EF10-4854-4475-BBC5-7B1A5A9F13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14921" y="3923906"/>
                <a:ext cx="478201" cy="1156871"/>
              </a:xfrm>
              <a:custGeom>
                <a:avLst/>
                <a:gdLst>
                  <a:gd name="T0" fmla="*/ 0 w 81"/>
                  <a:gd name="T1" fmla="*/ 12 h 197"/>
                  <a:gd name="T2" fmla="*/ 42 w 81"/>
                  <a:gd name="T3" fmla="*/ 50 h 197"/>
                  <a:gd name="T4" fmla="*/ 42 w 81"/>
                  <a:gd name="T5" fmla="*/ 164 h 197"/>
                  <a:gd name="T6" fmla="*/ 81 w 81"/>
                  <a:gd name="T7" fmla="*/ 197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1" h="197">
                    <a:moveTo>
                      <a:pt x="0" y="12"/>
                    </a:moveTo>
                    <a:cubicBezTo>
                      <a:pt x="0" y="12"/>
                      <a:pt x="42" y="0"/>
                      <a:pt x="42" y="50"/>
                    </a:cubicBezTo>
                    <a:cubicBezTo>
                      <a:pt x="42" y="99"/>
                      <a:pt x="42" y="164"/>
                      <a:pt x="42" y="164"/>
                    </a:cubicBezTo>
                    <a:cubicBezTo>
                      <a:pt x="42" y="164"/>
                      <a:pt x="38" y="197"/>
                      <a:pt x="81" y="197"/>
                    </a:cubicBezTo>
                  </a:path>
                </a:pathLst>
              </a:custGeom>
              <a:noFill/>
              <a:ln w="17463" cap="flat">
                <a:solidFill>
                  <a:srgbClr val="A7A9A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ZA" sz="1400">
                  <a:latin typeface="+mj-lt"/>
                </a:endParaRPr>
              </a:p>
            </p:txBody>
          </p:sp>
        </p:grpSp>
        <p:sp>
          <p:nvSpPr>
            <p:cNvPr id="29" name="Oval 7">
              <a:extLst>
                <a:ext uri="{FF2B5EF4-FFF2-40B4-BE49-F238E27FC236}">
                  <a16:creationId xmlns:a16="http://schemas.microsoft.com/office/drawing/2014/main" id="{4F396D1D-F3DD-4E22-9EF5-63F820AE48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15838" y="1040403"/>
              <a:ext cx="893022" cy="899763"/>
            </a:xfrm>
            <a:prstGeom prst="ellipse">
              <a:avLst/>
            </a:prstGeom>
            <a:noFill/>
            <a:ln w="53975" cap="rnd">
              <a:solidFill>
                <a:srgbClr val="CFAB7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sz="1400" dirty="0">
                <a:solidFill>
                  <a:srgbClr val="CFAB7A"/>
                </a:solidFill>
                <a:latin typeface="+mj-lt"/>
              </a:endParaRPr>
            </a:p>
          </p:txBody>
        </p:sp>
        <p:grpSp>
          <p:nvGrpSpPr>
            <p:cNvPr id="30" name="Group 22">
              <a:extLst>
                <a:ext uri="{FF2B5EF4-FFF2-40B4-BE49-F238E27FC236}">
                  <a16:creationId xmlns:a16="http://schemas.microsoft.com/office/drawing/2014/main" id="{BF974D4C-1DED-4BA2-BF32-1BAB8C8C0607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528471" y="1175582"/>
              <a:ext cx="675044" cy="639514"/>
              <a:chOff x="1691" y="1026"/>
              <a:chExt cx="228" cy="216"/>
            </a:xfrm>
            <a:solidFill>
              <a:schemeClr val="accent3"/>
            </a:solidFill>
          </p:grpSpPr>
          <p:sp>
            <p:nvSpPr>
              <p:cNvPr id="64" name="Freeform 23">
                <a:extLst>
                  <a:ext uri="{FF2B5EF4-FFF2-40B4-BE49-F238E27FC236}">
                    <a16:creationId xmlns:a16="http://schemas.microsoft.com/office/drawing/2014/main" id="{CE7E989B-2513-4656-81FF-6F16FB80F1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91" y="1026"/>
                <a:ext cx="228" cy="83"/>
              </a:xfrm>
              <a:custGeom>
                <a:avLst/>
                <a:gdLst>
                  <a:gd name="T0" fmla="*/ 537 w 705"/>
                  <a:gd name="T1" fmla="*/ 109 h 257"/>
                  <a:gd name="T2" fmla="*/ 537 w 705"/>
                  <a:gd name="T3" fmla="*/ 42 h 257"/>
                  <a:gd name="T4" fmla="*/ 608 w 705"/>
                  <a:gd name="T5" fmla="*/ 42 h 257"/>
                  <a:gd name="T6" fmla="*/ 608 w 705"/>
                  <a:gd name="T7" fmla="*/ 49 h 257"/>
                  <a:gd name="T8" fmla="*/ 608 w 705"/>
                  <a:gd name="T9" fmla="*/ 146 h 257"/>
                  <a:gd name="T10" fmla="*/ 614 w 705"/>
                  <a:gd name="T11" fmla="*/ 156 h 257"/>
                  <a:gd name="T12" fmla="*/ 689 w 705"/>
                  <a:gd name="T13" fmla="*/ 202 h 257"/>
                  <a:gd name="T14" fmla="*/ 704 w 705"/>
                  <a:gd name="T15" fmla="*/ 230 h 257"/>
                  <a:gd name="T16" fmla="*/ 685 w 705"/>
                  <a:gd name="T17" fmla="*/ 254 h 257"/>
                  <a:gd name="T18" fmla="*/ 659 w 705"/>
                  <a:gd name="T19" fmla="*/ 250 h 257"/>
                  <a:gd name="T20" fmla="*/ 525 w 705"/>
                  <a:gd name="T21" fmla="*/ 168 h 257"/>
                  <a:gd name="T22" fmla="*/ 359 w 705"/>
                  <a:gd name="T23" fmla="*/ 67 h 257"/>
                  <a:gd name="T24" fmla="*/ 346 w 705"/>
                  <a:gd name="T25" fmla="*/ 68 h 257"/>
                  <a:gd name="T26" fmla="*/ 50 w 705"/>
                  <a:gd name="T27" fmla="*/ 248 h 257"/>
                  <a:gd name="T28" fmla="*/ 31 w 705"/>
                  <a:gd name="T29" fmla="*/ 255 h 257"/>
                  <a:gd name="T30" fmla="*/ 4 w 705"/>
                  <a:gd name="T31" fmla="*/ 236 h 257"/>
                  <a:gd name="T32" fmla="*/ 13 w 705"/>
                  <a:gd name="T33" fmla="*/ 206 h 257"/>
                  <a:gd name="T34" fmla="*/ 26 w 705"/>
                  <a:gd name="T35" fmla="*/ 197 h 257"/>
                  <a:gd name="T36" fmla="*/ 334 w 705"/>
                  <a:gd name="T37" fmla="*/ 9 h 257"/>
                  <a:gd name="T38" fmla="*/ 372 w 705"/>
                  <a:gd name="T39" fmla="*/ 9 h 257"/>
                  <a:gd name="T40" fmla="*/ 528 w 705"/>
                  <a:gd name="T41" fmla="*/ 104 h 257"/>
                  <a:gd name="T42" fmla="*/ 537 w 705"/>
                  <a:gd name="T43" fmla="*/ 109 h 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05" h="257">
                    <a:moveTo>
                      <a:pt x="537" y="109"/>
                    </a:moveTo>
                    <a:cubicBezTo>
                      <a:pt x="537" y="86"/>
                      <a:pt x="537" y="64"/>
                      <a:pt x="537" y="42"/>
                    </a:cubicBezTo>
                    <a:cubicBezTo>
                      <a:pt x="561" y="42"/>
                      <a:pt x="584" y="42"/>
                      <a:pt x="608" y="42"/>
                    </a:cubicBezTo>
                    <a:cubicBezTo>
                      <a:pt x="608" y="45"/>
                      <a:pt x="608" y="47"/>
                      <a:pt x="608" y="49"/>
                    </a:cubicBezTo>
                    <a:cubicBezTo>
                      <a:pt x="608" y="82"/>
                      <a:pt x="608" y="114"/>
                      <a:pt x="608" y="146"/>
                    </a:cubicBezTo>
                    <a:cubicBezTo>
                      <a:pt x="608" y="151"/>
                      <a:pt x="609" y="154"/>
                      <a:pt x="614" y="156"/>
                    </a:cubicBezTo>
                    <a:cubicBezTo>
                      <a:pt x="639" y="172"/>
                      <a:pt x="664" y="187"/>
                      <a:pt x="689" y="202"/>
                    </a:cubicBezTo>
                    <a:cubicBezTo>
                      <a:pt x="699" y="209"/>
                      <a:pt x="705" y="218"/>
                      <a:pt x="704" y="230"/>
                    </a:cubicBezTo>
                    <a:cubicBezTo>
                      <a:pt x="703" y="241"/>
                      <a:pt x="696" y="250"/>
                      <a:pt x="685" y="254"/>
                    </a:cubicBezTo>
                    <a:cubicBezTo>
                      <a:pt x="676" y="257"/>
                      <a:pt x="667" y="255"/>
                      <a:pt x="659" y="250"/>
                    </a:cubicBezTo>
                    <a:cubicBezTo>
                      <a:pt x="615" y="223"/>
                      <a:pt x="570" y="195"/>
                      <a:pt x="525" y="168"/>
                    </a:cubicBezTo>
                    <a:cubicBezTo>
                      <a:pt x="470" y="134"/>
                      <a:pt x="415" y="101"/>
                      <a:pt x="359" y="67"/>
                    </a:cubicBezTo>
                    <a:cubicBezTo>
                      <a:pt x="354" y="63"/>
                      <a:pt x="350" y="65"/>
                      <a:pt x="346" y="68"/>
                    </a:cubicBezTo>
                    <a:cubicBezTo>
                      <a:pt x="247" y="128"/>
                      <a:pt x="149" y="188"/>
                      <a:pt x="50" y="248"/>
                    </a:cubicBezTo>
                    <a:cubicBezTo>
                      <a:pt x="44" y="252"/>
                      <a:pt x="38" y="254"/>
                      <a:pt x="31" y="255"/>
                    </a:cubicBezTo>
                    <a:cubicBezTo>
                      <a:pt x="19" y="256"/>
                      <a:pt x="8" y="248"/>
                      <a:pt x="4" y="236"/>
                    </a:cubicBezTo>
                    <a:cubicBezTo>
                      <a:pt x="0" y="225"/>
                      <a:pt x="4" y="213"/>
                      <a:pt x="13" y="206"/>
                    </a:cubicBezTo>
                    <a:cubicBezTo>
                      <a:pt x="17" y="203"/>
                      <a:pt x="22" y="200"/>
                      <a:pt x="26" y="197"/>
                    </a:cubicBezTo>
                    <a:cubicBezTo>
                      <a:pt x="129" y="134"/>
                      <a:pt x="232" y="72"/>
                      <a:pt x="334" y="9"/>
                    </a:cubicBezTo>
                    <a:cubicBezTo>
                      <a:pt x="347" y="1"/>
                      <a:pt x="359" y="0"/>
                      <a:pt x="372" y="9"/>
                    </a:cubicBezTo>
                    <a:cubicBezTo>
                      <a:pt x="424" y="41"/>
                      <a:pt x="476" y="72"/>
                      <a:pt x="528" y="104"/>
                    </a:cubicBezTo>
                    <a:cubicBezTo>
                      <a:pt x="530" y="105"/>
                      <a:pt x="533" y="107"/>
                      <a:pt x="537" y="10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ZA" sz="1400">
                  <a:latin typeface="+mj-lt"/>
                </a:endParaRPr>
              </a:p>
            </p:txBody>
          </p:sp>
          <p:sp>
            <p:nvSpPr>
              <p:cNvPr id="65" name="Freeform 24">
                <a:extLst>
                  <a:ext uri="{FF2B5EF4-FFF2-40B4-BE49-F238E27FC236}">
                    <a16:creationId xmlns:a16="http://schemas.microsoft.com/office/drawing/2014/main" id="{8B9EB10A-E758-49FC-8CA4-B820F7DC60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17" y="1131"/>
                <a:ext cx="64" cy="111"/>
              </a:xfrm>
              <a:custGeom>
                <a:avLst/>
                <a:gdLst>
                  <a:gd name="T0" fmla="*/ 16 w 196"/>
                  <a:gd name="T1" fmla="*/ 230 h 342"/>
                  <a:gd name="T2" fmla="*/ 33 w 196"/>
                  <a:gd name="T3" fmla="*/ 174 h 342"/>
                  <a:gd name="T4" fmla="*/ 54 w 196"/>
                  <a:gd name="T5" fmla="*/ 107 h 342"/>
                  <a:gd name="T6" fmla="*/ 57 w 196"/>
                  <a:gd name="T7" fmla="*/ 73 h 342"/>
                  <a:gd name="T8" fmla="*/ 55 w 196"/>
                  <a:gd name="T9" fmla="*/ 73 h 342"/>
                  <a:gd name="T10" fmla="*/ 53 w 196"/>
                  <a:gd name="T11" fmla="*/ 79 h 342"/>
                  <a:gd name="T12" fmla="*/ 29 w 196"/>
                  <a:gd name="T13" fmla="*/ 155 h 342"/>
                  <a:gd name="T14" fmla="*/ 12 w 196"/>
                  <a:gd name="T15" fmla="*/ 167 h 342"/>
                  <a:gd name="T16" fmla="*/ 3 w 196"/>
                  <a:gd name="T17" fmla="*/ 148 h 342"/>
                  <a:gd name="T18" fmla="*/ 34 w 196"/>
                  <a:gd name="T19" fmla="*/ 37 h 342"/>
                  <a:gd name="T20" fmla="*/ 41 w 196"/>
                  <a:gd name="T21" fmla="*/ 19 h 342"/>
                  <a:gd name="T22" fmla="*/ 70 w 196"/>
                  <a:gd name="T23" fmla="*/ 1 h 342"/>
                  <a:gd name="T24" fmla="*/ 125 w 196"/>
                  <a:gd name="T25" fmla="*/ 1 h 342"/>
                  <a:gd name="T26" fmla="*/ 156 w 196"/>
                  <a:gd name="T27" fmla="*/ 21 h 342"/>
                  <a:gd name="T28" fmla="*/ 186 w 196"/>
                  <a:gd name="T29" fmla="*/ 116 h 342"/>
                  <a:gd name="T30" fmla="*/ 194 w 196"/>
                  <a:gd name="T31" fmla="*/ 148 h 342"/>
                  <a:gd name="T32" fmla="*/ 185 w 196"/>
                  <a:gd name="T33" fmla="*/ 167 h 342"/>
                  <a:gd name="T34" fmla="*/ 167 w 196"/>
                  <a:gd name="T35" fmla="*/ 156 h 342"/>
                  <a:gd name="T36" fmla="*/ 145 w 196"/>
                  <a:gd name="T37" fmla="*/ 82 h 342"/>
                  <a:gd name="T38" fmla="*/ 142 w 196"/>
                  <a:gd name="T39" fmla="*/ 73 h 342"/>
                  <a:gd name="T40" fmla="*/ 139 w 196"/>
                  <a:gd name="T41" fmla="*/ 73 h 342"/>
                  <a:gd name="T42" fmla="*/ 142 w 196"/>
                  <a:gd name="T43" fmla="*/ 106 h 342"/>
                  <a:gd name="T44" fmla="*/ 178 w 196"/>
                  <a:gd name="T45" fmla="*/ 223 h 342"/>
                  <a:gd name="T46" fmla="*/ 181 w 196"/>
                  <a:gd name="T47" fmla="*/ 231 h 342"/>
                  <a:gd name="T48" fmla="*/ 157 w 196"/>
                  <a:gd name="T49" fmla="*/ 231 h 342"/>
                  <a:gd name="T50" fmla="*/ 136 w 196"/>
                  <a:gd name="T51" fmla="*/ 252 h 342"/>
                  <a:gd name="T52" fmla="*/ 136 w 196"/>
                  <a:gd name="T53" fmla="*/ 323 h 342"/>
                  <a:gd name="T54" fmla="*/ 122 w 196"/>
                  <a:gd name="T55" fmla="*/ 340 h 342"/>
                  <a:gd name="T56" fmla="*/ 104 w 196"/>
                  <a:gd name="T57" fmla="*/ 329 h 342"/>
                  <a:gd name="T58" fmla="*/ 103 w 196"/>
                  <a:gd name="T59" fmla="*/ 321 h 342"/>
                  <a:gd name="T60" fmla="*/ 103 w 196"/>
                  <a:gd name="T61" fmla="*/ 242 h 342"/>
                  <a:gd name="T62" fmla="*/ 102 w 196"/>
                  <a:gd name="T63" fmla="*/ 236 h 342"/>
                  <a:gd name="T64" fmla="*/ 98 w 196"/>
                  <a:gd name="T65" fmla="*/ 232 h 342"/>
                  <a:gd name="T66" fmla="*/ 94 w 196"/>
                  <a:gd name="T67" fmla="*/ 236 h 342"/>
                  <a:gd name="T68" fmla="*/ 94 w 196"/>
                  <a:gd name="T69" fmla="*/ 242 h 342"/>
                  <a:gd name="T70" fmla="*/ 94 w 196"/>
                  <a:gd name="T71" fmla="*/ 323 h 342"/>
                  <a:gd name="T72" fmla="*/ 81 w 196"/>
                  <a:gd name="T73" fmla="*/ 340 h 342"/>
                  <a:gd name="T74" fmla="*/ 62 w 196"/>
                  <a:gd name="T75" fmla="*/ 330 h 342"/>
                  <a:gd name="T76" fmla="*/ 61 w 196"/>
                  <a:gd name="T77" fmla="*/ 321 h 342"/>
                  <a:gd name="T78" fmla="*/ 60 w 196"/>
                  <a:gd name="T79" fmla="*/ 240 h 342"/>
                  <a:gd name="T80" fmla="*/ 51 w 196"/>
                  <a:gd name="T81" fmla="*/ 231 h 342"/>
                  <a:gd name="T82" fmla="*/ 18 w 196"/>
                  <a:gd name="T83" fmla="*/ 231 h 342"/>
                  <a:gd name="T84" fmla="*/ 16 w 196"/>
                  <a:gd name="T85" fmla="*/ 23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96" h="342">
                    <a:moveTo>
                      <a:pt x="16" y="230"/>
                    </a:moveTo>
                    <a:cubicBezTo>
                      <a:pt x="22" y="211"/>
                      <a:pt x="28" y="193"/>
                      <a:pt x="33" y="174"/>
                    </a:cubicBezTo>
                    <a:cubicBezTo>
                      <a:pt x="40" y="152"/>
                      <a:pt x="48" y="129"/>
                      <a:pt x="54" y="107"/>
                    </a:cubicBezTo>
                    <a:cubicBezTo>
                      <a:pt x="57" y="96"/>
                      <a:pt x="56" y="84"/>
                      <a:pt x="57" y="73"/>
                    </a:cubicBezTo>
                    <a:cubicBezTo>
                      <a:pt x="57" y="73"/>
                      <a:pt x="56" y="73"/>
                      <a:pt x="55" y="73"/>
                    </a:cubicBezTo>
                    <a:cubicBezTo>
                      <a:pt x="54" y="75"/>
                      <a:pt x="53" y="77"/>
                      <a:pt x="53" y="79"/>
                    </a:cubicBezTo>
                    <a:cubicBezTo>
                      <a:pt x="45" y="104"/>
                      <a:pt x="37" y="130"/>
                      <a:pt x="29" y="155"/>
                    </a:cubicBezTo>
                    <a:cubicBezTo>
                      <a:pt x="26" y="165"/>
                      <a:pt x="20" y="169"/>
                      <a:pt x="12" y="167"/>
                    </a:cubicBezTo>
                    <a:cubicBezTo>
                      <a:pt x="4" y="165"/>
                      <a:pt x="0" y="157"/>
                      <a:pt x="3" y="148"/>
                    </a:cubicBezTo>
                    <a:cubicBezTo>
                      <a:pt x="13" y="111"/>
                      <a:pt x="23" y="74"/>
                      <a:pt x="34" y="37"/>
                    </a:cubicBezTo>
                    <a:cubicBezTo>
                      <a:pt x="36" y="31"/>
                      <a:pt x="39" y="25"/>
                      <a:pt x="41" y="19"/>
                    </a:cubicBezTo>
                    <a:cubicBezTo>
                      <a:pt x="47" y="7"/>
                      <a:pt x="57" y="1"/>
                      <a:pt x="70" y="1"/>
                    </a:cubicBezTo>
                    <a:cubicBezTo>
                      <a:pt x="88" y="0"/>
                      <a:pt x="107" y="0"/>
                      <a:pt x="125" y="1"/>
                    </a:cubicBezTo>
                    <a:cubicBezTo>
                      <a:pt x="139" y="1"/>
                      <a:pt x="150" y="7"/>
                      <a:pt x="156" y="21"/>
                    </a:cubicBezTo>
                    <a:cubicBezTo>
                      <a:pt x="169" y="51"/>
                      <a:pt x="178" y="83"/>
                      <a:pt x="186" y="116"/>
                    </a:cubicBezTo>
                    <a:cubicBezTo>
                      <a:pt x="189" y="127"/>
                      <a:pt x="191" y="137"/>
                      <a:pt x="194" y="148"/>
                    </a:cubicBezTo>
                    <a:cubicBezTo>
                      <a:pt x="196" y="157"/>
                      <a:pt x="193" y="164"/>
                      <a:pt x="185" y="167"/>
                    </a:cubicBezTo>
                    <a:cubicBezTo>
                      <a:pt x="177" y="169"/>
                      <a:pt x="170" y="165"/>
                      <a:pt x="167" y="156"/>
                    </a:cubicBezTo>
                    <a:cubicBezTo>
                      <a:pt x="160" y="131"/>
                      <a:pt x="152" y="107"/>
                      <a:pt x="145" y="82"/>
                    </a:cubicBezTo>
                    <a:cubicBezTo>
                      <a:pt x="144" y="79"/>
                      <a:pt x="143" y="76"/>
                      <a:pt x="142" y="73"/>
                    </a:cubicBezTo>
                    <a:cubicBezTo>
                      <a:pt x="141" y="73"/>
                      <a:pt x="140" y="73"/>
                      <a:pt x="139" y="73"/>
                    </a:cubicBezTo>
                    <a:cubicBezTo>
                      <a:pt x="140" y="84"/>
                      <a:pt x="139" y="96"/>
                      <a:pt x="142" y="106"/>
                    </a:cubicBezTo>
                    <a:cubicBezTo>
                      <a:pt x="154" y="145"/>
                      <a:pt x="166" y="184"/>
                      <a:pt x="178" y="223"/>
                    </a:cubicBezTo>
                    <a:cubicBezTo>
                      <a:pt x="179" y="225"/>
                      <a:pt x="180" y="227"/>
                      <a:pt x="181" y="231"/>
                    </a:cubicBezTo>
                    <a:cubicBezTo>
                      <a:pt x="172" y="231"/>
                      <a:pt x="164" y="231"/>
                      <a:pt x="157" y="231"/>
                    </a:cubicBezTo>
                    <a:cubicBezTo>
                      <a:pt x="136" y="231"/>
                      <a:pt x="136" y="231"/>
                      <a:pt x="136" y="252"/>
                    </a:cubicBezTo>
                    <a:cubicBezTo>
                      <a:pt x="136" y="276"/>
                      <a:pt x="136" y="299"/>
                      <a:pt x="136" y="323"/>
                    </a:cubicBezTo>
                    <a:cubicBezTo>
                      <a:pt x="136" y="332"/>
                      <a:pt x="130" y="339"/>
                      <a:pt x="122" y="340"/>
                    </a:cubicBezTo>
                    <a:cubicBezTo>
                      <a:pt x="114" y="341"/>
                      <a:pt x="106" y="337"/>
                      <a:pt x="104" y="329"/>
                    </a:cubicBezTo>
                    <a:cubicBezTo>
                      <a:pt x="103" y="326"/>
                      <a:pt x="103" y="324"/>
                      <a:pt x="103" y="321"/>
                    </a:cubicBezTo>
                    <a:cubicBezTo>
                      <a:pt x="103" y="295"/>
                      <a:pt x="103" y="268"/>
                      <a:pt x="103" y="242"/>
                    </a:cubicBezTo>
                    <a:cubicBezTo>
                      <a:pt x="103" y="240"/>
                      <a:pt x="103" y="238"/>
                      <a:pt x="102" y="236"/>
                    </a:cubicBezTo>
                    <a:cubicBezTo>
                      <a:pt x="102" y="235"/>
                      <a:pt x="100" y="233"/>
                      <a:pt x="98" y="232"/>
                    </a:cubicBezTo>
                    <a:cubicBezTo>
                      <a:pt x="97" y="233"/>
                      <a:pt x="95" y="234"/>
                      <a:pt x="94" y="236"/>
                    </a:cubicBezTo>
                    <a:cubicBezTo>
                      <a:pt x="93" y="238"/>
                      <a:pt x="94" y="240"/>
                      <a:pt x="94" y="242"/>
                    </a:cubicBezTo>
                    <a:cubicBezTo>
                      <a:pt x="94" y="269"/>
                      <a:pt x="94" y="296"/>
                      <a:pt x="94" y="323"/>
                    </a:cubicBezTo>
                    <a:cubicBezTo>
                      <a:pt x="94" y="331"/>
                      <a:pt x="88" y="338"/>
                      <a:pt x="81" y="340"/>
                    </a:cubicBezTo>
                    <a:cubicBezTo>
                      <a:pt x="73" y="342"/>
                      <a:pt x="65" y="338"/>
                      <a:pt x="62" y="330"/>
                    </a:cubicBezTo>
                    <a:cubicBezTo>
                      <a:pt x="61" y="328"/>
                      <a:pt x="61" y="324"/>
                      <a:pt x="61" y="321"/>
                    </a:cubicBezTo>
                    <a:cubicBezTo>
                      <a:pt x="60" y="294"/>
                      <a:pt x="60" y="267"/>
                      <a:pt x="60" y="240"/>
                    </a:cubicBezTo>
                    <a:cubicBezTo>
                      <a:pt x="60" y="231"/>
                      <a:pt x="60" y="231"/>
                      <a:pt x="51" y="231"/>
                    </a:cubicBezTo>
                    <a:cubicBezTo>
                      <a:pt x="40" y="231"/>
                      <a:pt x="29" y="231"/>
                      <a:pt x="18" y="231"/>
                    </a:cubicBezTo>
                    <a:cubicBezTo>
                      <a:pt x="18" y="231"/>
                      <a:pt x="17" y="231"/>
                      <a:pt x="16" y="2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ZA" sz="1400">
                  <a:latin typeface="+mj-lt"/>
                </a:endParaRPr>
              </a:p>
            </p:txBody>
          </p:sp>
          <p:sp>
            <p:nvSpPr>
              <p:cNvPr id="66" name="Freeform 25">
                <a:extLst>
                  <a:ext uri="{FF2B5EF4-FFF2-40B4-BE49-F238E27FC236}">
                    <a16:creationId xmlns:a16="http://schemas.microsoft.com/office/drawing/2014/main" id="{9B6446AB-5B06-4F62-BCCF-841E6C732D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0" y="1125"/>
                <a:ext cx="54" cy="117"/>
              </a:xfrm>
              <a:custGeom>
                <a:avLst/>
                <a:gdLst>
                  <a:gd name="T0" fmla="*/ 126 w 166"/>
                  <a:gd name="T1" fmla="*/ 213 h 360"/>
                  <a:gd name="T2" fmla="*/ 126 w 166"/>
                  <a:gd name="T3" fmla="*/ 338 h 360"/>
                  <a:gd name="T4" fmla="*/ 107 w 166"/>
                  <a:gd name="T5" fmla="*/ 359 h 360"/>
                  <a:gd name="T6" fmla="*/ 87 w 166"/>
                  <a:gd name="T7" fmla="*/ 338 h 360"/>
                  <a:gd name="T8" fmla="*/ 87 w 166"/>
                  <a:gd name="T9" fmla="*/ 194 h 360"/>
                  <a:gd name="T10" fmla="*/ 83 w 166"/>
                  <a:gd name="T11" fmla="*/ 185 h 360"/>
                  <a:gd name="T12" fmla="*/ 79 w 166"/>
                  <a:gd name="T13" fmla="*/ 194 h 360"/>
                  <a:gd name="T14" fmla="*/ 78 w 166"/>
                  <a:gd name="T15" fmla="*/ 329 h 360"/>
                  <a:gd name="T16" fmla="*/ 78 w 166"/>
                  <a:gd name="T17" fmla="*/ 341 h 360"/>
                  <a:gd name="T18" fmla="*/ 62 w 166"/>
                  <a:gd name="T19" fmla="*/ 359 h 360"/>
                  <a:gd name="T20" fmla="*/ 41 w 166"/>
                  <a:gd name="T21" fmla="*/ 344 h 360"/>
                  <a:gd name="T22" fmla="*/ 40 w 166"/>
                  <a:gd name="T23" fmla="*/ 335 h 360"/>
                  <a:gd name="T24" fmla="*/ 40 w 166"/>
                  <a:gd name="T25" fmla="*/ 88 h 360"/>
                  <a:gd name="T26" fmla="*/ 40 w 166"/>
                  <a:gd name="T27" fmla="*/ 87 h 360"/>
                  <a:gd name="T28" fmla="*/ 37 w 166"/>
                  <a:gd name="T29" fmla="*/ 80 h 360"/>
                  <a:gd name="T30" fmla="*/ 33 w 166"/>
                  <a:gd name="T31" fmla="*/ 87 h 360"/>
                  <a:gd name="T32" fmla="*/ 33 w 166"/>
                  <a:gd name="T33" fmla="*/ 150 h 360"/>
                  <a:gd name="T34" fmla="*/ 33 w 166"/>
                  <a:gd name="T35" fmla="*/ 169 h 360"/>
                  <a:gd name="T36" fmla="*/ 17 w 166"/>
                  <a:gd name="T37" fmla="*/ 188 h 360"/>
                  <a:gd name="T38" fmla="*/ 0 w 166"/>
                  <a:gd name="T39" fmla="*/ 170 h 360"/>
                  <a:gd name="T40" fmla="*/ 0 w 166"/>
                  <a:gd name="T41" fmla="*/ 74 h 360"/>
                  <a:gd name="T42" fmla="*/ 42 w 166"/>
                  <a:gd name="T43" fmla="*/ 12 h 360"/>
                  <a:gd name="T44" fmla="*/ 127 w 166"/>
                  <a:gd name="T45" fmla="*/ 13 h 360"/>
                  <a:gd name="T46" fmla="*/ 166 w 166"/>
                  <a:gd name="T47" fmla="*/ 73 h 360"/>
                  <a:gd name="T48" fmla="*/ 166 w 166"/>
                  <a:gd name="T49" fmla="*/ 169 h 360"/>
                  <a:gd name="T50" fmla="*/ 144 w 166"/>
                  <a:gd name="T51" fmla="*/ 187 h 360"/>
                  <a:gd name="T52" fmla="*/ 133 w 166"/>
                  <a:gd name="T53" fmla="*/ 170 h 360"/>
                  <a:gd name="T54" fmla="*/ 133 w 166"/>
                  <a:gd name="T55" fmla="*/ 107 h 360"/>
                  <a:gd name="T56" fmla="*/ 133 w 166"/>
                  <a:gd name="T57" fmla="*/ 87 h 360"/>
                  <a:gd name="T58" fmla="*/ 129 w 166"/>
                  <a:gd name="T59" fmla="*/ 80 h 360"/>
                  <a:gd name="T60" fmla="*/ 126 w 166"/>
                  <a:gd name="T61" fmla="*/ 87 h 360"/>
                  <a:gd name="T62" fmla="*/ 126 w 166"/>
                  <a:gd name="T63" fmla="*/ 169 h 360"/>
                  <a:gd name="T64" fmla="*/ 126 w 166"/>
                  <a:gd name="T65" fmla="*/ 213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66" h="360">
                    <a:moveTo>
                      <a:pt x="126" y="213"/>
                    </a:moveTo>
                    <a:cubicBezTo>
                      <a:pt x="126" y="255"/>
                      <a:pt x="126" y="296"/>
                      <a:pt x="126" y="338"/>
                    </a:cubicBezTo>
                    <a:cubicBezTo>
                      <a:pt x="126" y="351"/>
                      <a:pt x="118" y="359"/>
                      <a:pt x="107" y="359"/>
                    </a:cubicBezTo>
                    <a:cubicBezTo>
                      <a:pt x="95" y="359"/>
                      <a:pt x="87" y="351"/>
                      <a:pt x="87" y="338"/>
                    </a:cubicBezTo>
                    <a:cubicBezTo>
                      <a:pt x="87" y="290"/>
                      <a:pt x="87" y="242"/>
                      <a:pt x="87" y="194"/>
                    </a:cubicBezTo>
                    <a:cubicBezTo>
                      <a:pt x="87" y="190"/>
                      <a:pt x="89" y="185"/>
                      <a:pt x="83" y="185"/>
                    </a:cubicBezTo>
                    <a:cubicBezTo>
                      <a:pt x="77" y="184"/>
                      <a:pt x="79" y="191"/>
                      <a:pt x="79" y="194"/>
                    </a:cubicBezTo>
                    <a:cubicBezTo>
                      <a:pt x="78" y="239"/>
                      <a:pt x="78" y="284"/>
                      <a:pt x="78" y="329"/>
                    </a:cubicBezTo>
                    <a:cubicBezTo>
                      <a:pt x="78" y="333"/>
                      <a:pt x="78" y="337"/>
                      <a:pt x="78" y="341"/>
                    </a:cubicBezTo>
                    <a:cubicBezTo>
                      <a:pt x="78" y="351"/>
                      <a:pt x="71" y="358"/>
                      <a:pt x="62" y="359"/>
                    </a:cubicBezTo>
                    <a:cubicBezTo>
                      <a:pt x="51" y="360"/>
                      <a:pt x="43" y="354"/>
                      <a:pt x="41" y="344"/>
                    </a:cubicBezTo>
                    <a:cubicBezTo>
                      <a:pt x="40" y="341"/>
                      <a:pt x="40" y="338"/>
                      <a:pt x="40" y="335"/>
                    </a:cubicBezTo>
                    <a:cubicBezTo>
                      <a:pt x="40" y="253"/>
                      <a:pt x="40" y="170"/>
                      <a:pt x="40" y="88"/>
                    </a:cubicBezTo>
                    <a:cubicBezTo>
                      <a:pt x="40" y="88"/>
                      <a:pt x="40" y="87"/>
                      <a:pt x="40" y="87"/>
                    </a:cubicBezTo>
                    <a:cubicBezTo>
                      <a:pt x="39" y="85"/>
                      <a:pt x="38" y="82"/>
                      <a:pt x="37" y="80"/>
                    </a:cubicBezTo>
                    <a:cubicBezTo>
                      <a:pt x="36" y="82"/>
                      <a:pt x="33" y="84"/>
                      <a:pt x="33" y="87"/>
                    </a:cubicBezTo>
                    <a:cubicBezTo>
                      <a:pt x="33" y="108"/>
                      <a:pt x="33" y="129"/>
                      <a:pt x="33" y="150"/>
                    </a:cubicBezTo>
                    <a:cubicBezTo>
                      <a:pt x="33" y="156"/>
                      <a:pt x="33" y="163"/>
                      <a:pt x="33" y="169"/>
                    </a:cubicBezTo>
                    <a:cubicBezTo>
                      <a:pt x="33" y="180"/>
                      <a:pt x="27" y="188"/>
                      <a:pt x="17" y="188"/>
                    </a:cubicBezTo>
                    <a:cubicBezTo>
                      <a:pt x="8" y="188"/>
                      <a:pt x="0" y="180"/>
                      <a:pt x="0" y="170"/>
                    </a:cubicBezTo>
                    <a:cubicBezTo>
                      <a:pt x="0" y="138"/>
                      <a:pt x="0" y="106"/>
                      <a:pt x="0" y="74"/>
                    </a:cubicBezTo>
                    <a:cubicBezTo>
                      <a:pt x="0" y="44"/>
                      <a:pt x="15" y="23"/>
                      <a:pt x="42" y="12"/>
                    </a:cubicBezTo>
                    <a:cubicBezTo>
                      <a:pt x="70" y="0"/>
                      <a:pt x="99" y="1"/>
                      <a:pt x="127" y="13"/>
                    </a:cubicBezTo>
                    <a:cubicBezTo>
                      <a:pt x="152" y="25"/>
                      <a:pt x="166" y="45"/>
                      <a:pt x="166" y="73"/>
                    </a:cubicBezTo>
                    <a:cubicBezTo>
                      <a:pt x="166" y="105"/>
                      <a:pt x="166" y="137"/>
                      <a:pt x="166" y="169"/>
                    </a:cubicBezTo>
                    <a:cubicBezTo>
                      <a:pt x="166" y="182"/>
                      <a:pt x="156" y="190"/>
                      <a:pt x="144" y="187"/>
                    </a:cubicBezTo>
                    <a:cubicBezTo>
                      <a:pt x="137" y="185"/>
                      <a:pt x="133" y="179"/>
                      <a:pt x="133" y="170"/>
                    </a:cubicBezTo>
                    <a:cubicBezTo>
                      <a:pt x="133" y="149"/>
                      <a:pt x="133" y="128"/>
                      <a:pt x="133" y="107"/>
                    </a:cubicBezTo>
                    <a:cubicBezTo>
                      <a:pt x="133" y="100"/>
                      <a:pt x="133" y="94"/>
                      <a:pt x="133" y="87"/>
                    </a:cubicBezTo>
                    <a:cubicBezTo>
                      <a:pt x="133" y="84"/>
                      <a:pt x="131" y="82"/>
                      <a:pt x="129" y="80"/>
                    </a:cubicBezTo>
                    <a:cubicBezTo>
                      <a:pt x="128" y="82"/>
                      <a:pt x="126" y="84"/>
                      <a:pt x="126" y="87"/>
                    </a:cubicBezTo>
                    <a:cubicBezTo>
                      <a:pt x="126" y="114"/>
                      <a:pt x="126" y="141"/>
                      <a:pt x="126" y="169"/>
                    </a:cubicBezTo>
                    <a:cubicBezTo>
                      <a:pt x="126" y="183"/>
                      <a:pt x="126" y="198"/>
                      <a:pt x="126" y="2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ZA" sz="1400">
                  <a:latin typeface="+mj-lt"/>
                </a:endParaRPr>
              </a:p>
            </p:txBody>
          </p:sp>
          <p:sp>
            <p:nvSpPr>
              <p:cNvPr id="67" name="Freeform 26">
                <a:extLst>
                  <a:ext uri="{FF2B5EF4-FFF2-40B4-BE49-F238E27FC236}">
                    <a16:creationId xmlns:a16="http://schemas.microsoft.com/office/drawing/2014/main" id="{623A51C3-6A88-476C-A314-A3E2266BCF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7" y="1182"/>
                <a:ext cx="28" cy="59"/>
              </a:xfrm>
              <a:custGeom>
                <a:avLst/>
                <a:gdLst>
                  <a:gd name="T0" fmla="*/ 66 w 86"/>
                  <a:gd name="T1" fmla="*/ 39 h 183"/>
                  <a:gd name="T2" fmla="*/ 65 w 86"/>
                  <a:gd name="T3" fmla="*/ 45 h 183"/>
                  <a:gd name="T4" fmla="*/ 65 w 86"/>
                  <a:gd name="T5" fmla="*/ 161 h 183"/>
                  <a:gd name="T6" fmla="*/ 65 w 86"/>
                  <a:gd name="T7" fmla="*/ 174 h 183"/>
                  <a:gd name="T8" fmla="*/ 56 w 86"/>
                  <a:gd name="T9" fmla="*/ 183 h 183"/>
                  <a:gd name="T10" fmla="*/ 46 w 86"/>
                  <a:gd name="T11" fmla="*/ 175 h 183"/>
                  <a:gd name="T12" fmla="*/ 45 w 86"/>
                  <a:gd name="T13" fmla="*/ 168 h 183"/>
                  <a:gd name="T14" fmla="*/ 45 w 86"/>
                  <a:gd name="T15" fmla="*/ 101 h 183"/>
                  <a:gd name="T16" fmla="*/ 45 w 86"/>
                  <a:gd name="T17" fmla="*/ 94 h 183"/>
                  <a:gd name="T18" fmla="*/ 42 w 86"/>
                  <a:gd name="T19" fmla="*/ 93 h 183"/>
                  <a:gd name="T20" fmla="*/ 40 w 86"/>
                  <a:gd name="T21" fmla="*/ 100 h 183"/>
                  <a:gd name="T22" fmla="*/ 40 w 86"/>
                  <a:gd name="T23" fmla="*/ 168 h 183"/>
                  <a:gd name="T24" fmla="*/ 40 w 86"/>
                  <a:gd name="T25" fmla="*/ 173 h 183"/>
                  <a:gd name="T26" fmla="*/ 31 w 86"/>
                  <a:gd name="T27" fmla="*/ 183 h 183"/>
                  <a:gd name="T28" fmla="*/ 21 w 86"/>
                  <a:gd name="T29" fmla="*/ 172 h 183"/>
                  <a:gd name="T30" fmla="*/ 21 w 86"/>
                  <a:gd name="T31" fmla="*/ 92 h 183"/>
                  <a:gd name="T32" fmla="*/ 21 w 86"/>
                  <a:gd name="T33" fmla="*/ 47 h 183"/>
                  <a:gd name="T34" fmla="*/ 20 w 86"/>
                  <a:gd name="T35" fmla="*/ 39 h 183"/>
                  <a:gd name="T36" fmla="*/ 18 w 86"/>
                  <a:gd name="T37" fmla="*/ 39 h 183"/>
                  <a:gd name="T38" fmla="*/ 17 w 86"/>
                  <a:gd name="T39" fmla="*/ 46 h 183"/>
                  <a:gd name="T40" fmla="*/ 17 w 86"/>
                  <a:gd name="T41" fmla="*/ 84 h 183"/>
                  <a:gd name="T42" fmla="*/ 9 w 86"/>
                  <a:gd name="T43" fmla="*/ 95 h 183"/>
                  <a:gd name="T44" fmla="*/ 0 w 86"/>
                  <a:gd name="T45" fmla="*/ 84 h 183"/>
                  <a:gd name="T46" fmla="*/ 0 w 86"/>
                  <a:gd name="T47" fmla="*/ 35 h 183"/>
                  <a:gd name="T48" fmla="*/ 37 w 86"/>
                  <a:gd name="T49" fmla="*/ 1 h 183"/>
                  <a:gd name="T50" fmla="*/ 65 w 86"/>
                  <a:gd name="T51" fmla="*/ 5 h 183"/>
                  <a:gd name="T52" fmla="*/ 85 w 86"/>
                  <a:gd name="T53" fmla="*/ 36 h 183"/>
                  <a:gd name="T54" fmla="*/ 85 w 86"/>
                  <a:gd name="T55" fmla="*/ 83 h 183"/>
                  <a:gd name="T56" fmla="*/ 77 w 86"/>
                  <a:gd name="T57" fmla="*/ 95 h 183"/>
                  <a:gd name="T58" fmla="*/ 69 w 86"/>
                  <a:gd name="T59" fmla="*/ 83 h 183"/>
                  <a:gd name="T60" fmla="*/ 69 w 86"/>
                  <a:gd name="T61" fmla="*/ 46 h 183"/>
                  <a:gd name="T62" fmla="*/ 68 w 86"/>
                  <a:gd name="T63" fmla="*/ 39 h 183"/>
                  <a:gd name="T64" fmla="*/ 66 w 86"/>
                  <a:gd name="T65" fmla="*/ 39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86" h="183">
                    <a:moveTo>
                      <a:pt x="66" y="39"/>
                    </a:moveTo>
                    <a:cubicBezTo>
                      <a:pt x="66" y="41"/>
                      <a:pt x="65" y="43"/>
                      <a:pt x="65" y="45"/>
                    </a:cubicBezTo>
                    <a:cubicBezTo>
                      <a:pt x="65" y="83"/>
                      <a:pt x="65" y="122"/>
                      <a:pt x="65" y="161"/>
                    </a:cubicBezTo>
                    <a:cubicBezTo>
                      <a:pt x="65" y="165"/>
                      <a:pt x="65" y="170"/>
                      <a:pt x="65" y="174"/>
                    </a:cubicBezTo>
                    <a:cubicBezTo>
                      <a:pt x="64" y="179"/>
                      <a:pt x="61" y="183"/>
                      <a:pt x="56" y="183"/>
                    </a:cubicBezTo>
                    <a:cubicBezTo>
                      <a:pt x="50" y="183"/>
                      <a:pt x="47" y="180"/>
                      <a:pt x="46" y="175"/>
                    </a:cubicBezTo>
                    <a:cubicBezTo>
                      <a:pt x="45" y="173"/>
                      <a:pt x="45" y="170"/>
                      <a:pt x="45" y="168"/>
                    </a:cubicBezTo>
                    <a:cubicBezTo>
                      <a:pt x="45" y="146"/>
                      <a:pt x="45" y="123"/>
                      <a:pt x="45" y="101"/>
                    </a:cubicBezTo>
                    <a:cubicBezTo>
                      <a:pt x="45" y="99"/>
                      <a:pt x="45" y="96"/>
                      <a:pt x="45" y="94"/>
                    </a:cubicBezTo>
                    <a:cubicBezTo>
                      <a:pt x="44" y="93"/>
                      <a:pt x="43" y="93"/>
                      <a:pt x="42" y="93"/>
                    </a:cubicBezTo>
                    <a:cubicBezTo>
                      <a:pt x="42" y="95"/>
                      <a:pt x="40" y="98"/>
                      <a:pt x="40" y="100"/>
                    </a:cubicBezTo>
                    <a:cubicBezTo>
                      <a:pt x="40" y="123"/>
                      <a:pt x="40" y="146"/>
                      <a:pt x="40" y="168"/>
                    </a:cubicBezTo>
                    <a:cubicBezTo>
                      <a:pt x="40" y="170"/>
                      <a:pt x="40" y="171"/>
                      <a:pt x="40" y="173"/>
                    </a:cubicBezTo>
                    <a:cubicBezTo>
                      <a:pt x="40" y="179"/>
                      <a:pt x="37" y="183"/>
                      <a:pt x="31" y="183"/>
                    </a:cubicBezTo>
                    <a:cubicBezTo>
                      <a:pt x="25" y="183"/>
                      <a:pt x="21" y="179"/>
                      <a:pt x="21" y="172"/>
                    </a:cubicBezTo>
                    <a:cubicBezTo>
                      <a:pt x="21" y="146"/>
                      <a:pt x="21" y="119"/>
                      <a:pt x="21" y="92"/>
                    </a:cubicBezTo>
                    <a:cubicBezTo>
                      <a:pt x="21" y="77"/>
                      <a:pt x="21" y="62"/>
                      <a:pt x="21" y="47"/>
                    </a:cubicBezTo>
                    <a:cubicBezTo>
                      <a:pt x="21" y="45"/>
                      <a:pt x="21" y="42"/>
                      <a:pt x="20" y="39"/>
                    </a:cubicBezTo>
                    <a:cubicBezTo>
                      <a:pt x="20" y="39"/>
                      <a:pt x="19" y="39"/>
                      <a:pt x="18" y="39"/>
                    </a:cubicBezTo>
                    <a:cubicBezTo>
                      <a:pt x="18" y="42"/>
                      <a:pt x="17" y="44"/>
                      <a:pt x="17" y="46"/>
                    </a:cubicBezTo>
                    <a:cubicBezTo>
                      <a:pt x="17" y="59"/>
                      <a:pt x="17" y="72"/>
                      <a:pt x="17" y="84"/>
                    </a:cubicBezTo>
                    <a:cubicBezTo>
                      <a:pt x="17" y="90"/>
                      <a:pt x="15" y="94"/>
                      <a:pt x="9" y="95"/>
                    </a:cubicBezTo>
                    <a:cubicBezTo>
                      <a:pt x="4" y="95"/>
                      <a:pt x="0" y="91"/>
                      <a:pt x="0" y="84"/>
                    </a:cubicBezTo>
                    <a:cubicBezTo>
                      <a:pt x="0" y="68"/>
                      <a:pt x="0" y="51"/>
                      <a:pt x="0" y="35"/>
                    </a:cubicBezTo>
                    <a:cubicBezTo>
                      <a:pt x="1" y="16"/>
                      <a:pt x="16" y="2"/>
                      <a:pt x="37" y="1"/>
                    </a:cubicBezTo>
                    <a:cubicBezTo>
                      <a:pt x="46" y="0"/>
                      <a:pt x="56" y="2"/>
                      <a:pt x="65" y="5"/>
                    </a:cubicBezTo>
                    <a:cubicBezTo>
                      <a:pt x="78" y="10"/>
                      <a:pt x="86" y="21"/>
                      <a:pt x="85" y="36"/>
                    </a:cubicBezTo>
                    <a:cubicBezTo>
                      <a:pt x="85" y="52"/>
                      <a:pt x="85" y="68"/>
                      <a:pt x="85" y="83"/>
                    </a:cubicBezTo>
                    <a:cubicBezTo>
                      <a:pt x="85" y="91"/>
                      <a:pt x="82" y="95"/>
                      <a:pt x="77" y="95"/>
                    </a:cubicBezTo>
                    <a:cubicBezTo>
                      <a:pt x="72" y="95"/>
                      <a:pt x="69" y="91"/>
                      <a:pt x="69" y="83"/>
                    </a:cubicBezTo>
                    <a:cubicBezTo>
                      <a:pt x="69" y="71"/>
                      <a:pt x="69" y="58"/>
                      <a:pt x="69" y="46"/>
                    </a:cubicBezTo>
                    <a:cubicBezTo>
                      <a:pt x="69" y="44"/>
                      <a:pt x="68" y="41"/>
                      <a:pt x="68" y="39"/>
                    </a:cubicBezTo>
                    <a:cubicBezTo>
                      <a:pt x="67" y="39"/>
                      <a:pt x="67" y="39"/>
                      <a:pt x="66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ZA" sz="1400">
                  <a:latin typeface="+mj-lt"/>
                </a:endParaRPr>
              </a:p>
            </p:txBody>
          </p:sp>
          <p:sp>
            <p:nvSpPr>
              <p:cNvPr id="68" name="Freeform 27">
                <a:extLst>
                  <a:ext uri="{FF2B5EF4-FFF2-40B4-BE49-F238E27FC236}">
                    <a16:creationId xmlns:a16="http://schemas.microsoft.com/office/drawing/2014/main" id="{1F048753-FCE6-4DAB-A6AE-C67CE8DA88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4" y="1097"/>
                <a:ext cx="26" cy="26"/>
              </a:xfrm>
              <a:custGeom>
                <a:avLst/>
                <a:gdLst>
                  <a:gd name="T0" fmla="*/ 39 w 78"/>
                  <a:gd name="T1" fmla="*/ 0 h 78"/>
                  <a:gd name="T2" fmla="*/ 78 w 78"/>
                  <a:gd name="T3" fmla="*/ 38 h 78"/>
                  <a:gd name="T4" fmla="*/ 38 w 78"/>
                  <a:gd name="T5" fmla="*/ 77 h 78"/>
                  <a:gd name="T6" fmla="*/ 0 w 78"/>
                  <a:gd name="T7" fmla="*/ 38 h 78"/>
                  <a:gd name="T8" fmla="*/ 39 w 78"/>
                  <a:gd name="T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8" h="78">
                    <a:moveTo>
                      <a:pt x="39" y="0"/>
                    </a:moveTo>
                    <a:cubicBezTo>
                      <a:pt x="61" y="0"/>
                      <a:pt x="78" y="17"/>
                      <a:pt x="78" y="38"/>
                    </a:cubicBezTo>
                    <a:cubicBezTo>
                      <a:pt x="78" y="60"/>
                      <a:pt x="60" y="78"/>
                      <a:pt x="38" y="77"/>
                    </a:cubicBezTo>
                    <a:cubicBezTo>
                      <a:pt x="17" y="77"/>
                      <a:pt x="0" y="59"/>
                      <a:pt x="0" y="38"/>
                    </a:cubicBezTo>
                    <a:cubicBezTo>
                      <a:pt x="0" y="17"/>
                      <a:pt x="18" y="0"/>
                      <a:pt x="3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ZA" sz="1400">
                  <a:latin typeface="+mj-lt"/>
                </a:endParaRPr>
              </a:p>
            </p:txBody>
          </p:sp>
          <p:sp>
            <p:nvSpPr>
              <p:cNvPr id="69" name="Freeform 28">
                <a:extLst>
                  <a:ext uri="{FF2B5EF4-FFF2-40B4-BE49-F238E27FC236}">
                    <a16:creationId xmlns:a16="http://schemas.microsoft.com/office/drawing/2014/main" id="{B7DC7B3D-DE59-4F1D-899F-73BAB8C246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37" y="1102"/>
                <a:ext cx="25" cy="26"/>
              </a:xfrm>
              <a:custGeom>
                <a:avLst/>
                <a:gdLst>
                  <a:gd name="T0" fmla="*/ 78 w 78"/>
                  <a:gd name="T1" fmla="*/ 39 h 78"/>
                  <a:gd name="T2" fmla="*/ 39 w 78"/>
                  <a:gd name="T3" fmla="*/ 78 h 78"/>
                  <a:gd name="T4" fmla="*/ 0 w 78"/>
                  <a:gd name="T5" fmla="*/ 39 h 78"/>
                  <a:gd name="T6" fmla="*/ 39 w 78"/>
                  <a:gd name="T7" fmla="*/ 0 h 78"/>
                  <a:gd name="T8" fmla="*/ 78 w 78"/>
                  <a:gd name="T9" fmla="*/ 39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8" h="78">
                    <a:moveTo>
                      <a:pt x="78" y="39"/>
                    </a:moveTo>
                    <a:cubicBezTo>
                      <a:pt x="78" y="60"/>
                      <a:pt x="60" y="78"/>
                      <a:pt x="39" y="78"/>
                    </a:cubicBezTo>
                    <a:cubicBezTo>
                      <a:pt x="18" y="77"/>
                      <a:pt x="0" y="60"/>
                      <a:pt x="0" y="39"/>
                    </a:cubicBezTo>
                    <a:cubicBezTo>
                      <a:pt x="0" y="17"/>
                      <a:pt x="18" y="0"/>
                      <a:pt x="39" y="0"/>
                    </a:cubicBezTo>
                    <a:cubicBezTo>
                      <a:pt x="61" y="0"/>
                      <a:pt x="78" y="17"/>
                      <a:pt x="78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ZA" sz="1400">
                  <a:latin typeface="+mj-lt"/>
                </a:endParaRPr>
              </a:p>
            </p:txBody>
          </p:sp>
          <p:sp>
            <p:nvSpPr>
              <p:cNvPr id="70" name="Freeform 29">
                <a:extLst>
                  <a:ext uri="{FF2B5EF4-FFF2-40B4-BE49-F238E27FC236}">
                    <a16:creationId xmlns:a16="http://schemas.microsoft.com/office/drawing/2014/main" id="{217136B5-6EBA-4E69-8F3A-08F6E7571F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4" y="1167"/>
                <a:ext cx="13" cy="13"/>
              </a:xfrm>
              <a:custGeom>
                <a:avLst/>
                <a:gdLst>
                  <a:gd name="T0" fmla="*/ 40 w 40"/>
                  <a:gd name="T1" fmla="*/ 20 h 40"/>
                  <a:gd name="T2" fmla="*/ 20 w 40"/>
                  <a:gd name="T3" fmla="*/ 40 h 40"/>
                  <a:gd name="T4" fmla="*/ 0 w 40"/>
                  <a:gd name="T5" fmla="*/ 20 h 40"/>
                  <a:gd name="T6" fmla="*/ 21 w 40"/>
                  <a:gd name="T7" fmla="*/ 0 h 40"/>
                  <a:gd name="T8" fmla="*/ 40 w 40"/>
                  <a:gd name="T9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40">
                    <a:moveTo>
                      <a:pt x="40" y="20"/>
                    </a:moveTo>
                    <a:cubicBezTo>
                      <a:pt x="40" y="31"/>
                      <a:pt x="31" y="40"/>
                      <a:pt x="20" y="40"/>
                    </a:cubicBez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1" y="0"/>
                    </a:cubicBezTo>
                    <a:cubicBezTo>
                      <a:pt x="31" y="0"/>
                      <a:pt x="40" y="9"/>
                      <a:pt x="40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ZA" sz="1400">
                  <a:latin typeface="+mj-lt"/>
                </a:endParaRPr>
              </a:p>
            </p:txBody>
          </p:sp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A61DCA69-CD58-4A23-9D3A-B336A71A6C34}"/>
                </a:ext>
              </a:extLst>
            </p:cNvPr>
            <p:cNvGrpSpPr/>
            <p:nvPr/>
          </p:nvGrpSpPr>
          <p:grpSpPr>
            <a:xfrm>
              <a:off x="3383786" y="2672593"/>
              <a:ext cx="923474" cy="919989"/>
              <a:chOff x="2598002" y="3155443"/>
              <a:chExt cx="553377" cy="551289"/>
            </a:xfrm>
          </p:grpSpPr>
          <p:sp>
            <p:nvSpPr>
              <p:cNvPr id="62" name="Oval 6">
                <a:extLst>
                  <a:ext uri="{FF2B5EF4-FFF2-40B4-BE49-F238E27FC236}">
                    <a16:creationId xmlns:a16="http://schemas.microsoft.com/office/drawing/2014/main" id="{02726D36-FD85-4451-B4C0-C34737AD554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98002" y="3155443"/>
                <a:ext cx="553377" cy="551289"/>
              </a:xfrm>
              <a:prstGeom prst="ellipse">
                <a:avLst/>
              </a:prstGeom>
              <a:noFill/>
              <a:ln w="53975" cap="rnd">
                <a:solidFill>
                  <a:srgbClr val="875F58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ZA" sz="1400">
                  <a:latin typeface="+mj-lt"/>
                </a:endParaRPr>
              </a:p>
            </p:txBody>
          </p:sp>
          <p:pic>
            <p:nvPicPr>
              <p:cNvPr id="63" name="Graphic 62" descr="Briefcase">
                <a:extLst>
                  <a:ext uri="{FF2B5EF4-FFF2-40B4-BE49-F238E27FC236}">
                    <a16:creationId xmlns:a16="http://schemas.microsoft.com/office/drawing/2014/main" id="{ACF09BA2-1713-4B80-9540-2860C507C87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2655470" y="3214632"/>
                <a:ext cx="419964" cy="419964"/>
              </a:xfrm>
              <a:prstGeom prst="rect">
                <a:avLst/>
              </a:prstGeom>
            </p:spPr>
          </p:pic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5899A65C-D0BB-4056-807A-9D1EFB3D4D98}"/>
                </a:ext>
              </a:extLst>
            </p:cNvPr>
            <p:cNvGrpSpPr/>
            <p:nvPr/>
          </p:nvGrpSpPr>
          <p:grpSpPr>
            <a:xfrm>
              <a:off x="3379787" y="4411739"/>
              <a:ext cx="927800" cy="934803"/>
              <a:chOff x="2598002" y="4788428"/>
              <a:chExt cx="553377" cy="557553"/>
            </a:xfrm>
          </p:grpSpPr>
          <p:sp>
            <p:nvSpPr>
              <p:cNvPr id="60" name="Oval 5">
                <a:extLst>
                  <a:ext uri="{FF2B5EF4-FFF2-40B4-BE49-F238E27FC236}">
                    <a16:creationId xmlns:a16="http://schemas.microsoft.com/office/drawing/2014/main" id="{AA86C1DB-8816-4940-B6E3-DEEE6E08733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98002" y="4788428"/>
                <a:ext cx="553377" cy="557553"/>
              </a:xfrm>
              <a:prstGeom prst="ellipse">
                <a:avLst/>
              </a:prstGeom>
              <a:noFill/>
              <a:ln w="53975" cap="rnd">
                <a:solidFill>
                  <a:srgbClr val="E58E1A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ZA" sz="1400">
                  <a:latin typeface="+mj-lt"/>
                </a:endParaRPr>
              </a:p>
            </p:txBody>
          </p:sp>
          <p:pic>
            <p:nvPicPr>
              <p:cNvPr id="61" name="Graphic 60" descr="Piggy Bank">
                <a:extLst>
                  <a:ext uri="{FF2B5EF4-FFF2-40B4-BE49-F238E27FC236}">
                    <a16:creationId xmlns:a16="http://schemas.microsoft.com/office/drawing/2014/main" id="{0FDCA40E-91C7-47D1-80F4-A0E1FCC97F8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2663940" y="4829319"/>
                <a:ext cx="461780" cy="461780"/>
              </a:xfrm>
              <a:prstGeom prst="rect">
                <a:avLst/>
              </a:prstGeom>
            </p:spPr>
          </p:pic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C396451F-E9A4-4393-92B0-A14FD7975F95}"/>
                </a:ext>
              </a:extLst>
            </p:cNvPr>
            <p:cNvGrpSpPr/>
            <p:nvPr/>
          </p:nvGrpSpPr>
          <p:grpSpPr>
            <a:xfrm>
              <a:off x="2680760" y="3145824"/>
              <a:ext cx="594154" cy="108871"/>
              <a:chOff x="1814921" y="3375623"/>
              <a:chExt cx="604002" cy="110675"/>
            </a:xfrm>
          </p:grpSpPr>
          <p:sp>
            <p:nvSpPr>
              <p:cNvPr id="58" name="Line 12">
                <a:extLst>
                  <a:ext uri="{FF2B5EF4-FFF2-40B4-BE49-F238E27FC236}">
                    <a16:creationId xmlns:a16="http://schemas.microsoft.com/office/drawing/2014/main" id="{A5CC764A-51D3-41E9-9578-00815A75D56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814921" y="3431088"/>
                <a:ext cx="501172" cy="0"/>
              </a:xfrm>
              <a:prstGeom prst="line">
                <a:avLst/>
              </a:prstGeom>
              <a:noFill/>
              <a:ln w="17463" cap="flat">
                <a:solidFill>
                  <a:srgbClr val="A7A9A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ZA" sz="1400" dirty="0">
                  <a:latin typeface="+mj-lt"/>
                </a:endParaRPr>
              </a:p>
            </p:txBody>
          </p:sp>
          <p:sp>
            <p:nvSpPr>
              <p:cNvPr id="59" name="Freeform 14">
                <a:extLst>
                  <a:ext uri="{FF2B5EF4-FFF2-40B4-BE49-F238E27FC236}">
                    <a16:creationId xmlns:a16="http://schemas.microsoft.com/office/drawing/2014/main" id="{ED17E0C6-CF30-47E8-9744-C335DE2187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18689" y="3375623"/>
                <a:ext cx="100234" cy="110675"/>
              </a:xfrm>
              <a:custGeom>
                <a:avLst/>
                <a:gdLst>
                  <a:gd name="T0" fmla="*/ 48 w 48"/>
                  <a:gd name="T1" fmla="*/ 28 h 53"/>
                  <a:gd name="T2" fmla="*/ 0 w 48"/>
                  <a:gd name="T3" fmla="*/ 53 h 53"/>
                  <a:gd name="T4" fmla="*/ 6 w 48"/>
                  <a:gd name="T5" fmla="*/ 28 h 53"/>
                  <a:gd name="T6" fmla="*/ 0 w 48"/>
                  <a:gd name="T7" fmla="*/ 0 h 53"/>
                  <a:gd name="T8" fmla="*/ 48 w 48"/>
                  <a:gd name="T9" fmla="*/ 28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53">
                    <a:moveTo>
                      <a:pt x="48" y="28"/>
                    </a:moveTo>
                    <a:lnTo>
                      <a:pt x="0" y="53"/>
                    </a:lnTo>
                    <a:lnTo>
                      <a:pt x="6" y="28"/>
                    </a:lnTo>
                    <a:lnTo>
                      <a:pt x="0" y="0"/>
                    </a:lnTo>
                    <a:lnTo>
                      <a:pt x="48" y="28"/>
                    </a:lnTo>
                    <a:close/>
                  </a:path>
                </a:pathLst>
              </a:custGeom>
              <a:solidFill>
                <a:srgbClr val="A7A9AC"/>
              </a:solidFill>
              <a:ln w="4763" cap="flat">
                <a:solidFill>
                  <a:srgbClr val="A7A9AC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ZA" sz="1400">
                  <a:latin typeface="+mj-lt"/>
                </a:endParaRPr>
              </a:p>
            </p:txBody>
          </p:sp>
        </p:grp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F13184DB-F67B-4FA6-AD78-1F41C35F1BE2}"/>
                </a:ext>
              </a:extLst>
            </p:cNvPr>
            <p:cNvSpPr txBox="1"/>
            <p:nvPr/>
          </p:nvSpPr>
          <p:spPr>
            <a:xfrm>
              <a:off x="2052771" y="5819716"/>
              <a:ext cx="1576053" cy="18716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ZA" sz="500" dirty="0">
                  <a:latin typeface="+mj-lt"/>
                </a:rPr>
                <a:t>Source: Adapted from Chamberlain et ai. (2017)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3CF7C31F-C2A9-4A3B-A66E-30FAB50646FE}"/>
                </a:ext>
              </a:extLst>
            </p:cNvPr>
            <p:cNvSpPr txBox="1"/>
            <p:nvPr/>
          </p:nvSpPr>
          <p:spPr>
            <a:xfrm>
              <a:off x="3322407" y="2601011"/>
              <a:ext cx="1038473" cy="779726"/>
            </a:xfrm>
            <a:prstGeom prst="rect">
              <a:avLst/>
            </a:prstGeom>
            <a:noFill/>
          </p:spPr>
          <p:txBody>
            <a:bodyPr wrap="none" rtlCol="0">
              <a:prstTxWarp prst="textArchUp">
                <a:avLst>
                  <a:gd name="adj" fmla="val 11019334"/>
                </a:avLst>
              </a:prstTxWarp>
              <a:spAutoFit/>
            </a:bodyPr>
            <a:lstStyle/>
            <a:p>
              <a:r>
                <a:rPr lang="en-ZA" sz="1400" b="1" dirty="0">
                  <a:solidFill>
                    <a:schemeClr val="accent6">
                      <a:lumMod val="50000"/>
                    </a:schemeClr>
                  </a:solidFill>
                  <a:latin typeface="+mj-lt"/>
                </a:rPr>
                <a:t>       Business</a:t>
              </a:r>
              <a:endParaRPr lang="en-ZA" sz="1400" dirty="0">
                <a:latin typeface="+mj-lt"/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832C0637-9296-4F08-90E7-017A7F6A3E87}"/>
                </a:ext>
              </a:extLst>
            </p:cNvPr>
            <p:cNvSpPr txBox="1"/>
            <p:nvPr/>
          </p:nvSpPr>
          <p:spPr>
            <a:xfrm>
              <a:off x="3283747" y="2892574"/>
              <a:ext cx="1157203" cy="842034"/>
            </a:xfrm>
            <a:prstGeom prst="rect">
              <a:avLst/>
            </a:prstGeom>
            <a:noFill/>
          </p:spPr>
          <p:txBody>
            <a:bodyPr wrap="none" rtlCol="0">
              <a:prstTxWarp prst="textArchDown">
                <a:avLst/>
              </a:prstTxWarp>
              <a:spAutoFit/>
            </a:bodyPr>
            <a:lstStyle/>
            <a:p>
              <a:r>
                <a:rPr lang="en-ZA" sz="1400" b="1" dirty="0">
                  <a:solidFill>
                    <a:schemeClr val="accent3">
                      <a:lumMod val="50000"/>
                    </a:schemeClr>
                  </a:solidFill>
                  <a:latin typeface="+mj-lt"/>
                </a:rPr>
                <a:t>       </a:t>
              </a:r>
              <a:r>
                <a:rPr lang="en-ZA" sz="1400" b="1" dirty="0">
                  <a:solidFill>
                    <a:schemeClr val="accent6">
                      <a:lumMod val="50000"/>
                    </a:schemeClr>
                  </a:solidFill>
                  <a:latin typeface="+mj-lt"/>
                </a:rPr>
                <a:t>resilience</a:t>
              </a:r>
              <a:endParaRPr lang="en-ZA" sz="1400" dirty="0">
                <a:solidFill>
                  <a:schemeClr val="accent6">
                    <a:lumMod val="50000"/>
                  </a:schemeClr>
                </a:solidFill>
                <a:latin typeface="+mj-lt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B6A4F30F-191A-450F-84F5-2EAAE095E1E7}"/>
                </a:ext>
              </a:extLst>
            </p:cNvPr>
            <p:cNvSpPr txBox="1"/>
            <p:nvPr/>
          </p:nvSpPr>
          <p:spPr>
            <a:xfrm>
              <a:off x="3251910" y="4324644"/>
              <a:ext cx="1170295" cy="1088643"/>
            </a:xfrm>
            <a:prstGeom prst="rect">
              <a:avLst/>
            </a:prstGeom>
            <a:noFill/>
          </p:spPr>
          <p:txBody>
            <a:bodyPr wrap="none" rtlCol="0">
              <a:prstTxWarp prst="textArchUp">
                <a:avLst>
                  <a:gd name="adj" fmla="val 11019334"/>
                </a:avLst>
              </a:prstTxWarp>
              <a:spAutoFit/>
            </a:bodyPr>
            <a:lstStyle/>
            <a:p>
              <a:r>
                <a:rPr lang="en-ZA" sz="1400" b="1" dirty="0">
                  <a:solidFill>
                    <a:schemeClr val="accent6">
                      <a:lumMod val="50000"/>
                    </a:schemeClr>
                  </a:solidFill>
                  <a:latin typeface="+mj-lt"/>
                </a:rPr>
                <a:t>    </a:t>
              </a:r>
              <a:r>
                <a:rPr lang="en-ZA" sz="1400" b="1" dirty="0">
                  <a:solidFill>
                    <a:schemeClr val="accent5">
                      <a:lumMod val="50000"/>
                    </a:schemeClr>
                  </a:solidFill>
                  <a:latin typeface="+mj-lt"/>
                </a:rPr>
                <a:t>Capital market</a:t>
              </a:r>
              <a:endParaRPr lang="en-ZA" sz="1400" dirty="0">
                <a:latin typeface="+mj-lt"/>
              </a:endParaRP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30CF371B-0C0B-45CB-AFBE-36006C9E25E9}"/>
                </a:ext>
              </a:extLst>
            </p:cNvPr>
            <p:cNvSpPr txBox="1"/>
            <p:nvPr/>
          </p:nvSpPr>
          <p:spPr>
            <a:xfrm>
              <a:off x="3265002" y="4636384"/>
              <a:ext cx="1157203" cy="850728"/>
            </a:xfrm>
            <a:prstGeom prst="rect">
              <a:avLst/>
            </a:prstGeom>
            <a:noFill/>
          </p:spPr>
          <p:txBody>
            <a:bodyPr wrap="none" rtlCol="0">
              <a:prstTxWarp prst="textArchDown">
                <a:avLst/>
              </a:prstTxWarp>
              <a:spAutoFit/>
            </a:bodyPr>
            <a:lstStyle/>
            <a:p>
              <a:r>
                <a:rPr lang="en-ZA" sz="1400" b="1" dirty="0">
                  <a:solidFill>
                    <a:schemeClr val="accent5">
                      <a:lumMod val="50000"/>
                    </a:schemeClr>
                  </a:solidFill>
                  <a:latin typeface="+mj-lt"/>
                </a:rPr>
                <a:t>    development</a:t>
              </a:r>
              <a:endParaRPr lang="en-ZA" sz="1400" dirty="0">
                <a:solidFill>
                  <a:schemeClr val="accent6">
                    <a:lumMod val="50000"/>
                  </a:schemeClr>
                </a:solidFill>
                <a:latin typeface="+mj-lt"/>
              </a:endParaRP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E3817BA2-246E-4906-8135-915DD9FD9A88}"/>
                </a:ext>
              </a:extLst>
            </p:cNvPr>
            <p:cNvSpPr txBox="1"/>
            <p:nvPr/>
          </p:nvSpPr>
          <p:spPr>
            <a:xfrm>
              <a:off x="3354005" y="969694"/>
              <a:ext cx="1038473" cy="777522"/>
            </a:xfrm>
            <a:prstGeom prst="rect">
              <a:avLst/>
            </a:prstGeom>
            <a:noFill/>
          </p:spPr>
          <p:txBody>
            <a:bodyPr wrap="none" rtlCol="0">
              <a:prstTxWarp prst="textArchUp">
                <a:avLst>
                  <a:gd name="adj" fmla="val 11019334"/>
                </a:avLst>
              </a:prstTxWarp>
              <a:spAutoFit/>
            </a:bodyPr>
            <a:lstStyle/>
            <a:p>
              <a:r>
                <a:rPr lang="en-ZA" sz="1400" b="1" dirty="0">
                  <a:solidFill>
                    <a:schemeClr val="accent3">
                      <a:lumMod val="50000"/>
                    </a:schemeClr>
                  </a:solidFill>
                  <a:latin typeface="+mj-lt"/>
                </a:rPr>
                <a:t>     Household</a:t>
              </a:r>
              <a:endParaRPr lang="en-ZA" sz="1400" dirty="0">
                <a:latin typeface="+mj-lt"/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88C97C15-7156-4F75-9C27-EA25EE012846}"/>
                </a:ext>
              </a:extLst>
            </p:cNvPr>
            <p:cNvSpPr/>
            <p:nvPr/>
          </p:nvSpPr>
          <p:spPr>
            <a:xfrm>
              <a:off x="4601983" y="969694"/>
              <a:ext cx="1959614" cy="244868"/>
            </a:xfrm>
            <a:prstGeom prst="rect">
              <a:avLst/>
            </a:prstGeom>
            <a:solidFill>
              <a:srgbClr val="CFAB7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ZA" sz="1200" b="1" dirty="0">
                  <a:latin typeface="+mj-lt"/>
                </a:rPr>
                <a:t>Risk transfer</a:t>
              </a: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D7E375E2-2FF1-4D4E-B21A-27BD3A8FD2E5}"/>
                </a:ext>
              </a:extLst>
            </p:cNvPr>
            <p:cNvSpPr/>
            <p:nvPr/>
          </p:nvSpPr>
          <p:spPr>
            <a:xfrm>
              <a:off x="4601983" y="1261449"/>
              <a:ext cx="1959614" cy="244868"/>
            </a:xfrm>
            <a:prstGeom prst="rect">
              <a:avLst/>
            </a:prstGeom>
            <a:solidFill>
              <a:srgbClr val="CFAB7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ZA" sz="1200" b="1" dirty="0">
                  <a:latin typeface="+mj-lt"/>
                </a:rPr>
                <a:t>Productive risk-taking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9EB1EC8E-3DAC-4F47-9B30-5280488C4CB2}"/>
                </a:ext>
              </a:extLst>
            </p:cNvPr>
            <p:cNvSpPr/>
            <p:nvPr/>
          </p:nvSpPr>
          <p:spPr>
            <a:xfrm>
              <a:off x="4601983" y="1553204"/>
              <a:ext cx="1959614" cy="244868"/>
            </a:xfrm>
            <a:prstGeom prst="rect">
              <a:avLst/>
            </a:prstGeom>
            <a:solidFill>
              <a:srgbClr val="CFAB7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ZA" sz="1200" b="1" dirty="0">
                  <a:latin typeface="+mj-lt"/>
                </a:rPr>
                <a:t>Peace of mind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440B0D7A-0694-429B-ACB4-547B88B1B323}"/>
                </a:ext>
              </a:extLst>
            </p:cNvPr>
            <p:cNvSpPr/>
            <p:nvPr/>
          </p:nvSpPr>
          <p:spPr>
            <a:xfrm>
              <a:off x="4601983" y="1844958"/>
              <a:ext cx="1959613" cy="437088"/>
            </a:xfrm>
            <a:prstGeom prst="rect">
              <a:avLst/>
            </a:prstGeom>
            <a:solidFill>
              <a:srgbClr val="CFAB7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ZA" sz="1200" b="1" dirty="0">
                  <a:latin typeface="+mj-lt"/>
                </a:rPr>
                <a:t>Access to critical services</a:t>
              </a:r>
            </a:p>
          </p:txBody>
        </p:sp>
        <p:cxnSp>
          <p:nvCxnSpPr>
            <p:cNvPr id="44" name="Connector: Elbow 43">
              <a:extLst>
                <a:ext uri="{FF2B5EF4-FFF2-40B4-BE49-F238E27FC236}">
                  <a16:creationId xmlns:a16="http://schemas.microsoft.com/office/drawing/2014/main" id="{64E08421-98CC-4B95-A833-D17AC79A8A55}"/>
                </a:ext>
              </a:extLst>
            </p:cNvPr>
            <p:cNvCxnSpPr>
              <a:cxnSpLocks/>
              <a:stCxn id="40" idx="3"/>
            </p:cNvCxnSpPr>
            <p:nvPr/>
          </p:nvCxnSpPr>
          <p:spPr>
            <a:xfrm>
              <a:off x="6561597" y="1092128"/>
              <a:ext cx="499056" cy="422802"/>
            </a:xfrm>
            <a:prstGeom prst="bentConnector3">
              <a:avLst/>
            </a:prstGeom>
            <a:ln>
              <a:solidFill>
                <a:schemeClr val="bg1">
                  <a:lumMod val="6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Connector: Elbow 44">
              <a:extLst>
                <a:ext uri="{FF2B5EF4-FFF2-40B4-BE49-F238E27FC236}">
                  <a16:creationId xmlns:a16="http://schemas.microsoft.com/office/drawing/2014/main" id="{E57E6431-B73E-4AA3-9201-E89C9D5FE2E7}"/>
                </a:ext>
              </a:extLst>
            </p:cNvPr>
            <p:cNvCxnSpPr>
              <a:cxnSpLocks/>
              <a:stCxn id="43" idx="3"/>
            </p:cNvCxnSpPr>
            <p:nvPr/>
          </p:nvCxnSpPr>
          <p:spPr>
            <a:xfrm flipV="1">
              <a:off x="6561596" y="1515497"/>
              <a:ext cx="499058" cy="548005"/>
            </a:xfrm>
            <a:prstGeom prst="bentConnector2">
              <a:avLst/>
            </a:prstGeom>
            <a:ln>
              <a:solidFill>
                <a:schemeClr val="bg1">
                  <a:lumMod val="6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D91AE30A-5223-48B0-8604-75E064153B76}"/>
                </a:ext>
              </a:extLst>
            </p:cNvPr>
            <p:cNvSpPr txBox="1"/>
            <p:nvPr/>
          </p:nvSpPr>
          <p:spPr>
            <a:xfrm>
              <a:off x="3283747" y="1264318"/>
              <a:ext cx="1157203" cy="820255"/>
            </a:xfrm>
            <a:prstGeom prst="rect">
              <a:avLst/>
            </a:prstGeom>
            <a:noFill/>
          </p:spPr>
          <p:txBody>
            <a:bodyPr wrap="none" rtlCol="0">
              <a:prstTxWarp prst="textArchDown">
                <a:avLst/>
              </a:prstTxWarp>
              <a:spAutoFit/>
            </a:bodyPr>
            <a:lstStyle/>
            <a:p>
              <a:r>
                <a:rPr lang="en-ZA" sz="1400" b="1" dirty="0">
                  <a:solidFill>
                    <a:schemeClr val="accent3">
                      <a:lumMod val="50000"/>
                    </a:schemeClr>
                  </a:solidFill>
                  <a:latin typeface="+mj-lt"/>
                </a:rPr>
                <a:t>        resilience</a:t>
              </a:r>
              <a:endParaRPr lang="en-ZA" sz="1400" dirty="0">
                <a:latin typeface="+mj-lt"/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17A25F23-15B9-4D24-83D7-CA6D71DD003A}"/>
                </a:ext>
              </a:extLst>
            </p:cNvPr>
            <p:cNvSpPr/>
            <p:nvPr/>
          </p:nvSpPr>
          <p:spPr>
            <a:xfrm>
              <a:off x="4601983" y="2644390"/>
              <a:ext cx="1959614" cy="244868"/>
            </a:xfrm>
            <a:prstGeom prst="rect">
              <a:avLst/>
            </a:prstGeom>
            <a:solidFill>
              <a:srgbClr val="875F5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ZA" sz="1200" b="1" dirty="0">
                  <a:solidFill>
                    <a:schemeClr val="bg1"/>
                  </a:solidFill>
                  <a:latin typeface="+mj-lt"/>
                </a:rPr>
                <a:t>Risk transfer</a:t>
              </a: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E1BCFC3F-F71D-44A2-A082-0577162B36EB}"/>
                </a:ext>
              </a:extLst>
            </p:cNvPr>
            <p:cNvSpPr/>
            <p:nvPr/>
          </p:nvSpPr>
          <p:spPr>
            <a:xfrm>
              <a:off x="4601983" y="2936146"/>
              <a:ext cx="1959614" cy="244868"/>
            </a:xfrm>
            <a:prstGeom prst="rect">
              <a:avLst/>
            </a:prstGeom>
            <a:solidFill>
              <a:srgbClr val="875F5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ZA" sz="1200" b="1" dirty="0">
                  <a:latin typeface="+mj-lt"/>
                </a:rPr>
                <a:t>Risk management</a:t>
              </a: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B1D9E335-5987-440B-A9D3-A79BD06E6762}"/>
                </a:ext>
              </a:extLst>
            </p:cNvPr>
            <p:cNvSpPr/>
            <p:nvPr/>
          </p:nvSpPr>
          <p:spPr>
            <a:xfrm>
              <a:off x="4601983" y="3227899"/>
              <a:ext cx="1959613" cy="437891"/>
            </a:xfrm>
            <a:prstGeom prst="rect">
              <a:avLst/>
            </a:prstGeom>
            <a:solidFill>
              <a:srgbClr val="875F5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ZA" sz="1200" b="1" dirty="0">
                  <a:latin typeface="+mj-lt"/>
                </a:rPr>
                <a:t>Credit market development</a:t>
              </a: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EC612F74-D63B-493C-93E4-B65F14672F44}"/>
                </a:ext>
              </a:extLst>
            </p:cNvPr>
            <p:cNvSpPr/>
            <p:nvPr/>
          </p:nvSpPr>
          <p:spPr>
            <a:xfrm>
              <a:off x="4601983" y="4381754"/>
              <a:ext cx="1959614" cy="244868"/>
            </a:xfrm>
            <a:prstGeom prst="rect">
              <a:avLst/>
            </a:prstGeom>
            <a:solidFill>
              <a:srgbClr val="E58E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ZA" sz="1200" b="1" dirty="0">
                  <a:solidFill>
                    <a:schemeClr val="bg1"/>
                  </a:solidFill>
                  <a:latin typeface="+mj-lt"/>
                </a:rPr>
                <a:t>Mobilising capital</a:t>
              </a: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07CC6321-CDA6-43B6-9105-2E76ED0CFFFE}"/>
                </a:ext>
              </a:extLst>
            </p:cNvPr>
            <p:cNvSpPr/>
            <p:nvPr/>
          </p:nvSpPr>
          <p:spPr>
            <a:xfrm>
              <a:off x="4601983" y="4673509"/>
              <a:ext cx="1959614" cy="244868"/>
            </a:xfrm>
            <a:prstGeom prst="rect">
              <a:avLst/>
            </a:prstGeom>
            <a:solidFill>
              <a:srgbClr val="E58E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ZA" sz="1200" b="1" dirty="0">
                  <a:latin typeface="+mj-lt"/>
                </a:rPr>
                <a:t>Pooling capital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CF2EC276-F49C-4694-A93A-571ABE00AB6A}"/>
                </a:ext>
              </a:extLst>
            </p:cNvPr>
            <p:cNvSpPr/>
            <p:nvPr/>
          </p:nvSpPr>
          <p:spPr>
            <a:xfrm>
              <a:off x="4601983" y="4965264"/>
              <a:ext cx="1959614" cy="244868"/>
            </a:xfrm>
            <a:prstGeom prst="rect">
              <a:avLst/>
            </a:prstGeom>
            <a:solidFill>
              <a:srgbClr val="E58E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ZA" sz="1200" b="1" dirty="0">
                  <a:latin typeface="+mj-lt"/>
                </a:rPr>
                <a:t>Allocating capital</a:t>
              </a: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1D5E5F0E-2068-4D7F-9C23-4E110159356B}"/>
                </a:ext>
              </a:extLst>
            </p:cNvPr>
            <p:cNvSpPr/>
            <p:nvPr/>
          </p:nvSpPr>
          <p:spPr>
            <a:xfrm>
              <a:off x="4601983" y="5257018"/>
              <a:ext cx="1959614" cy="244868"/>
            </a:xfrm>
            <a:prstGeom prst="rect">
              <a:avLst/>
            </a:prstGeom>
            <a:solidFill>
              <a:srgbClr val="E58E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ZA" sz="1200" b="1" dirty="0">
                  <a:latin typeface="+mj-lt"/>
                </a:rPr>
                <a:t>Building institutions</a:t>
              </a:r>
            </a:p>
          </p:txBody>
        </p:sp>
        <p:cxnSp>
          <p:nvCxnSpPr>
            <p:cNvPr id="54" name="Connector: Elbow 53">
              <a:extLst>
                <a:ext uri="{FF2B5EF4-FFF2-40B4-BE49-F238E27FC236}">
                  <a16:creationId xmlns:a16="http://schemas.microsoft.com/office/drawing/2014/main" id="{17235D53-AA8A-440C-B8C7-25003C8C8C46}"/>
                </a:ext>
              </a:extLst>
            </p:cNvPr>
            <p:cNvCxnSpPr>
              <a:cxnSpLocks/>
              <a:stCxn id="47" idx="3"/>
              <a:endCxn id="55" idx="1"/>
            </p:cNvCxnSpPr>
            <p:nvPr/>
          </p:nvCxnSpPr>
          <p:spPr>
            <a:xfrm>
              <a:off x="6561597" y="2766824"/>
              <a:ext cx="499056" cy="1190722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bg1">
                  <a:lumMod val="6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Rectangle: Rounded Corners 54">
              <a:extLst>
                <a:ext uri="{FF2B5EF4-FFF2-40B4-BE49-F238E27FC236}">
                  <a16:creationId xmlns:a16="http://schemas.microsoft.com/office/drawing/2014/main" id="{772126BB-AB97-49BB-9513-DF8C1219EA91}"/>
                </a:ext>
              </a:extLst>
            </p:cNvPr>
            <p:cNvSpPr/>
            <p:nvPr/>
          </p:nvSpPr>
          <p:spPr>
            <a:xfrm>
              <a:off x="7060653" y="3405322"/>
              <a:ext cx="289958" cy="1104446"/>
            </a:xfrm>
            <a:prstGeom prst="roundRect">
              <a:avLst>
                <a:gd name="adj" fmla="val 50000"/>
              </a:avLst>
            </a:prstGeom>
            <a:solidFill>
              <a:schemeClr val="tx2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0" rtlCol="0" anchor="ctr"/>
            <a:lstStyle/>
            <a:p>
              <a:pPr algn="ctr"/>
              <a:r>
                <a:rPr lang="en-ZA" sz="1400" b="1" dirty="0">
                  <a:solidFill>
                    <a:schemeClr val="bg1"/>
                  </a:solidFill>
                  <a:latin typeface="+mj-lt"/>
                </a:rPr>
                <a:t>Indirect</a:t>
              </a:r>
            </a:p>
          </p:txBody>
        </p:sp>
        <p:cxnSp>
          <p:nvCxnSpPr>
            <p:cNvPr id="56" name="Connector: Elbow 55">
              <a:extLst>
                <a:ext uri="{FF2B5EF4-FFF2-40B4-BE49-F238E27FC236}">
                  <a16:creationId xmlns:a16="http://schemas.microsoft.com/office/drawing/2014/main" id="{8955F112-41A0-4935-BCD6-843625FEE849}"/>
                </a:ext>
              </a:extLst>
            </p:cNvPr>
            <p:cNvCxnSpPr>
              <a:cxnSpLocks/>
              <a:stCxn id="53" idx="3"/>
              <a:endCxn id="55" idx="1"/>
            </p:cNvCxnSpPr>
            <p:nvPr/>
          </p:nvCxnSpPr>
          <p:spPr>
            <a:xfrm flipV="1">
              <a:off x="6561597" y="3957546"/>
              <a:ext cx="499056" cy="1421906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bg1">
                  <a:lumMod val="6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Rectangle: Rounded Corners 56">
              <a:extLst>
                <a:ext uri="{FF2B5EF4-FFF2-40B4-BE49-F238E27FC236}">
                  <a16:creationId xmlns:a16="http://schemas.microsoft.com/office/drawing/2014/main" id="{A0D04C3B-CF39-4E94-8C98-6FA04EABD0CD}"/>
                </a:ext>
              </a:extLst>
            </p:cNvPr>
            <p:cNvSpPr/>
            <p:nvPr/>
          </p:nvSpPr>
          <p:spPr>
            <a:xfrm>
              <a:off x="7060653" y="957596"/>
              <a:ext cx="289958" cy="1104446"/>
            </a:xfrm>
            <a:prstGeom prst="roundRect">
              <a:avLst>
                <a:gd name="adj" fmla="val 50000"/>
              </a:avLst>
            </a:prstGeom>
            <a:solidFill>
              <a:schemeClr val="tx2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0" rtlCol="0" anchor="ctr"/>
            <a:lstStyle/>
            <a:p>
              <a:pPr algn="ctr"/>
              <a:r>
                <a:rPr lang="en-ZA" sz="1400" b="1" dirty="0">
                  <a:solidFill>
                    <a:schemeClr val="bg1"/>
                  </a:solidFill>
                  <a:latin typeface="+mj-lt"/>
                </a:rPr>
                <a:t>Direct</a:t>
              </a: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98A31055-1789-40D0-86B6-0ECFA60DC194}"/>
              </a:ext>
            </a:extLst>
          </p:cNvPr>
          <p:cNvGrpSpPr/>
          <p:nvPr/>
        </p:nvGrpSpPr>
        <p:grpSpPr>
          <a:xfrm>
            <a:off x="4751389" y="2393682"/>
            <a:ext cx="3889374" cy="3534312"/>
            <a:chOff x="5679214" y="2099096"/>
            <a:chExt cx="3335037" cy="3111630"/>
          </a:xfrm>
        </p:grpSpPr>
        <p:pic>
          <p:nvPicPr>
            <p:cNvPr id="76" name="Picture 75" descr="A close up of a sign&#10;&#10;Description automatically generated">
              <a:extLst>
                <a:ext uri="{FF2B5EF4-FFF2-40B4-BE49-F238E27FC236}">
                  <a16:creationId xmlns:a16="http://schemas.microsoft.com/office/drawing/2014/main" id="{635D5207-519D-4D38-B9D2-96FB3F994BB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5086" t="-7467" r="-7346" b="-16007"/>
            <a:stretch/>
          </p:blipFill>
          <p:spPr>
            <a:xfrm>
              <a:off x="6652553" y="3074303"/>
              <a:ext cx="1384387" cy="1126988"/>
            </a:xfrm>
            <a:prstGeom prst="ellipse">
              <a:avLst/>
            </a:prstGeom>
            <a:ln w="76200">
              <a:noFill/>
            </a:ln>
          </p:spPr>
        </p:pic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6EDD1E9B-8E10-4099-B320-C52F5D2A6809}"/>
                </a:ext>
              </a:extLst>
            </p:cNvPr>
            <p:cNvGrpSpPr/>
            <p:nvPr/>
          </p:nvGrpSpPr>
          <p:grpSpPr>
            <a:xfrm>
              <a:off x="6284659" y="2153940"/>
              <a:ext cx="839107" cy="920059"/>
              <a:chOff x="6207351" y="2173030"/>
              <a:chExt cx="839107" cy="920059"/>
            </a:xfrm>
          </p:grpSpPr>
          <p:grpSp>
            <p:nvGrpSpPr>
              <p:cNvPr id="130" name="Group 4">
                <a:extLst>
                  <a:ext uri="{FF2B5EF4-FFF2-40B4-BE49-F238E27FC236}">
                    <a16:creationId xmlns:a16="http://schemas.microsoft.com/office/drawing/2014/main" id="{64568352-ECF8-464D-A485-37EE251F097A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6358089" y="2434122"/>
                <a:ext cx="536784" cy="460942"/>
                <a:chOff x="6059" y="2686"/>
                <a:chExt cx="729" cy="626"/>
              </a:xfrm>
              <a:solidFill>
                <a:srgbClr val="D3A228"/>
              </a:solidFill>
            </p:grpSpPr>
            <p:sp>
              <p:nvSpPr>
                <p:cNvPr id="133" name="Freeform 5">
                  <a:extLst>
                    <a:ext uri="{FF2B5EF4-FFF2-40B4-BE49-F238E27FC236}">
                      <a16:creationId xmlns:a16="http://schemas.microsoft.com/office/drawing/2014/main" id="{22A9D977-5FB5-43D1-9697-6D9D472B90A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59" y="3001"/>
                  <a:ext cx="729" cy="311"/>
                </a:xfrm>
                <a:custGeom>
                  <a:avLst/>
                  <a:gdLst>
                    <a:gd name="T0" fmla="*/ 211 w 423"/>
                    <a:gd name="T1" fmla="*/ 0 h 180"/>
                    <a:gd name="T2" fmla="*/ 415 w 423"/>
                    <a:gd name="T3" fmla="*/ 0 h 180"/>
                    <a:gd name="T4" fmla="*/ 418 w 423"/>
                    <a:gd name="T5" fmla="*/ 1 h 180"/>
                    <a:gd name="T6" fmla="*/ 423 w 423"/>
                    <a:gd name="T7" fmla="*/ 7 h 180"/>
                    <a:gd name="T8" fmla="*/ 410 w 423"/>
                    <a:gd name="T9" fmla="*/ 50 h 180"/>
                    <a:gd name="T10" fmla="*/ 358 w 423"/>
                    <a:gd name="T11" fmla="*/ 120 h 180"/>
                    <a:gd name="T12" fmla="*/ 286 w 423"/>
                    <a:gd name="T13" fmla="*/ 161 h 180"/>
                    <a:gd name="T14" fmla="*/ 284 w 423"/>
                    <a:gd name="T15" fmla="*/ 161 h 180"/>
                    <a:gd name="T16" fmla="*/ 283 w 423"/>
                    <a:gd name="T17" fmla="*/ 163 h 180"/>
                    <a:gd name="T18" fmla="*/ 283 w 423"/>
                    <a:gd name="T19" fmla="*/ 172 h 180"/>
                    <a:gd name="T20" fmla="*/ 276 w 423"/>
                    <a:gd name="T21" fmla="*/ 180 h 180"/>
                    <a:gd name="T22" fmla="*/ 185 w 423"/>
                    <a:gd name="T23" fmla="*/ 180 h 180"/>
                    <a:gd name="T24" fmla="*/ 150 w 423"/>
                    <a:gd name="T25" fmla="*/ 180 h 180"/>
                    <a:gd name="T26" fmla="*/ 143 w 423"/>
                    <a:gd name="T27" fmla="*/ 173 h 180"/>
                    <a:gd name="T28" fmla="*/ 143 w 423"/>
                    <a:gd name="T29" fmla="*/ 165 h 180"/>
                    <a:gd name="T30" fmla="*/ 141 w 423"/>
                    <a:gd name="T31" fmla="*/ 162 h 180"/>
                    <a:gd name="T32" fmla="*/ 114 w 423"/>
                    <a:gd name="T33" fmla="*/ 152 h 180"/>
                    <a:gd name="T34" fmla="*/ 22 w 423"/>
                    <a:gd name="T35" fmla="*/ 68 h 180"/>
                    <a:gd name="T36" fmla="*/ 0 w 423"/>
                    <a:gd name="T37" fmla="*/ 8 h 180"/>
                    <a:gd name="T38" fmla="*/ 0 w 423"/>
                    <a:gd name="T39" fmla="*/ 6 h 180"/>
                    <a:gd name="T40" fmla="*/ 4 w 423"/>
                    <a:gd name="T41" fmla="*/ 1 h 180"/>
                    <a:gd name="T42" fmla="*/ 8 w 423"/>
                    <a:gd name="T43" fmla="*/ 0 h 180"/>
                    <a:gd name="T44" fmla="*/ 170 w 423"/>
                    <a:gd name="T45" fmla="*/ 0 h 180"/>
                    <a:gd name="T46" fmla="*/ 211 w 423"/>
                    <a:gd name="T47" fmla="*/ 0 h 1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23" h="180">
                      <a:moveTo>
                        <a:pt x="211" y="0"/>
                      </a:moveTo>
                      <a:cubicBezTo>
                        <a:pt x="279" y="0"/>
                        <a:pt x="347" y="0"/>
                        <a:pt x="415" y="0"/>
                      </a:cubicBezTo>
                      <a:cubicBezTo>
                        <a:pt x="416" y="0"/>
                        <a:pt x="417" y="0"/>
                        <a:pt x="418" y="1"/>
                      </a:cubicBezTo>
                      <a:cubicBezTo>
                        <a:pt x="421" y="1"/>
                        <a:pt x="423" y="4"/>
                        <a:pt x="423" y="7"/>
                      </a:cubicBezTo>
                      <a:cubicBezTo>
                        <a:pt x="420" y="22"/>
                        <a:pt x="416" y="36"/>
                        <a:pt x="410" y="50"/>
                      </a:cubicBezTo>
                      <a:cubicBezTo>
                        <a:pt x="398" y="77"/>
                        <a:pt x="380" y="100"/>
                        <a:pt x="358" y="120"/>
                      </a:cubicBezTo>
                      <a:cubicBezTo>
                        <a:pt x="337" y="138"/>
                        <a:pt x="312" y="152"/>
                        <a:pt x="286" y="161"/>
                      </a:cubicBezTo>
                      <a:cubicBezTo>
                        <a:pt x="285" y="161"/>
                        <a:pt x="285" y="161"/>
                        <a:pt x="284" y="161"/>
                      </a:cubicBezTo>
                      <a:cubicBezTo>
                        <a:pt x="283" y="162"/>
                        <a:pt x="283" y="162"/>
                        <a:pt x="283" y="163"/>
                      </a:cubicBezTo>
                      <a:cubicBezTo>
                        <a:pt x="283" y="166"/>
                        <a:pt x="283" y="169"/>
                        <a:pt x="283" y="172"/>
                      </a:cubicBezTo>
                      <a:cubicBezTo>
                        <a:pt x="283" y="178"/>
                        <a:pt x="282" y="180"/>
                        <a:pt x="276" y="180"/>
                      </a:cubicBezTo>
                      <a:cubicBezTo>
                        <a:pt x="246" y="180"/>
                        <a:pt x="216" y="180"/>
                        <a:pt x="185" y="180"/>
                      </a:cubicBezTo>
                      <a:cubicBezTo>
                        <a:pt x="173" y="180"/>
                        <a:pt x="162" y="179"/>
                        <a:pt x="150" y="180"/>
                      </a:cubicBezTo>
                      <a:cubicBezTo>
                        <a:pt x="145" y="180"/>
                        <a:pt x="143" y="177"/>
                        <a:pt x="143" y="173"/>
                      </a:cubicBezTo>
                      <a:cubicBezTo>
                        <a:pt x="143" y="171"/>
                        <a:pt x="143" y="168"/>
                        <a:pt x="143" y="165"/>
                      </a:cubicBezTo>
                      <a:cubicBezTo>
                        <a:pt x="143" y="163"/>
                        <a:pt x="143" y="163"/>
                        <a:pt x="141" y="162"/>
                      </a:cubicBezTo>
                      <a:cubicBezTo>
                        <a:pt x="132" y="159"/>
                        <a:pt x="123" y="156"/>
                        <a:pt x="114" y="152"/>
                      </a:cubicBezTo>
                      <a:cubicBezTo>
                        <a:pt x="75" y="133"/>
                        <a:pt x="44" y="106"/>
                        <a:pt x="22" y="68"/>
                      </a:cubicBezTo>
                      <a:cubicBezTo>
                        <a:pt x="11" y="50"/>
                        <a:pt x="4" y="30"/>
                        <a:pt x="0" y="8"/>
                      </a:cubicBezTo>
                      <a:cubicBezTo>
                        <a:pt x="0" y="8"/>
                        <a:pt x="0" y="7"/>
                        <a:pt x="0" y="6"/>
                      </a:cubicBezTo>
                      <a:cubicBezTo>
                        <a:pt x="0" y="3"/>
                        <a:pt x="1" y="1"/>
                        <a:pt x="4" y="1"/>
                      </a:cubicBezTo>
                      <a:cubicBezTo>
                        <a:pt x="5" y="0"/>
                        <a:pt x="6" y="0"/>
                        <a:pt x="8" y="0"/>
                      </a:cubicBezTo>
                      <a:cubicBezTo>
                        <a:pt x="62" y="0"/>
                        <a:pt x="116" y="0"/>
                        <a:pt x="170" y="0"/>
                      </a:cubicBezTo>
                      <a:cubicBezTo>
                        <a:pt x="184" y="0"/>
                        <a:pt x="198" y="0"/>
                        <a:pt x="2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sz="2000" dirty="0">
                    <a:latin typeface="+mj-lt"/>
                  </a:endParaRPr>
                </a:p>
              </p:txBody>
            </p:sp>
            <p:sp>
              <p:nvSpPr>
                <p:cNvPr id="134" name="Freeform 6">
                  <a:extLst>
                    <a:ext uri="{FF2B5EF4-FFF2-40B4-BE49-F238E27FC236}">
                      <a16:creationId xmlns:a16="http://schemas.microsoft.com/office/drawing/2014/main" id="{D640A6DF-9B99-4395-AD97-6140D7FB0F7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32" y="2687"/>
                  <a:ext cx="106" cy="287"/>
                </a:xfrm>
                <a:custGeom>
                  <a:avLst/>
                  <a:gdLst>
                    <a:gd name="T0" fmla="*/ 32 w 62"/>
                    <a:gd name="T1" fmla="*/ 166 h 166"/>
                    <a:gd name="T2" fmla="*/ 35 w 62"/>
                    <a:gd name="T3" fmla="*/ 157 h 166"/>
                    <a:gd name="T4" fmla="*/ 30 w 62"/>
                    <a:gd name="T5" fmla="*/ 127 h 166"/>
                    <a:gd name="T6" fmla="*/ 20 w 62"/>
                    <a:gd name="T7" fmla="*/ 113 h 166"/>
                    <a:gd name="T8" fmla="*/ 4 w 62"/>
                    <a:gd name="T9" fmla="*/ 85 h 166"/>
                    <a:gd name="T10" fmla="*/ 1 w 62"/>
                    <a:gd name="T11" fmla="*/ 53 h 166"/>
                    <a:gd name="T12" fmla="*/ 18 w 62"/>
                    <a:gd name="T13" fmla="*/ 8 h 166"/>
                    <a:gd name="T14" fmla="*/ 37 w 62"/>
                    <a:gd name="T15" fmla="*/ 3 h 166"/>
                    <a:gd name="T16" fmla="*/ 42 w 62"/>
                    <a:gd name="T17" fmla="*/ 8 h 166"/>
                    <a:gd name="T18" fmla="*/ 41 w 62"/>
                    <a:gd name="T19" fmla="*/ 18 h 166"/>
                    <a:gd name="T20" fmla="*/ 31 w 62"/>
                    <a:gd name="T21" fmla="*/ 39 h 166"/>
                    <a:gd name="T22" fmla="*/ 27 w 62"/>
                    <a:gd name="T23" fmla="*/ 65 h 166"/>
                    <a:gd name="T24" fmla="*/ 40 w 62"/>
                    <a:gd name="T25" fmla="*/ 98 h 166"/>
                    <a:gd name="T26" fmla="*/ 54 w 62"/>
                    <a:gd name="T27" fmla="*/ 118 h 166"/>
                    <a:gd name="T28" fmla="*/ 62 w 62"/>
                    <a:gd name="T29" fmla="*/ 151 h 166"/>
                    <a:gd name="T30" fmla="*/ 60 w 62"/>
                    <a:gd name="T31" fmla="*/ 164 h 166"/>
                    <a:gd name="T32" fmla="*/ 58 w 62"/>
                    <a:gd name="T33" fmla="*/ 166 h 166"/>
                    <a:gd name="T34" fmla="*/ 32 w 62"/>
                    <a:gd name="T35" fmla="*/ 166 h 1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2" h="166">
                      <a:moveTo>
                        <a:pt x="32" y="166"/>
                      </a:moveTo>
                      <a:cubicBezTo>
                        <a:pt x="33" y="162"/>
                        <a:pt x="34" y="160"/>
                        <a:pt x="35" y="157"/>
                      </a:cubicBezTo>
                      <a:cubicBezTo>
                        <a:pt x="37" y="146"/>
                        <a:pt x="35" y="136"/>
                        <a:pt x="30" y="127"/>
                      </a:cubicBezTo>
                      <a:cubicBezTo>
                        <a:pt x="27" y="122"/>
                        <a:pt x="24" y="117"/>
                        <a:pt x="20" y="113"/>
                      </a:cubicBezTo>
                      <a:cubicBezTo>
                        <a:pt x="13" y="105"/>
                        <a:pt x="7" y="96"/>
                        <a:pt x="4" y="85"/>
                      </a:cubicBezTo>
                      <a:cubicBezTo>
                        <a:pt x="0" y="75"/>
                        <a:pt x="0" y="64"/>
                        <a:pt x="1" y="53"/>
                      </a:cubicBezTo>
                      <a:cubicBezTo>
                        <a:pt x="3" y="37"/>
                        <a:pt x="9" y="22"/>
                        <a:pt x="18" y="8"/>
                      </a:cubicBezTo>
                      <a:cubicBezTo>
                        <a:pt x="22" y="1"/>
                        <a:pt x="30" y="0"/>
                        <a:pt x="37" y="3"/>
                      </a:cubicBezTo>
                      <a:cubicBezTo>
                        <a:pt x="39" y="4"/>
                        <a:pt x="41" y="6"/>
                        <a:pt x="42" y="8"/>
                      </a:cubicBezTo>
                      <a:cubicBezTo>
                        <a:pt x="44" y="12"/>
                        <a:pt x="43" y="15"/>
                        <a:pt x="41" y="18"/>
                      </a:cubicBezTo>
                      <a:cubicBezTo>
                        <a:pt x="37" y="25"/>
                        <a:pt x="34" y="32"/>
                        <a:pt x="31" y="39"/>
                      </a:cubicBezTo>
                      <a:cubicBezTo>
                        <a:pt x="28" y="47"/>
                        <a:pt x="26" y="56"/>
                        <a:pt x="27" y="65"/>
                      </a:cubicBezTo>
                      <a:cubicBezTo>
                        <a:pt x="27" y="78"/>
                        <a:pt x="31" y="89"/>
                        <a:pt x="40" y="98"/>
                      </a:cubicBezTo>
                      <a:cubicBezTo>
                        <a:pt x="45" y="104"/>
                        <a:pt x="50" y="111"/>
                        <a:pt x="54" y="118"/>
                      </a:cubicBezTo>
                      <a:cubicBezTo>
                        <a:pt x="59" y="128"/>
                        <a:pt x="62" y="139"/>
                        <a:pt x="62" y="151"/>
                      </a:cubicBezTo>
                      <a:cubicBezTo>
                        <a:pt x="62" y="155"/>
                        <a:pt x="61" y="160"/>
                        <a:pt x="60" y="164"/>
                      </a:cubicBezTo>
                      <a:cubicBezTo>
                        <a:pt x="60" y="165"/>
                        <a:pt x="59" y="166"/>
                        <a:pt x="58" y="166"/>
                      </a:cubicBezTo>
                      <a:cubicBezTo>
                        <a:pt x="49" y="166"/>
                        <a:pt x="41" y="166"/>
                        <a:pt x="32" y="16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sz="2000">
                    <a:latin typeface="+mj-lt"/>
                  </a:endParaRPr>
                </a:p>
              </p:txBody>
            </p:sp>
            <p:sp>
              <p:nvSpPr>
                <p:cNvPr id="135" name="Freeform 7">
                  <a:extLst>
                    <a:ext uri="{FF2B5EF4-FFF2-40B4-BE49-F238E27FC236}">
                      <a16:creationId xmlns:a16="http://schemas.microsoft.com/office/drawing/2014/main" id="{68A60278-F76B-4EE7-B27F-D31DAE9130B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371" y="2689"/>
                  <a:ext cx="110" cy="285"/>
                </a:xfrm>
                <a:custGeom>
                  <a:avLst/>
                  <a:gdLst>
                    <a:gd name="T0" fmla="*/ 33 w 64"/>
                    <a:gd name="T1" fmla="*/ 164 h 165"/>
                    <a:gd name="T2" fmla="*/ 35 w 64"/>
                    <a:gd name="T3" fmla="*/ 160 h 165"/>
                    <a:gd name="T4" fmla="*/ 33 w 64"/>
                    <a:gd name="T5" fmla="*/ 129 h 165"/>
                    <a:gd name="T6" fmla="*/ 20 w 64"/>
                    <a:gd name="T7" fmla="*/ 111 h 165"/>
                    <a:gd name="T8" fmla="*/ 7 w 64"/>
                    <a:gd name="T9" fmla="*/ 91 h 165"/>
                    <a:gd name="T10" fmla="*/ 2 w 64"/>
                    <a:gd name="T11" fmla="*/ 53 h 165"/>
                    <a:gd name="T12" fmla="*/ 19 w 64"/>
                    <a:gd name="T13" fmla="*/ 7 h 165"/>
                    <a:gd name="T14" fmla="*/ 32 w 64"/>
                    <a:gd name="T15" fmla="*/ 0 h 165"/>
                    <a:gd name="T16" fmla="*/ 41 w 64"/>
                    <a:gd name="T17" fmla="*/ 4 h 165"/>
                    <a:gd name="T18" fmla="*/ 42 w 64"/>
                    <a:gd name="T19" fmla="*/ 17 h 165"/>
                    <a:gd name="T20" fmla="*/ 30 w 64"/>
                    <a:gd name="T21" fmla="*/ 43 h 165"/>
                    <a:gd name="T22" fmla="*/ 30 w 64"/>
                    <a:gd name="T23" fmla="*/ 77 h 165"/>
                    <a:gd name="T24" fmla="*/ 41 w 64"/>
                    <a:gd name="T25" fmla="*/ 98 h 165"/>
                    <a:gd name="T26" fmla="*/ 58 w 64"/>
                    <a:gd name="T27" fmla="*/ 124 h 165"/>
                    <a:gd name="T28" fmla="*/ 61 w 64"/>
                    <a:gd name="T29" fmla="*/ 163 h 165"/>
                    <a:gd name="T30" fmla="*/ 59 w 64"/>
                    <a:gd name="T31" fmla="*/ 165 h 165"/>
                    <a:gd name="T32" fmla="*/ 34 w 64"/>
                    <a:gd name="T33" fmla="*/ 165 h 165"/>
                    <a:gd name="T34" fmla="*/ 33 w 64"/>
                    <a:gd name="T35" fmla="*/ 164 h 1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4" h="165">
                      <a:moveTo>
                        <a:pt x="33" y="164"/>
                      </a:moveTo>
                      <a:cubicBezTo>
                        <a:pt x="34" y="163"/>
                        <a:pt x="34" y="162"/>
                        <a:pt x="35" y="160"/>
                      </a:cubicBezTo>
                      <a:cubicBezTo>
                        <a:pt x="38" y="149"/>
                        <a:pt x="37" y="139"/>
                        <a:pt x="33" y="129"/>
                      </a:cubicBezTo>
                      <a:cubicBezTo>
                        <a:pt x="29" y="122"/>
                        <a:pt x="25" y="116"/>
                        <a:pt x="20" y="111"/>
                      </a:cubicBezTo>
                      <a:cubicBezTo>
                        <a:pt x="15" y="105"/>
                        <a:pt x="10" y="98"/>
                        <a:pt x="7" y="91"/>
                      </a:cubicBezTo>
                      <a:cubicBezTo>
                        <a:pt x="2" y="79"/>
                        <a:pt x="0" y="66"/>
                        <a:pt x="2" y="53"/>
                      </a:cubicBezTo>
                      <a:cubicBezTo>
                        <a:pt x="4" y="36"/>
                        <a:pt x="10" y="21"/>
                        <a:pt x="19" y="7"/>
                      </a:cubicBezTo>
                      <a:cubicBezTo>
                        <a:pt x="22" y="2"/>
                        <a:pt x="27" y="0"/>
                        <a:pt x="32" y="0"/>
                      </a:cubicBezTo>
                      <a:cubicBezTo>
                        <a:pt x="35" y="0"/>
                        <a:pt x="38" y="1"/>
                        <a:pt x="41" y="4"/>
                      </a:cubicBezTo>
                      <a:cubicBezTo>
                        <a:pt x="45" y="7"/>
                        <a:pt x="45" y="12"/>
                        <a:pt x="42" y="17"/>
                      </a:cubicBezTo>
                      <a:cubicBezTo>
                        <a:pt x="37" y="25"/>
                        <a:pt x="33" y="34"/>
                        <a:pt x="30" y="43"/>
                      </a:cubicBezTo>
                      <a:cubicBezTo>
                        <a:pt x="27" y="54"/>
                        <a:pt x="27" y="66"/>
                        <a:pt x="30" y="77"/>
                      </a:cubicBezTo>
                      <a:cubicBezTo>
                        <a:pt x="32" y="85"/>
                        <a:pt x="36" y="92"/>
                        <a:pt x="41" y="98"/>
                      </a:cubicBezTo>
                      <a:cubicBezTo>
                        <a:pt x="48" y="106"/>
                        <a:pt x="54" y="114"/>
                        <a:pt x="58" y="124"/>
                      </a:cubicBezTo>
                      <a:cubicBezTo>
                        <a:pt x="63" y="137"/>
                        <a:pt x="64" y="150"/>
                        <a:pt x="61" y="163"/>
                      </a:cubicBezTo>
                      <a:cubicBezTo>
                        <a:pt x="61" y="164"/>
                        <a:pt x="60" y="165"/>
                        <a:pt x="59" y="165"/>
                      </a:cubicBezTo>
                      <a:cubicBezTo>
                        <a:pt x="51" y="165"/>
                        <a:pt x="42" y="165"/>
                        <a:pt x="34" y="165"/>
                      </a:cubicBezTo>
                      <a:cubicBezTo>
                        <a:pt x="34" y="165"/>
                        <a:pt x="34" y="164"/>
                        <a:pt x="33" y="1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sz="2000">
                    <a:latin typeface="+mj-lt"/>
                  </a:endParaRPr>
                </a:p>
              </p:txBody>
            </p:sp>
            <p:sp>
              <p:nvSpPr>
                <p:cNvPr id="136" name="Freeform 8">
                  <a:extLst>
                    <a:ext uri="{FF2B5EF4-FFF2-40B4-BE49-F238E27FC236}">
                      <a16:creationId xmlns:a16="http://schemas.microsoft.com/office/drawing/2014/main" id="{1EFACE52-D17C-43BE-A242-E30EE2E5128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514" y="2686"/>
                  <a:ext cx="109" cy="288"/>
                </a:xfrm>
                <a:custGeom>
                  <a:avLst/>
                  <a:gdLst>
                    <a:gd name="T0" fmla="*/ 32 w 63"/>
                    <a:gd name="T1" fmla="*/ 167 h 167"/>
                    <a:gd name="T2" fmla="*/ 34 w 63"/>
                    <a:gd name="T3" fmla="*/ 160 h 167"/>
                    <a:gd name="T4" fmla="*/ 30 w 63"/>
                    <a:gd name="T5" fmla="*/ 128 h 167"/>
                    <a:gd name="T6" fmla="*/ 20 w 63"/>
                    <a:gd name="T7" fmla="*/ 113 h 167"/>
                    <a:gd name="T8" fmla="*/ 4 w 63"/>
                    <a:gd name="T9" fmla="*/ 87 h 167"/>
                    <a:gd name="T10" fmla="*/ 1 w 63"/>
                    <a:gd name="T11" fmla="*/ 55 h 167"/>
                    <a:gd name="T12" fmla="*/ 18 w 63"/>
                    <a:gd name="T13" fmla="*/ 9 h 167"/>
                    <a:gd name="T14" fmla="*/ 38 w 63"/>
                    <a:gd name="T15" fmla="*/ 4 h 167"/>
                    <a:gd name="T16" fmla="*/ 41 w 63"/>
                    <a:gd name="T17" fmla="*/ 19 h 167"/>
                    <a:gd name="T18" fmla="*/ 28 w 63"/>
                    <a:gd name="T19" fmla="*/ 53 h 167"/>
                    <a:gd name="T20" fmla="*/ 39 w 63"/>
                    <a:gd name="T21" fmla="*/ 98 h 167"/>
                    <a:gd name="T22" fmla="*/ 49 w 63"/>
                    <a:gd name="T23" fmla="*/ 110 h 167"/>
                    <a:gd name="T24" fmla="*/ 61 w 63"/>
                    <a:gd name="T25" fmla="*/ 139 h 167"/>
                    <a:gd name="T26" fmla="*/ 60 w 63"/>
                    <a:gd name="T27" fmla="*/ 165 h 167"/>
                    <a:gd name="T28" fmla="*/ 58 w 63"/>
                    <a:gd name="T29" fmla="*/ 167 h 167"/>
                    <a:gd name="T30" fmla="*/ 32 w 63"/>
                    <a:gd name="T31" fmla="*/ 167 h 1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63" h="167">
                      <a:moveTo>
                        <a:pt x="32" y="167"/>
                      </a:moveTo>
                      <a:cubicBezTo>
                        <a:pt x="33" y="164"/>
                        <a:pt x="34" y="162"/>
                        <a:pt x="34" y="160"/>
                      </a:cubicBezTo>
                      <a:cubicBezTo>
                        <a:pt x="37" y="149"/>
                        <a:pt x="36" y="139"/>
                        <a:pt x="30" y="128"/>
                      </a:cubicBezTo>
                      <a:cubicBezTo>
                        <a:pt x="28" y="123"/>
                        <a:pt x="24" y="118"/>
                        <a:pt x="20" y="113"/>
                      </a:cubicBezTo>
                      <a:cubicBezTo>
                        <a:pt x="12" y="106"/>
                        <a:pt x="7" y="97"/>
                        <a:pt x="4" y="87"/>
                      </a:cubicBezTo>
                      <a:cubicBezTo>
                        <a:pt x="1" y="76"/>
                        <a:pt x="0" y="66"/>
                        <a:pt x="1" y="55"/>
                      </a:cubicBezTo>
                      <a:cubicBezTo>
                        <a:pt x="3" y="38"/>
                        <a:pt x="9" y="23"/>
                        <a:pt x="18" y="9"/>
                      </a:cubicBezTo>
                      <a:cubicBezTo>
                        <a:pt x="22" y="3"/>
                        <a:pt x="31" y="0"/>
                        <a:pt x="38" y="4"/>
                      </a:cubicBezTo>
                      <a:cubicBezTo>
                        <a:pt x="43" y="8"/>
                        <a:pt x="45" y="14"/>
                        <a:pt x="41" y="19"/>
                      </a:cubicBezTo>
                      <a:cubicBezTo>
                        <a:pt x="35" y="29"/>
                        <a:pt x="30" y="41"/>
                        <a:pt x="28" y="53"/>
                      </a:cubicBezTo>
                      <a:cubicBezTo>
                        <a:pt x="25" y="69"/>
                        <a:pt x="28" y="85"/>
                        <a:pt x="39" y="98"/>
                      </a:cubicBezTo>
                      <a:cubicBezTo>
                        <a:pt x="42" y="102"/>
                        <a:pt x="46" y="106"/>
                        <a:pt x="49" y="110"/>
                      </a:cubicBezTo>
                      <a:cubicBezTo>
                        <a:pt x="55" y="119"/>
                        <a:pt x="59" y="129"/>
                        <a:pt x="61" y="139"/>
                      </a:cubicBezTo>
                      <a:cubicBezTo>
                        <a:pt x="63" y="148"/>
                        <a:pt x="62" y="156"/>
                        <a:pt x="60" y="165"/>
                      </a:cubicBezTo>
                      <a:cubicBezTo>
                        <a:pt x="60" y="166"/>
                        <a:pt x="59" y="167"/>
                        <a:pt x="58" y="167"/>
                      </a:cubicBezTo>
                      <a:cubicBezTo>
                        <a:pt x="50" y="167"/>
                        <a:pt x="41" y="167"/>
                        <a:pt x="32" y="16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sz="2000">
                    <a:latin typeface="+mj-lt"/>
                  </a:endParaRPr>
                </a:p>
              </p:txBody>
            </p:sp>
          </p:grpSp>
          <p:sp>
            <p:nvSpPr>
              <p:cNvPr id="131" name="Oval 5">
                <a:extLst>
                  <a:ext uri="{FF2B5EF4-FFF2-40B4-BE49-F238E27FC236}">
                    <a16:creationId xmlns:a16="http://schemas.microsoft.com/office/drawing/2014/main" id="{151A2E67-DF1C-4036-925E-7EAED88FD92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07351" y="2247648"/>
                <a:ext cx="839107" cy="845441"/>
              </a:xfrm>
              <a:prstGeom prst="ellipse">
                <a:avLst/>
              </a:prstGeom>
              <a:noFill/>
              <a:ln w="53975" cap="rnd">
                <a:solidFill>
                  <a:srgbClr val="D3A228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ZA" sz="1400">
                  <a:solidFill>
                    <a:srgbClr val="D3A228"/>
                  </a:solidFill>
                  <a:latin typeface="+mj-lt"/>
                </a:endParaRPr>
              </a:p>
            </p:txBody>
          </p:sp>
          <p:sp>
            <p:nvSpPr>
              <p:cNvPr id="132" name="TextBox 131">
                <a:extLst>
                  <a:ext uri="{FF2B5EF4-FFF2-40B4-BE49-F238E27FC236}">
                    <a16:creationId xmlns:a16="http://schemas.microsoft.com/office/drawing/2014/main" id="{136B607E-E471-4762-B15B-89595B426991}"/>
                  </a:ext>
                </a:extLst>
              </p:cNvPr>
              <p:cNvSpPr txBox="1"/>
              <p:nvPr/>
            </p:nvSpPr>
            <p:spPr>
              <a:xfrm>
                <a:off x="6220765" y="2173030"/>
                <a:ext cx="817630" cy="696956"/>
              </a:xfrm>
              <a:prstGeom prst="rect">
                <a:avLst/>
              </a:prstGeom>
              <a:noFill/>
            </p:spPr>
            <p:txBody>
              <a:bodyPr wrap="none" rtlCol="0">
                <a:prstTxWarp prst="textArchUp">
                  <a:avLst>
                    <a:gd name="adj" fmla="val 11272300"/>
                  </a:avLst>
                </a:prstTxWarp>
                <a:spAutoFit/>
              </a:bodyPr>
              <a:lstStyle/>
              <a:p>
                <a:r>
                  <a:rPr lang="en-ZA" sz="1400" b="1" dirty="0">
                    <a:solidFill>
                      <a:schemeClr val="accent5"/>
                    </a:solidFill>
                    <a:latin typeface="+mj-lt"/>
                  </a:rPr>
                  <a:t>     Zero Hunger</a:t>
                </a:r>
                <a:endParaRPr lang="en-ZA" sz="1400" dirty="0">
                  <a:solidFill>
                    <a:schemeClr val="accent5"/>
                  </a:solidFill>
                  <a:latin typeface="+mj-lt"/>
                </a:endParaRPr>
              </a:p>
            </p:txBody>
          </p:sp>
        </p:grp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BC369231-EBE3-4F88-A324-DE274D02AB56}"/>
                </a:ext>
              </a:extLst>
            </p:cNvPr>
            <p:cNvGrpSpPr/>
            <p:nvPr/>
          </p:nvGrpSpPr>
          <p:grpSpPr>
            <a:xfrm>
              <a:off x="7427841" y="2099096"/>
              <a:ext cx="951018" cy="1022294"/>
              <a:chOff x="7480444" y="2129695"/>
              <a:chExt cx="951018" cy="1022294"/>
            </a:xfrm>
          </p:grpSpPr>
          <p:grpSp>
            <p:nvGrpSpPr>
              <p:cNvPr id="124" name="Group 9">
                <a:extLst>
                  <a:ext uri="{FF2B5EF4-FFF2-40B4-BE49-F238E27FC236}">
                    <a16:creationId xmlns:a16="http://schemas.microsoft.com/office/drawing/2014/main" id="{91C6969F-3054-4A8B-BCE6-017FD6339ADA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7581901" y="2364662"/>
                <a:ext cx="697706" cy="485744"/>
                <a:chOff x="4486" y="1329"/>
                <a:chExt cx="316" cy="220"/>
              </a:xfrm>
              <a:solidFill>
                <a:srgbClr val="259A49"/>
              </a:solidFill>
            </p:grpSpPr>
            <p:sp>
              <p:nvSpPr>
                <p:cNvPr id="128" name="Freeform 10">
                  <a:extLst>
                    <a:ext uri="{FF2B5EF4-FFF2-40B4-BE49-F238E27FC236}">
                      <a16:creationId xmlns:a16="http://schemas.microsoft.com/office/drawing/2014/main" id="{7EA86B7E-ADBD-4CB5-86A0-FB3063B877A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86" y="1329"/>
                  <a:ext cx="273" cy="220"/>
                </a:xfrm>
                <a:custGeom>
                  <a:avLst/>
                  <a:gdLst>
                    <a:gd name="T0" fmla="*/ 396 w 710"/>
                    <a:gd name="T1" fmla="*/ 308 h 573"/>
                    <a:gd name="T2" fmla="*/ 387 w 710"/>
                    <a:gd name="T3" fmla="*/ 325 h 573"/>
                    <a:gd name="T4" fmla="*/ 332 w 710"/>
                    <a:gd name="T5" fmla="*/ 428 h 573"/>
                    <a:gd name="T6" fmla="*/ 316 w 710"/>
                    <a:gd name="T7" fmla="*/ 437 h 573"/>
                    <a:gd name="T8" fmla="*/ 304 w 710"/>
                    <a:gd name="T9" fmla="*/ 423 h 573"/>
                    <a:gd name="T10" fmla="*/ 291 w 710"/>
                    <a:gd name="T11" fmla="*/ 329 h 573"/>
                    <a:gd name="T12" fmla="*/ 278 w 710"/>
                    <a:gd name="T13" fmla="*/ 242 h 573"/>
                    <a:gd name="T14" fmla="*/ 276 w 710"/>
                    <a:gd name="T15" fmla="*/ 230 h 573"/>
                    <a:gd name="T16" fmla="*/ 262 w 710"/>
                    <a:gd name="T17" fmla="*/ 262 h 573"/>
                    <a:gd name="T18" fmla="*/ 226 w 710"/>
                    <a:gd name="T19" fmla="*/ 343 h 573"/>
                    <a:gd name="T20" fmla="*/ 211 w 710"/>
                    <a:gd name="T21" fmla="*/ 353 h 573"/>
                    <a:gd name="T22" fmla="*/ 15 w 710"/>
                    <a:gd name="T23" fmla="*/ 353 h 573"/>
                    <a:gd name="T24" fmla="*/ 0 w 710"/>
                    <a:gd name="T25" fmla="*/ 339 h 573"/>
                    <a:gd name="T26" fmla="*/ 15 w 710"/>
                    <a:gd name="T27" fmla="*/ 325 h 573"/>
                    <a:gd name="T28" fmla="*/ 199 w 710"/>
                    <a:gd name="T29" fmla="*/ 325 h 573"/>
                    <a:gd name="T30" fmla="*/ 205 w 710"/>
                    <a:gd name="T31" fmla="*/ 321 h 573"/>
                    <a:gd name="T32" fmla="*/ 270 w 710"/>
                    <a:gd name="T33" fmla="*/ 175 h 573"/>
                    <a:gd name="T34" fmla="*/ 285 w 710"/>
                    <a:gd name="T35" fmla="*/ 165 h 573"/>
                    <a:gd name="T36" fmla="*/ 297 w 710"/>
                    <a:gd name="T37" fmla="*/ 177 h 573"/>
                    <a:gd name="T38" fmla="*/ 309 w 710"/>
                    <a:gd name="T39" fmla="*/ 256 h 573"/>
                    <a:gd name="T40" fmla="*/ 321 w 710"/>
                    <a:gd name="T41" fmla="*/ 344 h 573"/>
                    <a:gd name="T42" fmla="*/ 326 w 710"/>
                    <a:gd name="T43" fmla="*/ 377 h 573"/>
                    <a:gd name="T44" fmla="*/ 329 w 710"/>
                    <a:gd name="T45" fmla="*/ 373 h 573"/>
                    <a:gd name="T46" fmla="*/ 390 w 710"/>
                    <a:gd name="T47" fmla="*/ 260 h 573"/>
                    <a:gd name="T48" fmla="*/ 406 w 710"/>
                    <a:gd name="T49" fmla="*/ 251 h 573"/>
                    <a:gd name="T50" fmla="*/ 418 w 710"/>
                    <a:gd name="T51" fmla="*/ 264 h 573"/>
                    <a:gd name="T52" fmla="*/ 443 w 710"/>
                    <a:gd name="T53" fmla="*/ 414 h 573"/>
                    <a:gd name="T54" fmla="*/ 456 w 710"/>
                    <a:gd name="T55" fmla="*/ 491 h 573"/>
                    <a:gd name="T56" fmla="*/ 458 w 710"/>
                    <a:gd name="T57" fmla="*/ 496 h 573"/>
                    <a:gd name="T58" fmla="*/ 467 w 710"/>
                    <a:gd name="T59" fmla="*/ 465 h 573"/>
                    <a:gd name="T60" fmla="*/ 569 w 710"/>
                    <a:gd name="T61" fmla="*/ 126 h 573"/>
                    <a:gd name="T62" fmla="*/ 603 w 710"/>
                    <a:gd name="T63" fmla="*/ 12 h 573"/>
                    <a:gd name="T64" fmla="*/ 616 w 710"/>
                    <a:gd name="T65" fmla="*/ 0 h 573"/>
                    <a:gd name="T66" fmla="*/ 631 w 710"/>
                    <a:gd name="T67" fmla="*/ 10 h 573"/>
                    <a:gd name="T68" fmla="*/ 706 w 710"/>
                    <a:gd name="T69" fmla="*/ 165 h 573"/>
                    <a:gd name="T70" fmla="*/ 708 w 710"/>
                    <a:gd name="T71" fmla="*/ 179 h 573"/>
                    <a:gd name="T72" fmla="*/ 695 w 710"/>
                    <a:gd name="T73" fmla="*/ 188 h 573"/>
                    <a:gd name="T74" fmla="*/ 682 w 710"/>
                    <a:gd name="T75" fmla="*/ 180 h 573"/>
                    <a:gd name="T76" fmla="*/ 664 w 710"/>
                    <a:gd name="T77" fmla="*/ 143 h 573"/>
                    <a:gd name="T78" fmla="*/ 621 w 710"/>
                    <a:gd name="T79" fmla="*/ 53 h 573"/>
                    <a:gd name="T80" fmla="*/ 616 w 710"/>
                    <a:gd name="T81" fmla="*/ 67 h 573"/>
                    <a:gd name="T82" fmla="*/ 472 w 710"/>
                    <a:gd name="T83" fmla="*/ 548 h 573"/>
                    <a:gd name="T84" fmla="*/ 467 w 710"/>
                    <a:gd name="T85" fmla="*/ 562 h 573"/>
                    <a:gd name="T86" fmla="*/ 452 w 710"/>
                    <a:gd name="T87" fmla="*/ 572 h 573"/>
                    <a:gd name="T88" fmla="*/ 440 w 710"/>
                    <a:gd name="T89" fmla="*/ 560 h 573"/>
                    <a:gd name="T90" fmla="*/ 433 w 710"/>
                    <a:gd name="T91" fmla="*/ 521 h 573"/>
                    <a:gd name="T92" fmla="*/ 413 w 710"/>
                    <a:gd name="T93" fmla="*/ 406 h 573"/>
                    <a:gd name="T94" fmla="*/ 397 w 710"/>
                    <a:gd name="T95" fmla="*/ 310 h 573"/>
                    <a:gd name="T96" fmla="*/ 396 w 710"/>
                    <a:gd name="T97" fmla="*/ 308 h 5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710" h="573">
                      <a:moveTo>
                        <a:pt x="396" y="308"/>
                      </a:moveTo>
                      <a:cubicBezTo>
                        <a:pt x="393" y="314"/>
                        <a:pt x="390" y="320"/>
                        <a:pt x="387" y="325"/>
                      </a:cubicBezTo>
                      <a:cubicBezTo>
                        <a:pt x="369" y="359"/>
                        <a:pt x="350" y="394"/>
                        <a:pt x="332" y="428"/>
                      </a:cubicBezTo>
                      <a:cubicBezTo>
                        <a:pt x="328" y="435"/>
                        <a:pt x="322" y="438"/>
                        <a:pt x="316" y="437"/>
                      </a:cubicBezTo>
                      <a:cubicBezTo>
                        <a:pt x="309" y="436"/>
                        <a:pt x="305" y="430"/>
                        <a:pt x="304" y="423"/>
                      </a:cubicBezTo>
                      <a:cubicBezTo>
                        <a:pt x="300" y="392"/>
                        <a:pt x="295" y="360"/>
                        <a:pt x="291" y="329"/>
                      </a:cubicBezTo>
                      <a:cubicBezTo>
                        <a:pt x="286" y="300"/>
                        <a:pt x="282" y="271"/>
                        <a:pt x="278" y="242"/>
                      </a:cubicBezTo>
                      <a:cubicBezTo>
                        <a:pt x="278" y="238"/>
                        <a:pt x="277" y="235"/>
                        <a:pt x="276" y="230"/>
                      </a:cubicBezTo>
                      <a:cubicBezTo>
                        <a:pt x="271" y="241"/>
                        <a:pt x="267" y="252"/>
                        <a:pt x="262" y="262"/>
                      </a:cubicBezTo>
                      <a:cubicBezTo>
                        <a:pt x="250" y="289"/>
                        <a:pt x="238" y="316"/>
                        <a:pt x="226" y="343"/>
                      </a:cubicBezTo>
                      <a:cubicBezTo>
                        <a:pt x="223" y="350"/>
                        <a:pt x="218" y="353"/>
                        <a:pt x="211" y="353"/>
                      </a:cubicBezTo>
                      <a:cubicBezTo>
                        <a:pt x="146" y="353"/>
                        <a:pt x="81" y="353"/>
                        <a:pt x="15" y="353"/>
                      </a:cubicBezTo>
                      <a:cubicBezTo>
                        <a:pt x="6" y="353"/>
                        <a:pt x="0" y="347"/>
                        <a:pt x="0" y="339"/>
                      </a:cubicBezTo>
                      <a:cubicBezTo>
                        <a:pt x="0" y="330"/>
                        <a:pt x="6" y="325"/>
                        <a:pt x="15" y="325"/>
                      </a:cubicBezTo>
                      <a:cubicBezTo>
                        <a:pt x="77" y="325"/>
                        <a:pt x="138" y="325"/>
                        <a:pt x="199" y="325"/>
                      </a:cubicBezTo>
                      <a:cubicBezTo>
                        <a:pt x="202" y="325"/>
                        <a:pt x="204" y="324"/>
                        <a:pt x="205" y="321"/>
                      </a:cubicBezTo>
                      <a:cubicBezTo>
                        <a:pt x="227" y="272"/>
                        <a:pt x="248" y="224"/>
                        <a:pt x="270" y="175"/>
                      </a:cubicBezTo>
                      <a:cubicBezTo>
                        <a:pt x="273" y="168"/>
                        <a:pt x="278" y="165"/>
                        <a:pt x="285" y="165"/>
                      </a:cubicBezTo>
                      <a:cubicBezTo>
                        <a:pt x="292" y="166"/>
                        <a:pt x="296" y="171"/>
                        <a:pt x="297" y="177"/>
                      </a:cubicBezTo>
                      <a:cubicBezTo>
                        <a:pt x="301" y="204"/>
                        <a:pt x="305" y="230"/>
                        <a:pt x="309" y="256"/>
                      </a:cubicBezTo>
                      <a:cubicBezTo>
                        <a:pt x="313" y="286"/>
                        <a:pt x="317" y="315"/>
                        <a:pt x="321" y="344"/>
                      </a:cubicBezTo>
                      <a:cubicBezTo>
                        <a:pt x="323" y="355"/>
                        <a:pt x="324" y="366"/>
                        <a:pt x="326" y="377"/>
                      </a:cubicBezTo>
                      <a:cubicBezTo>
                        <a:pt x="328" y="376"/>
                        <a:pt x="328" y="375"/>
                        <a:pt x="329" y="373"/>
                      </a:cubicBezTo>
                      <a:cubicBezTo>
                        <a:pt x="349" y="336"/>
                        <a:pt x="370" y="298"/>
                        <a:pt x="390" y="260"/>
                      </a:cubicBezTo>
                      <a:cubicBezTo>
                        <a:pt x="394" y="253"/>
                        <a:pt x="399" y="250"/>
                        <a:pt x="406" y="251"/>
                      </a:cubicBezTo>
                      <a:cubicBezTo>
                        <a:pt x="412" y="252"/>
                        <a:pt x="416" y="257"/>
                        <a:pt x="418" y="264"/>
                      </a:cubicBezTo>
                      <a:cubicBezTo>
                        <a:pt x="426" y="314"/>
                        <a:pt x="435" y="364"/>
                        <a:pt x="443" y="414"/>
                      </a:cubicBezTo>
                      <a:cubicBezTo>
                        <a:pt x="448" y="439"/>
                        <a:pt x="452" y="465"/>
                        <a:pt x="456" y="491"/>
                      </a:cubicBezTo>
                      <a:cubicBezTo>
                        <a:pt x="457" y="492"/>
                        <a:pt x="457" y="494"/>
                        <a:pt x="458" y="496"/>
                      </a:cubicBezTo>
                      <a:cubicBezTo>
                        <a:pt x="461" y="485"/>
                        <a:pt x="464" y="475"/>
                        <a:pt x="467" y="465"/>
                      </a:cubicBezTo>
                      <a:cubicBezTo>
                        <a:pt x="501" y="352"/>
                        <a:pt x="535" y="239"/>
                        <a:pt x="569" y="126"/>
                      </a:cubicBezTo>
                      <a:cubicBezTo>
                        <a:pt x="580" y="88"/>
                        <a:pt x="592" y="50"/>
                        <a:pt x="603" y="12"/>
                      </a:cubicBezTo>
                      <a:cubicBezTo>
                        <a:pt x="605" y="5"/>
                        <a:pt x="610" y="1"/>
                        <a:pt x="616" y="0"/>
                      </a:cubicBezTo>
                      <a:cubicBezTo>
                        <a:pt x="623" y="0"/>
                        <a:pt x="628" y="3"/>
                        <a:pt x="631" y="10"/>
                      </a:cubicBezTo>
                      <a:cubicBezTo>
                        <a:pt x="656" y="62"/>
                        <a:pt x="681" y="113"/>
                        <a:pt x="706" y="165"/>
                      </a:cubicBezTo>
                      <a:cubicBezTo>
                        <a:pt x="708" y="170"/>
                        <a:pt x="710" y="174"/>
                        <a:pt x="708" y="179"/>
                      </a:cubicBezTo>
                      <a:cubicBezTo>
                        <a:pt x="706" y="185"/>
                        <a:pt x="701" y="188"/>
                        <a:pt x="695" y="188"/>
                      </a:cubicBezTo>
                      <a:cubicBezTo>
                        <a:pt x="689" y="189"/>
                        <a:pt x="685" y="186"/>
                        <a:pt x="682" y="180"/>
                      </a:cubicBezTo>
                      <a:cubicBezTo>
                        <a:pt x="676" y="168"/>
                        <a:pt x="670" y="155"/>
                        <a:pt x="664" y="143"/>
                      </a:cubicBezTo>
                      <a:cubicBezTo>
                        <a:pt x="650" y="113"/>
                        <a:pt x="635" y="84"/>
                        <a:pt x="621" y="53"/>
                      </a:cubicBezTo>
                      <a:cubicBezTo>
                        <a:pt x="619" y="58"/>
                        <a:pt x="618" y="63"/>
                        <a:pt x="616" y="67"/>
                      </a:cubicBezTo>
                      <a:cubicBezTo>
                        <a:pt x="568" y="227"/>
                        <a:pt x="520" y="387"/>
                        <a:pt x="472" y="548"/>
                      </a:cubicBezTo>
                      <a:cubicBezTo>
                        <a:pt x="470" y="552"/>
                        <a:pt x="469" y="557"/>
                        <a:pt x="467" y="562"/>
                      </a:cubicBezTo>
                      <a:cubicBezTo>
                        <a:pt x="465" y="569"/>
                        <a:pt x="459" y="573"/>
                        <a:pt x="452" y="572"/>
                      </a:cubicBezTo>
                      <a:cubicBezTo>
                        <a:pt x="446" y="572"/>
                        <a:pt x="441" y="567"/>
                        <a:pt x="440" y="560"/>
                      </a:cubicBezTo>
                      <a:cubicBezTo>
                        <a:pt x="437" y="547"/>
                        <a:pt x="435" y="534"/>
                        <a:pt x="433" y="521"/>
                      </a:cubicBezTo>
                      <a:cubicBezTo>
                        <a:pt x="426" y="483"/>
                        <a:pt x="420" y="444"/>
                        <a:pt x="413" y="406"/>
                      </a:cubicBezTo>
                      <a:cubicBezTo>
                        <a:pt x="408" y="374"/>
                        <a:pt x="402" y="342"/>
                        <a:pt x="397" y="310"/>
                      </a:cubicBezTo>
                      <a:cubicBezTo>
                        <a:pt x="397" y="310"/>
                        <a:pt x="397" y="309"/>
                        <a:pt x="396" y="30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sz="2000">
                    <a:solidFill>
                      <a:srgbClr val="259A49"/>
                    </a:solidFill>
                    <a:latin typeface="+mj-lt"/>
                  </a:endParaRPr>
                </a:p>
              </p:txBody>
            </p:sp>
            <p:sp>
              <p:nvSpPr>
                <p:cNvPr id="129" name="Freeform 11">
                  <a:extLst>
                    <a:ext uri="{FF2B5EF4-FFF2-40B4-BE49-F238E27FC236}">
                      <a16:creationId xmlns:a16="http://schemas.microsoft.com/office/drawing/2014/main" id="{F3B4B6A9-173E-4F89-BA56-6988845790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17" y="1419"/>
                  <a:ext cx="85" cy="76"/>
                </a:xfrm>
                <a:custGeom>
                  <a:avLst/>
                  <a:gdLst>
                    <a:gd name="T0" fmla="*/ 65 w 222"/>
                    <a:gd name="T1" fmla="*/ 6 h 197"/>
                    <a:gd name="T2" fmla="*/ 90 w 222"/>
                    <a:gd name="T3" fmla="*/ 15 h 197"/>
                    <a:gd name="T4" fmla="*/ 110 w 222"/>
                    <a:gd name="T5" fmla="*/ 33 h 197"/>
                    <a:gd name="T6" fmla="*/ 115 w 222"/>
                    <a:gd name="T7" fmla="*/ 33 h 197"/>
                    <a:gd name="T8" fmla="*/ 135 w 222"/>
                    <a:gd name="T9" fmla="*/ 15 h 197"/>
                    <a:gd name="T10" fmla="*/ 200 w 222"/>
                    <a:gd name="T11" fmla="*/ 23 h 197"/>
                    <a:gd name="T12" fmla="*/ 198 w 222"/>
                    <a:gd name="T13" fmla="*/ 112 h 197"/>
                    <a:gd name="T14" fmla="*/ 115 w 222"/>
                    <a:gd name="T15" fmla="*/ 195 h 197"/>
                    <a:gd name="T16" fmla="*/ 110 w 222"/>
                    <a:gd name="T17" fmla="*/ 195 h 197"/>
                    <a:gd name="T18" fmla="*/ 28 w 222"/>
                    <a:gd name="T19" fmla="*/ 112 h 197"/>
                    <a:gd name="T20" fmla="*/ 35 w 222"/>
                    <a:gd name="T21" fmla="*/ 15 h 197"/>
                    <a:gd name="T22" fmla="*/ 65 w 222"/>
                    <a:gd name="T23" fmla="*/ 6 h 1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22" h="197">
                      <a:moveTo>
                        <a:pt x="65" y="6"/>
                      </a:moveTo>
                      <a:cubicBezTo>
                        <a:pt x="74" y="5"/>
                        <a:pt x="82" y="9"/>
                        <a:pt x="90" y="15"/>
                      </a:cubicBezTo>
                      <a:cubicBezTo>
                        <a:pt x="97" y="20"/>
                        <a:pt x="104" y="26"/>
                        <a:pt x="110" y="33"/>
                      </a:cubicBezTo>
                      <a:cubicBezTo>
                        <a:pt x="112" y="35"/>
                        <a:pt x="113" y="35"/>
                        <a:pt x="115" y="33"/>
                      </a:cubicBezTo>
                      <a:cubicBezTo>
                        <a:pt x="121" y="26"/>
                        <a:pt x="128" y="21"/>
                        <a:pt x="135" y="15"/>
                      </a:cubicBezTo>
                      <a:cubicBezTo>
                        <a:pt x="157" y="0"/>
                        <a:pt x="182" y="3"/>
                        <a:pt x="200" y="23"/>
                      </a:cubicBezTo>
                      <a:cubicBezTo>
                        <a:pt x="222" y="48"/>
                        <a:pt x="221" y="88"/>
                        <a:pt x="198" y="112"/>
                      </a:cubicBezTo>
                      <a:cubicBezTo>
                        <a:pt x="170" y="140"/>
                        <a:pt x="142" y="168"/>
                        <a:pt x="115" y="195"/>
                      </a:cubicBezTo>
                      <a:cubicBezTo>
                        <a:pt x="113" y="197"/>
                        <a:pt x="112" y="197"/>
                        <a:pt x="110" y="195"/>
                      </a:cubicBezTo>
                      <a:cubicBezTo>
                        <a:pt x="83" y="168"/>
                        <a:pt x="55" y="140"/>
                        <a:pt x="28" y="112"/>
                      </a:cubicBezTo>
                      <a:cubicBezTo>
                        <a:pt x="0" y="85"/>
                        <a:pt x="4" y="37"/>
                        <a:pt x="35" y="15"/>
                      </a:cubicBezTo>
                      <a:cubicBezTo>
                        <a:pt x="44" y="9"/>
                        <a:pt x="54" y="6"/>
                        <a:pt x="65" y="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sz="2000">
                    <a:solidFill>
                      <a:srgbClr val="259A49"/>
                    </a:solidFill>
                    <a:latin typeface="+mj-lt"/>
                  </a:endParaRPr>
                </a:p>
              </p:txBody>
            </p:sp>
          </p:grpSp>
          <p:sp>
            <p:nvSpPr>
              <p:cNvPr id="125" name="Oval 5">
                <a:extLst>
                  <a:ext uri="{FF2B5EF4-FFF2-40B4-BE49-F238E27FC236}">
                    <a16:creationId xmlns:a16="http://schemas.microsoft.com/office/drawing/2014/main" id="{98E35121-3EC5-4198-8F48-5AB35F6CC7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520524" y="2184146"/>
                <a:ext cx="839107" cy="845441"/>
              </a:xfrm>
              <a:prstGeom prst="ellipse">
                <a:avLst/>
              </a:prstGeom>
              <a:noFill/>
              <a:ln w="53975" cap="rnd">
                <a:solidFill>
                  <a:srgbClr val="259A49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ZA" sz="1400">
                  <a:solidFill>
                    <a:srgbClr val="D3A228"/>
                  </a:solidFill>
                  <a:latin typeface="+mj-lt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7B950419-4184-4274-AA32-1572430BA584}"/>
                  </a:ext>
                </a:extLst>
              </p:cNvPr>
              <p:cNvSpPr txBox="1"/>
              <p:nvPr/>
            </p:nvSpPr>
            <p:spPr>
              <a:xfrm>
                <a:off x="7480444" y="2390094"/>
                <a:ext cx="951018" cy="761895"/>
              </a:xfrm>
              <a:prstGeom prst="rect">
                <a:avLst/>
              </a:prstGeom>
              <a:noFill/>
            </p:spPr>
            <p:txBody>
              <a:bodyPr wrap="none" rtlCol="0">
                <a:prstTxWarp prst="textArchDown">
                  <a:avLst/>
                </a:prstTxWarp>
                <a:spAutoFit/>
              </a:bodyPr>
              <a:lstStyle/>
              <a:p>
                <a:pPr algn="ctr"/>
                <a:r>
                  <a:rPr lang="en-ZA" sz="1400" b="1" dirty="0">
                    <a:solidFill>
                      <a:schemeClr val="tx1">
                        <a:lumMod val="50000"/>
                      </a:schemeClr>
                    </a:solidFill>
                    <a:latin typeface="+mj-lt"/>
                  </a:rPr>
                  <a:t>  and well-being </a:t>
                </a:r>
              </a:p>
            </p:txBody>
          </p:sp>
          <p:sp>
            <p:nvSpPr>
              <p:cNvPr id="127" name="TextBox 126">
                <a:extLst>
                  <a:ext uri="{FF2B5EF4-FFF2-40B4-BE49-F238E27FC236}">
                    <a16:creationId xmlns:a16="http://schemas.microsoft.com/office/drawing/2014/main" id="{CF3F7C7E-52CD-48F0-91DD-623F0257BA15}"/>
                  </a:ext>
                </a:extLst>
              </p:cNvPr>
              <p:cNvSpPr txBox="1"/>
              <p:nvPr/>
            </p:nvSpPr>
            <p:spPr>
              <a:xfrm>
                <a:off x="7520524" y="2129695"/>
                <a:ext cx="863572" cy="633864"/>
              </a:xfrm>
              <a:prstGeom prst="rect">
                <a:avLst/>
              </a:prstGeom>
              <a:noFill/>
            </p:spPr>
            <p:txBody>
              <a:bodyPr wrap="none" rtlCol="0">
                <a:prstTxWarp prst="textArchUp">
                  <a:avLst>
                    <a:gd name="adj" fmla="val 10608651"/>
                  </a:avLst>
                </a:prstTxWarp>
                <a:spAutoFit/>
              </a:bodyPr>
              <a:lstStyle/>
              <a:p>
                <a:r>
                  <a:rPr lang="en-ZA" sz="1400" b="1" dirty="0">
                    <a:solidFill>
                      <a:schemeClr val="tx1">
                        <a:lumMod val="50000"/>
                      </a:schemeClr>
                    </a:solidFill>
                    <a:latin typeface="+mj-lt"/>
                  </a:rPr>
                  <a:t>       Good health</a:t>
                </a:r>
                <a:endParaRPr lang="en-ZA" sz="1400" dirty="0">
                  <a:latin typeface="+mj-lt"/>
                </a:endParaRPr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A151A4D5-9D4C-4392-9D37-29DF17D478FF}"/>
                </a:ext>
              </a:extLst>
            </p:cNvPr>
            <p:cNvGrpSpPr/>
            <p:nvPr/>
          </p:nvGrpSpPr>
          <p:grpSpPr>
            <a:xfrm>
              <a:off x="5679214" y="3161721"/>
              <a:ext cx="917722" cy="958822"/>
              <a:chOff x="5705112" y="3231788"/>
              <a:chExt cx="917722" cy="958822"/>
            </a:xfrm>
          </p:grpSpPr>
          <p:grpSp>
            <p:nvGrpSpPr>
              <p:cNvPr id="111" name="Group 28">
                <a:extLst>
                  <a:ext uri="{FF2B5EF4-FFF2-40B4-BE49-F238E27FC236}">
                    <a16:creationId xmlns:a16="http://schemas.microsoft.com/office/drawing/2014/main" id="{1F6EB8E6-0F68-4E7C-9B50-E20308EF0371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5836326" y="3514459"/>
                <a:ext cx="661981" cy="287055"/>
                <a:chOff x="3939" y="3250"/>
                <a:chExt cx="339" cy="147"/>
              </a:xfrm>
              <a:solidFill>
                <a:srgbClr val="EB1C2C"/>
              </a:solidFill>
            </p:grpSpPr>
            <p:sp>
              <p:nvSpPr>
                <p:cNvPr id="114" name="Freeform 29">
                  <a:extLst>
                    <a:ext uri="{FF2B5EF4-FFF2-40B4-BE49-F238E27FC236}">
                      <a16:creationId xmlns:a16="http://schemas.microsoft.com/office/drawing/2014/main" id="{62044C52-D6B1-4945-B3BA-899FCA4F225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39" y="3279"/>
                  <a:ext cx="177" cy="116"/>
                </a:xfrm>
                <a:custGeom>
                  <a:avLst/>
                  <a:gdLst>
                    <a:gd name="T0" fmla="*/ 192 w 456"/>
                    <a:gd name="T1" fmla="*/ 130 h 299"/>
                    <a:gd name="T2" fmla="*/ 216 w 456"/>
                    <a:gd name="T3" fmla="*/ 156 h 299"/>
                    <a:gd name="T4" fmla="*/ 253 w 456"/>
                    <a:gd name="T5" fmla="*/ 149 h 299"/>
                    <a:gd name="T6" fmla="*/ 282 w 456"/>
                    <a:gd name="T7" fmla="*/ 125 h 299"/>
                    <a:gd name="T8" fmla="*/ 321 w 456"/>
                    <a:gd name="T9" fmla="*/ 22 h 299"/>
                    <a:gd name="T10" fmla="*/ 399 w 456"/>
                    <a:gd name="T11" fmla="*/ 17 h 299"/>
                    <a:gd name="T12" fmla="*/ 453 w 456"/>
                    <a:gd name="T13" fmla="*/ 121 h 299"/>
                    <a:gd name="T14" fmla="*/ 429 w 456"/>
                    <a:gd name="T15" fmla="*/ 130 h 299"/>
                    <a:gd name="T16" fmla="*/ 409 w 456"/>
                    <a:gd name="T17" fmla="*/ 63 h 299"/>
                    <a:gd name="T18" fmla="*/ 402 w 456"/>
                    <a:gd name="T19" fmla="*/ 65 h 299"/>
                    <a:gd name="T20" fmla="*/ 435 w 456"/>
                    <a:gd name="T21" fmla="*/ 186 h 299"/>
                    <a:gd name="T22" fmla="*/ 410 w 456"/>
                    <a:gd name="T23" fmla="*/ 191 h 299"/>
                    <a:gd name="T24" fmla="*/ 404 w 456"/>
                    <a:gd name="T25" fmla="*/ 281 h 299"/>
                    <a:gd name="T26" fmla="*/ 374 w 456"/>
                    <a:gd name="T27" fmla="*/ 288 h 299"/>
                    <a:gd name="T28" fmla="*/ 373 w 456"/>
                    <a:gd name="T29" fmla="*/ 196 h 299"/>
                    <a:gd name="T30" fmla="*/ 364 w 456"/>
                    <a:gd name="T31" fmla="*/ 196 h 299"/>
                    <a:gd name="T32" fmla="*/ 364 w 456"/>
                    <a:gd name="T33" fmla="*/ 279 h 299"/>
                    <a:gd name="T34" fmla="*/ 332 w 456"/>
                    <a:gd name="T35" fmla="*/ 279 h 299"/>
                    <a:gd name="T36" fmla="*/ 326 w 456"/>
                    <a:gd name="T37" fmla="*/ 191 h 299"/>
                    <a:gd name="T38" fmla="*/ 301 w 456"/>
                    <a:gd name="T39" fmla="*/ 187 h 299"/>
                    <a:gd name="T40" fmla="*/ 335 w 456"/>
                    <a:gd name="T41" fmla="*/ 65 h 299"/>
                    <a:gd name="T42" fmla="*/ 328 w 456"/>
                    <a:gd name="T43" fmla="*/ 63 h 299"/>
                    <a:gd name="T44" fmla="*/ 304 w 456"/>
                    <a:gd name="T45" fmla="*/ 137 h 299"/>
                    <a:gd name="T46" fmla="*/ 259 w 456"/>
                    <a:gd name="T47" fmla="*/ 180 h 299"/>
                    <a:gd name="T48" fmla="*/ 269 w 456"/>
                    <a:gd name="T49" fmla="*/ 241 h 299"/>
                    <a:gd name="T50" fmla="*/ 257 w 456"/>
                    <a:gd name="T51" fmla="*/ 255 h 299"/>
                    <a:gd name="T52" fmla="*/ 245 w 456"/>
                    <a:gd name="T53" fmla="*/ 297 h 299"/>
                    <a:gd name="T54" fmla="*/ 232 w 456"/>
                    <a:gd name="T55" fmla="*/ 250 h 299"/>
                    <a:gd name="T56" fmla="*/ 225 w 456"/>
                    <a:gd name="T57" fmla="*/ 250 h 299"/>
                    <a:gd name="T58" fmla="*/ 213 w 456"/>
                    <a:gd name="T59" fmla="*/ 297 h 299"/>
                    <a:gd name="T60" fmla="*/ 201 w 456"/>
                    <a:gd name="T61" fmla="*/ 250 h 299"/>
                    <a:gd name="T62" fmla="*/ 189 w 456"/>
                    <a:gd name="T63" fmla="*/ 237 h 299"/>
                    <a:gd name="T64" fmla="*/ 196 w 456"/>
                    <a:gd name="T65" fmla="*/ 177 h 299"/>
                    <a:gd name="T66" fmla="*/ 167 w 456"/>
                    <a:gd name="T67" fmla="*/ 141 h 299"/>
                    <a:gd name="T68" fmla="*/ 150 w 456"/>
                    <a:gd name="T69" fmla="*/ 59 h 299"/>
                    <a:gd name="T70" fmla="*/ 145 w 456"/>
                    <a:gd name="T71" fmla="*/ 48 h 299"/>
                    <a:gd name="T72" fmla="*/ 140 w 456"/>
                    <a:gd name="T73" fmla="*/ 59 h 299"/>
                    <a:gd name="T74" fmla="*/ 118 w 456"/>
                    <a:gd name="T75" fmla="*/ 296 h 299"/>
                    <a:gd name="T76" fmla="*/ 104 w 456"/>
                    <a:gd name="T77" fmla="*/ 195 h 299"/>
                    <a:gd name="T78" fmla="*/ 100 w 456"/>
                    <a:gd name="T79" fmla="*/ 144 h 299"/>
                    <a:gd name="T80" fmla="*/ 95 w 456"/>
                    <a:gd name="T81" fmla="*/ 277 h 299"/>
                    <a:gd name="T82" fmla="*/ 59 w 456"/>
                    <a:gd name="T83" fmla="*/ 280 h 299"/>
                    <a:gd name="T84" fmla="*/ 59 w 456"/>
                    <a:gd name="T85" fmla="*/ 58 h 299"/>
                    <a:gd name="T86" fmla="*/ 55 w 456"/>
                    <a:gd name="T87" fmla="*/ 48 h 299"/>
                    <a:gd name="T88" fmla="*/ 49 w 456"/>
                    <a:gd name="T89" fmla="*/ 57 h 299"/>
                    <a:gd name="T90" fmla="*/ 44 w 456"/>
                    <a:gd name="T91" fmla="*/ 139 h 299"/>
                    <a:gd name="T92" fmla="*/ 15 w 456"/>
                    <a:gd name="T93" fmla="*/ 288 h 299"/>
                    <a:gd name="T94" fmla="*/ 6 w 456"/>
                    <a:gd name="T95" fmla="*/ 297 h 299"/>
                    <a:gd name="T96" fmla="*/ 10 w 456"/>
                    <a:gd name="T97" fmla="*/ 240 h 299"/>
                    <a:gd name="T98" fmla="*/ 28 w 456"/>
                    <a:gd name="T99" fmla="*/ 138 h 299"/>
                    <a:gd name="T100" fmla="*/ 24 w 456"/>
                    <a:gd name="T101" fmla="*/ 44 h 299"/>
                    <a:gd name="T102" fmla="*/ 131 w 456"/>
                    <a:gd name="T103" fmla="*/ 0 h 299"/>
                    <a:gd name="T104" fmla="*/ 175 w 456"/>
                    <a:gd name="T105" fmla="*/ 125 h 2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456" h="299">
                      <a:moveTo>
                        <a:pt x="175" y="125"/>
                      </a:moveTo>
                      <a:cubicBezTo>
                        <a:pt x="184" y="121"/>
                        <a:pt x="187" y="122"/>
                        <a:pt x="192" y="130"/>
                      </a:cubicBezTo>
                      <a:cubicBezTo>
                        <a:pt x="196" y="136"/>
                        <a:pt x="200" y="143"/>
                        <a:pt x="204" y="149"/>
                      </a:cubicBezTo>
                      <a:cubicBezTo>
                        <a:pt x="207" y="154"/>
                        <a:pt x="211" y="156"/>
                        <a:pt x="216" y="156"/>
                      </a:cubicBezTo>
                      <a:cubicBezTo>
                        <a:pt x="225" y="156"/>
                        <a:pt x="233" y="156"/>
                        <a:pt x="241" y="156"/>
                      </a:cubicBezTo>
                      <a:cubicBezTo>
                        <a:pt x="247" y="156"/>
                        <a:pt x="251" y="154"/>
                        <a:pt x="253" y="149"/>
                      </a:cubicBezTo>
                      <a:cubicBezTo>
                        <a:pt x="257" y="143"/>
                        <a:pt x="261" y="137"/>
                        <a:pt x="265" y="130"/>
                      </a:cubicBezTo>
                      <a:cubicBezTo>
                        <a:pt x="270" y="122"/>
                        <a:pt x="274" y="121"/>
                        <a:pt x="282" y="125"/>
                      </a:cubicBezTo>
                      <a:cubicBezTo>
                        <a:pt x="290" y="98"/>
                        <a:pt x="298" y="71"/>
                        <a:pt x="307" y="44"/>
                      </a:cubicBezTo>
                      <a:cubicBezTo>
                        <a:pt x="309" y="36"/>
                        <a:pt x="314" y="28"/>
                        <a:pt x="321" y="22"/>
                      </a:cubicBezTo>
                      <a:cubicBezTo>
                        <a:pt x="326" y="19"/>
                        <a:pt x="331" y="17"/>
                        <a:pt x="337" y="17"/>
                      </a:cubicBezTo>
                      <a:cubicBezTo>
                        <a:pt x="358" y="17"/>
                        <a:pt x="378" y="17"/>
                        <a:pt x="399" y="17"/>
                      </a:cubicBezTo>
                      <a:cubicBezTo>
                        <a:pt x="412" y="17"/>
                        <a:pt x="424" y="26"/>
                        <a:pt x="429" y="41"/>
                      </a:cubicBezTo>
                      <a:cubicBezTo>
                        <a:pt x="437" y="68"/>
                        <a:pt x="445" y="94"/>
                        <a:pt x="453" y="121"/>
                      </a:cubicBezTo>
                      <a:cubicBezTo>
                        <a:pt x="456" y="131"/>
                        <a:pt x="452" y="139"/>
                        <a:pt x="443" y="140"/>
                      </a:cubicBezTo>
                      <a:cubicBezTo>
                        <a:pt x="437" y="141"/>
                        <a:pt x="431" y="138"/>
                        <a:pt x="429" y="130"/>
                      </a:cubicBezTo>
                      <a:cubicBezTo>
                        <a:pt x="424" y="114"/>
                        <a:pt x="420" y="99"/>
                        <a:pt x="415" y="83"/>
                      </a:cubicBezTo>
                      <a:cubicBezTo>
                        <a:pt x="413" y="77"/>
                        <a:pt x="411" y="70"/>
                        <a:pt x="409" y="63"/>
                      </a:cubicBezTo>
                      <a:cubicBezTo>
                        <a:pt x="408" y="61"/>
                        <a:pt x="408" y="57"/>
                        <a:pt x="404" y="58"/>
                      </a:cubicBezTo>
                      <a:cubicBezTo>
                        <a:pt x="400" y="59"/>
                        <a:pt x="401" y="63"/>
                        <a:pt x="402" y="65"/>
                      </a:cubicBezTo>
                      <a:cubicBezTo>
                        <a:pt x="406" y="81"/>
                        <a:pt x="410" y="96"/>
                        <a:pt x="414" y="111"/>
                      </a:cubicBezTo>
                      <a:cubicBezTo>
                        <a:pt x="421" y="136"/>
                        <a:pt x="428" y="161"/>
                        <a:pt x="435" y="186"/>
                      </a:cubicBezTo>
                      <a:cubicBezTo>
                        <a:pt x="436" y="190"/>
                        <a:pt x="436" y="191"/>
                        <a:pt x="431" y="191"/>
                      </a:cubicBezTo>
                      <a:cubicBezTo>
                        <a:pt x="424" y="191"/>
                        <a:pt x="417" y="191"/>
                        <a:pt x="410" y="191"/>
                      </a:cubicBezTo>
                      <a:cubicBezTo>
                        <a:pt x="405" y="191"/>
                        <a:pt x="404" y="193"/>
                        <a:pt x="404" y="197"/>
                      </a:cubicBezTo>
                      <a:cubicBezTo>
                        <a:pt x="404" y="225"/>
                        <a:pt x="404" y="253"/>
                        <a:pt x="404" y="281"/>
                      </a:cubicBezTo>
                      <a:cubicBezTo>
                        <a:pt x="404" y="289"/>
                        <a:pt x="399" y="295"/>
                        <a:pt x="391" y="297"/>
                      </a:cubicBezTo>
                      <a:cubicBezTo>
                        <a:pt x="384" y="298"/>
                        <a:pt x="377" y="294"/>
                        <a:pt x="374" y="288"/>
                      </a:cubicBezTo>
                      <a:cubicBezTo>
                        <a:pt x="372" y="285"/>
                        <a:pt x="373" y="281"/>
                        <a:pt x="373" y="278"/>
                      </a:cubicBezTo>
                      <a:cubicBezTo>
                        <a:pt x="373" y="251"/>
                        <a:pt x="372" y="223"/>
                        <a:pt x="373" y="196"/>
                      </a:cubicBezTo>
                      <a:cubicBezTo>
                        <a:pt x="373" y="193"/>
                        <a:pt x="373" y="191"/>
                        <a:pt x="368" y="191"/>
                      </a:cubicBezTo>
                      <a:cubicBezTo>
                        <a:pt x="364" y="191"/>
                        <a:pt x="364" y="192"/>
                        <a:pt x="364" y="196"/>
                      </a:cubicBezTo>
                      <a:cubicBezTo>
                        <a:pt x="364" y="213"/>
                        <a:pt x="364" y="231"/>
                        <a:pt x="364" y="249"/>
                      </a:cubicBezTo>
                      <a:cubicBezTo>
                        <a:pt x="364" y="259"/>
                        <a:pt x="364" y="269"/>
                        <a:pt x="364" y="279"/>
                      </a:cubicBezTo>
                      <a:cubicBezTo>
                        <a:pt x="364" y="290"/>
                        <a:pt x="358" y="297"/>
                        <a:pt x="348" y="297"/>
                      </a:cubicBezTo>
                      <a:cubicBezTo>
                        <a:pt x="339" y="297"/>
                        <a:pt x="332" y="290"/>
                        <a:pt x="332" y="279"/>
                      </a:cubicBezTo>
                      <a:cubicBezTo>
                        <a:pt x="332" y="252"/>
                        <a:pt x="332" y="224"/>
                        <a:pt x="333" y="197"/>
                      </a:cubicBezTo>
                      <a:cubicBezTo>
                        <a:pt x="333" y="192"/>
                        <a:pt x="331" y="191"/>
                        <a:pt x="326" y="191"/>
                      </a:cubicBezTo>
                      <a:cubicBezTo>
                        <a:pt x="319" y="191"/>
                        <a:pt x="312" y="191"/>
                        <a:pt x="305" y="191"/>
                      </a:cubicBezTo>
                      <a:cubicBezTo>
                        <a:pt x="301" y="191"/>
                        <a:pt x="300" y="190"/>
                        <a:pt x="301" y="187"/>
                      </a:cubicBezTo>
                      <a:cubicBezTo>
                        <a:pt x="310" y="154"/>
                        <a:pt x="319" y="122"/>
                        <a:pt x="328" y="89"/>
                      </a:cubicBezTo>
                      <a:cubicBezTo>
                        <a:pt x="330" y="81"/>
                        <a:pt x="332" y="73"/>
                        <a:pt x="335" y="65"/>
                      </a:cubicBezTo>
                      <a:cubicBezTo>
                        <a:pt x="336" y="62"/>
                        <a:pt x="336" y="59"/>
                        <a:pt x="332" y="58"/>
                      </a:cubicBezTo>
                      <a:cubicBezTo>
                        <a:pt x="329" y="57"/>
                        <a:pt x="328" y="60"/>
                        <a:pt x="328" y="63"/>
                      </a:cubicBezTo>
                      <a:cubicBezTo>
                        <a:pt x="321" y="84"/>
                        <a:pt x="315" y="105"/>
                        <a:pt x="309" y="127"/>
                      </a:cubicBezTo>
                      <a:cubicBezTo>
                        <a:pt x="308" y="130"/>
                        <a:pt x="306" y="134"/>
                        <a:pt x="304" y="137"/>
                      </a:cubicBezTo>
                      <a:cubicBezTo>
                        <a:pt x="299" y="142"/>
                        <a:pt x="292" y="142"/>
                        <a:pt x="284" y="135"/>
                      </a:cubicBezTo>
                      <a:cubicBezTo>
                        <a:pt x="276" y="150"/>
                        <a:pt x="268" y="165"/>
                        <a:pt x="259" y="180"/>
                      </a:cubicBezTo>
                      <a:cubicBezTo>
                        <a:pt x="256" y="185"/>
                        <a:pt x="256" y="192"/>
                        <a:pt x="258" y="198"/>
                      </a:cubicBezTo>
                      <a:cubicBezTo>
                        <a:pt x="262" y="212"/>
                        <a:pt x="265" y="227"/>
                        <a:pt x="269" y="241"/>
                      </a:cubicBezTo>
                      <a:cubicBezTo>
                        <a:pt x="270" y="244"/>
                        <a:pt x="269" y="245"/>
                        <a:pt x="266" y="245"/>
                      </a:cubicBezTo>
                      <a:cubicBezTo>
                        <a:pt x="257" y="245"/>
                        <a:pt x="257" y="245"/>
                        <a:pt x="257" y="255"/>
                      </a:cubicBezTo>
                      <a:cubicBezTo>
                        <a:pt x="257" y="264"/>
                        <a:pt x="257" y="274"/>
                        <a:pt x="257" y="284"/>
                      </a:cubicBezTo>
                      <a:cubicBezTo>
                        <a:pt x="257" y="292"/>
                        <a:pt x="252" y="297"/>
                        <a:pt x="245" y="297"/>
                      </a:cubicBezTo>
                      <a:cubicBezTo>
                        <a:pt x="238" y="297"/>
                        <a:pt x="232" y="292"/>
                        <a:pt x="232" y="284"/>
                      </a:cubicBezTo>
                      <a:cubicBezTo>
                        <a:pt x="232" y="273"/>
                        <a:pt x="232" y="261"/>
                        <a:pt x="232" y="250"/>
                      </a:cubicBezTo>
                      <a:cubicBezTo>
                        <a:pt x="232" y="247"/>
                        <a:pt x="233" y="245"/>
                        <a:pt x="228" y="245"/>
                      </a:cubicBezTo>
                      <a:cubicBezTo>
                        <a:pt x="225" y="245"/>
                        <a:pt x="225" y="247"/>
                        <a:pt x="225" y="250"/>
                      </a:cubicBezTo>
                      <a:cubicBezTo>
                        <a:pt x="225" y="261"/>
                        <a:pt x="225" y="272"/>
                        <a:pt x="225" y="283"/>
                      </a:cubicBezTo>
                      <a:cubicBezTo>
                        <a:pt x="225" y="292"/>
                        <a:pt x="220" y="297"/>
                        <a:pt x="213" y="297"/>
                      </a:cubicBezTo>
                      <a:cubicBezTo>
                        <a:pt x="205" y="297"/>
                        <a:pt x="200" y="292"/>
                        <a:pt x="200" y="283"/>
                      </a:cubicBezTo>
                      <a:cubicBezTo>
                        <a:pt x="200" y="272"/>
                        <a:pt x="200" y="261"/>
                        <a:pt x="201" y="250"/>
                      </a:cubicBezTo>
                      <a:cubicBezTo>
                        <a:pt x="201" y="246"/>
                        <a:pt x="199" y="245"/>
                        <a:pt x="196" y="245"/>
                      </a:cubicBezTo>
                      <a:cubicBezTo>
                        <a:pt x="187" y="245"/>
                        <a:pt x="187" y="245"/>
                        <a:pt x="189" y="237"/>
                      </a:cubicBezTo>
                      <a:cubicBezTo>
                        <a:pt x="192" y="225"/>
                        <a:pt x="196" y="213"/>
                        <a:pt x="199" y="201"/>
                      </a:cubicBezTo>
                      <a:cubicBezTo>
                        <a:pt x="201" y="192"/>
                        <a:pt x="201" y="184"/>
                        <a:pt x="196" y="177"/>
                      </a:cubicBezTo>
                      <a:cubicBezTo>
                        <a:pt x="189" y="163"/>
                        <a:pt x="181" y="150"/>
                        <a:pt x="174" y="136"/>
                      </a:cubicBezTo>
                      <a:cubicBezTo>
                        <a:pt x="171" y="138"/>
                        <a:pt x="170" y="140"/>
                        <a:pt x="167" y="141"/>
                      </a:cubicBezTo>
                      <a:cubicBezTo>
                        <a:pt x="159" y="144"/>
                        <a:pt x="150" y="138"/>
                        <a:pt x="150" y="128"/>
                      </a:cubicBezTo>
                      <a:cubicBezTo>
                        <a:pt x="150" y="105"/>
                        <a:pt x="150" y="82"/>
                        <a:pt x="150" y="59"/>
                      </a:cubicBezTo>
                      <a:cubicBezTo>
                        <a:pt x="150" y="56"/>
                        <a:pt x="150" y="54"/>
                        <a:pt x="150" y="51"/>
                      </a:cubicBezTo>
                      <a:cubicBezTo>
                        <a:pt x="149" y="49"/>
                        <a:pt x="147" y="48"/>
                        <a:pt x="145" y="48"/>
                      </a:cubicBezTo>
                      <a:cubicBezTo>
                        <a:pt x="142" y="48"/>
                        <a:pt x="141" y="49"/>
                        <a:pt x="140" y="51"/>
                      </a:cubicBezTo>
                      <a:cubicBezTo>
                        <a:pt x="140" y="54"/>
                        <a:pt x="140" y="57"/>
                        <a:pt x="140" y="59"/>
                      </a:cubicBezTo>
                      <a:cubicBezTo>
                        <a:pt x="140" y="132"/>
                        <a:pt x="140" y="205"/>
                        <a:pt x="140" y="278"/>
                      </a:cubicBezTo>
                      <a:cubicBezTo>
                        <a:pt x="140" y="291"/>
                        <a:pt x="130" y="299"/>
                        <a:pt x="118" y="296"/>
                      </a:cubicBezTo>
                      <a:cubicBezTo>
                        <a:pt x="110" y="294"/>
                        <a:pt x="104" y="287"/>
                        <a:pt x="104" y="277"/>
                      </a:cubicBezTo>
                      <a:cubicBezTo>
                        <a:pt x="104" y="250"/>
                        <a:pt x="104" y="223"/>
                        <a:pt x="104" y="195"/>
                      </a:cubicBezTo>
                      <a:cubicBezTo>
                        <a:pt x="104" y="181"/>
                        <a:pt x="104" y="166"/>
                        <a:pt x="104" y="151"/>
                      </a:cubicBezTo>
                      <a:cubicBezTo>
                        <a:pt x="104" y="148"/>
                        <a:pt x="104" y="144"/>
                        <a:pt x="100" y="144"/>
                      </a:cubicBezTo>
                      <a:cubicBezTo>
                        <a:pt x="95" y="144"/>
                        <a:pt x="95" y="148"/>
                        <a:pt x="95" y="151"/>
                      </a:cubicBezTo>
                      <a:cubicBezTo>
                        <a:pt x="95" y="193"/>
                        <a:pt x="95" y="235"/>
                        <a:pt x="95" y="277"/>
                      </a:cubicBezTo>
                      <a:cubicBezTo>
                        <a:pt x="95" y="287"/>
                        <a:pt x="90" y="294"/>
                        <a:pt x="81" y="296"/>
                      </a:cubicBezTo>
                      <a:cubicBezTo>
                        <a:pt x="70" y="299"/>
                        <a:pt x="60" y="291"/>
                        <a:pt x="59" y="280"/>
                      </a:cubicBezTo>
                      <a:cubicBezTo>
                        <a:pt x="59" y="278"/>
                        <a:pt x="59" y="276"/>
                        <a:pt x="59" y="275"/>
                      </a:cubicBezTo>
                      <a:cubicBezTo>
                        <a:pt x="59" y="202"/>
                        <a:pt x="59" y="130"/>
                        <a:pt x="59" y="58"/>
                      </a:cubicBezTo>
                      <a:cubicBezTo>
                        <a:pt x="59" y="56"/>
                        <a:pt x="59" y="54"/>
                        <a:pt x="59" y="52"/>
                      </a:cubicBezTo>
                      <a:cubicBezTo>
                        <a:pt x="59" y="50"/>
                        <a:pt x="58" y="48"/>
                        <a:pt x="55" y="48"/>
                      </a:cubicBezTo>
                      <a:cubicBezTo>
                        <a:pt x="52" y="48"/>
                        <a:pt x="50" y="49"/>
                        <a:pt x="49" y="52"/>
                      </a:cubicBezTo>
                      <a:cubicBezTo>
                        <a:pt x="49" y="54"/>
                        <a:pt x="49" y="56"/>
                        <a:pt x="49" y="57"/>
                      </a:cubicBezTo>
                      <a:cubicBezTo>
                        <a:pt x="49" y="81"/>
                        <a:pt x="49" y="104"/>
                        <a:pt x="49" y="128"/>
                      </a:cubicBezTo>
                      <a:cubicBezTo>
                        <a:pt x="49" y="132"/>
                        <a:pt x="48" y="136"/>
                        <a:pt x="44" y="139"/>
                      </a:cubicBezTo>
                      <a:cubicBezTo>
                        <a:pt x="42" y="140"/>
                        <a:pt x="42" y="142"/>
                        <a:pt x="42" y="144"/>
                      </a:cubicBezTo>
                      <a:cubicBezTo>
                        <a:pt x="33" y="192"/>
                        <a:pt x="24" y="240"/>
                        <a:pt x="15" y="288"/>
                      </a:cubicBezTo>
                      <a:cubicBezTo>
                        <a:pt x="15" y="289"/>
                        <a:pt x="14" y="290"/>
                        <a:pt x="14" y="291"/>
                      </a:cubicBezTo>
                      <a:cubicBezTo>
                        <a:pt x="13" y="295"/>
                        <a:pt x="11" y="298"/>
                        <a:pt x="6" y="297"/>
                      </a:cubicBezTo>
                      <a:cubicBezTo>
                        <a:pt x="2" y="297"/>
                        <a:pt x="0" y="293"/>
                        <a:pt x="1" y="288"/>
                      </a:cubicBezTo>
                      <a:cubicBezTo>
                        <a:pt x="4" y="272"/>
                        <a:pt x="7" y="256"/>
                        <a:pt x="10" y="240"/>
                      </a:cubicBezTo>
                      <a:cubicBezTo>
                        <a:pt x="16" y="207"/>
                        <a:pt x="22" y="175"/>
                        <a:pt x="28" y="143"/>
                      </a:cubicBezTo>
                      <a:cubicBezTo>
                        <a:pt x="28" y="141"/>
                        <a:pt x="30" y="140"/>
                        <a:pt x="28" y="138"/>
                      </a:cubicBezTo>
                      <a:cubicBezTo>
                        <a:pt x="24" y="134"/>
                        <a:pt x="24" y="128"/>
                        <a:pt x="24" y="123"/>
                      </a:cubicBezTo>
                      <a:cubicBezTo>
                        <a:pt x="24" y="97"/>
                        <a:pt x="24" y="70"/>
                        <a:pt x="24" y="44"/>
                      </a:cubicBezTo>
                      <a:cubicBezTo>
                        <a:pt x="25" y="17"/>
                        <a:pt x="42" y="0"/>
                        <a:pt x="69" y="0"/>
                      </a:cubicBezTo>
                      <a:cubicBezTo>
                        <a:pt x="89" y="0"/>
                        <a:pt x="110" y="0"/>
                        <a:pt x="131" y="0"/>
                      </a:cubicBezTo>
                      <a:cubicBezTo>
                        <a:pt x="157" y="0"/>
                        <a:pt x="175" y="18"/>
                        <a:pt x="175" y="44"/>
                      </a:cubicBezTo>
                      <a:cubicBezTo>
                        <a:pt x="175" y="71"/>
                        <a:pt x="175" y="97"/>
                        <a:pt x="175" y="12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sz="2000">
                    <a:latin typeface="+mj-lt"/>
                  </a:endParaRPr>
                </a:p>
              </p:txBody>
            </p:sp>
            <p:sp>
              <p:nvSpPr>
                <p:cNvPr id="115" name="Freeform 30">
                  <a:extLst>
                    <a:ext uri="{FF2B5EF4-FFF2-40B4-BE49-F238E27FC236}">
                      <a16:creationId xmlns:a16="http://schemas.microsoft.com/office/drawing/2014/main" id="{D5BE4CFA-8ACB-4B35-A30C-1F2AAF52E0D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20" y="3279"/>
                  <a:ext cx="58" cy="118"/>
                </a:xfrm>
                <a:custGeom>
                  <a:avLst/>
                  <a:gdLst>
                    <a:gd name="T0" fmla="*/ 116 w 151"/>
                    <a:gd name="T1" fmla="*/ 166 h 302"/>
                    <a:gd name="T2" fmla="*/ 116 w 151"/>
                    <a:gd name="T3" fmla="*/ 278 h 302"/>
                    <a:gd name="T4" fmla="*/ 89 w 151"/>
                    <a:gd name="T5" fmla="*/ 294 h 302"/>
                    <a:gd name="T6" fmla="*/ 80 w 151"/>
                    <a:gd name="T7" fmla="*/ 278 h 302"/>
                    <a:gd name="T8" fmla="*/ 80 w 151"/>
                    <a:gd name="T9" fmla="*/ 154 h 302"/>
                    <a:gd name="T10" fmla="*/ 80 w 151"/>
                    <a:gd name="T11" fmla="*/ 148 h 302"/>
                    <a:gd name="T12" fmla="*/ 75 w 151"/>
                    <a:gd name="T13" fmla="*/ 144 h 302"/>
                    <a:gd name="T14" fmla="*/ 71 w 151"/>
                    <a:gd name="T15" fmla="*/ 149 h 302"/>
                    <a:gd name="T16" fmla="*/ 70 w 151"/>
                    <a:gd name="T17" fmla="*/ 154 h 302"/>
                    <a:gd name="T18" fmla="*/ 70 w 151"/>
                    <a:gd name="T19" fmla="*/ 277 h 302"/>
                    <a:gd name="T20" fmla="*/ 49 w 151"/>
                    <a:gd name="T21" fmla="*/ 296 h 302"/>
                    <a:gd name="T22" fmla="*/ 35 w 151"/>
                    <a:gd name="T23" fmla="*/ 279 h 302"/>
                    <a:gd name="T24" fmla="*/ 35 w 151"/>
                    <a:gd name="T25" fmla="*/ 207 h 302"/>
                    <a:gd name="T26" fmla="*/ 35 w 151"/>
                    <a:gd name="T27" fmla="*/ 59 h 302"/>
                    <a:gd name="T28" fmla="*/ 34 w 151"/>
                    <a:gd name="T29" fmla="*/ 51 h 302"/>
                    <a:gd name="T30" fmla="*/ 30 w 151"/>
                    <a:gd name="T31" fmla="*/ 48 h 302"/>
                    <a:gd name="T32" fmla="*/ 25 w 151"/>
                    <a:gd name="T33" fmla="*/ 52 h 302"/>
                    <a:gd name="T34" fmla="*/ 25 w 151"/>
                    <a:gd name="T35" fmla="*/ 57 h 302"/>
                    <a:gd name="T36" fmla="*/ 25 w 151"/>
                    <a:gd name="T37" fmla="*/ 127 h 302"/>
                    <a:gd name="T38" fmla="*/ 13 w 151"/>
                    <a:gd name="T39" fmla="*/ 142 h 302"/>
                    <a:gd name="T40" fmla="*/ 0 w 151"/>
                    <a:gd name="T41" fmla="*/ 130 h 302"/>
                    <a:gd name="T42" fmla="*/ 0 w 151"/>
                    <a:gd name="T43" fmla="*/ 39 h 302"/>
                    <a:gd name="T44" fmla="*/ 42 w 151"/>
                    <a:gd name="T45" fmla="*/ 0 h 302"/>
                    <a:gd name="T46" fmla="*/ 108 w 151"/>
                    <a:gd name="T47" fmla="*/ 0 h 302"/>
                    <a:gd name="T48" fmla="*/ 150 w 151"/>
                    <a:gd name="T49" fmla="*/ 41 h 302"/>
                    <a:gd name="T50" fmla="*/ 150 w 151"/>
                    <a:gd name="T51" fmla="*/ 129 h 302"/>
                    <a:gd name="T52" fmla="*/ 138 w 151"/>
                    <a:gd name="T53" fmla="*/ 142 h 302"/>
                    <a:gd name="T54" fmla="*/ 126 w 151"/>
                    <a:gd name="T55" fmla="*/ 128 h 302"/>
                    <a:gd name="T56" fmla="*/ 126 w 151"/>
                    <a:gd name="T57" fmla="*/ 57 h 302"/>
                    <a:gd name="T58" fmla="*/ 125 w 151"/>
                    <a:gd name="T59" fmla="*/ 51 h 302"/>
                    <a:gd name="T60" fmla="*/ 120 w 151"/>
                    <a:gd name="T61" fmla="*/ 48 h 302"/>
                    <a:gd name="T62" fmla="*/ 116 w 151"/>
                    <a:gd name="T63" fmla="*/ 52 h 302"/>
                    <a:gd name="T64" fmla="*/ 116 w 151"/>
                    <a:gd name="T65" fmla="*/ 58 h 302"/>
                    <a:gd name="T66" fmla="*/ 116 w 151"/>
                    <a:gd name="T67" fmla="*/ 166 h 3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151" h="302">
                      <a:moveTo>
                        <a:pt x="116" y="166"/>
                      </a:moveTo>
                      <a:cubicBezTo>
                        <a:pt x="116" y="204"/>
                        <a:pt x="116" y="241"/>
                        <a:pt x="116" y="278"/>
                      </a:cubicBezTo>
                      <a:cubicBezTo>
                        <a:pt x="116" y="293"/>
                        <a:pt x="101" y="302"/>
                        <a:pt x="89" y="294"/>
                      </a:cubicBezTo>
                      <a:cubicBezTo>
                        <a:pt x="83" y="291"/>
                        <a:pt x="80" y="285"/>
                        <a:pt x="80" y="278"/>
                      </a:cubicBezTo>
                      <a:cubicBezTo>
                        <a:pt x="80" y="237"/>
                        <a:pt x="80" y="196"/>
                        <a:pt x="80" y="154"/>
                      </a:cubicBezTo>
                      <a:cubicBezTo>
                        <a:pt x="80" y="152"/>
                        <a:pt x="80" y="150"/>
                        <a:pt x="80" y="148"/>
                      </a:cubicBezTo>
                      <a:cubicBezTo>
                        <a:pt x="79" y="145"/>
                        <a:pt x="78" y="144"/>
                        <a:pt x="75" y="144"/>
                      </a:cubicBezTo>
                      <a:cubicBezTo>
                        <a:pt x="72" y="145"/>
                        <a:pt x="71" y="146"/>
                        <a:pt x="71" y="149"/>
                      </a:cubicBezTo>
                      <a:cubicBezTo>
                        <a:pt x="70" y="150"/>
                        <a:pt x="70" y="152"/>
                        <a:pt x="70" y="154"/>
                      </a:cubicBezTo>
                      <a:cubicBezTo>
                        <a:pt x="70" y="195"/>
                        <a:pt x="70" y="236"/>
                        <a:pt x="70" y="277"/>
                      </a:cubicBezTo>
                      <a:cubicBezTo>
                        <a:pt x="70" y="290"/>
                        <a:pt x="61" y="299"/>
                        <a:pt x="49" y="296"/>
                      </a:cubicBezTo>
                      <a:cubicBezTo>
                        <a:pt x="41" y="294"/>
                        <a:pt x="35" y="288"/>
                        <a:pt x="35" y="279"/>
                      </a:cubicBezTo>
                      <a:cubicBezTo>
                        <a:pt x="35" y="255"/>
                        <a:pt x="35" y="231"/>
                        <a:pt x="35" y="207"/>
                      </a:cubicBezTo>
                      <a:cubicBezTo>
                        <a:pt x="35" y="158"/>
                        <a:pt x="35" y="108"/>
                        <a:pt x="35" y="59"/>
                      </a:cubicBezTo>
                      <a:cubicBezTo>
                        <a:pt x="35" y="56"/>
                        <a:pt x="35" y="54"/>
                        <a:pt x="34" y="51"/>
                      </a:cubicBezTo>
                      <a:cubicBezTo>
                        <a:pt x="34" y="49"/>
                        <a:pt x="32" y="48"/>
                        <a:pt x="30" y="48"/>
                      </a:cubicBezTo>
                      <a:cubicBezTo>
                        <a:pt x="27" y="48"/>
                        <a:pt x="26" y="49"/>
                        <a:pt x="25" y="52"/>
                      </a:cubicBezTo>
                      <a:cubicBezTo>
                        <a:pt x="25" y="54"/>
                        <a:pt x="25" y="56"/>
                        <a:pt x="25" y="57"/>
                      </a:cubicBezTo>
                      <a:cubicBezTo>
                        <a:pt x="25" y="81"/>
                        <a:pt x="25" y="104"/>
                        <a:pt x="25" y="127"/>
                      </a:cubicBezTo>
                      <a:cubicBezTo>
                        <a:pt x="25" y="136"/>
                        <a:pt x="20" y="142"/>
                        <a:pt x="13" y="142"/>
                      </a:cubicBezTo>
                      <a:cubicBezTo>
                        <a:pt x="6" y="142"/>
                        <a:pt x="0" y="137"/>
                        <a:pt x="0" y="130"/>
                      </a:cubicBezTo>
                      <a:cubicBezTo>
                        <a:pt x="0" y="99"/>
                        <a:pt x="0" y="69"/>
                        <a:pt x="0" y="39"/>
                      </a:cubicBezTo>
                      <a:cubicBezTo>
                        <a:pt x="1" y="17"/>
                        <a:pt x="20" y="0"/>
                        <a:pt x="42" y="0"/>
                      </a:cubicBezTo>
                      <a:cubicBezTo>
                        <a:pt x="64" y="0"/>
                        <a:pt x="86" y="0"/>
                        <a:pt x="108" y="0"/>
                      </a:cubicBezTo>
                      <a:cubicBezTo>
                        <a:pt x="132" y="0"/>
                        <a:pt x="150" y="18"/>
                        <a:pt x="150" y="41"/>
                      </a:cubicBezTo>
                      <a:cubicBezTo>
                        <a:pt x="151" y="70"/>
                        <a:pt x="151" y="99"/>
                        <a:pt x="150" y="129"/>
                      </a:cubicBezTo>
                      <a:cubicBezTo>
                        <a:pt x="150" y="137"/>
                        <a:pt x="145" y="142"/>
                        <a:pt x="138" y="142"/>
                      </a:cubicBezTo>
                      <a:cubicBezTo>
                        <a:pt x="131" y="142"/>
                        <a:pt x="126" y="136"/>
                        <a:pt x="126" y="128"/>
                      </a:cubicBezTo>
                      <a:cubicBezTo>
                        <a:pt x="126" y="104"/>
                        <a:pt x="126" y="81"/>
                        <a:pt x="126" y="57"/>
                      </a:cubicBezTo>
                      <a:cubicBezTo>
                        <a:pt x="126" y="55"/>
                        <a:pt x="126" y="53"/>
                        <a:pt x="125" y="51"/>
                      </a:cubicBezTo>
                      <a:cubicBezTo>
                        <a:pt x="124" y="49"/>
                        <a:pt x="122" y="48"/>
                        <a:pt x="120" y="48"/>
                      </a:cubicBezTo>
                      <a:cubicBezTo>
                        <a:pt x="117" y="48"/>
                        <a:pt x="116" y="50"/>
                        <a:pt x="116" y="52"/>
                      </a:cubicBezTo>
                      <a:cubicBezTo>
                        <a:pt x="116" y="54"/>
                        <a:pt x="116" y="56"/>
                        <a:pt x="116" y="58"/>
                      </a:cubicBezTo>
                      <a:cubicBezTo>
                        <a:pt x="116" y="94"/>
                        <a:pt x="116" y="130"/>
                        <a:pt x="116" y="16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sz="2000">
                    <a:latin typeface="+mj-lt"/>
                  </a:endParaRPr>
                </a:p>
              </p:txBody>
            </p:sp>
            <p:sp>
              <p:nvSpPr>
                <p:cNvPr id="116" name="Freeform 31">
                  <a:extLst>
                    <a:ext uri="{FF2B5EF4-FFF2-40B4-BE49-F238E27FC236}">
                      <a16:creationId xmlns:a16="http://schemas.microsoft.com/office/drawing/2014/main" id="{F9D9B18D-6D76-414B-9188-8A5A9A31604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18" y="3285"/>
                  <a:ext cx="68" cy="110"/>
                </a:xfrm>
                <a:custGeom>
                  <a:avLst/>
                  <a:gdLst>
                    <a:gd name="T0" fmla="*/ 122 w 173"/>
                    <a:gd name="T1" fmla="*/ 221 h 282"/>
                    <a:gd name="T2" fmla="*/ 122 w 173"/>
                    <a:gd name="T3" fmla="*/ 265 h 282"/>
                    <a:gd name="T4" fmla="*/ 108 w 173"/>
                    <a:gd name="T5" fmla="*/ 280 h 282"/>
                    <a:gd name="T6" fmla="*/ 91 w 173"/>
                    <a:gd name="T7" fmla="*/ 270 h 282"/>
                    <a:gd name="T8" fmla="*/ 91 w 173"/>
                    <a:gd name="T9" fmla="*/ 261 h 282"/>
                    <a:gd name="T10" fmla="*/ 91 w 173"/>
                    <a:gd name="T11" fmla="*/ 179 h 282"/>
                    <a:gd name="T12" fmla="*/ 87 w 173"/>
                    <a:gd name="T13" fmla="*/ 174 h 282"/>
                    <a:gd name="T14" fmla="*/ 82 w 173"/>
                    <a:gd name="T15" fmla="*/ 179 h 282"/>
                    <a:gd name="T16" fmla="*/ 82 w 173"/>
                    <a:gd name="T17" fmla="*/ 263 h 282"/>
                    <a:gd name="T18" fmla="*/ 70 w 173"/>
                    <a:gd name="T19" fmla="*/ 279 h 282"/>
                    <a:gd name="T20" fmla="*/ 51 w 173"/>
                    <a:gd name="T21" fmla="*/ 268 h 282"/>
                    <a:gd name="T22" fmla="*/ 50 w 173"/>
                    <a:gd name="T23" fmla="*/ 260 h 282"/>
                    <a:gd name="T24" fmla="*/ 50 w 173"/>
                    <a:gd name="T25" fmla="*/ 180 h 282"/>
                    <a:gd name="T26" fmla="*/ 45 w 173"/>
                    <a:gd name="T27" fmla="*/ 174 h 282"/>
                    <a:gd name="T28" fmla="*/ 23 w 173"/>
                    <a:gd name="T29" fmla="*/ 174 h 282"/>
                    <a:gd name="T30" fmla="*/ 19 w 173"/>
                    <a:gd name="T31" fmla="*/ 169 h 282"/>
                    <a:gd name="T32" fmla="*/ 48 w 173"/>
                    <a:gd name="T33" fmla="*/ 64 h 282"/>
                    <a:gd name="T34" fmla="*/ 53 w 173"/>
                    <a:gd name="T35" fmla="*/ 48 h 282"/>
                    <a:gd name="T36" fmla="*/ 51 w 173"/>
                    <a:gd name="T37" fmla="*/ 41 h 282"/>
                    <a:gd name="T38" fmla="*/ 46 w 173"/>
                    <a:gd name="T39" fmla="*/ 46 h 282"/>
                    <a:gd name="T40" fmla="*/ 27 w 173"/>
                    <a:gd name="T41" fmla="*/ 109 h 282"/>
                    <a:gd name="T42" fmla="*/ 23 w 173"/>
                    <a:gd name="T43" fmla="*/ 118 h 282"/>
                    <a:gd name="T44" fmla="*/ 10 w 173"/>
                    <a:gd name="T45" fmla="*/ 123 h 282"/>
                    <a:gd name="T46" fmla="*/ 0 w 173"/>
                    <a:gd name="T47" fmla="*/ 113 h 282"/>
                    <a:gd name="T48" fmla="*/ 1 w 173"/>
                    <a:gd name="T49" fmla="*/ 103 h 282"/>
                    <a:gd name="T50" fmla="*/ 25 w 173"/>
                    <a:gd name="T51" fmla="*/ 25 h 282"/>
                    <a:gd name="T52" fmla="*/ 60 w 173"/>
                    <a:gd name="T53" fmla="*/ 0 h 282"/>
                    <a:gd name="T54" fmla="*/ 113 w 173"/>
                    <a:gd name="T55" fmla="*/ 0 h 282"/>
                    <a:gd name="T56" fmla="*/ 147 w 173"/>
                    <a:gd name="T57" fmla="*/ 24 h 282"/>
                    <a:gd name="T58" fmla="*/ 171 w 173"/>
                    <a:gd name="T59" fmla="*/ 103 h 282"/>
                    <a:gd name="T60" fmla="*/ 169 w 173"/>
                    <a:gd name="T61" fmla="*/ 120 h 282"/>
                    <a:gd name="T62" fmla="*/ 147 w 173"/>
                    <a:gd name="T63" fmla="*/ 113 h 282"/>
                    <a:gd name="T64" fmla="*/ 137 w 173"/>
                    <a:gd name="T65" fmla="*/ 78 h 282"/>
                    <a:gd name="T66" fmla="*/ 127 w 173"/>
                    <a:gd name="T67" fmla="*/ 47 h 282"/>
                    <a:gd name="T68" fmla="*/ 122 w 173"/>
                    <a:gd name="T69" fmla="*/ 41 h 282"/>
                    <a:gd name="T70" fmla="*/ 120 w 173"/>
                    <a:gd name="T71" fmla="*/ 49 h 282"/>
                    <a:gd name="T72" fmla="*/ 150 w 173"/>
                    <a:gd name="T73" fmla="*/ 158 h 282"/>
                    <a:gd name="T74" fmla="*/ 153 w 173"/>
                    <a:gd name="T75" fmla="*/ 169 h 282"/>
                    <a:gd name="T76" fmla="*/ 149 w 173"/>
                    <a:gd name="T77" fmla="*/ 174 h 282"/>
                    <a:gd name="T78" fmla="*/ 127 w 173"/>
                    <a:gd name="T79" fmla="*/ 174 h 282"/>
                    <a:gd name="T80" fmla="*/ 122 w 173"/>
                    <a:gd name="T81" fmla="*/ 180 h 282"/>
                    <a:gd name="T82" fmla="*/ 122 w 173"/>
                    <a:gd name="T83" fmla="*/ 221 h 282"/>
                    <a:gd name="T84" fmla="*/ 122 w 173"/>
                    <a:gd name="T85" fmla="*/ 221 h 2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73" h="282">
                      <a:moveTo>
                        <a:pt x="122" y="221"/>
                      </a:moveTo>
                      <a:cubicBezTo>
                        <a:pt x="122" y="236"/>
                        <a:pt x="122" y="251"/>
                        <a:pt x="122" y="265"/>
                      </a:cubicBezTo>
                      <a:cubicBezTo>
                        <a:pt x="122" y="273"/>
                        <a:pt x="116" y="279"/>
                        <a:pt x="108" y="280"/>
                      </a:cubicBezTo>
                      <a:cubicBezTo>
                        <a:pt x="101" y="281"/>
                        <a:pt x="94" y="277"/>
                        <a:pt x="91" y="270"/>
                      </a:cubicBezTo>
                      <a:cubicBezTo>
                        <a:pt x="90" y="267"/>
                        <a:pt x="91" y="264"/>
                        <a:pt x="91" y="261"/>
                      </a:cubicBezTo>
                      <a:cubicBezTo>
                        <a:pt x="91" y="234"/>
                        <a:pt x="90" y="206"/>
                        <a:pt x="91" y="179"/>
                      </a:cubicBezTo>
                      <a:cubicBezTo>
                        <a:pt x="91" y="176"/>
                        <a:pt x="91" y="174"/>
                        <a:pt x="87" y="174"/>
                      </a:cubicBezTo>
                      <a:cubicBezTo>
                        <a:pt x="83" y="174"/>
                        <a:pt x="82" y="175"/>
                        <a:pt x="82" y="179"/>
                      </a:cubicBezTo>
                      <a:cubicBezTo>
                        <a:pt x="82" y="207"/>
                        <a:pt x="82" y="235"/>
                        <a:pt x="82" y="263"/>
                      </a:cubicBezTo>
                      <a:cubicBezTo>
                        <a:pt x="82" y="272"/>
                        <a:pt x="78" y="277"/>
                        <a:pt x="70" y="279"/>
                      </a:cubicBezTo>
                      <a:cubicBezTo>
                        <a:pt x="62" y="282"/>
                        <a:pt x="53" y="277"/>
                        <a:pt x="51" y="268"/>
                      </a:cubicBezTo>
                      <a:cubicBezTo>
                        <a:pt x="51" y="265"/>
                        <a:pt x="50" y="263"/>
                        <a:pt x="50" y="260"/>
                      </a:cubicBezTo>
                      <a:cubicBezTo>
                        <a:pt x="50" y="233"/>
                        <a:pt x="50" y="206"/>
                        <a:pt x="50" y="180"/>
                      </a:cubicBezTo>
                      <a:cubicBezTo>
                        <a:pt x="50" y="175"/>
                        <a:pt x="50" y="174"/>
                        <a:pt x="45" y="174"/>
                      </a:cubicBezTo>
                      <a:cubicBezTo>
                        <a:pt x="38" y="174"/>
                        <a:pt x="30" y="174"/>
                        <a:pt x="23" y="174"/>
                      </a:cubicBezTo>
                      <a:cubicBezTo>
                        <a:pt x="19" y="174"/>
                        <a:pt x="18" y="173"/>
                        <a:pt x="19" y="169"/>
                      </a:cubicBezTo>
                      <a:cubicBezTo>
                        <a:pt x="29" y="134"/>
                        <a:pt x="39" y="99"/>
                        <a:pt x="48" y="64"/>
                      </a:cubicBezTo>
                      <a:cubicBezTo>
                        <a:pt x="50" y="59"/>
                        <a:pt x="51" y="53"/>
                        <a:pt x="53" y="48"/>
                      </a:cubicBezTo>
                      <a:cubicBezTo>
                        <a:pt x="53" y="45"/>
                        <a:pt x="54" y="42"/>
                        <a:pt x="51" y="41"/>
                      </a:cubicBezTo>
                      <a:cubicBezTo>
                        <a:pt x="47" y="40"/>
                        <a:pt x="46" y="43"/>
                        <a:pt x="46" y="46"/>
                      </a:cubicBezTo>
                      <a:cubicBezTo>
                        <a:pt x="39" y="67"/>
                        <a:pt x="33" y="88"/>
                        <a:pt x="27" y="109"/>
                      </a:cubicBezTo>
                      <a:cubicBezTo>
                        <a:pt x="26" y="112"/>
                        <a:pt x="25" y="116"/>
                        <a:pt x="23" y="118"/>
                      </a:cubicBezTo>
                      <a:cubicBezTo>
                        <a:pt x="20" y="123"/>
                        <a:pt x="15" y="124"/>
                        <a:pt x="10" y="123"/>
                      </a:cubicBezTo>
                      <a:cubicBezTo>
                        <a:pt x="4" y="122"/>
                        <a:pt x="1" y="118"/>
                        <a:pt x="0" y="113"/>
                      </a:cubicBezTo>
                      <a:cubicBezTo>
                        <a:pt x="0" y="109"/>
                        <a:pt x="0" y="106"/>
                        <a:pt x="1" y="103"/>
                      </a:cubicBezTo>
                      <a:cubicBezTo>
                        <a:pt x="9" y="77"/>
                        <a:pt x="17" y="51"/>
                        <a:pt x="25" y="25"/>
                      </a:cubicBezTo>
                      <a:cubicBezTo>
                        <a:pt x="31" y="8"/>
                        <a:pt x="43" y="0"/>
                        <a:pt x="60" y="0"/>
                      </a:cubicBezTo>
                      <a:cubicBezTo>
                        <a:pt x="78" y="0"/>
                        <a:pt x="95" y="0"/>
                        <a:pt x="113" y="0"/>
                      </a:cubicBezTo>
                      <a:cubicBezTo>
                        <a:pt x="130" y="0"/>
                        <a:pt x="142" y="8"/>
                        <a:pt x="147" y="24"/>
                      </a:cubicBezTo>
                      <a:cubicBezTo>
                        <a:pt x="155" y="50"/>
                        <a:pt x="163" y="77"/>
                        <a:pt x="171" y="103"/>
                      </a:cubicBezTo>
                      <a:cubicBezTo>
                        <a:pt x="173" y="109"/>
                        <a:pt x="173" y="115"/>
                        <a:pt x="169" y="120"/>
                      </a:cubicBezTo>
                      <a:cubicBezTo>
                        <a:pt x="161" y="127"/>
                        <a:pt x="151" y="124"/>
                        <a:pt x="147" y="113"/>
                      </a:cubicBezTo>
                      <a:cubicBezTo>
                        <a:pt x="143" y="101"/>
                        <a:pt x="140" y="90"/>
                        <a:pt x="137" y="78"/>
                      </a:cubicBezTo>
                      <a:cubicBezTo>
                        <a:pt x="133" y="68"/>
                        <a:pt x="130" y="57"/>
                        <a:pt x="127" y="47"/>
                      </a:cubicBezTo>
                      <a:cubicBezTo>
                        <a:pt x="126" y="44"/>
                        <a:pt x="126" y="40"/>
                        <a:pt x="122" y="41"/>
                      </a:cubicBezTo>
                      <a:cubicBezTo>
                        <a:pt x="118" y="42"/>
                        <a:pt x="119" y="46"/>
                        <a:pt x="120" y="49"/>
                      </a:cubicBezTo>
                      <a:cubicBezTo>
                        <a:pt x="130" y="85"/>
                        <a:pt x="140" y="121"/>
                        <a:pt x="150" y="158"/>
                      </a:cubicBezTo>
                      <a:cubicBezTo>
                        <a:pt x="151" y="161"/>
                        <a:pt x="152" y="165"/>
                        <a:pt x="153" y="169"/>
                      </a:cubicBezTo>
                      <a:cubicBezTo>
                        <a:pt x="155" y="174"/>
                        <a:pt x="153" y="174"/>
                        <a:pt x="149" y="174"/>
                      </a:cubicBezTo>
                      <a:cubicBezTo>
                        <a:pt x="142" y="174"/>
                        <a:pt x="134" y="174"/>
                        <a:pt x="127" y="174"/>
                      </a:cubicBezTo>
                      <a:cubicBezTo>
                        <a:pt x="123" y="174"/>
                        <a:pt x="122" y="175"/>
                        <a:pt x="122" y="180"/>
                      </a:cubicBezTo>
                      <a:cubicBezTo>
                        <a:pt x="122" y="194"/>
                        <a:pt x="122" y="208"/>
                        <a:pt x="122" y="221"/>
                      </a:cubicBezTo>
                      <a:cubicBezTo>
                        <a:pt x="122" y="221"/>
                        <a:pt x="122" y="221"/>
                        <a:pt x="122" y="22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sz="2000">
                    <a:latin typeface="+mj-lt"/>
                  </a:endParaRPr>
                </a:p>
              </p:txBody>
            </p:sp>
            <p:sp>
              <p:nvSpPr>
                <p:cNvPr id="117" name="Freeform 32">
                  <a:extLst>
                    <a:ext uri="{FF2B5EF4-FFF2-40B4-BE49-F238E27FC236}">
                      <a16:creationId xmlns:a16="http://schemas.microsoft.com/office/drawing/2014/main" id="{254B9806-418E-4A93-936E-27AE0E750BE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78" y="3337"/>
                  <a:ext cx="49" cy="59"/>
                </a:xfrm>
                <a:custGeom>
                  <a:avLst/>
                  <a:gdLst>
                    <a:gd name="T0" fmla="*/ 33 w 125"/>
                    <a:gd name="T1" fmla="*/ 32 h 150"/>
                    <a:gd name="T2" fmla="*/ 28 w 125"/>
                    <a:gd name="T3" fmla="*/ 43 h 150"/>
                    <a:gd name="T4" fmla="*/ 18 w 125"/>
                    <a:gd name="T5" fmla="*/ 73 h 150"/>
                    <a:gd name="T6" fmla="*/ 8 w 125"/>
                    <a:gd name="T7" fmla="*/ 80 h 150"/>
                    <a:gd name="T8" fmla="*/ 2 w 125"/>
                    <a:gd name="T9" fmla="*/ 68 h 150"/>
                    <a:gd name="T10" fmla="*/ 26 w 125"/>
                    <a:gd name="T11" fmla="*/ 11 h 150"/>
                    <a:gd name="T12" fmla="*/ 45 w 125"/>
                    <a:gd name="T13" fmla="*/ 0 h 150"/>
                    <a:gd name="T14" fmla="*/ 84 w 125"/>
                    <a:gd name="T15" fmla="*/ 0 h 150"/>
                    <a:gd name="T16" fmla="*/ 103 w 125"/>
                    <a:gd name="T17" fmla="*/ 13 h 150"/>
                    <a:gd name="T18" fmla="*/ 122 w 125"/>
                    <a:gd name="T19" fmla="*/ 63 h 150"/>
                    <a:gd name="T20" fmla="*/ 117 w 125"/>
                    <a:gd name="T21" fmla="*/ 75 h 150"/>
                    <a:gd name="T22" fmla="*/ 108 w 125"/>
                    <a:gd name="T23" fmla="*/ 71 h 150"/>
                    <a:gd name="T24" fmla="*/ 96 w 125"/>
                    <a:gd name="T25" fmla="*/ 39 h 150"/>
                    <a:gd name="T26" fmla="*/ 93 w 125"/>
                    <a:gd name="T27" fmla="*/ 32 h 150"/>
                    <a:gd name="T28" fmla="*/ 92 w 125"/>
                    <a:gd name="T29" fmla="*/ 38 h 150"/>
                    <a:gd name="T30" fmla="*/ 92 w 125"/>
                    <a:gd name="T31" fmla="*/ 133 h 150"/>
                    <a:gd name="T32" fmla="*/ 74 w 125"/>
                    <a:gd name="T33" fmla="*/ 146 h 150"/>
                    <a:gd name="T34" fmla="*/ 66 w 125"/>
                    <a:gd name="T35" fmla="*/ 134 h 150"/>
                    <a:gd name="T36" fmla="*/ 66 w 125"/>
                    <a:gd name="T37" fmla="*/ 97 h 150"/>
                    <a:gd name="T38" fmla="*/ 66 w 125"/>
                    <a:gd name="T39" fmla="*/ 92 h 150"/>
                    <a:gd name="T40" fmla="*/ 62 w 125"/>
                    <a:gd name="T41" fmla="*/ 89 h 150"/>
                    <a:gd name="T42" fmla="*/ 59 w 125"/>
                    <a:gd name="T43" fmla="*/ 92 h 150"/>
                    <a:gd name="T44" fmla="*/ 59 w 125"/>
                    <a:gd name="T45" fmla="*/ 96 h 150"/>
                    <a:gd name="T46" fmla="*/ 59 w 125"/>
                    <a:gd name="T47" fmla="*/ 130 h 150"/>
                    <a:gd name="T48" fmla="*/ 46 w 125"/>
                    <a:gd name="T49" fmla="*/ 147 h 150"/>
                    <a:gd name="T50" fmla="*/ 33 w 125"/>
                    <a:gd name="T51" fmla="*/ 129 h 150"/>
                    <a:gd name="T52" fmla="*/ 33 w 125"/>
                    <a:gd name="T53" fmla="*/ 38 h 150"/>
                    <a:gd name="T54" fmla="*/ 33 w 125"/>
                    <a:gd name="T55" fmla="*/ 32 h 1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125" h="150">
                      <a:moveTo>
                        <a:pt x="33" y="32"/>
                      </a:moveTo>
                      <a:cubicBezTo>
                        <a:pt x="29" y="35"/>
                        <a:pt x="29" y="39"/>
                        <a:pt x="28" y="43"/>
                      </a:cubicBezTo>
                      <a:cubicBezTo>
                        <a:pt x="24" y="53"/>
                        <a:pt x="21" y="63"/>
                        <a:pt x="18" y="73"/>
                      </a:cubicBezTo>
                      <a:cubicBezTo>
                        <a:pt x="16" y="79"/>
                        <a:pt x="13" y="81"/>
                        <a:pt x="8" y="80"/>
                      </a:cubicBezTo>
                      <a:cubicBezTo>
                        <a:pt x="3" y="78"/>
                        <a:pt x="0" y="74"/>
                        <a:pt x="2" y="68"/>
                      </a:cubicBezTo>
                      <a:cubicBezTo>
                        <a:pt x="10" y="49"/>
                        <a:pt x="16" y="29"/>
                        <a:pt x="26" y="11"/>
                      </a:cubicBezTo>
                      <a:cubicBezTo>
                        <a:pt x="30" y="4"/>
                        <a:pt x="36" y="0"/>
                        <a:pt x="45" y="0"/>
                      </a:cubicBezTo>
                      <a:cubicBezTo>
                        <a:pt x="58" y="0"/>
                        <a:pt x="71" y="0"/>
                        <a:pt x="84" y="0"/>
                      </a:cubicBezTo>
                      <a:cubicBezTo>
                        <a:pt x="93" y="0"/>
                        <a:pt x="99" y="5"/>
                        <a:pt x="103" y="13"/>
                      </a:cubicBezTo>
                      <a:cubicBezTo>
                        <a:pt x="109" y="30"/>
                        <a:pt x="116" y="46"/>
                        <a:pt x="122" y="63"/>
                      </a:cubicBezTo>
                      <a:cubicBezTo>
                        <a:pt x="125" y="68"/>
                        <a:pt x="122" y="74"/>
                        <a:pt x="117" y="75"/>
                      </a:cubicBezTo>
                      <a:cubicBezTo>
                        <a:pt x="113" y="77"/>
                        <a:pt x="109" y="76"/>
                        <a:pt x="108" y="71"/>
                      </a:cubicBezTo>
                      <a:cubicBezTo>
                        <a:pt x="104" y="61"/>
                        <a:pt x="100" y="50"/>
                        <a:pt x="96" y="39"/>
                      </a:cubicBezTo>
                      <a:cubicBezTo>
                        <a:pt x="95" y="37"/>
                        <a:pt x="94" y="35"/>
                        <a:pt x="93" y="32"/>
                      </a:cubicBezTo>
                      <a:cubicBezTo>
                        <a:pt x="91" y="34"/>
                        <a:pt x="92" y="36"/>
                        <a:pt x="92" y="38"/>
                      </a:cubicBezTo>
                      <a:cubicBezTo>
                        <a:pt x="92" y="70"/>
                        <a:pt x="92" y="101"/>
                        <a:pt x="92" y="133"/>
                      </a:cubicBezTo>
                      <a:cubicBezTo>
                        <a:pt x="92" y="143"/>
                        <a:pt x="83" y="150"/>
                        <a:pt x="74" y="146"/>
                      </a:cubicBezTo>
                      <a:cubicBezTo>
                        <a:pt x="69" y="144"/>
                        <a:pt x="66" y="140"/>
                        <a:pt x="66" y="134"/>
                      </a:cubicBezTo>
                      <a:cubicBezTo>
                        <a:pt x="66" y="121"/>
                        <a:pt x="66" y="109"/>
                        <a:pt x="66" y="97"/>
                      </a:cubicBezTo>
                      <a:cubicBezTo>
                        <a:pt x="66" y="95"/>
                        <a:pt x="66" y="93"/>
                        <a:pt x="66" y="92"/>
                      </a:cubicBezTo>
                      <a:cubicBezTo>
                        <a:pt x="66" y="90"/>
                        <a:pt x="64" y="89"/>
                        <a:pt x="62" y="89"/>
                      </a:cubicBezTo>
                      <a:cubicBezTo>
                        <a:pt x="60" y="89"/>
                        <a:pt x="59" y="90"/>
                        <a:pt x="59" y="92"/>
                      </a:cubicBezTo>
                      <a:cubicBezTo>
                        <a:pt x="59" y="93"/>
                        <a:pt x="59" y="95"/>
                        <a:pt x="59" y="96"/>
                      </a:cubicBezTo>
                      <a:cubicBezTo>
                        <a:pt x="59" y="107"/>
                        <a:pt x="59" y="119"/>
                        <a:pt x="59" y="130"/>
                      </a:cubicBezTo>
                      <a:cubicBezTo>
                        <a:pt x="59" y="141"/>
                        <a:pt x="54" y="147"/>
                        <a:pt x="46" y="147"/>
                      </a:cubicBezTo>
                      <a:cubicBezTo>
                        <a:pt x="37" y="147"/>
                        <a:pt x="33" y="141"/>
                        <a:pt x="33" y="129"/>
                      </a:cubicBezTo>
                      <a:cubicBezTo>
                        <a:pt x="33" y="99"/>
                        <a:pt x="33" y="69"/>
                        <a:pt x="33" y="38"/>
                      </a:cubicBezTo>
                      <a:cubicBezTo>
                        <a:pt x="33" y="36"/>
                        <a:pt x="33" y="34"/>
                        <a:pt x="33" y="3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sz="2000">
                    <a:latin typeface="+mj-lt"/>
                  </a:endParaRPr>
                </a:p>
              </p:txBody>
            </p:sp>
            <p:sp>
              <p:nvSpPr>
                <p:cNvPr id="118" name="Freeform 33">
                  <a:extLst>
                    <a:ext uri="{FF2B5EF4-FFF2-40B4-BE49-F238E27FC236}">
                      <a16:creationId xmlns:a16="http://schemas.microsoft.com/office/drawing/2014/main" id="{6E1092CA-D281-472A-9804-755B8A81F0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65" y="3250"/>
                  <a:ext cx="25" cy="24"/>
                </a:xfrm>
                <a:custGeom>
                  <a:avLst/>
                  <a:gdLst>
                    <a:gd name="T0" fmla="*/ 32 w 63"/>
                    <a:gd name="T1" fmla="*/ 0 h 63"/>
                    <a:gd name="T2" fmla="*/ 63 w 63"/>
                    <a:gd name="T3" fmla="*/ 31 h 63"/>
                    <a:gd name="T4" fmla="*/ 31 w 63"/>
                    <a:gd name="T5" fmla="*/ 63 h 63"/>
                    <a:gd name="T6" fmla="*/ 0 w 63"/>
                    <a:gd name="T7" fmla="*/ 31 h 63"/>
                    <a:gd name="T8" fmla="*/ 32 w 63"/>
                    <a:gd name="T9" fmla="*/ 0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3" h="63">
                      <a:moveTo>
                        <a:pt x="32" y="0"/>
                      </a:moveTo>
                      <a:cubicBezTo>
                        <a:pt x="49" y="0"/>
                        <a:pt x="63" y="14"/>
                        <a:pt x="63" y="31"/>
                      </a:cubicBezTo>
                      <a:cubicBezTo>
                        <a:pt x="63" y="49"/>
                        <a:pt x="49" y="63"/>
                        <a:pt x="31" y="63"/>
                      </a:cubicBezTo>
                      <a:cubicBezTo>
                        <a:pt x="14" y="63"/>
                        <a:pt x="0" y="49"/>
                        <a:pt x="0" y="31"/>
                      </a:cubicBezTo>
                      <a:cubicBezTo>
                        <a:pt x="0" y="14"/>
                        <a:pt x="14" y="0"/>
                        <a:pt x="32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sz="2000">
                    <a:latin typeface="+mj-lt"/>
                  </a:endParaRPr>
                </a:p>
              </p:txBody>
            </p:sp>
            <p:sp>
              <p:nvSpPr>
                <p:cNvPr id="119" name="Freeform 34">
                  <a:extLst>
                    <a:ext uri="{FF2B5EF4-FFF2-40B4-BE49-F238E27FC236}">
                      <a16:creationId xmlns:a16="http://schemas.microsoft.com/office/drawing/2014/main" id="{41BF4555-B488-4C9E-80E1-72E576AB952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37" y="3250"/>
                  <a:ext cx="24" cy="24"/>
                </a:xfrm>
                <a:custGeom>
                  <a:avLst/>
                  <a:gdLst>
                    <a:gd name="T0" fmla="*/ 31 w 63"/>
                    <a:gd name="T1" fmla="*/ 63 h 63"/>
                    <a:gd name="T2" fmla="*/ 0 w 63"/>
                    <a:gd name="T3" fmla="*/ 31 h 63"/>
                    <a:gd name="T4" fmla="*/ 31 w 63"/>
                    <a:gd name="T5" fmla="*/ 0 h 63"/>
                    <a:gd name="T6" fmla="*/ 63 w 63"/>
                    <a:gd name="T7" fmla="*/ 32 h 63"/>
                    <a:gd name="T8" fmla="*/ 31 w 63"/>
                    <a:gd name="T9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3" h="63">
                      <a:moveTo>
                        <a:pt x="31" y="63"/>
                      </a:moveTo>
                      <a:cubicBezTo>
                        <a:pt x="13" y="63"/>
                        <a:pt x="0" y="49"/>
                        <a:pt x="0" y="31"/>
                      </a:cubicBezTo>
                      <a:cubicBezTo>
                        <a:pt x="0" y="13"/>
                        <a:pt x="14" y="0"/>
                        <a:pt x="31" y="0"/>
                      </a:cubicBezTo>
                      <a:cubicBezTo>
                        <a:pt x="49" y="0"/>
                        <a:pt x="63" y="14"/>
                        <a:pt x="63" y="32"/>
                      </a:cubicBezTo>
                      <a:cubicBezTo>
                        <a:pt x="63" y="49"/>
                        <a:pt x="49" y="63"/>
                        <a:pt x="31" y="6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sz="2000">
                    <a:latin typeface="+mj-lt"/>
                  </a:endParaRPr>
                </a:p>
              </p:txBody>
            </p:sp>
            <p:sp>
              <p:nvSpPr>
                <p:cNvPr id="120" name="Freeform 35">
                  <a:extLst>
                    <a:ext uri="{FF2B5EF4-FFF2-40B4-BE49-F238E27FC236}">
                      <a16:creationId xmlns:a16="http://schemas.microsoft.com/office/drawing/2014/main" id="{57A84B32-EA02-4DD8-AC94-C4094841EFC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70" y="3256"/>
                  <a:ext cx="24" cy="24"/>
                </a:xfrm>
                <a:custGeom>
                  <a:avLst/>
                  <a:gdLst>
                    <a:gd name="T0" fmla="*/ 60 w 60"/>
                    <a:gd name="T1" fmla="*/ 31 h 61"/>
                    <a:gd name="T2" fmla="*/ 30 w 60"/>
                    <a:gd name="T3" fmla="*/ 61 h 61"/>
                    <a:gd name="T4" fmla="*/ 0 w 60"/>
                    <a:gd name="T5" fmla="*/ 31 h 61"/>
                    <a:gd name="T6" fmla="*/ 30 w 60"/>
                    <a:gd name="T7" fmla="*/ 1 h 61"/>
                    <a:gd name="T8" fmla="*/ 60 w 60"/>
                    <a:gd name="T9" fmla="*/ 31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0" h="61">
                      <a:moveTo>
                        <a:pt x="60" y="31"/>
                      </a:moveTo>
                      <a:cubicBezTo>
                        <a:pt x="60" y="47"/>
                        <a:pt x="47" y="61"/>
                        <a:pt x="30" y="61"/>
                      </a:cubicBezTo>
                      <a:cubicBezTo>
                        <a:pt x="13" y="61"/>
                        <a:pt x="0" y="48"/>
                        <a:pt x="0" y="31"/>
                      </a:cubicBezTo>
                      <a:cubicBezTo>
                        <a:pt x="0" y="14"/>
                        <a:pt x="13" y="1"/>
                        <a:pt x="30" y="1"/>
                      </a:cubicBezTo>
                      <a:cubicBezTo>
                        <a:pt x="46" y="0"/>
                        <a:pt x="60" y="14"/>
                        <a:pt x="60" y="3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sz="2000">
                    <a:latin typeface="+mj-lt"/>
                  </a:endParaRPr>
                </a:p>
              </p:txBody>
            </p:sp>
            <p:sp>
              <p:nvSpPr>
                <p:cNvPr id="121" name="Freeform 36">
                  <a:extLst>
                    <a:ext uri="{FF2B5EF4-FFF2-40B4-BE49-F238E27FC236}">
                      <a16:creationId xmlns:a16="http://schemas.microsoft.com/office/drawing/2014/main" id="{1CBBE221-27EA-405D-BFBF-D3FDC917429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40" y="3257"/>
                  <a:ext cx="23" cy="23"/>
                </a:xfrm>
                <a:custGeom>
                  <a:avLst/>
                  <a:gdLst>
                    <a:gd name="T0" fmla="*/ 30 w 60"/>
                    <a:gd name="T1" fmla="*/ 60 h 60"/>
                    <a:gd name="T2" fmla="*/ 0 w 60"/>
                    <a:gd name="T3" fmla="*/ 30 h 60"/>
                    <a:gd name="T4" fmla="*/ 30 w 60"/>
                    <a:gd name="T5" fmla="*/ 0 h 60"/>
                    <a:gd name="T6" fmla="*/ 60 w 60"/>
                    <a:gd name="T7" fmla="*/ 30 h 60"/>
                    <a:gd name="T8" fmla="*/ 30 w 60"/>
                    <a:gd name="T9" fmla="*/ 60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0" h="60">
                      <a:moveTo>
                        <a:pt x="30" y="60"/>
                      </a:moveTo>
                      <a:cubicBezTo>
                        <a:pt x="13" y="60"/>
                        <a:pt x="0" y="47"/>
                        <a:pt x="0" y="30"/>
                      </a:cubicBezTo>
                      <a:cubicBezTo>
                        <a:pt x="0" y="13"/>
                        <a:pt x="14" y="0"/>
                        <a:pt x="30" y="0"/>
                      </a:cubicBezTo>
                      <a:cubicBezTo>
                        <a:pt x="47" y="0"/>
                        <a:pt x="60" y="13"/>
                        <a:pt x="60" y="30"/>
                      </a:cubicBezTo>
                      <a:cubicBezTo>
                        <a:pt x="60" y="46"/>
                        <a:pt x="47" y="60"/>
                        <a:pt x="30" y="6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sz="2000">
                    <a:latin typeface="+mj-lt"/>
                  </a:endParaRPr>
                </a:p>
              </p:txBody>
            </p:sp>
            <p:sp>
              <p:nvSpPr>
                <p:cNvPr id="122" name="Oval 37">
                  <a:extLst>
                    <a:ext uri="{FF2B5EF4-FFF2-40B4-BE49-F238E27FC236}">
                      <a16:creationId xmlns:a16="http://schemas.microsoft.com/office/drawing/2014/main" id="{18174495-53FE-42B5-BBE6-66E9787BC7D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018" y="3314"/>
                  <a:ext cx="20" cy="19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sz="2000">
                    <a:latin typeface="+mj-lt"/>
                  </a:endParaRPr>
                </a:p>
              </p:txBody>
            </p:sp>
            <p:sp>
              <p:nvSpPr>
                <p:cNvPr id="123" name="Freeform 38">
                  <a:extLst>
                    <a:ext uri="{FF2B5EF4-FFF2-40B4-BE49-F238E27FC236}">
                      <a16:creationId xmlns:a16="http://schemas.microsoft.com/office/drawing/2014/main" id="{66B5CF16-713E-42A2-BBA4-3463BC43744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93" y="3314"/>
                  <a:ext cx="19" cy="19"/>
                </a:xfrm>
                <a:custGeom>
                  <a:avLst/>
                  <a:gdLst>
                    <a:gd name="T0" fmla="*/ 50 w 50"/>
                    <a:gd name="T1" fmla="*/ 25 h 50"/>
                    <a:gd name="T2" fmla="*/ 25 w 50"/>
                    <a:gd name="T3" fmla="*/ 50 h 50"/>
                    <a:gd name="T4" fmla="*/ 0 w 50"/>
                    <a:gd name="T5" fmla="*/ 25 h 50"/>
                    <a:gd name="T6" fmla="*/ 25 w 50"/>
                    <a:gd name="T7" fmla="*/ 0 h 50"/>
                    <a:gd name="T8" fmla="*/ 50 w 50"/>
                    <a:gd name="T9" fmla="*/ 25 h 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0" h="50">
                      <a:moveTo>
                        <a:pt x="50" y="25"/>
                      </a:moveTo>
                      <a:cubicBezTo>
                        <a:pt x="50" y="39"/>
                        <a:pt x="39" y="50"/>
                        <a:pt x="25" y="50"/>
                      </a:cubicBezTo>
                      <a:cubicBezTo>
                        <a:pt x="12" y="50"/>
                        <a:pt x="1" y="39"/>
                        <a:pt x="0" y="25"/>
                      </a:cubicBezTo>
                      <a:cubicBezTo>
                        <a:pt x="0" y="11"/>
                        <a:pt x="11" y="0"/>
                        <a:pt x="25" y="0"/>
                      </a:cubicBezTo>
                      <a:cubicBezTo>
                        <a:pt x="39" y="0"/>
                        <a:pt x="50" y="11"/>
                        <a:pt x="50" y="2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sz="2000">
                    <a:latin typeface="+mj-lt"/>
                  </a:endParaRPr>
                </a:p>
              </p:txBody>
            </p:sp>
          </p:grpSp>
          <p:sp>
            <p:nvSpPr>
              <p:cNvPr id="112" name="TextBox 111">
                <a:extLst>
                  <a:ext uri="{FF2B5EF4-FFF2-40B4-BE49-F238E27FC236}">
                    <a16:creationId xmlns:a16="http://schemas.microsoft.com/office/drawing/2014/main" id="{A216C681-0D41-4566-BE43-FD527CAC2A11}"/>
                  </a:ext>
                </a:extLst>
              </p:cNvPr>
              <p:cNvSpPr txBox="1"/>
              <p:nvPr/>
            </p:nvSpPr>
            <p:spPr>
              <a:xfrm>
                <a:off x="5705112" y="3566655"/>
                <a:ext cx="917722" cy="623955"/>
              </a:xfrm>
              <a:prstGeom prst="rect">
                <a:avLst/>
              </a:prstGeom>
              <a:noFill/>
            </p:spPr>
            <p:txBody>
              <a:bodyPr wrap="none" rtlCol="0">
                <a:prstTxWarp prst="textArchDown">
                  <a:avLst/>
                </a:prstTxWarp>
                <a:spAutoFit/>
              </a:bodyPr>
              <a:lstStyle/>
              <a:p>
                <a:pPr algn="ctr"/>
                <a:r>
                  <a:rPr lang="en-ZA" sz="1400" b="1" dirty="0">
                    <a:solidFill>
                      <a:schemeClr val="tx1">
                        <a:lumMod val="50000"/>
                      </a:schemeClr>
                    </a:solidFill>
                    <a:latin typeface="+mj-lt"/>
                  </a:rPr>
                  <a:t>  End poverty </a:t>
                </a:r>
              </a:p>
            </p:txBody>
          </p:sp>
          <p:sp>
            <p:nvSpPr>
              <p:cNvPr id="113" name="Oval 5">
                <a:extLst>
                  <a:ext uri="{FF2B5EF4-FFF2-40B4-BE49-F238E27FC236}">
                    <a16:creationId xmlns:a16="http://schemas.microsoft.com/office/drawing/2014/main" id="{03A797A5-0AF1-4519-8629-3FF7526466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44419" y="3231788"/>
                <a:ext cx="839107" cy="845441"/>
              </a:xfrm>
              <a:prstGeom prst="ellipse">
                <a:avLst/>
              </a:prstGeom>
              <a:noFill/>
              <a:ln w="53975" cap="rnd">
                <a:solidFill>
                  <a:srgbClr val="EB1C2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ZA" sz="1400">
                  <a:latin typeface="+mj-lt"/>
                </a:endParaRPr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59F3B3BF-3A37-414B-8AB2-E08CD9AD6109}"/>
                </a:ext>
              </a:extLst>
            </p:cNvPr>
            <p:cNvGrpSpPr/>
            <p:nvPr/>
          </p:nvGrpSpPr>
          <p:grpSpPr>
            <a:xfrm>
              <a:off x="6335636" y="4250002"/>
              <a:ext cx="881780" cy="960724"/>
              <a:chOff x="6307794" y="4226252"/>
              <a:chExt cx="881780" cy="960724"/>
            </a:xfrm>
          </p:grpSpPr>
          <p:grpSp>
            <p:nvGrpSpPr>
              <p:cNvPr id="97" name="Group 96">
                <a:extLst>
                  <a:ext uri="{FF2B5EF4-FFF2-40B4-BE49-F238E27FC236}">
                    <a16:creationId xmlns:a16="http://schemas.microsoft.com/office/drawing/2014/main" id="{690DC809-F444-42B7-9D6B-26678B2BA760}"/>
                  </a:ext>
                </a:extLst>
              </p:cNvPr>
              <p:cNvGrpSpPr/>
              <p:nvPr/>
            </p:nvGrpSpPr>
            <p:grpSpPr>
              <a:xfrm>
                <a:off x="6425662" y="4468088"/>
                <a:ext cx="672715" cy="344857"/>
                <a:chOff x="9413875" y="4487865"/>
                <a:chExt cx="1758950" cy="901701"/>
              </a:xfrm>
            </p:grpSpPr>
            <p:sp>
              <p:nvSpPr>
                <p:cNvPr id="100" name="Freeform 12">
                  <a:extLst>
                    <a:ext uri="{FF2B5EF4-FFF2-40B4-BE49-F238E27FC236}">
                      <a16:creationId xmlns:a16="http://schemas.microsoft.com/office/drawing/2014/main" id="{C57E65AF-B69B-4752-9EED-0AA809E2585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413875" y="4487865"/>
                  <a:ext cx="1758950" cy="901701"/>
                </a:xfrm>
                <a:custGeom>
                  <a:avLst/>
                  <a:gdLst>
                    <a:gd name="T0" fmla="*/ 326 w 645"/>
                    <a:gd name="T1" fmla="*/ 329 h 329"/>
                    <a:gd name="T2" fmla="*/ 281 w 645"/>
                    <a:gd name="T3" fmla="*/ 327 h 329"/>
                    <a:gd name="T4" fmla="*/ 105 w 645"/>
                    <a:gd name="T5" fmla="*/ 265 h 329"/>
                    <a:gd name="T6" fmla="*/ 10 w 645"/>
                    <a:gd name="T7" fmla="*/ 177 h 329"/>
                    <a:gd name="T8" fmla="*/ 2 w 645"/>
                    <a:gd name="T9" fmla="*/ 167 h 329"/>
                    <a:gd name="T10" fmla="*/ 2 w 645"/>
                    <a:gd name="T11" fmla="*/ 163 h 329"/>
                    <a:gd name="T12" fmla="*/ 24 w 645"/>
                    <a:gd name="T13" fmla="*/ 135 h 329"/>
                    <a:gd name="T14" fmla="*/ 145 w 645"/>
                    <a:gd name="T15" fmla="*/ 42 h 329"/>
                    <a:gd name="T16" fmla="*/ 245 w 645"/>
                    <a:gd name="T17" fmla="*/ 8 h 329"/>
                    <a:gd name="T18" fmla="*/ 340 w 645"/>
                    <a:gd name="T19" fmla="*/ 1 h 329"/>
                    <a:gd name="T20" fmla="*/ 487 w 645"/>
                    <a:gd name="T21" fmla="*/ 36 h 329"/>
                    <a:gd name="T22" fmla="*/ 603 w 645"/>
                    <a:gd name="T23" fmla="*/ 116 h 329"/>
                    <a:gd name="T24" fmla="*/ 642 w 645"/>
                    <a:gd name="T25" fmla="*/ 162 h 329"/>
                    <a:gd name="T26" fmla="*/ 643 w 645"/>
                    <a:gd name="T27" fmla="*/ 163 h 329"/>
                    <a:gd name="T28" fmla="*/ 643 w 645"/>
                    <a:gd name="T29" fmla="*/ 168 h 329"/>
                    <a:gd name="T30" fmla="*/ 623 w 645"/>
                    <a:gd name="T31" fmla="*/ 194 h 329"/>
                    <a:gd name="T32" fmla="*/ 470 w 645"/>
                    <a:gd name="T33" fmla="*/ 302 h 329"/>
                    <a:gd name="T34" fmla="*/ 393 w 645"/>
                    <a:gd name="T35" fmla="*/ 323 h 329"/>
                    <a:gd name="T36" fmla="*/ 347 w 645"/>
                    <a:gd name="T37" fmla="*/ 329 h 329"/>
                    <a:gd name="T38" fmla="*/ 326 w 645"/>
                    <a:gd name="T39" fmla="*/ 329 h 3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645" h="329">
                      <a:moveTo>
                        <a:pt x="326" y="329"/>
                      </a:moveTo>
                      <a:cubicBezTo>
                        <a:pt x="309" y="329"/>
                        <a:pt x="295" y="329"/>
                        <a:pt x="281" y="327"/>
                      </a:cubicBezTo>
                      <a:cubicBezTo>
                        <a:pt x="217" y="321"/>
                        <a:pt x="158" y="300"/>
                        <a:pt x="105" y="265"/>
                      </a:cubicBezTo>
                      <a:cubicBezTo>
                        <a:pt x="69" y="241"/>
                        <a:pt x="37" y="212"/>
                        <a:pt x="10" y="177"/>
                      </a:cubicBezTo>
                      <a:cubicBezTo>
                        <a:pt x="7" y="174"/>
                        <a:pt x="5" y="170"/>
                        <a:pt x="2" y="167"/>
                      </a:cubicBezTo>
                      <a:cubicBezTo>
                        <a:pt x="0" y="164"/>
                        <a:pt x="1" y="165"/>
                        <a:pt x="2" y="163"/>
                      </a:cubicBezTo>
                      <a:cubicBezTo>
                        <a:pt x="9" y="153"/>
                        <a:pt x="16" y="144"/>
                        <a:pt x="24" y="135"/>
                      </a:cubicBezTo>
                      <a:cubicBezTo>
                        <a:pt x="59" y="96"/>
                        <a:pt x="99" y="65"/>
                        <a:pt x="145" y="42"/>
                      </a:cubicBezTo>
                      <a:cubicBezTo>
                        <a:pt x="177" y="26"/>
                        <a:pt x="210" y="15"/>
                        <a:pt x="245" y="8"/>
                      </a:cubicBezTo>
                      <a:cubicBezTo>
                        <a:pt x="276" y="2"/>
                        <a:pt x="308" y="0"/>
                        <a:pt x="340" y="1"/>
                      </a:cubicBezTo>
                      <a:cubicBezTo>
                        <a:pt x="391" y="3"/>
                        <a:pt x="440" y="15"/>
                        <a:pt x="487" y="36"/>
                      </a:cubicBezTo>
                      <a:cubicBezTo>
                        <a:pt x="531" y="56"/>
                        <a:pt x="569" y="83"/>
                        <a:pt x="603" y="116"/>
                      </a:cubicBezTo>
                      <a:cubicBezTo>
                        <a:pt x="617" y="130"/>
                        <a:pt x="630" y="145"/>
                        <a:pt x="642" y="162"/>
                      </a:cubicBezTo>
                      <a:cubicBezTo>
                        <a:pt x="642" y="162"/>
                        <a:pt x="643" y="163"/>
                        <a:pt x="643" y="163"/>
                      </a:cubicBezTo>
                      <a:cubicBezTo>
                        <a:pt x="645" y="166"/>
                        <a:pt x="645" y="165"/>
                        <a:pt x="643" y="168"/>
                      </a:cubicBezTo>
                      <a:cubicBezTo>
                        <a:pt x="637" y="177"/>
                        <a:pt x="630" y="185"/>
                        <a:pt x="623" y="194"/>
                      </a:cubicBezTo>
                      <a:cubicBezTo>
                        <a:pt x="580" y="242"/>
                        <a:pt x="530" y="278"/>
                        <a:pt x="470" y="302"/>
                      </a:cubicBezTo>
                      <a:cubicBezTo>
                        <a:pt x="445" y="312"/>
                        <a:pt x="420" y="319"/>
                        <a:pt x="393" y="323"/>
                      </a:cubicBezTo>
                      <a:cubicBezTo>
                        <a:pt x="378" y="326"/>
                        <a:pt x="363" y="328"/>
                        <a:pt x="347" y="329"/>
                      </a:cubicBezTo>
                      <a:cubicBezTo>
                        <a:pt x="339" y="329"/>
                        <a:pt x="331" y="329"/>
                        <a:pt x="326" y="329"/>
                      </a:cubicBezTo>
                      <a:close/>
                    </a:path>
                  </a:pathLst>
                </a:custGeom>
                <a:solidFill>
                  <a:srgbClr val="49753C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sz="2000">
                    <a:solidFill>
                      <a:srgbClr val="48773E"/>
                    </a:solidFill>
                    <a:latin typeface="+mj-lt"/>
                  </a:endParaRPr>
                </a:p>
              </p:txBody>
            </p:sp>
            <p:sp>
              <p:nvSpPr>
                <p:cNvPr id="101" name="Freeform 13">
                  <a:extLst>
                    <a:ext uri="{FF2B5EF4-FFF2-40B4-BE49-F238E27FC236}">
                      <a16:creationId xmlns:a16="http://schemas.microsoft.com/office/drawing/2014/main" id="{242499B2-6FCE-42FC-B2B7-54C9BC08F9B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926638" y="4560890"/>
                  <a:ext cx="725488" cy="661988"/>
                </a:xfrm>
                <a:custGeom>
                  <a:avLst/>
                  <a:gdLst>
                    <a:gd name="T0" fmla="*/ 116 w 266"/>
                    <a:gd name="T1" fmla="*/ 6 h 241"/>
                    <a:gd name="T2" fmla="*/ 265 w 266"/>
                    <a:gd name="T3" fmla="*/ 112 h 241"/>
                    <a:gd name="T4" fmla="*/ 248 w 266"/>
                    <a:gd name="T5" fmla="*/ 114 h 241"/>
                    <a:gd name="T6" fmla="*/ 245 w 266"/>
                    <a:gd name="T7" fmla="*/ 125 h 241"/>
                    <a:gd name="T8" fmla="*/ 225 w 266"/>
                    <a:gd name="T9" fmla="*/ 142 h 241"/>
                    <a:gd name="T10" fmla="*/ 227 w 266"/>
                    <a:gd name="T11" fmla="*/ 166 h 241"/>
                    <a:gd name="T12" fmla="*/ 224 w 266"/>
                    <a:gd name="T13" fmla="*/ 172 h 241"/>
                    <a:gd name="T14" fmla="*/ 197 w 266"/>
                    <a:gd name="T15" fmla="*/ 135 h 241"/>
                    <a:gd name="T16" fmla="*/ 178 w 266"/>
                    <a:gd name="T17" fmla="*/ 153 h 241"/>
                    <a:gd name="T18" fmla="*/ 157 w 266"/>
                    <a:gd name="T19" fmla="*/ 143 h 241"/>
                    <a:gd name="T20" fmla="*/ 131 w 266"/>
                    <a:gd name="T21" fmla="*/ 120 h 241"/>
                    <a:gd name="T22" fmla="*/ 112 w 266"/>
                    <a:gd name="T23" fmla="*/ 109 h 241"/>
                    <a:gd name="T24" fmla="*/ 113 w 266"/>
                    <a:gd name="T25" fmla="*/ 116 h 241"/>
                    <a:gd name="T26" fmla="*/ 130 w 266"/>
                    <a:gd name="T27" fmla="*/ 141 h 241"/>
                    <a:gd name="T28" fmla="*/ 108 w 266"/>
                    <a:gd name="T29" fmla="*/ 144 h 241"/>
                    <a:gd name="T30" fmla="*/ 93 w 266"/>
                    <a:gd name="T31" fmla="*/ 134 h 241"/>
                    <a:gd name="T32" fmla="*/ 114 w 266"/>
                    <a:gd name="T33" fmla="*/ 159 h 241"/>
                    <a:gd name="T34" fmla="*/ 106 w 266"/>
                    <a:gd name="T35" fmla="*/ 177 h 241"/>
                    <a:gd name="T36" fmla="*/ 101 w 266"/>
                    <a:gd name="T37" fmla="*/ 201 h 241"/>
                    <a:gd name="T38" fmla="*/ 93 w 266"/>
                    <a:gd name="T39" fmla="*/ 214 h 241"/>
                    <a:gd name="T40" fmla="*/ 71 w 266"/>
                    <a:gd name="T41" fmla="*/ 240 h 241"/>
                    <a:gd name="T42" fmla="*/ 60 w 266"/>
                    <a:gd name="T43" fmla="*/ 230 h 241"/>
                    <a:gd name="T44" fmla="*/ 55 w 266"/>
                    <a:gd name="T45" fmla="*/ 213 h 241"/>
                    <a:gd name="T46" fmla="*/ 48 w 266"/>
                    <a:gd name="T47" fmla="*/ 199 h 241"/>
                    <a:gd name="T48" fmla="*/ 36 w 266"/>
                    <a:gd name="T49" fmla="*/ 188 h 241"/>
                    <a:gd name="T50" fmla="*/ 12 w 266"/>
                    <a:gd name="T51" fmla="*/ 191 h 241"/>
                    <a:gd name="T52" fmla="*/ 1 w 266"/>
                    <a:gd name="T53" fmla="*/ 129 h 241"/>
                    <a:gd name="T54" fmla="*/ 10 w 266"/>
                    <a:gd name="T55" fmla="*/ 113 h 241"/>
                    <a:gd name="T56" fmla="*/ 60 w 266"/>
                    <a:gd name="T57" fmla="*/ 124 h 241"/>
                    <a:gd name="T58" fmla="*/ 69 w 266"/>
                    <a:gd name="T59" fmla="*/ 109 h 241"/>
                    <a:gd name="T60" fmla="*/ 59 w 266"/>
                    <a:gd name="T61" fmla="*/ 105 h 241"/>
                    <a:gd name="T62" fmla="*/ 57 w 266"/>
                    <a:gd name="T63" fmla="*/ 110 h 241"/>
                    <a:gd name="T64" fmla="*/ 54 w 266"/>
                    <a:gd name="T65" fmla="*/ 112 h 241"/>
                    <a:gd name="T66" fmla="*/ 40 w 266"/>
                    <a:gd name="T67" fmla="*/ 99 h 241"/>
                    <a:gd name="T68" fmla="*/ 7 w 266"/>
                    <a:gd name="T69" fmla="*/ 106 h 241"/>
                    <a:gd name="T70" fmla="*/ 23 w 266"/>
                    <a:gd name="T71" fmla="*/ 97 h 241"/>
                    <a:gd name="T72" fmla="*/ 32 w 266"/>
                    <a:gd name="T73" fmla="*/ 86 h 241"/>
                    <a:gd name="T74" fmla="*/ 65 w 266"/>
                    <a:gd name="T75" fmla="*/ 79 h 241"/>
                    <a:gd name="T76" fmla="*/ 86 w 266"/>
                    <a:gd name="T77" fmla="*/ 66 h 241"/>
                    <a:gd name="T78" fmla="*/ 71 w 266"/>
                    <a:gd name="T79" fmla="*/ 73 h 241"/>
                    <a:gd name="T80" fmla="*/ 47 w 266"/>
                    <a:gd name="T81" fmla="*/ 68 h 241"/>
                    <a:gd name="T82" fmla="*/ 63 w 266"/>
                    <a:gd name="T83" fmla="*/ 53 h 241"/>
                    <a:gd name="T84" fmla="*/ 101 w 266"/>
                    <a:gd name="T85" fmla="*/ 48 h 241"/>
                    <a:gd name="T86" fmla="*/ 104 w 266"/>
                    <a:gd name="T87" fmla="*/ 52 h 241"/>
                    <a:gd name="T88" fmla="*/ 90 w 266"/>
                    <a:gd name="T89" fmla="*/ 62 h 241"/>
                    <a:gd name="T90" fmla="*/ 107 w 266"/>
                    <a:gd name="T91" fmla="*/ 57 h 241"/>
                    <a:gd name="T92" fmla="*/ 117 w 266"/>
                    <a:gd name="T93" fmla="*/ 48 h 241"/>
                    <a:gd name="T94" fmla="*/ 106 w 266"/>
                    <a:gd name="T95" fmla="*/ 33 h 241"/>
                    <a:gd name="T96" fmla="*/ 64 w 266"/>
                    <a:gd name="T97" fmla="*/ 25 h 2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266" h="241">
                      <a:moveTo>
                        <a:pt x="64" y="25"/>
                      </a:moveTo>
                      <a:cubicBezTo>
                        <a:pt x="64" y="24"/>
                        <a:pt x="66" y="24"/>
                        <a:pt x="66" y="23"/>
                      </a:cubicBezTo>
                      <a:cubicBezTo>
                        <a:pt x="82" y="14"/>
                        <a:pt x="98" y="8"/>
                        <a:pt x="116" y="6"/>
                      </a:cubicBezTo>
                      <a:cubicBezTo>
                        <a:pt x="159" y="0"/>
                        <a:pt x="196" y="12"/>
                        <a:pt x="227" y="42"/>
                      </a:cubicBezTo>
                      <a:cubicBezTo>
                        <a:pt x="246" y="59"/>
                        <a:pt x="258" y="80"/>
                        <a:pt x="265" y="105"/>
                      </a:cubicBezTo>
                      <a:cubicBezTo>
                        <a:pt x="266" y="107"/>
                        <a:pt x="266" y="110"/>
                        <a:pt x="265" y="112"/>
                      </a:cubicBezTo>
                      <a:cubicBezTo>
                        <a:pt x="265" y="115"/>
                        <a:pt x="263" y="118"/>
                        <a:pt x="260" y="119"/>
                      </a:cubicBezTo>
                      <a:cubicBezTo>
                        <a:pt x="256" y="120"/>
                        <a:pt x="254" y="119"/>
                        <a:pt x="251" y="117"/>
                      </a:cubicBezTo>
                      <a:cubicBezTo>
                        <a:pt x="250" y="116"/>
                        <a:pt x="249" y="115"/>
                        <a:pt x="248" y="114"/>
                      </a:cubicBezTo>
                      <a:cubicBezTo>
                        <a:pt x="247" y="113"/>
                        <a:pt x="246" y="111"/>
                        <a:pt x="244" y="112"/>
                      </a:cubicBezTo>
                      <a:cubicBezTo>
                        <a:pt x="242" y="113"/>
                        <a:pt x="242" y="114"/>
                        <a:pt x="242" y="116"/>
                      </a:cubicBezTo>
                      <a:cubicBezTo>
                        <a:pt x="242" y="119"/>
                        <a:pt x="243" y="122"/>
                        <a:pt x="245" y="125"/>
                      </a:cubicBezTo>
                      <a:cubicBezTo>
                        <a:pt x="247" y="129"/>
                        <a:pt x="247" y="130"/>
                        <a:pt x="243" y="133"/>
                      </a:cubicBezTo>
                      <a:cubicBezTo>
                        <a:pt x="239" y="135"/>
                        <a:pt x="236" y="137"/>
                        <a:pt x="231" y="138"/>
                      </a:cubicBezTo>
                      <a:cubicBezTo>
                        <a:pt x="228" y="138"/>
                        <a:pt x="226" y="140"/>
                        <a:pt x="225" y="142"/>
                      </a:cubicBezTo>
                      <a:cubicBezTo>
                        <a:pt x="223" y="145"/>
                        <a:pt x="222" y="148"/>
                        <a:pt x="222" y="151"/>
                      </a:cubicBezTo>
                      <a:cubicBezTo>
                        <a:pt x="221" y="153"/>
                        <a:pt x="222" y="155"/>
                        <a:pt x="223" y="158"/>
                      </a:cubicBezTo>
                      <a:cubicBezTo>
                        <a:pt x="224" y="160"/>
                        <a:pt x="226" y="163"/>
                        <a:pt x="227" y="166"/>
                      </a:cubicBezTo>
                      <a:cubicBezTo>
                        <a:pt x="228" y="167"/>
                        <a:pt x="229" y="168"/>
                        <a:pt x="229" y="170"/>
                      </a:cubicBezTo>
                      <a:cubicBezTo>
                        <a:pt x="229" y="172"/>
                        <a:pt x="228" y="174"/>
                        <a:pt x="226" y="173"/>
                      </a:cubicBezTo>
                      <a:cubicBezTo>
                        <a:pt x="225" y="173"/>
                        <a:pt x="224" y="172"/>
                        <a:pt x="224" y="172"/>
                      </a:cubicBezTo>
                      <a:cubicBezTo>
                        <a:pt x="218" y="169"/>
                        <a:pt x="213" y="165"/>
                        <a:pt x="209" y="160"/>
                      </a:cubicBezTo>
                      <a:cubicBezTo>
                        <a:pt x="207" y="158"/>
                        <a:pt x="205" y="156"/>
                        <a:pt x="204" y="153"/>
                      </a:cubicBezTo>
                      <a:cubicBezTo>
                        <a:pt x="202" y="147"/>
                        <a:pt x="200" y="141"/>
                        <a:pt x="197" y="135"/>
                      </a:cubicBezTo>
                      <a:cubicBezTo>
                        <a:pt x="195" y="129"/>
                        <a:pt x="190" y="127"/>
                        <a:pt x="185" y="131"/>
                      </a:cubicBezTo>
                      <a:cubicBezTo>
                        <a:pt x="183" y="132"/>
                        <a:pt x="182" y="133"/>
                        <a:pt x="183" y="135"/>
                      </a:cubicBezTo>
                      <a:cubicBezTo>
                        <a:pt x="185" y="142"/>
                        <a:pt x="181" y="147"/>
                        <a:pt x="178" y="153"/>
                      </a:cubicBezTo>
                      <a:cubicBezTo>
                        <a:pt x="176" y="155"/>
                        <a:pt x="175" y="155"/>
                        <a:pt x="173" y="153"/>
                      </a:cubicBezTo>
                      <a:cubicBezTo>
                        <a:pt x="172" y="153"/>
                        <a:pt x="172" y="152"/>
                        <a:pt x="171" y="152"/>
                      </a:cubicBezTo>
                      <a:cubicBezTo>
                        <a:pt x="168" y="147"/>
                        <a:pt x="163" y="144"/>
                        <a:pt x="157" y="143"/>
                      </a:cubicBezTo>
                      <a:cubicBezTo>
                        <a:pt x="154" y="141"/>
                        <a:pt x="151" y="140"/>
                        <a:pt x="147" y="139"/>
                      </a:cubicBezTo>
                      <a:cubicBezTo>
                        <a:pt x="141" y="137"/>
                        <a:pt x="137" y="133"/>
                        <a:pt x="136" y="127"/>
                      </a:cubicBezTo>
                      <a:cubicBezTo>
                        <a:pt x="136" y="124"/>
                        <a:pt x="134" y="121"/>
                        <a:pt x="131" y="120"/>
                      </a:cubicBezTo>
                      <a:cubicBezTo>
                        <a:pt x="130" y="119"/>
                        <a:pt x="130" y="119"/>
                        <a:pt x="129" y="119"/>
                      </a:cubicBezTo>
                      <a:cubicBezTo>
                        <a:pt x="124" y="117"/>
                        <a:pt x="121" y="114"/>
                        <a:pt x="117" y="111"/>
                      </a:cubicBezTo>
                      <a:cubicBezTo>
                        <a:pt x="115" y="110"/>
                        <a:pt x="114" y="109"/>
                        <a:pt x="112" y="109"/>
                      </a:cubicBezTo>
                      <a:cubicBezTo>
                        <a:pt x="111" y="108"/>
                        <a:pt x="110" y="108"/>
                        <a:pt x="109" y="109"/>
                      </a:cubicBezTo>
                      <a:cubicBezTo>
                        <a:pt x="109" y="110"/>
                        <a:pt x="109" y="111"/>
                        <a:pt x="110" y="112"/>
                      </a:cubicBezTo>
                      <a:cubicBezTo>
                        <a:pt x="111" y="113"/>
                        <a:pt x="112" y="115"/>
                        <a:pt x="113" y="116"/>
                      </a:cubicBezTo>
                      <a:cubicBezTo>
                        <a:pt x="118" y="121"/>
                        <a:pt x="122" y="125"/>
                        <a:pt x="127" y="130"/>
                      </a:cubicBezTo>
                      <a:cubicBezTo>
                        <a:pt x="128" y="131"/>
                        <a:pt x="129" y="132"/>
                        <a:pt x="130" y="133"/>
                      </a:cubicBezTo>
                      <a:cubicBezTo>
                        <a:pt x="132" y="135"/>
                        <a:pt x="132" y="138"/>
                        <a:pt x="130" y="141"/>
                      </a:cubicBezTo>
                      <a:cubicBezTo>
                        <a:pt x="129" y="142"/>
                        <a:pt x="127" y="144"/>
                        <a:pt x="125" y="145"/>
                      </a:cubicBezTo>
                      <a:cubicBezTo>
                        <a:pt x="125" y="146"/>
                        <a:pt x="124" y="146"/>
                        <a:pt x="123" y="146"/>
                      </a:cubicBezTo>
                      <a:cubicBezTo>
                        <a:pt x="117" y="150"/>
                        <a:pt x="113" y="149"/>
                        <a:pt x="108" y="144"/>
                      </a:cubicBezTo>
                      <a:cubicBezTo>
                        <a:pt x="104" y="140"/>
                        <a:pt x="101" y="136"/>
                        <a:pt x="97" y="132"/>
                      </a:cubicBezTo>
                      <a:cubicBezTo>
                        <a:pt x="96" y="131"/>
                        <a:pt x="96" y="130"/>
                        <a:pt x="94" y="130"/>
                      </a:cubicBezTo>
                      <a:cubicBezTo>
                        <a:pt x="93" y="131"/>
                        <a:pt x="93" y="133"/>
                        <a:pt x="93" y="134"/>
                      </a:cubicBezTo>
                      <a:cubicBezTo>
                        <a:pt x="94" y="136"/>
                        <a:pt x="94" y="139"/>
                        <a:pt x="95" y="141"/>
                      </a:cubicBezTo>
                      <a:cubicBezTo>
                        <a:pt x="98" y="148"/>
                        <a:pt x="102" y="153"/>
                        <a:pt x="109" y="156"/>
                      </a:cubicBezTo>
                      <a:cubicBezTo>
                        <a:pt x="111" y="157"/>
                        <a:pt x="112" y="158"/>
                        <a:pt x="114" y="159"/>
                      </a:cubicBezTo>
                      <a:cubicBezTo>
                        <a:pt x="115" y="161"/>
                        <a:pt x="116" y="163"/>
                        <a:pt x="115" y="165"/>
                      </a:cubicBezTo>
                      <a:cubicBezTo>
                        <a:pt x="115" y="167"/>
                        <a:pt x="114" y="170"/>
                        <a:pt x="112" y="171"/>
                      </a:cubicBezTo>
                      <a:cubicBezTo>
                        <a:pt x="110" y="173"/>
                        <a:pt x="108" y="175"/>
                        <a:pt x="106" y="177"/>
                      </a:cubicBezTo>
                      <a:cubicBezTo>
                        <a:pt x="103" y="180"/>
                        <a:pt x="102" y="183"/>
                        <a:pt x="102" y="186"/>
                      </a:cubicBezTo>
                      <a:cubicBezTo>
                        <a:pt x="102" y="187"/>
                        <a:pt x="102" y="188"/>
                        <a:pt x="102" y="189"/>
                      </a:cubicBezTo>
                      <a:cubicBezTo>
                        <a:pt x="103" y="193"/>
                        <a:pt x="102" y="197"/>
                        <a:pt x="101" y="201"/>
                      </a:cubicBezTo>
                      <a:cubicBezTo>
                        <a:pt x="100" y="203"/>
                        <a:pt x="100" y="205"/>
                        <a:pt x="99" y="207"/>
                      </a:cubicBezTo>
                      <a:cubicBezTo>
                        <a:pt x="99" y="208"/>
                        <a:pt x="98" y="209"/>
                        <a:pt x="97" y="210"/>
                      </a:cubicBezTo>
                      <a:cubicBezTo>
                        <a:pt x="95" y="211"/>
                        <a:pt x="94" y="212"/>
                        <a:pt x="93" y="214"/>
                      </a:cubicBezTo>
                      <a:cubicBezTo>
                        <a:pt x="92" y="217"/>
                        <a:pt x="92" y="219"/>
                        <a:pt x="91" y="222"/>
                      </a:cubicBezTo>
                      <a:cubicBezTo>
                        <a:pt x="90" y="225"/>
                        <a:pt x="88" y="228"/>
                        <a:pt x="86" y="231"/>
                      </a:cubicBezTo>
                      <a:cubicBezTo>
                        <a:pt x="83" y="237"/>
                        <a:pt x="77" y="239"/>
                        <a:pt x="71" y="240"/>
                      </a:cubicBezTo>
                      <a:cubicBezTo>
                        <a:pt x="70" y="241"/>
                        <a:pt x="69" y="241"/>
                        <a:pt x="67" y="241"/>
                      </a:cubicBezTo>
                      <a:cubicBezTo>
                        <a:pt x="65" y="241"/>
                        <a:pt x="63" y="240"/>
                        <a:pt x="62" y="238"/>
                      </a:cubicBezTo>
                      <a:cubicBezTo>
                        <a:pt x="61" y="235"/>
                        <a:pt x="60" y="232"/>
                        <a:pt x="60" y="230"/>
                      </a:cubicBezTo>
                      <a:cubicBezTo>
                        <a:pt x="59" y="225"/>
                        <a:pt x="59" y="221"/>
                        <a:pt x="59" y="217"/>
                      </a:cubicBezTo>
                      <a:cubicBezTo>
                        <a:pt x="59" y="216"/>
                        <a:pt x="59" y="215"/>
                        <a:pt x="57" y="215"/>
                      </a:cubicBezTo>
                      <a:cubicBezTo>
                        <a:pt x="56" y="216"/>
                        <a:pt x="55" y="214"/>
                        <a:pt x="55" y="213"/>
                      </a:cubicBezTo>
                      <a:cubicBezTo>
                        <a:pt x="54" y="211"/>
                        <a:pt x="53" y="208"/>
                        <a:pt x="53" y="205"/>
                      </a:cubicBezTo>
                      <a:cubicBezTo>
                        <a:pt x="53" y="204"/>
                        <a:pt x="52" y="203"/>
                        <a:pt x="52" y="201"/>
                      </a:cubicBezTo>
                      <a:cubicBezTo>
                        <a:pt x="51" y="199"/>
                        <a:pt x="50" y="199"/>
                        <a:pt x="48" y="199"/>
                      </a:cubicBezTo>
                      <a:cubicBezTo>
                        <a:pt x="44" y="201"/>
                        <a:pt x="44" y="201"/>
                        <a:pt x="44" y="197"/>
                      </a:cubicBezTo>
                      <a:cubicBezTo>
                        <a:pt x="43" y="194"/>
                        <a:pt x="42" y="192"/>
                        <a:pt x="40" y="191"/>
                      </a:cubicBezTo>
                      <a:cubicBezTo>
                        <a:pt x="38" y="190"/>
                        <a:pt x="37" y="189"/>
                        <a:pt x="36" y="188"/>
                      </a:cubicBezTo>
                      <a:cubicBezTo>
                        <a:pt x="34" y="185"/>
                        <a:pt x="32" y="185"/>
                        <a:pt x="29" y="186"/>
                      </a:cubicBezTo>
                      <a:cubicBezTo>
                        <a:pt x="26" y="188"/>
                        <a:pt x="23" y="189"/>
                        <a:pt x="20" y="191"/>
                      </a:cubicBezTo>
                      <a:cubicBezTo>
                        <a:pt x="17" y="193"/>
                        <a:pt x="14" y="192"/>
                        <a:pt x="12" y="191"/>
                      </a:cubicBezTo>
                      <a:cubicBezTo>
                        <a:pt x="11" y="191"/>
                        <a:pt x="11" y="190"/>
                        <a:pt x="11" y="189"/>
                      </a:cubicBezTo>
                      <a:cubicBezTo>
                        <a:pt x="7" y="181"/>
                        <a:pt x="4" y="172"/>
                        <a:pt x="3" y="163"/>
                      </a:cubicBezTo>
                      <a:cubicBezTo>
                        <a:pt x="1" y="151"/>
                        <a:pt x="0" y="140"/>
                        <a:pt x="1" y="129"/>
                      </a:cubicBezTo>
                      <a:cubicBezTo>
                        <a:pt x="1" y="126"/>
                        <a:pt x="2" y="124"/>
                        <a:pt x="3" y="123"/>
                      </a:cubicBezTo>
                      <a:cubicBezTo>
                        <a:pt x="6" y="120"/>
                        <a:pt x="7" y="118"/>
                        <a:pt x="9" y="115"/>
                      </a:cubicBezTo>
                      <a:cubicBezTo>
                        <a:pt x="9" y="114"/>
                        <a:pt x="9" y="114"/>
                        <a:pt x="10" y="113"/>
                      </a:cubicBezTo>
                      <a:cubicBezTo>
                        <a:pt x="14" y="112"/>
                        <a:pt x="17" y="111"/>
                        <a:pt x="21" y="112"/>
                      </a:cubicBezTo>
                      <a:cubicBezTo>
                        <a:pt x="30" y="114"/>
                        <a:pt x="39" y="116"/>
                        <a:pt x="47" y="120"/>
                      </a:cubicBezTo>
                      <a:cubicBezTo>
                        <a:pt x="51" y="122"/>
                        <a:pt x="56" y="123"/>
                        <a:pt x="60" y="124"/>
                      </a:cubicBezTo>
                      <a:cubicBezTo>
                        <a:pt x="66" y="124"/>
                        <a:pt x="70" y="122"/>
                        <a:pt x="73" y="118"/>
                      </a:cubicBezTo>
                      <a:cubicBezTo>
                        <a:pt x="75" y="117"/>
                        <a:pt x="75" y="115"/>
                        <a:pt x="75" y="113"/>
                      </a:cubicBezTo>
                      <a:cubicBezTo>
                        <a:pt x="74" y="110"/>
                        <a:pt x="72" y="108"/>
                        <a:pt x="69" y="109"/>
                      </a:cubicBezTo>
                      <a:cubicBezTo>
                        <a:pt x="68" y="109"/>
                        <a:pt x="67" y="110"/>
                        <a:pt x="67" y="110"/>
                      </a:cubicBezTo>
                      <a:cubicBezTo>
                        <a:pt x="64" y="111"/>
                        <a:pt x="64" y="111"/>
                        <a:pt x="62" y="109"/>
                      </a:cubicBezTo>
                      <a:cubicBezTo>
                        <a:pt x="61" y="108"/>
                        <a:pt x="60" y="106"/>
                        <a:pt x="59" y="105"/>
                      </a:cubicBezTo>
                      <a:cubicBezTo>
                        <a:pt x="59" y="105"/>
                        <a:pt x="58" y="104"/>
                        <a:pt x="57" y="104"/>
                      </a:cubicBezTo>
                      <a:cubicBezTo>
                        <a:pt x="56" y="103"/>
                        <a:pt x="55" y="103"/>
                        <a:pt x="55" y="105"/>
                      </a:cubicBezTo>
                      <a:cubicBezTo>
                        <a:pt x="55" y="107"/>
                        <a:pt x="56" y="108"/>
                        <a:pt x="57" y="110"/>
                      </a:cubicBezTo>
                      <a:cubicBezTo>
                        <a:pt x="57" y="111"/>
                        <a:pt x="58" y="112"/>
                        <a:pt x="58" y="114"/>
                      </a:cubicBezTo>
                      <a:cubicBezTo>
                        <a:pt x="58" y="115"/>
                        <a:pt x="57" y="115"/>
                        <a:pt x="56" y="114"/>
                      </a:cubicBezTo>
                      <a:cubicBezTo>
                        <a:pt x="55" y="114"/>
                        <a:pt x="54" y="113"/>
                        <a:pt x="54" y="112"/>
                      </a:cubicBezTo>
                      <a:cubicBezTo>
                        <a:pt x="52" y="109"/>
                        <a:pt x="50" y="106"/>
                        <a:pt x="49" y="103"/>
                      </a:cubicBezTo>
                      <a:cubicBezTo>
                        <a:pt x="48" y="101"/>
                        <a:pt x="46" y="99"/>
                        <a:pt x="45" y="98"/>
                      </a:cubicBezTo>
                      <a:cubicBezTo>
                        <a:pt x="43" y="97"/>
                        <a:pt x="41" y="97"/>
                        <a:pt x="40" y="99"/>
                      </a:cubicBezTo>
                      <a:cubicBezTo>
                        <a:pt x="34" y="103"/>
                        <a:pt x="28" y="105"/>
                        <a:pt x="22" y="106"/>
                      </a:cubicBezTo>
                      <a:cubicBezTo>
                        <a:pt x="19" y="107"/>
                        <a:pt x="16" y="107"/>
                        <a:pt x="14" y="109"/>
                      </a:cubicBezTo>
                      <a:cubicBezTo>
                        <a:pt x="11" y="111"/>
                        <a:pt x="8" y="110"/>
                        <a:pt x="7" y="106"/>
                      </a:cubicBezTo>
                      <a:cubicBezTo>
                        <a:pt x="7" y="105"/>
                        <a:pt x="6" y="105"/>
                        <a:pt x="6" y="104"/>
                      </a:cubicBezTo>
                      <a:cubicBezTo>
                        <a:pt x="6" y="98"/>
                        <a:pt x="7" y="97"/>
                        <a:pt x="12" y="96"/>
                      </a:cubicBezTo>
                      <a:cubicBezTo>
                        <a:pt x="15" y="95"/>
                        <a:pt x="19" y="95"/>
                        <a:pt x="23" y="97"/>
                      </a:cubicBezTo>
                      <a:cubicBezTo>
                        <a:pt x="25" y="98"/>
                        <a:pt x="26" y="97"/>
                        <a:pt x="28" y="96"/>
                      </a:cubicBezTo>
                      <a:cubicBezTo>
                        <a:pt x="30" y="94"/>
                        <a:pt x="31" y="92"/>
                        <a:pt x="30" y="90"/>
                      </a:cubicBezTo>
                      <a:cubicBezTo>
                        <a:pt x="29" y="87"/>
                        <a:pt x="29" y="86"/>
                        <a:pt x="32" y="86"/>
                      </a:cubicBezTo>
                      <a:cubicBezTo>
                        <a:pt x="35" y="84"/>
                        <a:pt x="38" y="83"/>
                        <a:pt x="40" y="81"/>
                      </a:cubicBezTo>
                      <a:cubicBezTo>
                        <a:pt x="43" y="79"/>
                        <a:pt x="45" y="78"/>
                        <a:pt x="48" y="78"/>
                      </a:cubicBezTo>
                      <a:cubicBezTo>
                        <a:pt x="54" y="77"/>
                        <a:pt x="59" y="77"/>
                        <a:pt x="65" y="79"/>
                      </a:cubicBezTo>
                      <a:cubicBezTo>
                        <a:pt x="69" y="81"/>
                        <a:pt x="73" y="80"/>
                        <a:pt x="76" y="77"/>
                      </a:cubicBezTo>
                      <a:cubicBezTo>
                        <a:pt x="79" y="74"/>
                        <a:pt x="82" y="71"/>
                        <a:pt x="86" y="68"/>
                      </a:cubicBezTo>
                      <a:cubicBezTo>
                        <a:pt x="87" y="68"/>
                        <a:pt x="87" y="67"/>
                        <a:pt x="86" y="66"/>
                      </a:cubicBezTo>
                      <a:cubicBezTo>
                        <a:pt x="85" y="65"/>
                        <a:pt x="82" y="64"/>
                        <a:pt x="79" y="65"/>
                      </a:cubicBezTo>
                      <a:cubicBezTo>
                        <a:pt x="78" y="66"/>
                        <a:pt x="77" y="67"/>
                        <a:pt x="76" y="68"/>
                      </a:cubicBezTo>
                      <a:cubicBezTo>
                        <a:pt x="74" y="70"/>
                        <a:pt x="73" y="72"/>
                        <a:pt x="71" y="73"/>
                      </a:cubicBezTo>
                      <a:cubicBezTo>
                        <a:pt x="68" y="75"/>
                        <a:pt x="66" y="76"/>
                        <a:pt x="63" y="75"/>
                      </a:cubicBezTo>
                      <a:cubicBezTo>
                        <a:pt x="59" y="74"/>
                        <a:pt x="55" y="73"/>
                        <a:pt x="51" y="71"/>
                      </a:cubicBezTo>
                      <a:cubicBezTo>
                        <a:pt x="50" y="70"/>
                        <a:pt x="48" y="69"/>
                        <a:pt x="47" y="68"/>
                      </a:cubicBezTo>
                      <a:cubicBezTo>
                        <a:pt x="45" y="66"/>
                        <a:pt x="45" y="64"/>
                        <a:pt x="46" y="62"/>
                      </a:cubicBezTo>
                      <a:cubicBezTo>
                        <a:pt x="47" y="61"/>
                        <a:pt x="47" y="60"/>
                        <a:pt x="48" y="60"/>
                      </a:cubicBezTo>
                      <a:cubicBezTo>
                        <a:pt x="53" y="56"/>
                        <a:pt x="58" y="54"/>
                        <a:pt x="63" y="53"/>
                      </a:cubicBezTo>
                      <a:cubicBezTo>
                        <a:pt x="69" y="53"/>
                        <a:pt x="75" y="52"/>
                        <a:pt x="80" y="52"/>
                      </a:cubicBezTo>
                      <a:cubicBezTo>
                        <a:pt x="85" y="51"/>
                        <a:pt x="90" y="50"/>
                        <a:pt x="94" y="48"/>
                      </a:cubicBezTo>
                      <a:cubicBezTo>
                        <a:pt x="97" y="48"/>
                        <a:pt x="99" y="48"/>
                        <a:pt x="101" y="48"/>
                      </a:cubicBezTo>
                      <a:cubicBezTo>
                        <a:pt x="102" y="48"/>
                        <a:pt x="103" y="48"/>
                        <a:pt x="103" y="48"/>
                      </a:cubicBezTo>
                      <a:cubicBezTo>
                        <a:pt x="104" y="49"/>
                        <a:pt x="105" y="49"/>
                        <a:pt x="106" y="50"/>
                      </a:cubicBezTo>
                      <a:cubicBezTo>
                        <a:pt x="106" y="51"/>
                        <a:pt x="105" y="52"/>
                        <a:pt x="104" y="52"/>
                      </a:cubicBezTo>
                      <a:cubicBezTo>
                        <a:pt x="102" y="54"/>
                        <a:pt x="99" y="55"/>
                        <a:pt x="97" y="56"/>
                      </a:cubicBezTo>
                      <a:cubicBezTo>
                        <a:pt x="95" y="57"/>
                        <a:pt x="93" y="58"/>
                        <a:pt x="92" y="59"/>
                      </a:cubicBezTo>
                      <a:cubicBezTo>
                        <a:pt x="91" y="60"/>
                        <a:pt x="90" y="61"/>
                        <a:pt x="90" y="62"/>
                      </a:cubicBezTo>
                      <a:cubicBezTo>
                        <a:pt x="91" y="63"/>
                        <a:pt x="92" y="64"/>
                        <a:pt x="93" y="64"/>
                      </a:cubicBezTo>
                      <a:cubicBezTo>
                        <a:pt x="95" y="64"/>
                        <a:pt x="96" y="63"/>
                        <a:pt x="97" y="63"/>
                      </a:cubicBezTo>
                      <a:cubicBezTo>
                        <a:pt x="101" y="61"/>
                        <a:pt x="104" y="59"/>
                        <a:pt x="107" y="57"/>
                      </a:cubicBezTo>
                      <a:cubicBezTo>
                        <a:pt x="110" y="56"/>
                        <a:pt x="113" y="54"/>
                        <a:pt x="115" y="53"/>
                      </a:cubicBezTo>
                      <a:cubicBezTo>
                        <a:pt x="116" y="52"/>
                        <a:pt x="116" y="52"/>
                        <a:pt x="117" y="51"/>
                      </a:cubicBezTo>
                      <a:cubicBezTo>
                        <a:pt x="118" y="50"/>
                        <a:pt x="118" y="49"/>
                        <a:pt x="117" y="48"/>
                      </a:cubicBezTo>
                      <a:cubicBezTo>
                        <a:pt x="116" y="47"/>
                        <a:pt x="115" y="46"/>
                        <a:pt x="114" y="46"/>
                      </a:cubicBezTo>
                      <a:cubicBezTo>
                        <a:pt x="113" y="44"/>
                        <a:pt x="111" y="43"/>
                        <a:pt x="109" y="42"/>
                      </a:cubicBezTo>
                      <a:cubicBezTo>
                        <a:pt x="107" y="39"/>
                        <a:pt x="106" y="37"/>
                        <a:pt x="106" y="33"/>
                      </a:cubicBezTo>
                      <a:cubicBezTo>
                        <a:pt x="107" y="29"/>
                        <a:pt x="106" y="27"/>
                        <a:pt x="101" y="25"/>
                      </a:cubicBezTo>
                      <a:cubicBezTo>
                        <a:pt x="97" y="24"/>
                        <a:pt x="92" y="24"/>
                        <a:pt x="87" y="24"/>
                      </a:cubicBezTo>
                      <a:cubicBezTo>
                        <a:pt x="80" y="24"/>
                        <a:pt x="72" y="25"/>
                        <a:pt x="64" y="2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sz="2000">
                    <a:latin typeface="+mj-lt"/>
                  </a:endParaRPr>
                </a:p>
              </p:txBody>
            </p:sp>
            <p:sp>
              <p:nvSpPr>
                <p:cNvPr id="102" name="Freeform 14">
                  <a:extLst>
                    <a:ext uri="{FF2B5EF4-FFF2-40B4-BE49-F238E27FC236}">
                      <a16:creationId xmlns:a16="http://schemas.microsoft.com/office/drawing/2014/main" id="{C689E67C-C8B6-4B2F-BB37-5365BAE4F2B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458450" y="5035553"/>
                  <a:ext cx="177800" cy="168275"/>
                </a:xfrm>
                <a:custGeom>
                  <a:avLst/>
                  <a:gdLst>
                    <a:gd name="T0" fmla="*/ 0 w 65"/>
                    <a:gd name="T1" fmla="*/ 38 h 61"/>
                    <a:gd name="T2" fmla="*/ 16 w 65"/>
                    <a:gd name="T3" fmla="*/ 16 h 61"/>
                    <a:gd name="T4" fmla="*/ 36 w 65"/>
                    <a:gd name="T5" fmla="*/ 11 h 61"/>
                    <a:gd name="T6" fmla="*/ 55 w 65"/>
                    <a:gd name="T7" fmla="*/ 3 h 61"/>
                    <a:gd name="T8" fmla="*/ 58 w 65"/>
                    <a:gd name="T9" fmla="*/ 1 h 61"/>
                    <a:gd name="T10" fmla="*/ 61 w 65"/>
                    <a:gd name="T11" fmla="*/ 2 h 61"/>
                    <a:gd name="T12" fmla="*/ 65 w 65"/>
                    <a:gd name="T13" fmla="*/ 11 h 61"/>
                    <a:gd name="T14" fmla="*/ 65 w 65"/>
                    <a:gd name="T15" fmla="*/ 16 h 61"/>
                    <a:gd name="T16" fmla="*/ 36 w 65"/>
                    <a:gd name="T17" fmla="*/ 60 h 61"/>
                    <a:gd name="T18" fmla="*/ 32 w 65"/>
                    <a:gd name="T19" fmla="*/ 60 h 61"/>
                    <a:gd name="T20" fmla="*/ 29 w 65"/>
                    <a:gd name="T21" fmla="*/ 59 h 61"/>
                    <a:gd name="T22" fmla="*/ 23 w 65"/>
                    <a:gd name="T23" fmla="*/ 60 h 61"/>
                    <a:gd name="T24" fmla="*/ 22 w 65"/>
                    <a:gd name="T25" fmla="*/ 61 h 61"/>
                    <a:gd name="T26" fmla="*/ 19 w 65"/>
                    <a:gd name="T27" fmla="*/ 59 h 61"/>
                    <a:gd name="T28" fmla="*/ 19 w 65"/>
                    <a:gd name="T29" fmla="*/ 58 h 61"/>
                    <a:gd name="T30" fmla="*/ 19 w 65"/>
                    <a:gd name="T31" fmla="*/ 55 h 61"/>
                    <a:gd name="T32" fmla="*/ 16 w 65"/>
                    <a:gd name="T33" fmla="*/ 56 h 61"/>
                    <a:gd name="T34" fmla="*/ 10 w 65"/>
                    <a:gd name="T35" fmla="*/ 60 h 61"/>
                    <a:gd name="T36" fmla="*/ 5 w 65"/>
                    <a:gd name="T37" fmla="*/ 57 h 61"/>
                    <a:gd name="T38" fmla="*/ 0 w 65"/>
                    <a:gd name="T39" fmla="*/ 42 h 61"/>
                    <a:gd name="T40" fmla="*/ 0 w 65"/>
                    <a:gd name="T41" fmla="*/ 38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65" h="61">
                      <a:moveTo>
                        <a:pt x="0" y="38"/>
                      </a:moveTo>
                      <a:cubicBezTo>
                        <a:pt x="0" y="29"/>
                        <a:pt x="7" y="19"/>
                        <a:pt x="16" y="16"/>
                      </a:cubicBezTo>
                      <a:cubicBezTo>
                        <a:pt x="22" y="14"/>
                        <a:pt x="29" y="12"/>
                        <a:pt x="36" y="11"/>
                      </a:cubicBezTo>
                      <a:cubicBezTo>
                        <a:pt x="43" y="9"/>
                        <a:pt x="49" y="7"/>
                        <a:pt x="55" y="3"/>
                      </a:cubicBezTo>
                      <a:cubicBezTo>
                        <a:pt x="56" y="2"/>
                        <a:pt x="57" y="1"/>
                        <a:pt x="58" y="1"/>
                      </a:cubicBezTo>
                      <a:cubicBezTo>
                        <a:pt x="60" y="0"/>
                        <a:pt x="61" y="0"/>
                        <a:pt x="61" y="2"/>
                      </a:cubicBezTo>
                      <a:cubicBezTo>
                        <a:pt x="63" y="5"/>
                        <a:pt x="65" y="8"/>
                        <a:pt x="65" y="11"/>
                      </a:cubicBezTo>
                      <a:cubicBezTo>
                        <a:pt x="65" y="13"/>
                        <a:pt x="65" y="15"/>
                        <a:pt x="65" y="16"/>
                      </a:cubicBezTo>
                      <a:cubicBezTo>
                        <a:pt x="58" y="32"/>
                        <a:pt x="48" y="47"/>
                        <a:pt x="36" y="60"/>
                      </a:cubicBezTo>
                      <a:cubicBezTo>
                        <a:pt x="35" y="61"/>
                        <a:pt x="34" y="61"/>
                        <a:pt x="32" y="60"/>
                      </a:cubicBezTo>
                      <a:cubicBezTo>
                        <a:pt x="31" y="60"/>
                        <a:pt x="30" y="59"/>
                        <a:pt x="29" y="59"/>
                      </a:cubicBezTo>
                      <a:cubicBezTo>
                        <a:pt x="27" y="58"/>
                        <a:pt x="25" y="58"/>
                        <a:pt x="23" y="60"/>
                      </a:cubicBezTo>
                      <a:cubicBezTo>
                        <a:pt x="23" y="60"/>
                        <a:pt x="22" y="60"/>
                        <a:pt x="22" y="61"/>
                      </a:cubicBezTo>
                      <a:cubicBezTo>
                        <a:pt x="20" y="61"/>
                        <a:pt x="19" y="60"/>
                        <a:pt x="19" y="59"/>
                      </a:cubicBezTo>
                      <a:cubicBezTo>
                        <a:pt x="19" y="59"/>
                        <a:pt x="19" y="58"/>
                        <a:pt x="19" y="58"/>
                      </a:cubicBezTo>
                      <a:cubicBezTo>
                        <a:pt x="19" y="57"/>
                        <a:pt x="20" y="56"/>
                        <a:pt x="19" y="55"/>
                      </a:cubicBezTo>
                      <a:cubicBezTo>
                        <a:pt x="18" y="55"/>
                        <a:pt x="17" y="56"/>
                        <a:pt x="16" y="56"/>
                      </a:cubicBezTo>
                      <a:cubicBezTo>
                        <a:pt x="14" y="57"/>
                        <a:pt x="12" y="59"/>
                        <a:pt x="10" y="60"/>
                      </a:cubicBezTo>
                      <a:cubicBezTo>
                        <a:pt x="7" y="61"/>
                        <a:pt x="6" y="61"/>
                        <a:pt x="5" y="57"/>
                      </a:cubicBezTo>
                      <a:cubicBezTo>
                        <a:pt x="3" y="52"/>
                        <a:pt x="2" y="47"/>
                        <a:pt x="0" y="42"/>
                      </a:cubicBezTo>
                      <a:cubicBezTo>
                        <a:pt x="0" y="41"/>
                        <a:pt x="0" y="40"/>
                        <a:pt x="0" y="38"/>
                      </a:cubicBezTo>
                      <a:close/>
                    </a:path>
                  </a:pathLst>
                </a:custGeom>
                <a:solidFill>
                  <a:srgbClr val="48773E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sz="2000">
                    <a:latin typeface="+mj-lt"/>
                  </a:endParaRPr>
                </a:p>
              </p:txBody>
            </p:sp>
            <p:sp>
              <p:nvSpPr>
                <p:cNvPr id="103" name="Freeform 15">
                  <a:extLst>
                    <a:ext uri="{FF2B5EF4-FFF2-40B4-BE49-F238E27FC236}">
                      <a16:creationId xmlns:a16="http://schemas.microsoft.com/office/drawing/2014/main" id="{448294F7-0FBD-4D1A-B26E-BAE6357CF24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182225" y="5224466"/>
                  <a:ext cx="333375" cy="88900"/>
                </a:xfrm>
                <a:custGeom>
                  <a:avLst/>
                  <a:gdLst>
                    <a:gd name="T0" fmla="*/ 122 w 122"/>
                    <a:gd name="T1" fmla="*/ 4 h 32"/>
                    <a:gd name="T2" fmla="*/ 98 w 122"/>
                    <a:gd name="T3" fmla="*/ 19 h 32"/>
                    <a:gd name="T4" fmla="*/ 37 w 122"/>
                    <a:gd name="T5" fmla="*/ 31 h 32"/>
                    <a:gd name="T6" fmla="*/ 5 w 122"/>
                    <a:gd name="T7" fmla="*/ 26 h 32"/>
                    <a:gd name="T8" fmla="*/ 1 w 122"/>
                    <a:gd name="T9" fmla="*/ 19 h 32"/>
                    <a:gd name="T10" fmla="*/ 10 w 122"/>
                    <a:gd name="T11" fmla="*/ 9 h 32"/>
                    <a:gd name="T12" fmla="*/ 30 w 122"/>
                    <a:gd name="T13" fmla="*/ 3 h 32"/>
                    <a:gd name="T14" fmla="*/ 56 w 122"/>
                    <a:gd name="T15" fmla="*/ 7 h 32"/>
                    <a:gd name="T16" fmla="*/ 75 w 122"/>
                    <a:gd name="T17" fmla="*/ 14 h 32"/>
                    <a:gd name="T18" fmla="*/ 88 w 122"/>
                    <a:gd name="T19" fmla="*/ 11 h 32"/>
                    <a:gd name="T20" fmla="*/ 99 w 122"/>
                    <a:gd name="T21" fmla="*/ 3 h 32"/>
                    <a:gd name="T22" fmla="*/ 117 w 122"/>
                    <a:gd name="T23" fmla="*/ 2 h 32"/>
                    <a:gd name="T24" fmla="*/ 122 w 122"/>
                    <a:gd name="T25" fmla="*/ 4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22" h="32">
                      <a:moveTo>
                        <a:pt x="122" y="4"/>
                      </a:moveTo>
                      <a:cubicBezTo>
                        <a:pt x="114" y="10"/>
                        <a:pt x="106" y="15"/>
                        <a:pt x="98" y="19"/>
                      </a:cubicBezTo>
                      <a:cubicBezTo>
                        <a:pt x="79" y="28"/>
                        <a:pt x="58" y="32"/>
                        <a:pt x="37" y="31"/>
                      </a:cubicBezTo>
                      <a:cubicBezTo>
                        <a:pt x="26" y="31"/>
                        <a:pt x="16" y="29"/>
                        <a:pt x="5" y="26"/>
                      </a:cubicBezTo>
                      <a:cubicBezTo>
                        <a:pt x="2" y="25"/>
                        <a:pt x="0" y="23"/>
                        <a:pt x="1" y="19"/>
                      </a:cubicBezTo>
                      <a:cubicBezTo>
                        <a:pt x="3" y="15"/>
                        <a:pt x="6" y="11"/>
                        <a:pt x="10" y="9"/>
                      </a:cubicBezTo>
                      <a:cubicBezTo>
                        <a:pt x="16" y="5"/>
                        <a:pt x="23" y="3"/>
                        <a:pt x="30" y="3"/>
                      </a:cubicBezTo>
                      <a:cubicBezTo>
                        <a:pt x="39" y="3"/>
                        <a:pt x="47" y="5"/>
                        <a:pt x="56" y="7"/>
                      </a:cubicBezTo>
                      <a:cubicBezTo>
                        <a:pt x="62" y="9"/>
                        <a:pt x="68" y="12"/>
                        <a:pt x="75" y="14"/>
                      </a:cubicBezTo>
                      <a:cubicBezTo>
                        <a:pt x="83" y="16"/>
                        <a:pt x="82" y="16"/>
                        <a:pt x="88" y="11"/>
                      </a:cubicBezTo>
                      <a:cubicBezTo>
                        <a:pt x="91" y="8"/>
                        <a:pt x="95" y="5"/>
                        <a:pt x="99" y="3"/>
                      </a:cubicBezTo>
                      <a:cubicBezTo>
                        <a:pt x="105" y="0"/>
                        <a:pt x="111" y="0"/>
                        <a:pt x="117" y="2"/>
                      </a:cubicBezTo>
                      <a:cubicBezTo>
                        <a:pt x="119" y="2"/>
                        <a:pt x="120" y="3"/>
                        <a:pt x="122" y="4"/>
                      </a:cubicBezTo>
                      <a:close/>
                    </a:path>
                  </a:pathLst>
                </a:custGeom>
                <a:solidFill>
                  <a:srgbClr val="48773E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sz="2000">
                    <a:latin typeface="+mj-lt"/>
                  </a:endParaRPr>
                </a:p>
              </p:txBody>
            </p:sp>
            <p:sp>
              <p:nvSpPr>
                <p:cNvPr id="104" name="Freeform 16">
                  <a:extLst>
                    <a:ext uri="{FF2B5EF4-FFF2-40B4-BE49-F238E27FC236}">
                      <a16:creationId xmlns:a16="http://schemas.microsoft.com/office/drawing/2014/main" id="{D8D20217-3108-4023-87EC-7E1B001A1DC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621963" y="4892678"/>
                  <a:ext cx="38100" cy="123825"/>
                </a:xfrm>
                <a:custGeom>
                  <a:avLst/>
                  <a:gdLst>
                    <a:gd name="T0" fmla="*/ 2 w 14"/>
                    <a:gd name="T1" fmla="*/ 1 h 45"/>
                    <a:gd name="T2" fmla="*/ 14 w 14"/>
                    <a:gd name="T3" fmla="*/ 12 h 45"/>
                    <a:gd name="T4" fmla="*/ 14 w 14"/>
                    <a:gd name="T5" fmla="*/ 24 h 45"/>
                    <a:gd name="T6" fmla="*/ 12 w 14"/>
                    <a:gd name="T7" fmla="*/ 43 h 45"/>
                    <a:gd name="T8" fmla="*/ 11 w 14"/>
                    <a:gd name="T9" fmla="*/ 45 h 45"/>
                    <a:gd name="T10" fmla="*/ 10 w 14"/>
                    <a:gd name="T11" fmla="*/ 44 h 45"/>
                    <a:gd name="T12" fmla="*/ 0 w 14"/>
                    <a:gd name="T13" fmla="*/ 20 h 45"/>
                    <a:gd name="T14" fmla="*/ 4 w 14"/>
                    <a:gd name="T15" fmla="*/ 11 h 45"/>
                    <a:gd name="T16" fmla="*/ 5 w 14"/>
                    <a:gd name="T17" fmla="*/ 6 h 45"/>
                    <a:gd name="T18" fmla="*/ 2 w 14"/>
                    <a:gd name="T19" fmla="*/ 1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4" h="45">
                      <a:moveTo>
                        <a:pt x="2" y="1"/>
                      </a:moveTo>
                      <a:cubicBezTo>
                        <a:pt x="9" y="0"/>
                        <a:pt x="14" y="5"/>
                        <a:pt x="14" y="12"/>
                      </a:cubicBezTo>
                      <a:cubicBezTo>
                        <a:pt x="14" y="16"/>
                        <a:pt x="14" y="20"/>
                        <a:pt x="14" y="24"/>
                      </a:cubicBezTo>
                      <a:cubicBezTo>
                        <a:pt x="14" y="30"/>
                        <a:pt x="13" y="37"/>
                        <a:pt x="12" y="43"/>
                      </a:cubicBezTo>
                      <a:cubicBezTo>
                        <a:pt x="12" y="44"/>
                        <a:pt x="12" y="44"/>
                        <a:pt x="11" y="45"/>
                      </a:cubicBezTo>
                      <a:cubicBezTo>
                        <a:pt x="11" y="45"/>
                        <a:pt x="10" y="45"/>
                        <a:pt x="10" y="44"/>
                      </a:cubicBezTo>
                      <a:cubicBezTo>
                        <a:pt x="4" y="37"/>
                        <a:pt x="0" y="29"/>
                        <a:pt x="0" y="20"/>
                      </a:cubicBezTo>
                      <a:cubicBezTo>
                        <a:pt x="1" y="17"/>
                        <a:pt x="2" y="14"/>
                        <a:pt x="4" y="11"/>
                      </a:cubicBezTo>
                      <a:cubicBezTo>
                        <a:pt x="5" y="9"/>
                        <a:pt x="5" y="8"/>
                        <a:pt x="5" y="6"/>
                      </a:cubicBezTo>
                      <a:cubicBezTo>
                        <a:pt x="4" y="5"/>
                        <a:pt x="3" y="3"/>
                        <a:pt x="2" y="1"/>
                      </a:cubicBezTo>
                      <a:close/>
                    </a:path>
                  </a:pathLst>
                </a:custGeom>
                <a:solidFill>
                  <a:srgbClr val="48773E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sz="2000">
                    <a:latin typeface="+mj-lt"/>
                  </a:endParaRPr>
                </a:p>
              </p:txBody>
            </p:sp>
            <p:sp>
              <p:nvSpPr>
                <p:cNvPr id="105" name="Freeform 17">
                  <a:extLst>
                    <a:ext uri="{FF2B5EF4-FFF2-40B4-BE49-F238E27FC236}">
                      <a16:creationId xmlns:a16="http://schemas.microsoft.com/office/drawing/2014/main" id="{2FBE93E4-DA10-4471-AAEA-FED0BAFEEA8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956800" y="4737103"/>
                  <a:ext cx="79375" cy="68263"/>
                </a:xfrm>
                <a:custGeom>
                  <a:avLst/>
                  <a:gdLst>
                    <a:gd name="T0" fmla="*/ 0 w 29"/>
                    <a:gd name="T1" fmla="*/ 25 h 25"/>
                    <a:gd name="T2" fmla="*/ 0 w 29"/>
                    <a:gd name="T3" fmla="*/ 22 h 25"/>
                    <a:gd name="T4" fmla="*/ 9 w 29"/>
                    <a:gd name="T5" fmla="*/ 6 h 25"/>
                    <a:gd name="T6" fmla="*/ 15 w 29"/>
                    <a:gd name="T7" fmla="*/ 1 h 25"/>
                    <a:gd name="T8" fmla="*/ 23 w 29"/>
                    <a:gd name="T9" fmla="*/ 0 h 25"/>
                    <a:gd name="T10" fmla="*/ 27 w 29"/>
                    <a:gd name="T11" fmla="*/ 2 h 25"/>
                    <a:gd name="T12" fmla="*/ 28 w 29"/>
                    <a:gd name="T13" fmla="*/ 5 h 25"/>
                    <a:gd name="T14" fmla="*/ 24 w 29"/>
                    <a:gd name="T15" fmla="*/ 8 h 25"/>
                    <a:gd name="T16" fmla="*/ 15 w 29"/>
                    <a:gd name="T17" fmla="*/ 15 h 25"/>
                    <a:gd name="T18" fmla="*/ 7 w 29"/>
                    <a:gd name="T19" fmla="*/ 23 h 25"/>
                    <a:gd name="T20" fmla="*/ 1 w 29"/>
                    <a:gd name="T21" fmla="*/ 25 h 25"/>
                    <a:gd name="T22" fmla="*/ 0 w 29"/>
                    <a:gd name="T23" fmla="*/ 25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9" h="25">
                      <a:moveTo>
                        <a:pt x="0" y="25"/>
                      </a:moveTo>
                      <a:cubicBezTo>
                        <a:pt x="0" y="24"/>
                        <a:pt x="0" y="23"/>
                        <a:pt x="0" y="22"/>
                      </a:cubicBezTo>
                      <a:cubicBezTo>
                        <a:pt x="3" y="17"/>
                        <a:pt x="6" y="11"/>
                        <a:pt x="9" y="6"/>
                      </a:cubicBezTo>
                      <a:cubicBezTo>
                        <a:pt x="10" y="4"/>
                        <a:pt x="12" y="2"/>
                        <a:pt x="15" y="1"/>
                      </a:cubicBezTo>
                      <a:cubicBezTo>
                        <a:pt x="18" y="1"/>
                        <a:pt x="20" y="0"/>
                        <a:pt x="23" y="0"/>
                      </a:cubicBezTo>
                      <a:cubicBezTo>
                        <a:pt x="24" y="0"/>
                        <a:pt x="26" y="1"/>
                        <a:pt x="27" y="2"/>
                      </a:cubicBezTo>
                      <a:cubicBezTo>
                        <a:pt x="29" y="3"/>
                        <a:pt x="29" y="4"/>
                        <a:pt x="28" y="5"/>
                      </a:cubicBezTo>
                      <a:cubicBezTo>
                        <a:pt x="26" y="6"/>
                        <a:pt x="25" y="7"/>
                        <a:pt x="24" y="8"/>
                      </a:cubicBezTo>
                      <a:cubicBezTo>
                        <a:pt x="21" y="10"/>
                        <a:pt x="18" y="12"/>
                        <a:pt x="15" y="15"/>
                      </a:cubicBezTo>
                      <a:cubicBezTo>
                        <a:pt x="13" y="18"/>
                        <a:pt x="10" y="20"/>
                        <a:pt x="7" y="23"/>
                      </a:cubicBezTo>
                      <a:cubicBezTo>
                        <a:pt x="5" y="24"/>
                        <a:pt x="3" y="25"/>
                        <a:pt x="1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lose/>
                    </a:path>
                  </a:pathLst>
                </a:custGeom>
                <a:solidFill>
                  <a:srgbClr val="48773E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sz="2000">
                    <a:latin typeface="+mj-lt"/>
                  </a:endParaRPr>
                </a:p>
              </p:txBody>
            </p:sp>
            <p:sp>
              <p:nvSpPr>
                <p:cNvPr id="106" name="Freeform 18">
                  <a:extLst>
                    <a:ext uri="{FF2B5EF4-FFF2-40B4-BE49-F238E27FC236}">
                      <a16:creationId xmlns:a16="http://schemas.microsoft.com/office/drawing/2014/main" id="{5E39E004-8AB6-4857-A5C5-4A0BF1C2723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212388" y="5035553"/>
                  <a:ext cx="41275" cy="98425"/>
                </a:xfrm>
                <a:custGeom>
                  <a:avLst/>
                  <a:gdLst>
                    <a:gd name="T0" fmla="*/ 0 w 15"/>
                    <a:gd name="T1" fmla="*/ 29 h 36"/>
                    <a:gd name="T2" fmla="*/ 3 w 15"/>
                    <a:gd name="T3" fmla="*/ 9 h 36"/>
                    <a:gd name="T4" fmla="*/ 10 w 15"/>
                    <a:gd name="T5" fmla="*/ 2 h 36"/>
                    <a:gd name="T6" fmla="*/ 15 w 15"/>
                    <a:gd name="T7" fmla="*/ 5 h 36"/>
                    <a:gd name="T8" fmla="*/ 13 w 15"/>
                    <a:gd name="T9" fmla="*/ 10 h 36"/>
                    <a:gd name="T10" fmla="*/ 9 w 15"/>
                    <a:gd name="T11" fmla="*/ 21 h 36"/>
                    <a:gd name="T12" fmla="*/ 5 w 15"/>
                    <a:gd name="T13" fmla="*/ 32 h 36"/>
                    <a:gd name="T14" fmla="*/ 3 w 15"/>
                    <a:gd name="T15" fmla="*/ 35 h 36"/>
                    <a:gd name="T16" fmla="*/ 1 w 15"/>
                    <a:gd name="T17" fmla="*/ 35 h 36"/>
                    <a:gd name="T18" fmla="*/ 0 w 15"/>
                    <a:gd name="T19" fmla="*/ 29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5" h="36">
                      <a:moveTo>
                        <a:pt x="0" y="29"/>
                      </a:moveTo>
                      <a:cubicBezTo>
                        <a:pt x="1" y="22"/>
                        <a:pt x="2" y="16"/>
                        <a:pt x="3" y="9"/>
                      </a:cubicBezTo>
                      <a:cubicBezTo>
                        <a:pt x="4" y="6"/>
                        <a:pt x="7" y="3"/>
                        <a:pt x="10" y="2"/>
                      </a:cubicBezTo>
                      <a:cubicBezTo>
                        <a:pt x="13" y="0"/>
                        <a:pt x="15" y="2"/>
                        <a:pt x="15" y="5"/>
                      </a:cubicBezTo>
                      <a:cubicBezTo>
                        <a:pt x="15" y="7"/>
                        <a:pt x="14" y="8"/>
                        <a:pt x="13" y="10"/>
                      </a:cubicBezTo>
                      <a:cubicBezTo>
                        <a:pt x="11" y="13"/>
                        <a:pt x="10" y="17"/>
                        <a:pt x="9" y="21"/>
                      </a:cubicBezTo>
                      <a:cubicBezTo>
                        <a:pt x="8" y="25"/>
                        <a:pt x="7" y="28"/>
                        <a:pt x="5" y="32"/>
                      </a:cubicBezTo>
                      <a:cubicBezTo>
                        <a:pt x="4" y="33"/>
                        <a:pt x="4" y="34"/>
                        <a:pt x="3" y="35"/>
                      </a:cubicBezTo>
                      <a:cubicBezTo>
                        <a:pt x="2" y="36"/>
                        <a:pt x="1" y="36"/>
                        <a:pt x="1" y="35"/>
                      </a:cubicBezTo>
                      <a:cubicBezTo>
                        <a:pt x="0" y="33"/>
                        <a:pt x="0" y="31"/>
                        <a:pt x="0" y="29"/>
                      </a:cubicBezTo>
                      <a:close/>
                    </a:path>
                  </a:pathLst>
                </a:custGeom>
                <a:solidFill>
                  <a:srgbClr val="48773E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sz="2000">
                    <a:latin typeface="+mj-lt"/>
                  </a:endParaRPr>
                </a:p>
              </p:txBody>
            </p:sp>
            <p:sp>
              <p:nvSpPr>
                <p:cNvPr id="107" name="Freeform 19">
                  <a:extLst>
                    <a:ext uri="{FF2B5EF4-FFF2-40B4-BE49-F238E27FC236}">
                      <a16:creationId xmlns:a16="http://schemas.microsoft.com/office/drawing/2014/main" id="{3F58DD56-992C-46A9-B8CB-E626EA0D734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999663" y="4673603"/>
                  <a:ext cx="55563" cy="49213"/>
                </a:xfrm>
                <a:custGeom>
                  <a:avLst/>
                  <a:gdLst>
                    <a:gd name="T0" fmla="*/ 20 w 20"/>
                    <a:gd name="T1" fmla="*/ 5 h 18"/>
                    <a:gd name="T2" fmla="*/ 15 w 20"/>
                    <a:gd name="T3" fmla="*/ 14 h 18"/>
                    <a:gd name="T4" fmla="*/ 6 w 20"/>
                    <a:gd name="T5" fmla="*/ 18 h 18"/>
                    <a:gd name="T6" fmla="*/ 2 w 20"/>
                    <a:gd name="T7" fmla="*/ 17 h 18"/>
                    <a:gd name="T8" fmla="*/ 1 w 20"/>
                    <a:gd name="T9" fmla="*/ 13 h 18"/>
                    <a:gd name="T10" fmla="*/ 9 w 20"/>
                    <a:gd name="T11" fmla="*/ 3 h 18"/>
                    <a:gd name="T12" fmla="*/ 18 w 20"/>
                    <a:gd name="T13" fmla="*/ 1 h 18"/>
                    <a:gd name="T14" fmla="*/ 20 w 20"/>
                    <a:gd name="T15" fmla="*/ 5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0" h="18">
                      <a:moveTo>
                        <a:pt x="20" y="5"/>
                      </a:moveTo>
                      <a:cubicBezTo>
                        <a:pt x="20" y="9"/>
                        <a:pt x="19" y="12"/>
                        <a:pt x="15" y="14"/>
                      </a:cubicBezTo>
                      <a:cubicBezTo>
                        <a:pt x="12" y="16"/>
                        <a:pt x="9" y="17"/>
                        <a:pt x="6" y="18"/>
                      </a:cubicBezTo>
                      <a:cubicBezTo>
                        <a:pt x="4" y="18"/>
                        <a:pt x="3" y="18"/>
                        <a:pt x="2" y="17"/>
                      </a:cubicBezTo>
                      <a:cubicBezTo>
                        <a:pt x="0" y="16"/>
                        <a:pt x="0" y="15"/>
                        <a:pt x="1" y="13"/>
                      </a:cubicBezTo>
                      <a:cubicBezTo>
                        <a:pt x="4" y="10"/>
                        <a:pt x="6" y="6"/>
                        <a:pt x="9" y="3"/>
                      </a:cubicBezTo>
                      <a:cubicBezTo>
                        <a:pt x="11" y="1"/>
                        <a:pt x="14" y="0"/>
                        <a:pt x="18" y="1"/>
                      </a:cubicBezTo>
                      <a:cubicBezTo>
                        <a:pt x="20" y="1"/>
                        <a:pt x="20" y="2"/>
                        <a:pt x="20" y="5"/>
                      </a:cubicBezTo>
                      <a:close/>
                    </a:path>
                  </a:pathLst>
                </a:custGeom>
                <a:solidFill>
                  <a:srgbClr val="48773E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sz="2000">
                    <a:latin typeface="+mj-lt"/>
                  </a:endParaRPr>
                </a:p>
              </p:txBody>
            </p:sp>
            <p:sp>
              <p:nvSpPr>
                <p:cNvPr id="108" name="Freeform 20">
                  <a:extLst>
                    <a:ext uri="{FF2B5EF4-FFF2-40B4-BE49-F238E27FC236}">
                      <a16:creationId xmlns:a16="http://schemas.microsoft.com/office/drawing/2014/main" id="{5802D1E6-6921-447D-96FC-DE554EFF51B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355263" y="4972053"/>
                  <a:ext cx="42863" cy="28575"/>
                </a:xfrm>
                <a:custGeom>
                  <a:avLst/>
                  <a:gdLst>
                    <a:gd name="T0" fmla="*/ 9 w 16"/>
                    <a:gd name="T1" fmla="*/ 10 h 10"/>
                    <a:gd name="T2" fmla="*/ 2 w 16"/>
                    <a:gd name="T3" fmla="*/ 8 h 10"/>
                    <a:gd name="T4" fmla="*/ 2 w 16"/>
                    <a:gd name="T5" fmla="*/ 4 h 10"/>
                    <a:gd name="T6" fmla="*/ 10 w 16"/>
                    <a:gd name="T7" fmla="*/ 2 h 10"/>
                    <a:gd name="T8" fmla="*/ 15 w 16"/>
                    <a:gd name="T9" fmla="*/ 6 h 10"/>
                    <a:gd name="T10" fmla="*/ 13 w 16"/>
                    <a:gd name="T11" fmla="*/ 10 h 10"/>
                    <a:gd name="T12" fmla="*/ 9 w 16"/>
                    <a:gd name="T13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6" h="10">
                      <a:moveTo>
                        <a:pt x="9" y="10"/>
                      </a:moveTo>
                      <a:cubicBezTo>
                        <a:pt x="7" y="10"/>
                        <a:pt x="5" y="10"/>
                        <a:pt x="2" y="8"/>
                      </a:cubicBezTo>
                      <a:cubicBezTo>
                        <a:pt x="0" y="7"/>
                        <a:pt x="0" y="6"/>
                        <a:pt x="2" y="4"/>
                      </a:cubicBezTo>
                      <a:cubicBezTo>
                        <a:pt x="4" y="1"/>
                        <a:pt x="6" y="0"/>
                        <a:pt x="10" y="2"/>
                      </a:cubicBezTo>
                      <a:cubicBezTo>
                        <a:pt x="12" y="3"/>
                        <a:pt x="13" y="4"/>
                        <a:pt x="15" y="6"/>
                      </a:cubicBezTo>
                      <a:cubicBezTo>
                        <a:pt x="16" y="8"/>
                        <a:pt x="15" y="9"/>
                        <a:pt x="13" y="10"/>
                      </a:cubicBezTo>
                      <a:cubicBezTo>
                        <a:pt x="13" y="10"/>
                        <a:pt x="11" y="10"/>
                        <a:pt x="9" y="10"/>
                      </a:cubicBezTo>
                      <a:close/>
                    </a:path>
                  </a:pathLst>
                </a:custGeom>
                <a:solidFill>
                  <a:srgbClr val="48773E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sz="2000">
                    <a:latin typeface="+mj-lt"/>
                  </a:endParaRPr>
                </a:p>
              </p:txBody>
            </p:sp>
            <p:sp>
              <p:nvSpPr>
                <p:cNvPr id="109" name="Freeform 21">
                  <a:extLst>
                    <a:ext uri="{FF2B5EF4-FFF2-40B4-BE49-F238E27FC236}">
                      <a16:creationId xmlns:a16="http://schemas.microsoft.com/office/drawing/2014/main" id="{1FB743EF-0635-4A7D-B0D7-753286E5372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556875" y="5008566"/>
                  <a:ext cx="41275" cy="26988"/>
                </a:xfrm>
                <a:custGeom>
                  <a:avLst/>
                  <a:gdLst>
                    <a:gd name="T0" fmla="*/ 10 w 15"/>
                    <a:gd name="T1" fmla="*/ 10 h 10"/>
                    <a:gd name="T2" fmla="*/ 2 w 15"/>
                    <a:gd name="T3" fmla="*/ 8 h 10"/>
                    <a:gd name="T4" fmla="*/ 1 w 15"/>
                    <a:gd name="T5" fmla="*/ 3 h 10"/>
                    <a:gd name="T6" fmla="*/ 9 w 15"/>
                    <a:gd name="T7" fmla="*/ 1 h 10"/>
                    <a:gd name="T8" fmla="*/ 14 w 15"/>
                    <a:gd name="T9" fmla="*/ 6 h 10"/>
                    <a:gd name="T10" fmla="*/ 13 w 15"/>
                    <a:gd name="T11" fmla="*/ 9 h 10"/>
                    <a:gd name="T12" fmla="*/ 10 w 15"/>
                    <a:gd name="T13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" h="10">
                      <a:moveTo>
                        <a:pt x="10" y="10"/>
                      </a:moveTo>
                      <a:cubicBezTo>
                        <a:pt x="7" y="10"/>
                        <a:pt x="4" y="9"/>
                        <a:pt x="2" y="8"/>
                      </a:cubicBezTo>
                      <a:cubicBezTo>
                        <a:pt x="0" y="7"/>
                        <a:pt x="0" y="5"/>
                        <a:pt x="1" y="3"/>
                      </a:cubicBezTo>
                      <a:cubicBezTo>
                        <a:pt x="4" y="1"/>
                        <a:pt x="6" y="0"/>
                        <a:pt x="9" y="1"/>
                      </a:cubicBezTo>
                      <a:cubicBezTo>
                        <a:pt x="11" y="2"/>
                        <a:pt x="13" y="4"/>
                        <a:pt x="14" y="6"/>
                      </a:cubicBezTo>
                      <a:cubicBezTo>
                        <a:pt x="15" y="8"/>
                        <a:pt x="15" y="9"/>
                        <a:pt x="13" y="9"/>
                      </a:cubicBezTo>
                      <a:cubicBezTo>
                        <a:pt x="12" y="10"/>
                        <a:pt x="11" y="10"/>
                        <a:pt x="10" y="10"/>
                      </a:cubicBezTo>
                      <a:close/>
                    </a:path>
                  </a:pathLst>
                </a:custGeom>
                <a:solidFill>
                  <a:srgbClr val="48773E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sz="2000">
                    <a:latin typeface="+mj-lt"/>
                  </a:endParaRPr>
                </a:p>
              </p:txBody>
            </p:sp>
            <p:sp>
              <p:nvSpPr>
                <p:cNvPr id="110" name="Freeform 22">
                  <a:extLst>
                    <a:ext uri="{FF2B5EF4-FFF2-40B4-BE49-F238E27FC236}">
                      <a16:creationId xmlns:a16="http://schemas.microsoft.com/office/drawing/2014/main" id="{51DAA7EB-9C25-4C93-B4C4-5F9B8C455B3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545763" y="4972053"/>
                  <a:ext cx="30163" cy="28575"/>
                </a:xfrm>
                <a:custGeom>
                  <a:avLst/>
                  <a:gdLst>
                    <a:gd name="T0" fmla="*/ 7 w 11"/>
                    <a:gd name="T1" fmla="*/ 10 h 10"/>
                    <a:gd name="T2" fmla="*/ 0 w 11"/>
                    <a:gd name="T3" fmla="*/ 3 h 10"/>
                    <a:gd name="T4" fmla="*/ 3 w 11"/>
                    <a:gd name="T5" fmla="*/ 0 h 10"/>
                    <a:gd name="T6" fmla="*/ 11 w 11"/>
                    <a:gd name="T7" fmla="*/ 7 h 10"/>
                    <a:gd name="T8" fmla="*/ 10 w 11"/>
                    <a:gd name="T9" fmla="*/ 9 h 10"/>
                    <a:gd name="T10" fmla="*/ 7 w 11"/>
                    <a:gd name="T11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1" h="10">
                      <a:moveTo>
                        <a:pt x="7" y="10"/>
                      </a:moveTo>
                      <a:cubicBezTo>
                        <a:pt x="2" y="10"/>
                        <a:pt x="1" y="7"/>
                        <a:pt x="0" y="3"/>
                      </a:cubicBezTo>
                      <a:cubicBezTo>
                        <a:pt x="0" y="1"/>
                        <a:pt x="1" y="0"/>
                        <a:pt x="3" y="0"/>
                      </a:cubicBezTo>
                      <a:cubicBezTo>
                        <a:pt x="6" y="0"/>
                        <a:pt x="10" y="5"/>
                        <a:pt x="11" y="7"/>
                      </a:cubicBezTo>
                      <a:cubicBezTo>
                        <a:pt x="11" y="8"/>
                        <a:pt x="11" y="9"/>
                        <a:pt x="10" y="9"/>
                      </a:cubicBezTo>
                      <a:cubicBezTo>
                        <a:pt x="9" y="10"/>
                        <a:pt x="8" y="10"/>
                        <a:pt x="7" y="10"/>
                      </a:cubicBezTo>
                      <a:close/>
                    </a:path>
                  </a:pathLst>
                </a:custGeom>
                <a:solidFill>
                  <a:srgbClr val="48773E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sz="2000">
                    <a:latin typeface="+mj-lt"/>
                  </a:endParaRPr>
                </a:p>
              </p:txBody>
            </p:sp>
          </p:grpSp>
          <p:sp>
            <p:nvSpPr>
              <p:cNvPr id="98" name="TextBox 97">
                <a:extLst>
                  <a:ext uri="{FF2B5EF4-FFF2-40B4-BE49-F238E27FC236}">
                    <a16:creationId xmlns:a16="http://schemas.microsoft.com/office/drawing/2014/main" id="{EC42AB24-360D-4942-B010-56C559A0D7B7}"/>
                  </a:ext>
                </a:extLst>
              </p:cNvPr>
              <p:cNvSpPr txBox="1"/>
              <p:nvPr/>
            </p:nvSpPr>
            <p:spPr>
              <a:xfrm>
                <a:off x="6307794" y="4563021"/>
                <a:ext cx="881780" cy="623955"/>
              </a:xfrm>
              <a:prstGeom prst="rect">
                <a:avLst/>
              </a:prstGeom>
              <a:noFill/>
            </p:spPr>
            <p:txBody>
              <a:bodyPr wrap="none" rtlCol="0">
                <a:prstTxWarp prst="textArchDown">
                  <a:avLst/>
                </a:prstTxWarp>
                <a:spAutoFit/>
              </a:bodyPr>
              <a:lstStyle/>
              <a:p>
                <a:pPr algn="ctr"/>
                <a:r>
                  <a:rPr lang="en-ZA" sz="1400" b="1" dirty="0">
                    <a:solidFill>
                      <a:schemeClr val="tx1">
                        <a:lumMod val="50000"/>
                      </a:schemeClr>
                    </a:solidFill>
                    <a:latin typeface="+mj-lt"/>
                  </a:rPr>
                  <a:t>Climate action</a:t>
                </a:r>
              </a:p>
            </p:txBody>
          </p:sp>
          <p:sp>
            <p:nvSpPr>
              <p:cNvPr id="99" name="Oval 5">
                <a:extLst>
                  <a:ext uri="{FF2B5EF4-FFF2-40B4-BE49-F238E27FC236}">
                    <a16:creationId xmlns:a16="http://schemas.microsoft.com/office/drawing/2014/main" id="{3B0E761C-BC2B-4DE9-9DD3-8AE4CABF07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35219" y="4226252"/>
                <a:ext cx="839107" cy="845441"/>
              </a:xfrm>
              <a:prstGeom prst="ellipse">
                <a:avLst/>
              </a:prstGeom>
              <a:noFill/>
              <a:ln w="53975" cap="rnd">
                <a:solidFill>
                  <a:srgbClr val="49753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ZA" sz="1400">
                  <a:latin typeface="+mj-lt"/>
                </a:endParaRPr>
              </a:p>
            </p:txBody>
          </p: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4DF3E319-7031-43C3-BFA3-25CCA41A3B5C}"/>
                </a:ext>
              </a:extLst>
            </p:cNvPr>
            <p:cNvGrpSpPr/>
            <p:nvPr/>
          </p:nvGrpSpPr>
          <p:grpSpPr>
            <a:xfrm>
              <a:off x="7529298" y="4208404"/>
              <a:ext cx="917722" cy="948151"/>
              <a:chOff x="7665676" y="4223986"/>
              <a:chExt cx="917722" cy="948151"/>
            </a:xfrm>
          </p:grpSpPr>
          <p:grpSp>
            <p:nvGrpSpPr>
              <p:cNvPr id="90" name="Group 21">
                <a:extLst>
                  <a:ext uri="{FF2B5EF4-FFF2-40B4-BE49-F238E27FC236}">
                    <a16:creationId xmlns:a16="http://schemas.microsoft.com/office/drawing/2014/main" id="{98061EB8-F03E-4F7C-AF66-C9FE592116B8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7836948" y="4355011"/>
                <a:ext cx="509970" cy="537749"/>
                <a:chOff x="5468" y="2517"/>
                <a:chExt cx="257" cy="271"/>
              </a:xfrm>
              <a:solidFill>
                <a:srgbClr val="8E1838"/>
              </a:solidFill>
            </p:grpSpPr>
            <p:sp>
              <p:nvSpPr>
                <p:cNvPr id="93" name="Freeform 22">
                  <a:extLst>
                    <a:ext uri="{FF2B5EF4-FFF2-40B4-BE49-F238E27FC236}">
                      <a16:creationId xmlns:a16="http://schemas.microsoft.com/office/drawing/2014/main" id="{463C5B81-D372-4EA7-907D-A6F412B8768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42" y="2579"/>
                  <a:ext cx="63" cy="209"/>
                </a:xfrm>
                <a:custGeom>
                  <a:avLst/>
                  <a:gdLst>
                    <a:gd name="T0" fmla="*/ 144 w 144"/>
                    <a:gd name="T1" fmla="*/ 242 h 482"/>
                    <a:gd name="T2" fmla="*/ 144 w 144"/>
                    <a:gd name="T3" fmla="*/ 472 h 482"/>
                    <a:gd name="T4" fmla="*/ 134 w 144"/>
                    <a:gd name="T5" fmla="*/ 482 h 482"/>
                    <a:gd name="T6" fmla="*/ 11 w 144"/>
                    <a:gd name="T7" fmla="*/ 482 h 482"/>
                    <a:gd name="T8" fmla="*/ 1 w 144"/>
                    <a:gd name="T9" fmla="*/ 472 h 482"/>
                    <a:gd name="T10" fmla="*/ 0 w 144"/>
                    <a:gd name="T11" fmla="*/ 144 h 482"/>
                    <a:gd name="T12" fmla="*/ 10 w 144"/>
                    <a:gd name="T13" fmla="*/ 122 h 482"/>
                    <a:gd name="T14" fmla="*/ 107 w 144"/>
                    <a:gd name="T15" fmla="*/ 30 h 482"/>
                    <a:gd name="T16" fmla="*/ 133 w 144"/>
                    <a:gd name="T17" fmla="*/ 5 h 482"/>
                    <a:gd name="T18" fmla="*/ 136 w 144"/>
                    <a:gd name="T19" fmla="*/ 2 h 482"/>
                    <a:gd name="T20" fmla="*/ 144 w 144"/>
                    <a:gd name="T21" fmla="*/ 5 h 482"/>
                    <a:gd name="T22" fmla="*/ 144 w 144"/>
                    <a:gd name="T23" fmla="*/ 11 h 482"/>
                    <a:gd name="T24" fmla="*/ 144 w 144"/>
                    <a:gd name="T25" fmla="*/ 242 h 4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44" h="482">
                      <a:moveTo>
                        <a:pt x="144" y="242"/>
                      </a:moveTo>
                      <a:cubicBezTo>
                        <a:pt x="144" y="319"/>
                        <a:pt x="144" y="395"/>
                        <a:pt x="144" y="472"/>
                      </a:cubicBezTo>
                      <a:cubicBezTo>
                        <a:pt x="144" y="480"/>
                        <a:pt x="142" y="482"/>
                        <a:pt x="134" y="482"/>
                      </a:cubicBezTo>
                      <a:cubicBezTo>
                        <a:pt x="93" y="482"/>
                        <a:pt x="52" y="482"/>
                        <a:pt x="11" y="482"/>
                      </a:cubicBezTo>
                      <a:cubicBezTo>
                        <a:pt x="3" y="482"/>
                        <a:pt x="1" y="480"/>
                        <a:pt x="1" y="472"/>
                      </a:cubicBezTo>
                      <a:cubicBezTo>
                        <a:pt x="1" y="363"/>
                        <a:pt x="1" y="253"/>
                        <a:pt x="0" y="144"/>
                      </a:cubicBezTo>
                      <a:cubicBezTo>
                        <a:pt x="0" y="135"/>
                        <a:pt x="3" y="128"/>
                        <a:pt x="10" y="122"/>
                      </a:cubicBezTo>
                      <a:cubicBezTo>
                        <a:pt x="43" y="91"/>
                        <a:pt x="75" y="60"/>
                        <a:pt x="107" y="30"/>
                      </a:cubicBezTo>
                      <a:cubicBezTo>
                        <a:pt x="116" y="21"/>
                        <a:pt x="124" y="13"/>
                        <a:pt x="133" y="5"/>
                      </a:cubicBezTo>
                      <a:cubicBezTo>
                        <a:pt x="134" y="4"/>
                        <a:pt x="135" y="3"/>
                        <a:pt x="136" y="2"/>
                      </a:cubicBezTo>
                      <a:cubicBezTo>
                        <a:pt x="140" y="0"/>
                        <a:pt x="142" y="1"/>
                        <a:pt x="144" y="5"/>
                      </a:cubicBezTo>
                      <a:cubicBezTo>
                        <a:pt x="144" y="7"/>
                        <a:pt x="144" y="9"/>
                        <a:pt x="144" y="11"/>
                      </a:cubicBezTo>
                      <a:cubicBezTo>
                        <a:pt x="144" y="88"/>
                        <a:pt x="144" y="165"/>
                        <a:pt x="144" y="24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sz="2000">
                    <a:latin typeface="+mj-lt"/>
                  </a:endParaRPr>
                </a:p>
              </p:txBody>
            </p:sp>
            <p:sp>
              <p:nvSpPr>
                <p:cNvPr id="94" name="Freeform 23">
                  <a:extLst>
                    <a:ext uri="{FF2B5EF4-FFF2-40B4-BE49-F238E27FC236}">
                      <a16:creationId xmlns:a16="http://schemas.microsoft.com/office/drawing/2014/main" id="{0D604CC8-14A6-4248-B114-587AB0C99A1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65" y="2655"/>
                  <a:ext cx="63" cy="133"/>
                </a:xfrm>
                <a:custGeom>
                  <a:avLst/>
                  <a:gdLst>
                    <a:gd name="T0" fmla="*/ 145 w 145"/>
                    <a:gd name="T1" fmla="*/ 154 h 307"/>
                    <a:gd name="T2" fmla="*/ 145 w 145"/>
                    <a:gd name="T3" fmla="*/ 297 h 307"/>
                    <a:gd name="T4" fmla="*/ 134 w 145"/>
                    <a:gd name="T5" fmla="*/ 307 h 307"/>
                    <a:gd name="T6" fmla="*/ 11 w 145"/>
                    <a:gd name="T7" fmla="*/ 307 h 307"/>
                    <a:gd name="T8" fmla="*/ 1 w 145"/>
                    <a:gd name="T9" fmla="*/ 297 h 307"/>
                    <a:gd name="T10" fmla="*/ 1 w 145"/>
                    <a:gd name="T11" fmla="*/ 15 h 307"/>
                    <a:gd name="T12" fmla="*/ 4 w 145"/>
                    <a:gd name="T13" fmla="*/ 6 h 307"/>
                    <a:gd name="T14" fmla="*/ 13 w 145"/>
                    <a:gd name="T15" fmla="*/ 11 h 307"/>
                    <a:gd name="T16" fmla="*/ 66 w 145"/>
                    <a:gd name="T17" fmla="*/ 65 h 307"/>
                    <a:gd name="T18" fmla="*/ 74 w 145"/>
                    <a:gd name="T19" fmla="*/ 65 h 307"/>
                    <a:gd name="T20" fmla="*/ 132 w 145"/>
                    <a:gd name="T21" fmla="*/ 6 h 307"/>
                    <a:gd name="T22" fmla="*/ 141 w 145"/>
                    <a:gd name="T23" fmla="*/ 2 h 307"/>
                    <a:gd name="T24" fmla="*/ 145 w 145"/>
                    <a:gd name="T25" fmla="*/ 11 h 307"/>
                    <a:gd name="T26" fmla="*/ 145 w 145"/>
                    <a:gd name="T27" fmla="*/ 154 h 3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45" h="307">
                      <a:moveTo>
                        <a:pt x="145" y="154"/>
                      </a:moveTo>
                      <a:cubicBezTo>
                        <a:pt x="145" y="202"/>
                        <a:pt x="145" y="250"/>
                        <a:pt x="145" y="297"/>
                      </a:cubicBezTo>
                      <a:cubicBezTo>
                        <a:pt x="145" y="305"/>
                        <a:pt x="142" y="307"/>
                        <a:pt x="134" y="307"/>
                      </a:cubicBezTo>
                      <a:cubicBezTo>
                        <a:pt x="93" y="307"/>
                        <a:pt x="52" y="307"/>
                        <a:pt x="11" y="307"/>
                      </a:cubicBezTo>
                      <a:cubicBezTo>
                        <a:pt x="3" y="307"/>
                        <a:pt x="1" y="305"/>
                        <a:pt x="1" y="297"/>
                      </a:cubicBezTo>
                      <a:cubicBezTo>
                        <a:pt x="1" y="203"/>
                        <a:pt x="1" y="109"/>
                        <a:pt x="1" y="15"/>
                      </a:cubicBezTo>
                      <a:cubicBezTo>
                        <a:pt x="1" y="12"/>
                        <a:pt x="0" y="8"/>
                        <a:pt x="4" y="6"/>
                      </a:cubicBezTo>
                      <a:cubicBezTo>
                        <a:pt x="8" y="5"/>
                        <a:pt x="11" y="8"/>
                        <a:pt x="13" y="11"/>
                      </a:cubicBezTo>
                      <a:cubicBezTo>
                        <a:pt x="31" y="28"/>
                        <a:pt x="48" y="47"/>
                        <a:pt x="66" y="65"/>
                      </a:cubicBezTo>
                      <a:cubicBezTo>
                        <a:pt x="70" y="68"/>
                        <a:pt x="70" y="68"/>
                        <a:pt x="74" y="65"/>
                      </a:cubicBezTo>
                      <a:cubicBezTo>
                        <a:pt x="93" y="45"/>
                        <a:pt x="113" y="26"/>
                        <a:pt x="132" y="6"/>
                      </a:cubicBezTo>
                      <a:cubicBezTo>
                        <a:pt x="135" y="4"/>
                        <a:pt x="137" y="0"/>
                        <a:pt x="141" y="2"/>
                      </a:cubicBezTo>
                      <a:cubicBezTo>
                        <a:pt x="145" y="4"/>
                        <a:pt x="145" y="8"/>
                        <a:pt x="145" y="11"/>
                      </a:cubicBezTo>
                      <a:cubicBezTo>
                        <a:pt x="145" y="59"/>
                        <a:pt x="145" y="107"/>
                        <a:pt x="145" y="15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sz="2000">
                    <a:latin typeface="+mj-lt"/>
                  </a:endParaRPr>
                </a:p>
              </p:txBody>
            </p:sp>
            <p:sp>
              <p:nvSpPr>
                <p:cNvPr id="95" name="Freeform 24">
                  <a:extLst>
                    <a:ext uri="{FF2B5EF4-FFF2-40B4-BE49-F238E27FC236}">
                      <a16:creationId xmlns:a16="http://schemas.microsoft.com/office/drawing/2014/main" id="{101F69DB-8117-41FE-A820-2EDF27A985F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68" y="2517"/>
                  <a:ext cx="257" cy="169"/>
                </a:xfrm>
                <a:custGeom>
                  <a:avLst/>
                  <a:gdLst>
                    <a:gd name="T0" fmla="*/ 588 w 593"/>
                    <a:gd name="T1" fmla="*/ 0 h 389"/>
                    <a:gd name="T2" fmla="*/ 592 w 593"/>
                    <a:gd name="T3" fmla="*/ 6 h 389"/>
                    <a:gd name="T4" fmla="*/ 584 w 593"/>
                    <a:gd name="T5" fmla="*/ 47 h 389"/>
                    <a:gd name="T6" fmla="*/ 572 w 593"/>
                    <a:gd name="T7" fmla="*/ 102 h 389"/>
                    <a:gd name="T8" fmla="*/ 569 w 593"/>
                    <a:gd name="T9" fmla="*/ 106 h 389"/>
                    <a:gd name="T10" fmla="*/ 564 w 593"/>
                    <a:gd name="T11" fmla="*/ 104 h 389"/>
                    <a:gd name="T12" fmla="*/ 545 w 593"/>
                    <a:gd name="T13" fmla="*/ 85 h 389"/>
                    <a:gd name="T14" fmla="*/ 540 w 593"/>
                    <a:gd name="T15" fmla="*/ 85 h 389"/>
                    <a:gd name="T16" fmla="*/ 411 w 593"/>
                    <a:gd name="T17" fmla="*/ 214 h 389"/>
                    <a:gd name="T18" fmla="*/ 299 w 593"/>
                    <a:gd name="T19" fmla="*/ 326 h 389"/>
                    <a:gd name="T20" fmla="*/ 290 w 593"/>
                    <a:gd name="T21" fmla="*/ 326 h 389"/>
                    <a:gd name="T22" fmla="*/ 195 w 593"/>
                    <a:gd name="T23" fmla="*/ 232 h 389"/>
                    <a:gd name="T24" fmla="*/ 189 w 593"/>
                    <a:gd name="T25" fmla="*/ 232 h 389"/>
                    <a:gd name="T26" fmla="*/ 36 w 593"/>
                    <a:gd name="T27" fmla="*/ 384 h 389"/>
                    <a:gd name="T28" fmla="*/ 27 w 593"/>
                    <a:gd name="T29" fmla="*/ 385 h 389"/>
                    <a:gd name="T30" fmla="*/ 5 w 593"/>
                    <a:gd name="T31" fmla="*/ 362 h 389"/>
                    <a:gd name="T32" fmla="*/ 5 w 593"/>
                    <a:gd name="T33" fmla="*/ 353 h 389"/>
                    <a:gd name="T34" fmla="*/ 156 w 593"/>
                    <a:gd name="T35" fmla="*/ 202 h 389"/>
                    <a:gd name="T36" fmla="*/ 188 w 593"/>
                    <a:gd name="T37" fmla="*/ 170 h 389"/>
                    <a:gd name="T38" fmla="*/ 196 w 593"/>
                    <a:gd name="T39" fmla="*/ 170 h 389"/>
                    <a:gd name="T40" fmla="*/ 291 w 593"/>
                    <a:gd name="T41" fmla="*/ 265 h 389"/>
                    <a:gd name="T42" fmla="*/ 297 w 593"/>
                    <a:gd name="T43" fmla="*/ 265 h 389"/>
                    <a:gd name="T44" fmla="*/ 508 w 593"/>
                    <a:gd name="T45" fmla="*/ 54 h 389"/>
                    <a:gd name="T46" fmla="*/ 509 w 593"/>
                    <a:gd name="T47" fmla="*/ 49 h 389"/>
                    <a:gd name="T48" fmla="*/ 489 w 593"/>
                    <a:gd name="T49" fmla="*/ 29 h 389"/>
                    <a:gd name="T50" fmla="*/ 491 w 593"/>
                    <a:gd name="T51" fmla="*/ 22 h 389"/>
                    <a:gd name="T52" fmla="*/ 587 w 593"/>
                    <a:gd name="T53" fmla="*/ 0 h 389"/>
                    <a:gd name="T54" fmla="*/ 588 w 593"/>
                    <a:gd name="T55" fmla="*/ 0 h 3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593" h="389">
                      <a:moveTo>
                        <a:pt x="588" y="0"/>
                      </a:moveTo>
                      <a:cubicBezTo>
                        <a:pt x="592" y="0"/>
                        <a:pt x="593" y="2"/>
                        <a:pt x="592" y="6"/>
                      </a:cubicBezTo>
                      <a:cubicBezTo>
                        <a:pt x="590" y="19"/>
                        <a:pt x="587" y="33"/>
                        <a:pt x="584" y="47"/>
                      </a:cubicBezTo>
                      <a:cubicBezTo>
                        <a:pt x="580" y="65"/>
                        <a:pt x="576" y="84"/>
                        <a:pt x="572" y="102"/>
                      </a:cubicBezTo>
                      <a:cubicBezTo>
                        <a:pt x="571" y="104"/>
                        <a:pt x="571" y="106"/>
                        <a:pt x="569" y="106"/>
                      </a:cubicBezTo>
                      <a:cubicBezTo>
                        <a:pt x="567" y="107"/>
                        <a:pt x="566" y="106"/>
                        <a:pt x="564" y="104"/>
                      </a:cubicBezTo>
                      <a:cubicBezTo>
                        <a:pt x="558" y="98"/>
                        <a:pt x="551" y="92"/>
                        <a:pt x="545" y="85"/>
                      </a:cubicBezTo>
                      <a:cubicBezTo>
                        <a:pt x="543" y="83"/>
                        <a:pt x="542" y="83"/>
                        <a:pt x="540" y="85"/>
                      </a:cubicBezTo>
                      <a:cubicBezTo>
                        <a:pt x="497" y="128"/>
                        <a:pt x="454" y="171"/>
                        <a:pt x="411" y="214"/>
                      </a:cubicBezTo>
                      <a:cubicBezTo>
                        <a:pt x="374" y="251"/>
                        <a:pt x="336" y="289"/>
                        <a:pt x="299" y="326"/>
                      </a:cubicBezTo>
                      <a:cubicBezTo>
                        <a:pt x="294" y="331"/>
                        <a:pt x="294" y="331"/>
                        <a:pt x="290" y="326"/>
                      </a:cubicBezTo>
                      <a:cubicBezTo>
                        <a:pt x="258" y="295"/>
                        <a:pt x="227" y="263"/>
                        <a:pt x="195" y="232"/>
                      </a:cubicBezTo>
                      <a:cubicBezTo>
                        <a:pt x="193" y="229"/>
                        <a:pt x="192" y="229"/>
                        <a:pt x="189" y="232"/>
                      </a:cubicBezTo>
                      <a:cubicBezTo>
                        <a:pt x="138" y="283"/>
                        <a:pt x="87" y="333"/>
                        <a:pt x="36" y="384"/>
                      </a:cubicBezTo>
                      <a:cubicBezTo>
                        <a:pt x="32" y="389"/>
                        <a:pt x="31" y="389"/>
                        <a:pt x="27" y="385"/>
                      </a:cubicBezTo>
                      <a:cubicBezTo>
                        <a:pt x="19" y="377"/>
                        <a:pt x="12" y="370"/>
                        <a:pt x="5" y="362"/>
                      </a:cubicBezTo>
                      <a:cubicBezTo>
                        <a:pt x="0" y="358"/>
                        <a:pt x="0" y="357"/>
                        <a:pt x="5" y="353"/>
                      </a:cubicBezTo>
                      <a:cubicBezTo>
                        <a:pt x="55" y="303"/>
                        <a:pt x="106" y="252"/>
                        <a:pt x="156" y="202"/>
                      </a:cubicBezTo>
                      <a:cubicBezTo>
                        <a:pt x="167" y="191"/>
                        <a:pt x="177" y="181"/>
                        <a:pt x="188" y="170"/>
                      </a:cubicBezTo>
                      <a:cubicBezTo>
                        <a:pt x="192" y="166"/>
                        <a:pt x="192" y="166"/>
                        <a:pt x="196" y="170"/>
                      </a:cubicBezTo>
                      <a:cubicBezTo>
                        <a:pt x="228" y="202"/>
                        <a:pt x="260" y="233"/>
                        <a:pt x="291" y="265"/>
                      </a:cubicBezTo>
                      <a:cubicBezTo>
                        <a:pt x="294" y="267"/>
                        <a:pt x="295" y="267"/>
                        <a:pt x="297" y="265"/>
                      </a:cubicBezTo>
                      <a:cubicBezTo>
                        <a:pt x="367" y="195"/>
                        <a:pt x="438" y="124"/>
                        <a:pt x="508" y="54"/>
                      </a:cubicBezTo>
                      <a:cubicBezTo>
                        <a:pt x="510" y="52"/>
                        <a:pt x="511" y="51"/>
                        <a:pt x="509" y="49"/>
                      </a:cubicBezTo>
                      <a:cubicBezTo>
                        <a:pt x="502" y="42"/>
                        <a:pt x="495" y="36"/>
                        <a:pt x="489" y="29"/>
                      </a:cubicBezTo>
                      <a:cubicBezTo>
                        <a:pt x="486" y="26"/>
                        <a:pt x="487" y="23"/>
                        <a:pt x="491" y="22"/>
                      </a:cubicBezTo>
                      <a:cubicBezTo>
                        <a:pt x="523" y="15"/>
                        <a:pt x="555" y="8"/>
                        <a:pt x="587" y="0"/>
                      </a:cubicBezTo>
                      <a:cubicBezTo>
                        <a:pt x="587" y="0"/>
                        <a:pt x="588" y="0"/>
                        <a:pt x="58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sz="2000">
                    <a:latin typeface="+mj-lt"/>
                  </a:endParaRPr>
                </a:p>
              </p:txBody>
            </p:sp>
            <p:sp>
              <p:nvSpPr>
                <p:cNvPr id="96" name="Freeform 25">
                  <a:extLst>
                    <a:ext uri="{FF2B5EF4-FFF2-40B4-BE49-F238E27FC236}">
                      <a16:creationId xmlns:a16="http://schemas.microsoft.com/office/drawing/2014/main" id="{299A1ABD-6E78-4139-B839-31961F2FA57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87" y="2646"/>
                  <a:ext cx="62" cy="142"/>
                </a:xfrm>
                <a:custGeom>
                  <a:avLst/>
                  <a:gdLst>
                    <a:gd name="T0" fmla="*/ 143 w 143"/>
                    <a:gd name="T1" fmla="*/ 164 h 327"/>
                    <a:gd name="T2" fmla="*/ 143 w 143"/>
                    <a:gd name="T3" fmla="*/ 317 h 327"/>
                    <a:gd name="T4" fmla="*/ 132 w 143"/>
                    <a:gd name="T5" fmla="*/ 327 h 327"/>
                    <a:gd name="T6" fmla="*/ 10 w 143"/>
                    <a:gd name="T7" fmla="*/ 327 h 327"/>
                    <a:gd name="T8" fmla="*/ 0 w 143"/>
                    <a:gd name="T9" fmla="*/ 317 h 327"/>
                    <a:gd name="T10" fmla="*/ 0 w 143"/>
                    <a:gd name="T11" fmla="*/ 142 h 327"/>
                    <a:gd name="T12" fmla="*/ 8 w 143"/>
                    <a:gd name="T13" fmla="*/ 123 h 327"/>
                    <a:gd name="T14" fmla="*/ 110 w 143"/>
                    <a:gd name="T15" fmla="*/ 26 h 327"/>
                    <a:gd name="T16" fmla="*/ 132 w 143"/>
                    <a:gd name="T17" fmla="*/ 5 h 327"/>
                    <a:gd name="T18" fmla="*/ 135 w 143"/>
                    <a:gd name="T19" fmla="*/ 2 h 327"/>
                    <a:gd name="T20" fmla="*/ 143 w 143"/>
                    <a:gd name="T21" fmla="*/ 5 h 327"/>
                    <a:gd name="T22" fmla="*/ 143 w 143"/>
                    <a:gd name="T23" fmla="*/ 11 h 327"/>
                    <a:gd name="T24" fmla="*/ 143 w 143"/>
                    <a:gd name="T25" fmla="*/ 164 h 3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43" h="327">
                      <a:moveTo>
                        <a:pt x="143" y="164"/>
                      </a:moveTo>
                      <a:cubicBezTo>
                        <a:pt x="143" y="215"/>
                        <a:pt x="143" y="266"/>
                        <a:pt x="143" y="317"/>
                      </a:cubicBezTo>
                      <a:cubicBezTo>
                        <a:pt x="143" y="325"/>
                        <a:pt x="141" y="327"/>
                        <a:pt x="132" y="327"/>
                      </a:cubicBezTo>
                      <a:cubicBezTo>
                        <a:pt x="92" y="327"/>
                        <a:pt x="51" y="327"/>
                        <a:pt x="10" y="327"/>
                      </a:cubicBezTo>
                      <a:cubicBezTo>
                        <a:pt x="1" y="327"/>
                        <a:pt x="0" y="326"/>
                        <a:pt x="0" y="317"/>
                      </a:cubicBezTo>
                      <a:cubicBezTo>
                        <a:pt x="0" y="258"/>
                        <a:pt x="0" y="200"/>
                        <a:pt x="0" y="142"/>
                      </a:cubicBezTo>
                      <a:cubicBezTo>
                        <a:pt x="0" y="134"/>
                        <a:pt x="2" y="128"/>
                        <a:pt x="8" y="123"/>
                      </a:cubicBezTo>
                      <a:cubicBezTo>
                        <a:pt x="42" y="90"/>
                        <a:pt x="76" y="58"/>
                        <a:pt x="110" y="26"/>
                      </a:cubicBezTo>
                      <a:cubicBezTo>
                        <a:pt x="117" y="19"/>
                        <a:pt x="124" y="12"/>
                        <a:pt x="132" y="5"/>
                      </a:cubicBezTo>
                      <a:cubicBezTo>
                        <a:pt x="133" y="4"/>
                        <a:pt x="134" y="3"/>
                        <a:pt x="135" y="2"/>
                      </a:cubicBezTo>
                      <a:cubicBezTo>
                        <a:pt x="138" y="0"/>
                        <a:pt x="142" y="1"/>
                        <a:pt x="143" y="5"/>
                      </a:cubicBezTo>
                      <a:cubicBezTo>
                        <a:pt x="143" y="7"/>
                        <a:pt x="143" y="9"/>
                        <a:pt x="143" y="11"/>
                      </a:cubicBezTo>
                      <a:cubicBezTo>
                        <a:pt x="143" y="62"/>
                        <a:pt x="143" y="113"/>
                        <a:pt x="143" y="1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sz="2000">
                    <a:latin typeface="+mj-lt"/>
                  </a:endParaRPr>
                </a:p>
              </p:txBody>
            </p:sp>
          </p:grpSp>
          <p:sp>
            <p:nvSpPr>
              <p:cNvPr id="91" name="TextBox 90">
                <a:extLst>
                  <a:ext uri="{FF2B5EF4-FFF2-40B4-BE49-F238E27FC236}">
                    <a16:creationId xmlns:a16="http://schemas.microsoft.com/office/drawing/2014/main" id="{4A908B35-E996-46A5-875B-288A2B0DE900}"/>
                  </a:ext>
                </a:extLst>
              </p:cNvPr>
              <p:cNvSpPr txBox="1"/>
              <p:nvPr/>
            </p:nvSpPr>
            <p:spPr>
              <a:xfrm>
                <a:off x="7665676" y="4548182"/>
                <a:ext cx="917722" cy="623955"/>
              </a:xfrm>
              <a:prstGeom prst="rect">
                <a:avLst/>
              </a:prstGeom>
              <a:noFill/>
            </p:spPr>
            <p:txBody>
              <a:bodyPr wrap="none" rtlCol="0">
                <a:prstTxWarp prst="textArchDown">
                  <a:avLst/>
                </a:prstTxWarp>
                <a:spAutoFit/>
              </a:bodyPr>
              <a:lstStyle/>
              <a:p>
                <a:pPr algn="ctr"/>
                <a:r>
                  <a:rPr lang="en-ZA" sz="1400" b="1" dirty="0">
                    <a:solidFill>
                      <a:schemeClr val="tx1">
                        <a:lumMod val="50000"/>
                      </a:schemeClr>
                    </a:solidFill>
                    <a:latin typeface="+mj-lt"/>
                  </a:rPr>
                  <a:t> Decent work and </a:t>
                </a:r>
              </a:p>
              <a:p>
                <a:pPr algn="ctr"/>
                <a:r>
                  <a:rPr lang="en-ZA" sz="1400" b="1" dirty="0">
                    <a:solidFill>
                      <a:schemeClr val="tx1">
                        <a:lumMod val="50000"/>
                      </a:schemeClr>
                    </a:solidFill>
                    <a:latin typeface="+mj-lt"/>
                  </a:rPr>
                  <a:t>economic growth </a:t>
                </a:r>
              </a:p>
            </p:txBody>
          </p:sp>
          <p:sp>
            <p:nvSpPr>
              <p:cNvPr id="92" name="Oval 5">
                <a:extLst>
                  <a:ext uri="{FF2B5EF4-FFF2-40B4-BE49-F238E27FC236}">
                    <a16:creationId xmlns:a16="http://schemas.microsoft.com/office/drawing/2014/main" id="{FC7FFB19-3085-4C5B-B0E9-8180A75DA9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697773" y="4223986"/>
                <a:ext cx="839107" cy="845441"/>
              </a:xfrm>
              <a:prstGeom prst="ellipse">
                <a:avLst/>
              </a:prstGeom>
              <a:noFill/>
              <a:ln w="53975" cap="rnd">
                <a:solidFill>
                  <a:srgbClr val="8E1838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ZA" sz="1400">
                  <a:latin typeface="+mj-lt"/>
                </a:endParaRPr>
              </a:p>
            </p:txBody>
          </p: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3C79B785-00F5-448C-BB04-117F3FFF3C62}"/>
                </a:ext>
              </a:extLst>
            </p:cNvPr>
            <p:cNvGrpSpPr/>
            <p:nvPr/>
          </p:nvGrpSpPr>
          <p:grpSpPr>
            <a:xfrm>
              <a:off x="8112835" y="3174566"/>
              <a:ext cx="901416" cy="994643"/>
              <a:chOff x="8120253" y="3070807"/>
              <a:chExt cx="901416" cy="994643"/>
            </a:xfrm>
          </p:grpSpPr>
          <p:grpSp>
            <p:nvGrpSpPr>
              <p:cNvPr id="83" name="Group 82">
                <a:extLst>
                  <a:ext uri="{FF2B5EF4-FFF2-40B4-BE49-F238E27FC236}">
                    <a16:creationId xmlns:a16="http://schemas.microsoft.com/office/drawing/2014/main" id="{CA0F15DB-A970-4684-AFD8-4DF07A601255}"/>
                  </a:ext>
                </a:extLst>
              </p:cNvPr>
              <p:cNvGrpSpPr/>
              <p:nvPr/>
            </p:nvGrpSpPr>
            <p:grpSpPr>
              <a:xfrm>
                <a:off x="8363026" y="3210905"/>
                <a:ext cx="427752" cy="565244"/>
                <a:chOff x="9372600" y="1677988"/>
                <a:chExt cx="266700" cy="352425"/>
              </a:xfrm>
            </p:grpSpPr>
            <p:sp>
              <p:nvSpPr>
                <p:cNvPr id="86" name="Freeform 15">
                  <a:extLst>
                    <a:ext uri="{FF2B5EF4-FFF2-40B4-BE49-F238E27FC236}">
                      <a16:creationId xmlns:a16="http://schemas.microsoft.com/office/drawing/2014/main" id="{5799F9BD-B74F-4E09-9E98-784191FBC1B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372600" y="1677988"/>
                  <a:ext cx="266700" cy="352425"/>
                </a:xfrm>
                <a:custGeom>
                  <a:avLst/>
                  <a:gdLst>
                    <a:gd name="T0" fmla="*/ 305 w 378"/>
                    <a:gd name="T1" fmla="*/ 42 h 499"/>
                    <a:gd name="T2" fmla="*/ 271 w 378"/>
                    <a:gd name="T3" fmla="*/ 42 h 499"/>
                    <a:gd name="T4" fmla="*/ 261 w 378"/>
                    <a:gd name="T5" fmla="*/ 42 h 499"/>
                    <a:gd name="T6" fmla="*/ 258 w 378"/>
                    <a:gd name="T7" fmla="*/ 40 h 499"/>
                    <a:gd name="T8" fmla="*/ 258 w 378"/>
                    <a:gd name="T9" fmla="*/ 3 h 499"/>
                    <a:gd name="T10" fmla="*/ 262 w 378"/>
                    <a:gd name="T11" fmla="*/ 0 h 499"/>
                    <a:gd name="T12" fmla="*/ 303 w 378"/>
                    <a:gd name="T13" fmla="*/ 0 h 499"/>
                    <a:gd name="T14" fmla="*/ 374 w 378"/>
                    <a:gd name="T15" fmla="*/ 0 h 499"/>
                    <a:gd name="T16" fmla="*/ 378 w 378"/>
                    <a:gd name="T17" fmla="*/ 4 h 499"/>
                    <a:gd name="T18" fmla="*/ 378 w 378"/>
                    <a:gd name="T19" fmla="*/ 116 h 499"/>
                    <a:gd name="T20" fmla="*/ 374 w 378"/>
                    <a:gd name="T21" fmla="*/ 120 h 499"/>
                    <a:gd name="T22" fmla="*/ 340 w 378"/>
                    <a:gd name="T23" fmla="*/ 120 h 499"/>
                    <a:gd name="T24" fmla="*/ 336 w 378"/>
                    <a:gd name="T25" fmla="*/ 116 h 499"/>
                    <a:gd name="T26" fmla="*/ 336 w 378"/>
                    <a:gd name="T27" fmla="*/ 79 h 499"/>
                    <a:gd name="T28" fmla="*/ 336 w 378"/>
                    <a:gd name="T29" fmla="*/ 76 h 499"/>
                    <a:gd name="T30" fmla="*/ 333 w 378"/>
                    <a:gd name="T31" fmla="*/ 78 h 499"/>
                    <a:gd name="T32" fmla="*/ 288 w 378"/>
                    <a:gd name="T33" fmla="*/ 124 h 499"/>
                    <a:gd name="T34" fmla="*/ 287 w 378"/>
                    <a:gd name="T35" fmla="*/ 128 h 499"/>
                    <a:gd name="T36" fmla="*/ 313 w 378"/>
                    <a:gd name="T37" fmla="*/ 207 h 499"/>
                    <a:gd name="T38" fmla="*/ 190 w 378"/>
                    <a:gd name="T39" fmla="*/ 363 h 499"/>
                    <a:gd name="T40" fmla="*/ 186 w 378"/>
                    <a:gd name="T41" fmla="*/ 368 h 499"/>
                    <a:gd name="T42" fmla="*/ 186 w 378"/>
                    <a:gd name="T43" fmla="*/ 405 h 499"/>
                    <a:gd name="T44" fmla="*/ 189 w 378"/>
                    <a:gd name="T45" fmla="*/ 409 h 499"/>
                    <a:gd name="T46" fmla="*/ 229 w 378"/>
                    <a:gd name="T47" fmla="*/ 409 h 499"/>
                    <a:gd name="T48" fmla="*/ 233 w 378"/>
                    <a:gd name="T49" fmla="*/ 413 h 499"/>
                    <a:gd name="T50" fmla="*/ 233 w 378"/>
                    <a:gd name="T51" fmla="*/ 450 h 499"/>
                    <a:gd name="T52" fmla="*/ 230 w 378"/>
                    <a:gd name="T53" fmla="*/ 453 h 499"/>
                    <a:gd name="T54" fmla="*/ 190 w 378"/>
                    <a:gd name="T55" fmla="*/ 453 h 499"/>
                    <a:gd name="T56" fmla="*/ 186 w 378"/>
                    <a:gd name="T57" fmla="*/ 457 h 499"/>
                    <a:gd name="T58" fmla="*/ 186 w 378"/>
                    <a:gd name="T59" fmla="*/ 494 h 499"/>
                    <a:gd name="T60" fmla="*/ 181 w 378"/>
                    <a:gd name="T61" fmla="*/ 499 h 499"/>
                    <a:gd name="T62" fmla="*/ 145 w 378"/>
                    <a:gd name="T63" fmla="*/ 499 h 499"/>
                    <a:gd name="T64" fmla="*/ 141 w 378"/>
                    <a:gd name="T65" fmla="*/ 495 h 499"/>
                    <a:gd name="T66" fmla="*/ 141 w 378"/>
                    <a:gd name="T67" fmla="*/ 457 h 499"/>
                    <a:gd name="T68" fmla="*/ 138 w 378"/>
                    <a:gd name="T69" fmla="*/ 453 h 499"/>
                    <a:gd name="T70" fmla="*/ 98 w 378"/>
                    <a:gd name="T71" fmla="*/ 454 h 499"/>
                    <a:gd name="T72" fmla="*/ 94 w 378"/>
                    <a:gd name="T73" fmla="*/ 449 h 499"/>
                    <a:gd name="T74" fmla="*/ 94 w 378"/>
                    <a:gd name="T75" fmla="*/ 412 h 499"/>
                    <a:gd name="T76" fmla="*/ 97 w 378"/>
                    <a:gd name="T77" fmla="*/ 409 h 499"/>
                    <a:gd name="T78" fmla="*/ 138 w 378"/>
                    <a:gd name="T79" fmla="*/ 409 h 499"/>
                    <a:gd name="T80" fmla="*/ 141 w 378"/>
                    <a:gd name="T81" fmla="*/ 406 h 499"/>
                    <a:gd name="T82" fmla="*/ 141 w 378"/>
                    <a:gd name="T83" fmla="*/ 368 h 499"/>
                    <a:gd name="T84" fmla="*/ 138 w 378"/>
                    <a:gd name="T85" fmla="*/ 364 h 499"/>
                    <a:gd name="T86" fmla="*/ 79 w 378"/>
                    <a:gd name="T87" fmla="*/ 342 h 499"/>
                    <a:gd name="T88" fmla="*/ 10 w 378"/>
                    <a:gd name="T89" fmla="*/ 235 h 499"/>
                    <a:gd name="T90" fmla="*/ 93 w 378"/>
                    <a:gd name="T91" fmla="*/ 77 h 499"/>
                    <a:gd name="T92" fmla="*/ 252 w 378"/>
                    <a:gd name="T93" fmla="*/ 91 h 499"/>
                    <a:gd name="T94" fmla="*/ 258 w 378"/>
                    <a:gd name="T95" fmla="*/ 91 h 499"/>
                    <a:gd name="T96" fmla="*/ 303 w 378"/>
                    <a:gd name="T97" fmla="*/ 45 h 499"/>
                    <a:gd name="T98" fmla="*/ 306 w 378"/>
                    <a:gd name="T99" fmla="*/ 43 h 499"/>
                    <a:gd name="T100" fmla="*/ 305 w 378"/>
                    <a:gd name="T101" fmla="*/ 42 h 4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378" h="499">
                      <a:moveTo>
                        <a:pt x="305" y="42"/>
                      </a:moveTo>
                      <a:cubicBezTo>
                        <a:pt x="294" y="42"/>
                        <a:pt x="283" y="42"/>
                        <a:pt x="271" y="42"/>
                      </a:cubicBezTo>
                      <a:cubicBezTo>
                        <a:pt x="268" y="42"/>
                        <a:pt x="264" y="42"/>
                        <a:pt x="261" y="42"/>
                      </a:cubicBezTo>
                      <a:cubicBezTo>
                        <a:pt x="259" y="42"/>
                        <a:pt x="258" y="42"/>
                        <a:pt x="258" y="40"/>
                      </a:cubicBezTo>
                      <a:cubicBezTo>
                        <a:pt x="258" y="27"/>
                        <a:pt x="258" y="15"/>
                        <a:pt x="258" y="3"/>
                      </a:cubicBezTo>
                      <a:cubicBezTo>
                        <a:pt x="258" y="1"/>
                        <a:pt x="260" y="0"/>
                        <a:pt x="262" y="0"/>
                      </a:cubicBezTo>
                      <a:cubicBezTo>
                        <a:pt x="275" y="0"/>
                        <a:pt x="289" y="0"/>
                        <a:pt x="303" y="0"/>
                      </a:cubicBezTo>
                      <a:cubicBezTo>
                        <a:pt x="327" y="0"/>
                        <a:pt x="350" y="0"/>
                        <a:pt x="374" y="0"/>
                      </a:cubicBezTo>
                      <a:cubicBezTo>
                        <a:pt x="377" y="0"/>
                        <a:pt x="378" y="1"/>
                        <a:pt x="378" y="4"/>
                      </a:cubicBezTo>
                      <a:cubicBezTo>
                        <a:pt x="378" y="41"/>
                        <a:pt x="378" y="79"/>
                        <a:pt x="378" y="116"/>
                      </a:cubicBezTo>
                      <a:cubicBezTo>
                        <a:pt x="378" y="119"/>
                        <a:pt x="377" y="120"/>
                        <a:pt x="374" y="120"/>
                      </a:cubicBezTo>
                      <a:cubicBezTo>
                        <a:pt x="363" y="120"/>
                        <a:pt x="351" y="120"/>
                        <a:pt x="340" y="120"/>
                      </a:cubicBezTo>
                      <a:cubicBezTo>
                        <a:pt x="337" y="120"/>
                        <a:pt x="336" y="119"/>
                        <a:pt x="336" y="116"/>
                      </a:cubicBezTo>
                      <a:cubicBezTo>
                        <a:pt x="336" y="104"/>
                        <a:pt x="336" y="91"/>
                        <a:pt x="336" y="79"/>
                      </a:cubicBezTo>
                      <a:cubicBezTo>
                        <a:pt x="336" y="78"/>
                        <a:pt x="336" y="77"/>
                        <a:pt x="336" y="76"/>
                      </a:cubicBezTo>
                      <a:cubicBezTo>
                        <a:pt x="335" y="77"/>
                        <a:pt x="334" y="77"/>
                        <a:pt x="333" y="78"/>
                      </a:cubicBezTo>
                      <a:cubicBezTo>
                        <a:pt x="318" y="93"/>
                        <a:pt x="303" y="108"/>
                        <a:pt x="288" y="124"/>
                      </a:cubicBezTo>
                      <a:cubicBezTo>
                        <a:pt x="286" y="125"/>
                        <a:pt x="286" y="126"/>
                        <a:pt x="287" y="128"/>
                      </a:cubicBezTo>
                      <a:cubicBezTo>
                        <a:pt x="303" y="152"/>
                        <a:pt x="312" y="178"/>
                        <a:pt x="313" y="207"/>
                      </a:cubicBezTo>
                      <a:cubicBezTo>
                        <a:pt x="316" y="282"/>
                        <a:pt x="264" y="349"/>
                        <a:pt x="190" y="363"/>
                      </a:cubicBezTo>
                      <a:cubicBezTo>
                        <a:pt x="186" y="364"/>
                        <a:pt x="186" y="365"/>
                        <a:pt x="186" y="368"/>
                      </a:cubicBezTo>
                      <a:cubicBezTo>
                        <a:pt x="186" y="380"/>
                        <a:pt x="186" y="393"/>
                        <a:pt x="186" y="405"/>
                      </a:cubicBezTo>
                      <a:cubicBezTo>
                        <a:pt x="186" y="409"/>
                        <a:pt x="187" y="409"/>
                        <a:pt x="189" y="409"/>
                      </a:cubicBezTo>
                      <a:cubicBezTo>
                        <a:pt x="203" y="409"/>
                        <a:pt x="216" y="409"/>
                        <a:pt x="229" y="409"/>
                      </a:cubicBezTo>
                      <a:cubicBezTo>
                        <a:pt x="232" y="409"/>
                        <a:pt x="233" y="410"/>
                        <a:pt x="233" y="413"/>
                      </a:cubicBezTo>
                      <a:cubicBezTo>
                        <a:pt x="233" y="425"/>
                        <a:pt x="233" y="438"/>
                        <a:pt x="233" y="450"/>
                      </a:cubicBezTo>
                      <a:cubicBezTo>
                        <a:pt x="233" y="453"/>
                        <a:pt x="232" y="454"/>
                        <a:pt x="230" y="453"/>
                      </a:cubicBezTo>
                      <a:cubicBezTo>
                        <a:pt x="216" y="453"/>
                        <a:pt x="203" y="454"/>
                        <a:pt x="190" y="453"/>
                      </a:cubicBezTo>
                      <a:cubicBezTo>
                        <a:pt x="187" y="453"/>
                        <a:pt x="186" y="454"/>
                        <a:pt x="186" y="457"/>
                      </a:cubicBezTo>
                      <a:cubicBezTo>
                        <a:pt x="186" y="469"/>
                        <a:pt x="186" y="482"/>
                        <a:pt x="186" y="494"/>
                      </a:cubicBezTo>
                      <a:cubicBezTo>
                        <a:pt x="186" y="499"/>
                        <a:pt x="186" y="499"/>
                        <a:pt x="181" y="499"/>
                      </a:cubicBezTo>
                      <a:cubicBezTo>
                        <a:pt x="169" y="499"/>
                        <a:pt x="157" y="499"/>
                        <a:pt x="145" y="499"/>
                      </a:cubicBezTo>
                      <a:cubicBezTo>
                        <a:pt x="141" y="499"/>
                        <a:pt x="141" y="499"/>
                        <a:pt x="141" y="495"/>
                      </a:cubicBezTo>
                      <a:cubicBezTo>
                        <a:pt x="141" y="482"/>
                        <a:pt x="141" y="469"/>
                        <a:pt x="141" y="457"/>
                      </a:cubicBezTo>
                      <a:cubicBezTo>
                        <a:pt x="141" y="454"/>
                        <a:pt x="140" y="453"/>
                        <a:pt x="138" y="453"/>
                      </a:cubicBezTo>
                      <a:cubicBezTo>
                        <a:pt x="124" y="454"/>
                        <a:pt x="111" y="453"/>
                        <a:pt x="98" y="454"/>
                      </a:cubicBezTo>
                      <a:cubicBezTo>
                        <a:pt x="94" y="454"/>
                        <a:pt x="94" y="453"/>
                        <a:pt x="94" y="449"/>
                      </a:cubicBezTo>
                      <a:cubicBezTo>
                        <a:pt x="94" y="437"/>
                        <a:pt x="94" y="425"/>
                        <a:pt x="94" y="412"/>
                      </a:cubicBezTo>
                      <a:cubicBezTo>
                        <a:pt x="94" y="410"/>
                        <a:pt x="94" y="409"/>
                        <a:pt x="97" y="409"/>
                      </a:cubicBezTo>
                      <a:cubicBezTo>
                        <a:pt x="111" y="409"/>
                        <a:pt x="124" y="409"/>
                        <a:pt x="138" y="409"/>
                      </a:cubicBezTo>
                      <a:cubicBezTo>
                        <a:pt x="141" y="409"/>
                        <a:pt x="141" y="408"/>
                        <a:pt x="141" y="406"/>
                      </a:cubicBezTo>
                      <a:cubicBezTo>
                        <a:pt x="141" y="393"/>
                        <a:pt x="141" y="381"/>
                        <a:pt x="141" y="368"/>
                      </a:cubicBezTo>
                      <a:cubicBezTo>
                        <a:pt x="141" y="365"/>
                        <a:pt x="140" y="364"/>
                        <a:pt x="138" y="364"/>
                      </a:cubicBezTo>
                      <a:cubicBezTo>
                        <a:pt x="117" y="361"/>
                        <a:pt x="97" y="354"/>
                        <a:pt x="79" y="342"/>
                      </a:cubicBezTo>
                      <a:cubicBezTo>
                        <a:pt x="41" y="317"/>
                        <a:pt x="17" y="281"/>
                        <a:pt x="10" y="235"/>
                      </a:cubicBezTo>
                      <a:cubicBezTo>
                        <a:pt x="0" y="170"/>
                        <a:pt x="33" y="106"/>
                        <a:pt x="93" y="77"/>
                      </a:cubicBezTo>
                      <a:cubicBezTo>
                        <a:pt x="148" y="50"/>
                        <a:pt x="201" y="56"/>
                        <a:pt x="252" y="91"/>
                      </a:cubicBezTo>
                      <a:cubicBezTo>
                        <a:pt x="254" y="93"/>
                        <a:pt x="256" y="93"/>
                        <a:pt x="258" y="91"/>
                      </a:cubicBezTo>
                      <a:cubicBezTo>
                        <a:pt x="273" y="75"/>
                        <a:pt x="288" y="60"/>
                        <a:pt x="303" y="45"/>
                      </a:cubicBezTo>
                      <a:cubicBezTo>
                        <a:pt x="304" y="44"/>
                        <a:pt x="305" y="44"/>
                        <a:pt x="306" y="43"/>
                      </a:cubicBezTo>
                      <a:cubicBezTo>
                        <a:pt x="306" y="43"/>
                        <a:pt x="305" y="42"/>
                        <a:pt x="305" y="42"/>
                      </a:cubicBezTo>
                      <a:close/>
                    </a:path>
                  </a:pathLst>
                </a:custGeom>
                <a:solidFill>
                  <a:srgbClr val="EF4128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sz="2000">
                    <a:latin typeface="+mj-lt"/>
                  </a:endParaRPr>
                </a:p>
              </p:txBody>
            </p:sp>
            <p:sp>
              <p:nvSpPr>
                <p:cNvPr id="87" name="Freeform 16">
                  <a:extLst>
                    <a:ext uri="{FF2B5EF4-FFF2-40B4-BE49-F238E27FC236}">
                      <a16:creationId xmlns:a16="http://schemas.microsoft.com/office/drawing/2014/main" id="{3A02A60C-D2AA-4005-BB75-608E4B0F688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407525" y="1749426"/>
                  <a:ext cx="158750" cy="158750"/>
                </a:xfrm>
                <a:custGeom>
                  <a:avLst/>
                  <a:gdLst>
                    <a:gd name="T0" fmla="*/ 0 w 225"/>
                    <a:gd name="T1" fmla="*/ 112 h 225"/>
                    <a:gd name="T2" fmla="*/ 113 w 225"/>
                    <a:gd name="T3" fmla="*/ 0 h 225"/>
                    <a:gd name="T4" fmla="*/ 224 w 225"/>
                    <a:gd name="T5" fmla="*/ 115 h 225"/>
                    <a:gd name="T6" fmla="*/ 112 w 225"/>
                    <a:gd name="T7" fmla="*/ 224 h 225"/>
                    <a:gd name="T8" fmla="*/ 0 w 225"/>
                    <a:gd name="T9" fmla="*/ 112 h 2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25" h="225">
                      <a:moveTo>
                        <a:pt x="0" y="112"/>
                      </a:moveTo>
                      <a:cubicBezTo>
                        <a:pt x="0" y="50"/>
                        <a:pt x="50" y="0"/>
                        <a:pt x="113" y="0"/>
                      </a:cubicBezTo>
                      <a:cubicBezTo>
                        <a:pt x="176" y="1"/>
                        <a:pt x="225" y="53"/>
                        <a:pt x="224" y="115"/>
                      </a:cubicBezTo>
                      <a:cubicBezTo>
                        <a:pt x="223" y="173"/>
                        <a:pt x="175" y="224"/>
                        <a:pt x="112" y="224"/>
                      </a:cubicBezTo>
                      <a:cubicBezTo>
                        <a:pt x="50" y="225"/>
                        <a:pt x="0" y="174"/>
                        <a:pt x="0" y="11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sz="2000" dirty="0">
                    <a:latin typeface="+mj-lt"/>
                  </a:endParaRPr>
                </a:p>
              </p:txBody>
            </p:sp>
            <p:sp>
              <p:nvSpPr>
                <p:cNvPr id="88" name="Freeform 17">
                  <a:extLst>
                    <a:ext uri="{FF2B5EF4-FFF2-40B4-BE49-F238E27FC236}">
                      <a16:creationId xmlns:a16="http://schemas.microsoft.com/office/drawing/2014/main" id="{10F35BAA-2C5F-421B-A6D6-DFF437449A5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437688" y="1795463"/>
                  <a:ext cx="98425" cy="26988"/>
                </a:xfrm>
                <a:custGeom>
                  <a:avLst/>
                  <a:gdLst>
                    <a:gd name="T0" fmla="*/ 69 w 139"/>
                    <a:gd name="T1" fmla="*/ 36 h 36"/>
                    <a:gd name="T2" fmla="*/ 4 w 139"/>
                    <a:gd name="T3" fmla="*/ 36 h 36"/>
                    <a:gd name="T4" fmla="*/ 0 w 139"/>
                    <a:gd name="T5" fmla="*/ 32 h 36"/>
                    <a:gd name="T6" fmla="*/ 0 w 139"/>
                    <a:gd name="T7" fmla="*/ 4 h 36"/>
                    <a:gd name="T8" fmla="*/ 3 w 139"/>
                    <a:gd name="T9" fmla="*/ 0 h 36"/>
                    <a:gd name="T10" fmla="*/ 136 w 139"/>
                    <a:gd name="T11" fmla="*/ 0 h 36"/>
                    <a:gd name="T12" fmla="*/ 139 w 139"/>
                    <a:gd name="T13" fmla="*/ 3 h 36"/>
                    <a:gd name="T14" fmla="*/ 139 w 139"/>
                    <a:gd name="T15" fmla="*/ 33 h 36"/>
                    <a:gd name="T16" fmla="*/ 136 w 139"/>
                    <a:gd name="T17" fmla="*/ 36 h 36"/>
                    <a:gd name="T18" fmla="*/ 69 w 139"/>
                    <a:gd name="T19" fmla="*/ 36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39" h="36">
                      <a:moveTo>
                        <a:pt x="69" y="36"/>
                      </a:moveTo>
                      <a:cubicBezTo>
                        <a:pt x="47" y="36"/>
                        <a:pt x="25" y="36"/>
                        <a:pt x="4" y="36"/>
                      </a:cubicBezTo>
                      <a:cubicBezTo>
                        <a:pt x="0" y="36"/>
                        <a:pt x="0" y="35"/>
                        <a:pt x="0" y="32"/>
                      </a:cubicBezTo>
                      <a:cubicBezTo>
                        <a:pt x="0" y="23"/>
                        <a:pt x="0" y="13"/>
                        <a:pt x="0" y="4"/>
                      </a:cubicBezTo>
                      <a:cubicBezTo>
                        <a:pt x="0" y="1"/>
                        <a:pt x="1" y="0"/>
                        <a:pt x="3" y="0"/>
                      </a:cubicBezTo>
                      <a:cubicBezTo>
                        <a:pt x="47" y="0"/>
                        <a:pt x="92" y="0"/>
                        <a:pt x="136" y="0"/>
                      </a:cubicBezTo>
                      <a:cubicBezTo>
                        <a:pt x="138" y="0"/>
                        <a:pt x="139" y="1"/>
                        <a:pt x="139" y="3"/>
                      </a:cubicBezTo>
                      <a:cubicBezTo>
                        <a:pt x="139" y="13"/>
                        <a:pt x="139" y="23"/>
                        <a:pt x="139" y="33"/>
                      </a:cubicBezTo>
                      <a:cubicBezTo>
                        <a:pt x="139" y="35"/>
                        <a:pt x="138" y="36"/>
                        <a:pt x="136" y="36"/>
                      </a:cubicBezTo>
                      <a:cubicBezTo>
                        <a:pt x="114" y="36"/>
                        <a:pt x="91" y="36"/>
                        <a:pt x="69" y="36"/>
                      </a:cubicBezTo>
                      <a:close/>
                    </a:path>
                  </a:pathLst>
                </a:custGeom>
                <a:solidFill>
                  <a:srgbClr val="EF4128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sz="2000">
                    <a:latin typeface="+mj-lt"/>
                  </a:endParaRPr>
                </a:p>
              </p:txBody>
            </p:sp>
            <p:sp>
              <p:nvSpPr>
                <p:cNvPr id="89" name="Freeform 18">
                  <a:extLst>
                    <a:ext uri="{FF2B5EF4-FFF2-40B4-BE49-F238E27FC236}">
                      <a16:creationId xmlns:a16="http://schemas.microsoft.com/office/drawing/2014/main" id="{3D0EDCB9-AF24-4FEB-8BF4-A255E04FB60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437688" y="1838326"/>
                  <a:ext cx="98425" cy="25400"/>
                </a:xfrm>
                <a:custGeom>
                  <a:avLst/>
                  <a:gdLst>
                    <a:gd name="T0" fmla="*/ 69 w 139"/>
                    <a:gd name="T1" fmla="*/ 36 h 36"/>
                    <a:gd name="T2" fmla="*/ 4 w 139"/>
                    <a:gd name="T3" fmla="*/ 36 h 36"/>
                    <a:gd name="T4" fmla="*/ 0 w 139"/>
                    <a:gd name="T5" fmla="*/ 32 h 36"/>
                    <a:gd name="T6" fmla="*/ 0 w 139"/>
                    <a:gd name="T7" fmla="*/ 3 h 36"/>
                    <a:gd name="T8" fmla="*/ 3 w 139"/>
                    <a:gd name="T9" fmla="*/ 0 h 36"/>
                    <a:gd name="T10" fmla="*/ 136 w 139"/>
                    <a:gd name="T11" fmla="*/ 0 h 36"/>
                    <a:gd name="T12" fmla="*/ 139 w 139"/>
                    <a:gd name="T13" fmla="*/ 3 h 36"/>
                    <a:gd name="T14" fmla="*/ 139 w 139"/>
                    <a:gd name="T15" fmla="*/ 33 h 36"/>
                    <a:gd name="T16" fmla="*/ 136 w 139"/>
                    <a:gd name="T17" fmla="*/ 36 h 36"/>
                    <a:gd name="T18" fmla="*/ 69 w 139"/>
                    <a:gd name="T19" fmla="*/ 36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39" h="36">
                      <a:moveTo>
                        <a:pt x="69" y="36"/>
                      </a:moveTo>
                      <a:cubicBezTo>
                        <a:pt x="47" y="36"/>
                        <a:pt x="25" y="36"/>
                        <a:pt x="4" y="36"/>
                      </a:cubicBezTo>
                      <a:cubicBezTo>
                        <a:pt x="1" y="36"/>
                        <a:pt x="0" y="35"/>
                        <a:pt x="0" y="32"/>
                      </a:cubicBezTo>
                      <a:cubicBezTo>
                        <a:pt x="0" y="23"/>
                        <a:pt x="0" y="13"/>
                        <a:pt x="0" y="3"/>
                      </a:cubicBezTo>
                      <a:cubicBezTo>
                        <a:pt x="0" y="1"/>
                        <a:pt x="1" y="0"/>
                        <a:pt x="3" y="0"/>
                      </a:cubicBezTo>
                      <a:cubicBezTo>
                        <a:pt x="47" y="0"/>
                        <a:pt x="91" y="0"/>
                        <a:pt x="136" y="0"/>
                      </a:cubicBezTo>
                      <a:cubicBezTo>
                        <a:pt x="138" y="0"/>
                        <a:pt x="139" y="1"/>
                        <a:pt x="139" y="3"/>
                      </a:cubicBezTo>
                      <a:cubicBezTo>
                        <a:pt x="139" y="13"/>
                        <a:pt x="139" y="23"/>
                        <a:pt x="139" y="33"/>
                      </a:cubicBezTo>
                      <a:cubicBezTo>
                        <a:pt x="139" y="35"/>
                        <a:pt x="138" y="36"/>
                        <a:pt x="136" y="36"/>
                      </a:cubicBezTo>
                      <a:cubicBezTo>
                        <a:pt x="114" y="36"/>
                        <a:pt x="91" y="36"/>
                        <a:pt x="69" y="36"/>
                      </a:cubicBezTo>
                      <a:close/>
                    </a:path>
                  </a:pathLst>
                </a:custGeom>
                <a:solidFill>
                  <a:srgbClr val="EF4128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sz="2000">
                    <a:latin typeface="+mj-lt"/>
                  </a:endParaRPr>
                </a:p>
              </p:txBody>
            </p:sp>
          </p:grpSp>
          <p:sp>
            <p:nvSpPr>
              <p:cNvPr id="84" name="Oval 5">
                <a:extLst>
                  <a:ext uri="{FF2B5EF4-FFF2-40B4-BE49-F238E27FC236}">
                    <a16:creationId xmlns:a16="http://schemas.microsoft.com/office/drawing/2014/main" id="{1BED9A0C-9166-4B0C-90AF-2068CDD798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57349" y="3070807"/>
                <a:ext cx="839107" cy="845441"/>
              </a:xfrm>
              <a:prstGeom prst="ellipse">
                <a:avLst/>
              </a:prstGeom>
              <a:noFill/>
              <a:ln w="53975" cap="rnd">
                <a:solidFill>
                  <a:srgbClr val="EF4128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ZA" sz="1400">
                  <a:latin typeface="+mj-lt"/>
                </a:endParaRPr>
              </a:p>
            </p:txBody>
          </p:sp>
          <p:sp>
            <p:nvSpPr>
              <p:cNvPr id="85" name="TextBox 84">
                <a:extLst>
                  <a:ext uri="{FF2B5EF4-FFF2-40B4-BE49-F238E27FC236}">
                    <a16:creationId xmlns:a16="http://schemas.microsoft.com/office/drawing/2014/main" id="{180C1387-CA15-4794-BA94-63018D7B0102}"/>
                  </a:ext>
                </a:extLst>
              </p:cNvPr>
              <p:cNvSpPr txBox="1"/>
              <p:nvPr/>
            </p:nvSpPr>
            <p:spPr>
              <a:xfrm>
                <a:off x="8120253" y="3301621"/>
                <a:ext cx="901416" cy="763829"/>
              </a:xfrm>
              <a:prstGeom prst="rect">
                <a:avLst/>
              </a:prstGeom>
              <a:noFill/>
            </p:spPr>
            <p:txBody>
              <a:bodyPr wrap="none" rtlCol="0">
                <a:prstTxWarp prst="textArchDown">
                  <a:avLst/>
                </a:prstTxWarp>
                <a:spAutoFit/>
              </a:bodyPr>
              <a:lstStyle/>
              <a:p>
                <a:pPr algn="ctr"/>
                <a:r>
                  <a:rPr lang="en-ZA" sz="1400" b="1" dirty="0">
                    <a:solidFill>
                      <a:schemeClr val="tx1">
                        <a:lumMod val="50000"/>
                      </a:schemeClr>
                    </a:solidFill>
                    <a:latin typeface="+mj-lt"/>
                  </a:rPr>
                  <a:t>  Gender equality</a:t>
                </a:r>
              </a:p>
            </p:txBody>
          </p:sp>
        </p:grpSp>
      </p:grpSp>
      <p:sp>
        <p:nvSpPr>
          <p:cNvPr id="8" name="Speech Bubble: Rectangle 7">
            <a:extLst>
              <a:ext uri="{FF2B5EF4-FFF2-40B4-BE49-F238E27FC236}">
                <a16:creationId xmlns:a16="http://schemas.microsoft.com/office/drawing/2014/main" id="{3485AF25-77B2-484B-8622-212D7F4BB756}"/>
              </a:ext>
            </a:extLst>
          </p:cNvPr>
          <p:cNvSpPr/>
          <p:nvPr/>
        </p:nvSpPr>
        <p:spPr>
          <a:xfrm>
            <a:off x="1923477" y="6335632"/>
            <a:ext cx="3411582" cy="456102"/>
          </a:xfrm>
          <a:prstGeom prst="wedgeRectCallout">
            <a:avLst>
              <a:gd name="adj1" fmla="val 17635"/>
              <a:gd name="adj2" fmla="val -151730"/>
            </a:avLst>
          </a:prstGeom>
          <a:noFill/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400" b="1" dirty="0">
                <a:solidFill>
                  <a:schemeClr val="accent5"/>
                </a:solidFill>
                <a:latin typeface="+mj-lt"/>
              </a:rPr>
              <a:t>Insurance and takaful achieve similar ends – but through different mechanisms</a:t>
            </a:r>
          </a:p>
        </p:txBody>
      </p:sp>
    </p:spTree>
    <p:extLst>
      <p:ext uri="{BB962C8B-B14F-4D97-AF65-F5344CB8AC3E}">
        <p14:creationId xmlns:p14="http://schemas.microsoft.com/office/powerpoint/2010/main" val="2530142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 descr="A picture containing food, indoor, ground&#10;&#10;Description automatically generated">
            <a:extLst>
              <a:ext uri="{FF2B5EF4-FFF2-40B4-BE49-F238E27FC236}">
                <a16:creationId xmlns:a16="http://schemas.microsoft.com/office/drawing/2014/main" id="{FEA8F35A-42E0-4F7A-8958-05F03BDF0A09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236B056-A650-4B6E-9645-B5C5D3D222F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524000" y="0"/>
            <a:ext cx="6418148" cy="685800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3726BADA-FCFD-4B8B-B599-CA634AE763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39558" y="241917"/>
            <a:ext cx="3477383" cy="954107"/>
          </a:xfrm>
        </p:spPr>
        <p:txBody>
          <a:bodyPr anchor="ctr"/>
          <a:lstStyle/>
          <a:p>
            <a:r>
              <a:rPr lang="en-ZA" sz="2800" dirty="0">
                <a:solidFill>
                  <a:schemeClr val="bg2">
                    <a:lumMod val="50000"/>
                  </a:schemeClr>
                </a:solidFill>
              </a:rPr>
              <a:t>Why microinsurance and </a:t>
            </a:r>
            <a:r>
              <a:rPr lang="en-ZA" sz="2800" dirty="0" err="1">
                <a:solidFill>
                  <a:schemeClr val="bg2">
                    <a:lumMod val="50000"/>
                  </a:schemeClr>
                </a:solidFill>
              </a:rPr>
              <a:t>microtakaful</a:t>
            </a:r>
            <a:r>
              <a:rPr lang="en-ZA" sz="2800" dirty="0">
                <a:solidFill>
                  <a:schemeClr val="bg2">
                    <a:lumMod val="50000"/>
                  </a:schemeClr>
                </a:solidFill>
              </a:rPr>
              <a:t>?</a:t>
            </a:r>
            <a:endParaRPr lang="en-US" sz="28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7" name="Graphic 64">
            <a:extLst>
              <a:ext uri="{FF2B5EF4-FFF2-40B4-BE49-F238E27FC236}">
                <a16:creationId xmlns:a16="http://schemas.microsoft.com/office/drawing/2014/main" id="{38730A01-99C8-490D-8371-41A6F51BEB55}"/>
              </a:ext>
            </a:extLst>
          </p:cNvPr>
          <p:cNvSpPr/>
          <p:nvPr/>
        </p:nvSpPr>
        <p:spPr>
          <a:xfrm rot="5400000">
            <a:off x="4472777" y="6426270"/>
            <a:ext cx="198442" cy="371279"/>
          </a:xfrm>
          <a:custGeom>
            <a:avLst/>
            <a:gdLst>
              <a:gd name="connsiteX0" fmla="*/ 39973 w 354042"/>
              <a:gd name="connsiteY0" fmla="*/ 655549 h 662401"/>
              <a:gd name="connsiteX1" fmla="*/ 23412 w 354042"/>
              <a:gd name="connsiteY1" fmla="*/ 662401 h 662401"/>
              <a:gd name="connsiteX2" fmla="*/ 6852 w 354042"/>
              <a:gd name="connsiteY2" fmla="*/ 655549 h 662401"/>
              <a:gd name="connsiteX3" fmla="*/ 6852 w 354042"/>
              <a:gd name="connsiteY3" fmla="*/ 622429 h 662401"/>
              <a:gd name="connsiteX4" fmla="*/ 298081 w 354042"/>
              <a:gd name="connsiteY4" fmla="*/ 331201 h 662401"/>
              <a:gd name="connsiteX5" fmla="*/ 6852 w 354042"/>
              <a:gd name="connsiteY5" fmla="*/ 39972 h 662401"/>
              <a:gd name="connsiteX6" fmla="*/ 6852 w 354042"/>
              <a:gd name="connsiteY6" fmla="*/ 6852 h 662401"/>
              <a:gd name="connsiteX7" fmla="*/ 39973 w 354042"/>
              <a:gd name="connsiteY7" fmla="*/ 6852 h 662401"/>
              <a:gd name="connsiteX8" fmla="*/ 347761 w 354042"/>
              <a:gd name="connsiteY8" fmla="*/ 314641 h 662401"/>
              <a:gd name="connsiteX9" fmla="*/ 347761 w 354042"/>
              <a:gd name="connsiteY9" fmla="*/ 347761 h 662401"/>
              <a:gd name="connsiteX10" fmla="*/ 39973 w 354042"/>
              <a:gd name="connsiteY10" fmla="*/ 655549 h 66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54042" h="662401">
                <a:moveTo>
                  <a:pt x="39973" y="655549"/>
                </a:moveTo>
                <a:cubicBezTo>
                  <a:pt x="35404" y="660117"/>
                  <a:pt x="29694" y="662401"/>
                  <a:pt x="23412" y="662401"/>
                </a:cubicBezTo>
                <a:cubicBezTo>
                  <a:pt x="17131" y="662401"/>
                  <a:pt x="11421" y="660117"/>
                  <a:pt x="6852" y="655549"/>
                </a:cubicBezTo>
                <a:cubicBezTo>
                  <a:pt x="-2284" y="646412"/>
                  <a:pt x="-2284" y="631565"/>
                  <a:pt x="6852" y="622429"/>
                </a:cubicBezTo>
                <a:lnTo>
                  <a:pt x="298081" y="331201"/>
                </a:lnTo>
                <a:lnTo>
                  <a:pt x="6852" y="39972"/>
                </a:lnTo>
                <a:cubicBezTo>
                  <a:pt x="-2284" y="30836"/>
                  <a:pt x="-2284" y="15989"/>
                  <a:pt x="6852" y="6852"/>
                </a:cubicBezTo>
                <a:cubicBezTo>
                  <a:pt x="15989" y="-2284"/>
                  <a:pt x="30836" y="-2284"/>
                  <a:pt x="39973" y="6852"/>
                </a:cubicBezTo>
                <a:lnTo>
                  <a:pt x="347761" y="314641"/>
                </a:lnTo>
                <a:cubicBezTo>
                  <a:pt x="356897" y="323777"/>
                  <a:pt x="356897" y="338624"/>
                  <a:pt x="347761" y="347761"/>
                </a:cubicBezTo>
                <a:lnTo>
                  <a:pt x="39973" y="655549"/>
                </a:lnTo>
                <a:close/>
              </a:path>
            </a:pathLst>
          </a:custGeom>
          <a:solidFill>
            <a:schemeClr val="accent1"/>
          </a:solidFill>
          <a:ln w="568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8D178B5-428C-4CB0-9FB8-B4ACFDCB4187}"/>
              </a:ext>
            </a:extLst>
          </p:cNvPr>
          <p:cNvGrpSpPr/>
          <p:nvPr/>
        </p:nvGrpSpPr>
        <p:grpSpPr>
          <a:xfrm>
            <a:off x="4768148" y="1667442"/>
            <a:ext cx="4159953" cy="4174558"/>
            <a:chOff x="4768148" y="1667442"/>
            <a:chExt cx="4159953" cy="2887914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DAE4032A-C0DC-4C6C-890B-347580BF3212}"/>
                </a:ext>
              </a:extLst>
            </p:cNvPr>
            <p:cNvSpPr/>
            <p:nvPr/>
          </p:nvSpPr>
          <p:spPr>
            <a:xfrm>
              <a:off x="4768148" y="1667442"/>
              <a:ext cx="252000" cy="44370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B0659080-F3BD-4B57-9E6C-AC6F1D617A2D}"/>
                </a:ext>
              </a:extLst>
            </p:cNvPr>
            <p:cNvSpPr txBox="1"/>
            <p:nvPr/>
          </p:nvSpPr>
          <p:spPr>
            <a:xfrm>
              <a:off x="5139558" y="1711123"/>
              <a:ext cx="3788542" cy="40011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n-GB" sz="2000" dirty="0">
                  <a:latin typeface="+mj-lt"/>
                </a:rPr>
                <a:t>To support financial inclusion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A5CAA326-CF6F-45DD-AB50-9EB0A389990D}"/>
                </a:ext>
              </a:extLst>
            </p:cNvPr>
            <p:cNvSpPr/>
            <p:nvPr/>
          </p:nvSpPr>
          <p:spPr>
            <a:xfrm>
              <a:off x="4768148" y="2439429"/>
              <a:ext cx="252000" cy="44370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CDC4B9FB-97DA-44EC-BF80-27617CC6E29F}"/>
                </a:ext>
              </a:extLst>
            </p:cNvPr>
            <p:cNvSpPr txBox="1"/>
            <p:nvPr/>
          </p:nvSpPr>
          <p:spPr>
            <a:xfrm>
              <a:off x="5139559" y="2329222"/>
              <a:ext cx="3788541" cy="70788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n-GB" sz="2000" dirty="0">
                  <a:latin typeface="+mj-lt"/>
                </a:rPr>
                <a:t>To address the risk mitigation needs of low-income people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1B436D30-EBA9-4F77-B4F2-D5FF004D041C}"/>
                </a:ext>
              </a:extLst>
            </p:cNvPr>
            <p:cNvSpPr/>
            <p:nvPr/>
          </p:nvSpPr>
          <p:spPr>
            <a:xfrm>
              <a:off x="4768148" y="3211416"/>
              <a:ext cx="252000" cy="443704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119B67FD-63B3-4C2B-8FCE-ADE828285D56}"/>
                </a:ext>
              </a:extLst>
            </p:cNvPr>
            <p:cNvSpPr/>
            <p:nvPr/>
          </p:nvSpPr>
          <p:spPr>
            <a:xfrm>
              <a:off x="4768148" y="3983403"/>
              <a:ext cx="252000" cy="44370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E5F5CB93-6648-4C97-BB8B-30C3F9DD4AEB}"/>
                </a:ext>
              </a:extLst>
            </p:cNvPr>
            <p:cNvSpPr txBox="1"/>
            <p:nvPr/>
          </p:nvSpPr>
          <p:spPr>
            <a:xfrm>
              <a:off x="5139559" y="3229414"/>
              <a:ext cx="3788541" cy="40011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n-GB" sz="2000" dirty="0">
                  <a:latin typeface="+mj-lt"/>
                </a:rPr>
                <a:t>Increase resilience to shocks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950158BD-C2AB-44A2-867F-D94B8F6B2F24}"/>
                </a:ext>
              </a:extLst>
            </p:cNvPr>
            <p:cNvSpPr txBox="1"/>
            <p:nvPr/>
          </p:nvSpPr>
          <p:spPr>
            <a:xfrm>
              <a:off x="5139559" y="3847470"/>
              <a:ext cx="3788542" cy="70788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n-GB" sz="2000" dirty="0">
                  <a:latin typeface="+mj-lt"/>
                </a:rPr>
                <a:t>To help alleviate poverty and achieve the SDG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130467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1F4D9644-8EDA-4249-97BD-1A3D63247236}"/>
              </a:ext>
            </a:extLst>
          </p:cNvPr>
          <p:cNvSpPr txBox="1">
            <a:spLocks/>
          </p:cNvSpPr>
          <p:nvPr/>
        </p:nvSpPr>
        <p:spPr>
          <a:xfrm>
            <a:off x="550689" y="216381"/>
            <a:ext cx="8377411" cy="49244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600" b="1" i="0" kern="1200" baseline="0">
                <a:solidFill>
                  <a:srgbClr val="4B7396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 algn="r"/>
            <a:r>
              <a:rPr lang="en-GB" sz="3200" dirty="0">
                <a:solidFill>
                  <a:schemeClr val="bg1"/>
                </a:solidFill>
              </a:rPr>
              <a:t>What does the landscape look like? (1/2)</a:t>
            </a:r>
            <a:endParaRPr lang="en-ZA" sz="3200" dirty="0">
              <a:solidFill>
                <a:schemeClr val="bg1"/>
              </a:solidFill>
            </a:endParaRPr>
          </a:p>
        </p:txBody>
      </p:sp>
      <p:sp>
        <p:nvSpPr>
          <p:cNvPr id="103" name="Title 1">
            <a:extLst>
              <a:ext uri="{FF2B5EF4-FFF2-40B4-BE49-F238E27FC236}">
                <a16:creationId xmlns:a16="http://schemas.microsoft.com/office/drawing/2014/main" id="{504ADEA2-11F8-4807-ACFA-33ACE943C84A}"/>
              </a:ext>
            </a:extLst>
          </p:cNvPr>
          <p:cNvSpPr txBox="1">
            <a:spLocks/>
          </p:cNvSpPr>
          <p:nvPr/>
        </p:nvSpPr>
        <p:spPr>
          <a:xfrm>
            <a:off x="550689" y="1002169"/>
            <a:ext cx="8090073" cy="43088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600" b="1" i="0" kern="1200" baseline="0">
                <a:solidFill>
                  <a:srgbClr val="4B7396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r>
              <a:rPr lang="en-GB" sz="2800" dirty="0"/>
              <a:t>Introduction to the Landscape Study</a:t>
            </a:r>
            <a:endParaRPr lang="en-ZA" sz="2800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D154379-A3DD-4117-8814-41C6F7A802A8}"/>
              </a:ext>
            </a:extLst>
          </p:cNvPr>
          <p:cNvGrpSpPr/>
          <p:nvPr/>
        </p:nvGrpSpPr>
        <p:grpSpPr>
          <a:xfrm>
            <a:off x="224442" y="1665288"/>
            <a:ext cx="8703658" cy="4575830"/>
            <a:chOff x="971550" y="2312988"/>
            <a:chExt cx="7669213" cy="3928130"/>
          </a:xfrm>
        </p:grpSpPr>
        <p:sp>
          <p:nvSpPr>
            <p:cNvPr id="104" name="Rectangle 103">
              <a:extLst>
                <a:ext uri="{FF2B5EF4-FFF2-40B4-BE49-F238E27FC236}">
                  <a16:creationId xmlns:a16="http://schemas.microsoft.com/office/drawing/2014/main" id="{73D6911D-F02B-40DE-A340-4B1B72B7A3BA}"/>
                </a:ext>
              </a:extLst>
            </p:cNvPr>
            <p:cNvSpPr/>
            <p:nvPr/>
          </p:nvSpPr>
          <p:spPr>
            <a:xfrm>
              <a:off x="4392613" y="2312988"/>
              <a:ext cx="4248150" cy="3928130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36000" rtlCol="0" anchor="t" anchorCtr="0"/>
            <a:lstStyle/>
            <a:p>
              <a:pPr marL="342900" lvl="0" indent="-342900">
                <a:spcBef>
                  <a:spcPts val="600"/>
                </a:spcBef>
                <a:spcAft>
                  <a:spcPts val="600"/>
                </a:spcAft>
                <a:buFont typeface="Wingdings" panose="05000000000000000000" pitchFamily="2" charset="2"/>
                <a:buChar char="ü"/>
              </a:pPr>
              <a:r>
                <a:rPr lang="en-GB" b="1" u="sng" dirty="0">
                  <a:solidFill>
                    <a:schemeClr val="accent4"/>
                  </a:solidFill>
                  <a:effectLst/>
                  <a:latin typeface="+mj-lt"/>
                  <a:ea typeface="Calibri" panose="020F0502020204030204" pitchFamily="34" charset="0"/>
                  <a:cs typeface="Calibri Light" panose="020F0302020204030204" pitchFamily="34" charset="0"/>
                </a:rPr>
                <a:t>Track the evolution of microinsurance</a:t>
              </a:r>
            </a:p>
            <a:p>
              <a:pPr marL="742950" lvl="1" indent="-285750">
                <a:spcAft>
                  <a:spcPts val="0"/>
                </a:spcAft>
                <a:buFont typeface="Calibri" panose="020F0502020204030204" pitchFamily="34" charset="0"/>
                <a:buChar char="–"/>
              </a:pPr>
              <a:r>
                <a:rPr lang="en-GB" sz="1600" dirty="0">
                  <a:solidFill>
                    <a:schemeClr val="accent4"/>
                  </a:solidFill>
                  <a:effectLst/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Number of lives covered</a:t>
              </a:r>
            </a:p>
            <a:p>
              <a:pPr marL="742950" lvl="1" indent="-285750">
                <a:spcAft>
                  <a:spcPts val="0"/>
                </a:spcAft>
                <a:buFont typeface="Calibri" panose="020F0502020204030204" pitchFamily="34" charset="0"/>
                <a:buChar char="–"/>
              </a:pPr>
              <a:r>
                <a:rPr lang="en-GB" sz="1600" dirty="0">
                  <a:solidFill>
                    <a:schemeClr val="accent4"/>
                  </a:solidFill>
                  <a:effectLst/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Premiums</a:t>
              </a:r>
            </a:p>
            <a:p>
              <a:pPr marL="742950" lvl="1" indent="-285750">
                <a:spcAft>
                  <a:spcPts val="0"/>
                </a:spcAft>
                <a:buFont typeface="Calibri" panose="020F0502020204030204" pitchFamily="34" charset="0"/>
                <a:buChar char="–"/>
              </a:pPr>
              <a:r>
                <a:rPr lang="en-GB" sz="1600" dirty="0">
                  <a:solidFill>
                    <a:schemeClr val="accent4"/>
                  </a:solidFill>
                  <a:effectLst/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Types of risk covered</a:t>
              </a:r>
            </a:p>
            <a:p>
              <a:pPr marL="742950" lvl="1" indent="-285750">
                <a:spcAft>
                  <a:spcPts val="0"/>
                </a:spcAft>
                <a:buFont typeface="Calibri" panose="020F0502020204030204" pitchFamily="34" charset="0"/>
                <a:buChar char="–"/>
              </a:pPr>
              <a:r>
                <a:rPr lang="en-GB" sz="1600" dirty="0">
                  <a:solidFill>
                    <a:schemeClr val="accent4"/>
                  </a:solidFill>
                  <a:effectLst/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Product quality (KPIs)</a:t>
              </a:r>
            </a:p>
            <a:p>
              <a:pPr marL="342900" indent="-342900">
                <a:spcBef>
                  <a:spcPts val="1200"/>
                </a:spcBef>
                <a:spcAft>
                  <a:spcPts val="600"/>
                </a:spcAft>
                <a:buFont typeface="Wingdings" panose="05000000000000000000" pitchFamily="2" charset="2"/>
                <a:buChar char="ü"/>
              </a:pPr>
              <a:r>
                <a:rPr lang="en-GB" b="1" u="sng" dirty="0">
                  <a:solidFill>
                    <a:schemeClr val="accent4"/>
                  </a:solidFill>
                  <a:latin typeface="+mj-lt"/>
                  <a:cs typeface="Calibri Light" panose="020F0302020204030204" pitchFamily="34" charset="0"/>
                </a:rPr>
                <a:t>Drive market development</a:t>
              </a:r>
            </a:p>
            <a:p>
              <a:pPr marL="742950" lvl="1" indent="-285750">
                <a:spcAft>
                  <a:spcPts val="0"/>
                </a:spcAft>
                <a:buFont typeface="Calibri" panose="020F0502020204030204" pitchFamily="34" charset="0"/>
                <a:buChar char="–"/>
              </a:pPr>
              <a:r>
                <a:rPr lang="en-GB" sz="1600" dirty="0">
                  <a:solidFill>
                    <a:schemeClr val="accent4"/>
                  </a:solidFill>
                  <a:effectLst/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Identify potential</a:t>
              </a:r>
            </a:p>
            <a:p>
              <a:pPr marL="742950" lvl="1" indent="-285750">
                <a:spcAft>
                  <a:spcPts val="0"/>
                </a:spcAft>
                <a:buFont typeface="Calibri" panose="020F0502020204030204" pitchFamily="34" charset="0"/>
                <a:buChar char="–"/>
              </a:pPr>
              <a:r>
                <a:rPr lang="en-GB" sz="1600" dirty="0">
                  <a:solidFill>
                    <a:schemeClr val="accent4"/>
                  </a:solidFill>
                  <a:effectLst/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Identify barriers</a:t>
              </a:r>
            </a:p>
            <a:p>
              <a:pPr marL="742950" lvl="1" indent="-285750">
                <a:spcAft>
                  <a:spcPts val="0"/>
                </a:spcAft>
                <a:buFont typeface="Calibri" panose="020F0502020204030204" pitchFamily="34" charset="0"/>
                <a:buChar char="–"/>
              </a:pPr>
              <a:r>
                <a:rPr lang="en-GB" sz="1600" dirty="0">
                  <a:solidFill>
                    <a:schemeClr val="accent4"/>
                  </a:solidFill>
                  <a:effectLst/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Monitoring &amp; evaluation benchmark</a:t>
              </a:r>
            </a:p>
            <a:p>
              <a:pPr marL="342900" indent="-342900">
                <a:spcBef>
                  <a:spcPts val="1200"/>
                </a:spcBef>
                <a:spcAft>
                  <a:spcPts val="600"/>
                </a:spcAft>
                <a:buFont typeface="Wingdings" panose="05000000000000000000" pitchFamily="2" charset="2"/>
                <a:buChar char="ü"/>
              </a:pPr>
              <a:r>
                <a:rPr lang="en-GB" b="1" u="sng" dirty="0">
                  <a:solidFill>
                    <a:schemeClr val="accent4"/>
                  </a:solidFill>
                  <a:latin typeface="+mj-lt"/>
                  <a:cs typeface="Calibri Light" panose="020F0302020204030204" pitchFamily="34" charset="0"/>
                </a:rPr>
                <a:t>Encourage routine collection of data</a:t>
              </a:r>
            </a:p>
            <a:p>
              <a:pPr marL="742950" lvl="1" indent="-285750">
                <a:spcAft>
                  <a:spcPts val="0"/>
                </a:spcAft>
                <a:buFont typeface="Calibri" panose="020F0502020204030204" pitchFamily="34" charset="0"/>
                <a:buChar char="–"/>
              </a:pPr>
              <a:r>
                <a:rPr lang="en-GB" sz="1600" dirty="0">
                  <a:solidFill>
                    <a:schemeClr val="accent4"/>
                  </a:solidFill>
                  <a:effectLst/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Customer-centric (lives)</a:t>
              </a:r>
            </a:p>
            <a:p>
              <a:pPr marL="742950" lvl="1" indent="-285750">
                <a:spcAft>
                  <a:spcPts val="0"/>
                </a:spcAft>
                <a:buFont typeface="Calibri" panose="020F0502020204030204" pitchFamily="34" charset="0"/>
                <a:buChar char="–"/>
              </a:pPr>
              <a:r>
                <a:rPr lang="en-GB" sz="1600" dirty="0">
                  <a:solidFill>
                    <a:schemeClr val="accent4"/>
                  </a:solidFill>
                  <a:effectLst/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Disaggregated by business line</a:t>
              </a:r>
            </a:p>
            <a:p>
              <a:pPr marL="742950" lvl="1" indent="-285750">
                <a:spcAft>
                  <a:spcPts val="0"/>
                </a:spcAft>
                <a:buFont typeface="Calibri" panose="020F0502020204030204" pitchFamily="34" charset="0"/>
                <a:buChar char="–"/>
              </a:pPr>
              <a:r>
                <a:rPr lang="en-GB" sz="1600" dirty="0">
                  <a:solidFill>
                    <a:schemeClr val="accent4"/>
                  </a:solidFill>
                  <a:effectLst/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Segmented by income group</a:t>
              </a:r>
            </a:p>
          </p:txBody>
        </p:sp>
        <p:pic>
          <p:nvPicPr>
            <p:cNvPr id="105" name="Picture 104">
              <a:extLst>
                <a:ext uri="{FF2B5EF4-FFF2-40B4-BE49-F238E27FC236}">
                  <a16:creationId xmlns:a16="http://schemas.microsoft.com/office/drawing/2014/main" id="{69C8E7C3-D66E-4567-AE51-6980BC75CC9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2249"/>
            <a:stretch/>
          </p:blipFill>
          <p:spPr>
            <a:xfrm>
              <a:off x="971550" y="2312988"/>
              <a:ext cx="2741421" cy="3928130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</p:spTree>
    <p:extLst>
      <p:ext uri="{BB962C8B-B14F-4D97-AF65-F5344CB8AC3E}">
        <p14:creationId xmlns:p14="http://schemas.microsoft.com/office/powerpoint/2010/main" val="13048483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E9DC1DA-A7C6-4F29-AC1A-0078422287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689" y="1520825"/>
            <a:ext cx="8377411" cy="615553"/>
          </a:xfrm>
        </p:spPr>
        <p:txBody>
          <a:bodyPr anchor="t"/>
          <a:lstStyle/>
          <a:p>
            <a:r>
              <a:rPr lang="en-GB" sz="2000" dirty="0"/>
              <a:t>In 2020 we carried out primary research in 30 countries. The report is available in English, French, Spanish, and Arabic</a:t>
            </a:r>
            <a:endParaRPr lang="en-ZA" sz="2000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F4D9644-8EDA-4249-97BD-1A3D63247236}"/>
              </a:ext>
            </a:extLst>
          </p:cNvPr>
          <p:cNvSpPr txBox="1">
            <a:spLocks/>
          </p:cNvSpPr>
          <p:nvPr/>
        </p:nvSpPr>
        <p:spPr>
          <a:xfrm>
            <a:off x="550689" y="1002169"/>
            <a:ext cx="8090073" cy="43088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600" b="1" i="0" kern="1200" baseline="0">
                <a:solidFill>
                  <a:srgbClr val="4B7396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r>
              <a:rPr lang="en-GB" sz="2800" dirty="0"/>
              <a:t>Landscape Study coverage in 2020</a:t>
            </a:r>
            <a:endParaRPr lang="en-ZA" sz="2800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4F7959A-5F62-405A-A755-D5D4FAFD2688}"/>
              </a:ext>
            </a:extLst>
          </p:cNvPr>
          <p:cNvGrpSpPr/>
          <p:nvPr/>
        </p:nvGrpSpPr>
        <p:grpSpPr>
          <a:xfrm>
            <a:off x="658812" y="2312988"/>
            <a:ext cx="7826376" cy="4064000"/>
            <a:chOff x="658812" y="1888613"/>
            <a:chExt cx="7826376" cy="4064000"/>
          </a:xfrm>
        </p:grpSpPr>
        <mc:AlternateContent xmlns:mc="http://schemas.openxmlformats.org/markup-compatibility/2006" xmlns:cx4="http://schemas.microsoft.com/office/drawing/2016/5/10/chartex">
          <mc:Choice Requires="cx4">
            <p:graphicFrame>
              <p:nvGraphicFramePr>
                <p:cNvPr id="9" name="Chart 8">
                  <a:extLst>
                    <a:ext uri="{FF2B5EF4-FFF2-40B4-BE49-F238E27FC236}">
                      <a16:creationId xmlns:a16="http://schemas.microsoft.com/office/drawing/2014/main" id="{AFE81A94-F443-4BE2-ADC0-DBEFF279B5C6}"/>
                    </a:ext>
                  </a:extLst>
                </p:cNvPr>
                <p:cNvGraphicFramePr/>
                <p:nvPr/>
              </p:nvGraphicFramePr>
              <p:xfrm>
                <a:off x="2389188" y="1888613"/>
                <a:ext cx="6096000" cy="4064000"/>
              </p:xfrm>
              <a:graphic>
                <a:graphicData uri="http://schemas.microsoft.com/office/drawing/2014/chartex">
                  <cx:chart xmlns:cx="http://schemas.microsoft.com/office/drawing/2014/chartex" xmlns:r="http://schemas.openxmlformats.org/officeDocument/2006/relationships" r:id="rId3"/>
                </a:graphicData>
              </a:graphic>
            </p:graphicFrame>
          </mc:Choice>
          <mc:Fallback xmlns="">
            <p:pic>
              <p:nvPicPr>
                <p:cNvPr id="9" name="Chart 8">
                  <a:extLst>
                    <a:ext uri="{FF2B5EF4-FFF2-40B4-BE49-F238E27FC236}">
                      <a16:creationId xmlns:a16="http://schemas.microsoft.com/office/drawing/2014/main" id="{AFE81A94-F443-4BE2-ADC0-DBEFF279B5C6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2389188" y="2312988"/>
                  <a:ext cx="6096000" cy="4064000"/>
                </a:xfrm>
                <a:prstGeom prst="rect">
                  <a:avLst/>
                </a:prstGeom>
              </p:spPr>
            </p:pic>
          </mc:Fallback>
        </mc:AlternateContent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129448A-9A2E-4262-888A-616740F249E0}"/>
                </a:ext>
              </a:extLst>
            </p:cNvPr>
            <p:cNvSpPr/>
            <p:nvPr/>
          </p:nvSpPr>
          <p:spPr>
            <a:xfrm>
              <a:off x="658812" y="2387563"/>
              <a:ext cx="2473965" cy="3441480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numCol="2" rtlCol="0" anchor="ctr"/>
            <a:lstStyle/>
            <a:p>
              <a:r>
                <a:rPr lang="en-GB" sz="1400" dirty="0">
                  <a:solidFill>
                    <a:schemeClr val="accent6">
                      <a:lumMod val="50000"/>
                    </a:schemeClr>
                  </a:solidFill>
                  <a:latin typeface="+mj-lt"/>
                </a:rPr>
                <a:t>Argentina</a:t>
              </a:r>
            </a:p>
            <a:p>
              <a:r>
                <a:rPr lang="en-GB" sz="1400" dirty="0">
                  <a:solidFill>
                    <a:schemeClr val="accent6">
                      <a:lumMod val="50000"/>
                    </a:schemeClr>
                  </a:solidFill>
                  <a:latin typeface="+mj-lt"/>
                </a:rPr>
                <a:t>Bangladesh</a:t>
              </a:r>
            </a:p>
            <a:p>
              <a:r>
                <a:rPr lang="en-GB" sz="1400" dirty="0">
                  <a:solidFill>
                    <a:schemeClr val="accent6">
                      <a:lumMod val="50000"/>
                    </a:schemeClr>
                  </a:solidFill>
                  <a:latin typeface="+mj-lt"/>
                </a:rPr>
                <a:t>Bolivia</a:t>
              </a:r>
            </a:p>
            <a:p>
              <a:r>
                <a:rPr lang="en-GB" sz="1400" dirty="0">
                  <a:solidFill>
                    <a:schemeClr val="accent6">
                      <a:lumMod val="50000"/>
                    </a:schemeClr>
                  </a:solidFill>
                  <a:latin typeface="+mj-lt"/>
                </a:rPr>
                <a:t>Brazil</a:t>
              </a:r>
            </a:p>
            <a:p>
              <a:r>
                <a:rPr lang="en-GB" sz="1400" dirty="0">
                  <a:solidFill>
                    <a:schemeClr val="accent6">
                      <a:lumMod val="50000"/>
                    </a:schemeClr>
                  </a:solidFill>
                  <a:latin typeface="+mj-lt"/>
                </a:rPr>
                <a:t>Cambodia</a:t>
              </a:r>
            </a:p>
            <a:p>
              <a:r>
                <a:rPr lang="en-GB" sz="1400" dirty="0">
                  <a:solidFill>
                    <a:schemeClr val="accent6">
                      <a:lumMod val="50000"/>
                    </a:schemeClr>
                  </a:solidFill>
                  <a:latin typeface="+mj-lt"/>
                </a:rPr>
                <a:t>Chile</a:t>
              </a:r>
            </a:p>
            <a:p>
              <a:r>
                <a:rPr lang="en-GB" sz="1400" dirty="0">
                  <a:solidFill>
                    <a:schemeClr val="accent6">
                      <a:lumMod val="50000"/>
                    </a:schemeClr>
                  </a:solidFill>
                  <a:latin typeface="+mj-lt"/>
                </a:rPr>
                <a:t>Colombia</a:t>
              </a:r>
            </a:p>
            <a:p>
              <a:r>
                <a:rPr lang="en-GB" sz="1400" dirty="0">
                  <a:solidFill>
                    <a:schemeClr val="accent6">
                      <a:lumMod val="50000"/>
                    </a:schemeClr>
                  </a:solidFill>
                  <a:latin typeface="+mj-lt"/>
                </a:rPr>
                <a:t>Côte d'Ivoire</a:t>
              </a:r>
            </a:p>
            <a:p>
              <a:r>
                <a:rPr lang="en-GB" sz="1400" dirty="0">
                  <a:solidFill>
                    <a:schemeClr val="accent6">
                      <a:lumMod val="50000"/>
                    </a:schemeClr>
                  </a:solidFill>
                  <a:latin typeface="+mj-lt"/>
                </a:rPr>
                <a:t>Egypt</a:t>
              </a:r>
            </a:p>
            <a:p>
              <a:r>
                <a:rPr lang="en-GB" sz="1400" dirty="0">
                  <a:solidFill>
                    <a:schemeClr val="accent6">
                      <a:lumMod val="50000"/>
                    </a:schemeClr>
                  </a:solidFill>
                  <a:latin typeface="+mj-lt"/>
                </a:rPr>
                <a:t>Ghana</a:t>
              </a:r>
            </a:p>
            <a:p>
              <a:r>
                <a:rPr lang="en-GB" sz="1400" dirty="0">
                  <a:solidFill>
                    <a:schemeClr val="accent6">
                      <a:lumMod val="50000"/>
                    </a:schemeClr>
                  </a:solidFill>
                  <a:latin typeface="+mj-lt"/>
                </a:rPr>
                <a:t>India</a:t>
              </a:r>
            </a:p>
            <a:p>
              <a:r>
                <a:rPr lang="en-GB" sz="1400" dirty="0">
                  <a:solidFill>
                    <a:schemeClr val="accent6">
                      <a:lumMod val="50000"/>
                    </a:schemeClr>
                  </a:solidFill>
                  <a:latin typeface="+mj-lt"/>
                </a:rPr>
                <a:t>Indonesia</a:t>
              </a:r>
            </a:p>
            <a:p>
              <a:r>
                <a:rPr lang="en-GB" sz="1400" dirty="0">
                  <a:solidFill>
                    <a:schemeClr val="accent6">
                      <a:lumMod val="50000"/>
                    </a:schemeClr>
                  </a:solidFill>
                  <a:latin typeface="+mj-lt"/>
                </a:rPr>
                <a:t>Jamaica</a:t>
              </a:r>
            </a:p>
            <a:p>
              <a:r>
                <a:rPr lang="en-GB" sz="1400" dirty="0">
                  <a:solidFill>
                    <a:schemeClr val="accent6">
                      <a:lumMod val="50000"/>
                    </a:schemeClr>
                  </a:solidFill>
                  <a:latin typeface="+mj-lt"/>
                </a:rPr>
                <a:t>Kenya</a:t>
              </a:r>
            </a:p>
            <a:p>
              <a:r>
                <a:rPr lang="en-GB" sz="1400" dirty="0">
                  <a:solidFill>
                    <a:schemeClr val="accent6">
                      <a:lumMod val="50000"/>
                    </a:schemeClr>
                  </a:solidFill>
                  <a:latin typeface="+mj-lt"/>
                </a:rPr>
                <a:t>Mexico</a:t>
              </a:r>
            </a:p>
            <a:p>
              <a:r>
                <a:rPr lang="en-GB" sz="1400" dirty="0">
                  <a:solidFill>
                    <a:schemeClr val="accent6">
                      <a:lumMod val="50000"/>
                    </a:schemeClr>
                  </a:solidFill>
                  <a:latin typeface="+mj-lt"/>
                </a:rPr>
                <a:t>Morocco</a:t>
              </a:r>
            </a:p>
            <a:p>
              <a:r>
                <a:rPr lang="en-GB" sz="1400" dirty="0">
                  <a:solidFill>
                    <a:schemeClr val="accent6">
                      <a:lumMod val="50000"/>
                    </a:schemeClr>
                  </a:solidFill>
                  <a:latin typeface="+mj-lt"/>
                </a:rPr>
                <a:t>Nepal</a:t>
              </a:r>
            </a:p>
            <a:p>
              <a:r>
                <a:rPr lang="en-GB" sz="1400" dirty="0">
                  <a:solidFill>
                    <a:schemeClr val="accent6">
                      <a:lumMod val="50000"/>
                    </a:schemeClr>
                  </a:solidFill>
                  <a:latin typeface="+mj-lt"/>
                </a:rPr>
                <a:t>Nigeria</a:t>
              </a:r>
            </a:p>
            <a:p>
              <a:r>
                <a:rPr lang="en-GB" sz="1400" dirty="0">
                  <a:solidFill>
                    <a:schemeClr val="accent6">
                      <a:lumMod val="50000"/>
                    </a:schemeClr>
                  </a:solidFill>
                  <a:latin typeface="+mj-lt"/>
                </a:rPr>
                <a:t>Pakistan</a:t>
              </a:r>
            </a:p>
            <a:p>
              <a:r>
                <a:rPr lang="en-GB" sz="1400" dirty="0">
                  <a:solidFill>
                    <a:schemeClr val="accent6">
                      <a:lumMod val="50000"/>
                    </a:schemeClr>
                  </a:solidFill>
                  <a:latin typeface="+mj-lt"/>
                </a:rPr>
                <a:t>Peru</a:t>
              </a:r>
            </a:p>
            <a:p>
              <a:r>
                <a:rPr lang="en-GB" sz="1400" dirty="0">
                  <a:solidFill>
                    <a:schemeClr val="accent6">
                      <a:lumMod val="50000"/>
                    </a:schemeClr>
                  </a:solidFill>
                  <a:latin typeface="+mj-lt"/>
                </a:rPr>
                <a:t>Philippines</a:t>
              </a:r>
            </a:p>
            <a:p>
              <a:r>
                <a:rPr lang="en-GB" sz="1400" dirty="0">
                  <a:solidFill>
                    <a:schemeClr val="accent6">
                      <a:lumMod val="50000"/>
                    </a:schemeClr>
                  </a:solidFill>
                  <a:latin typeface="+mj-lt"/>
                </a:rPr>
                <a:t>Rwanda</a:t>
              </a:r>
            </a:p>
            <a:p>
              <a:r>
                <a:rPr lang="en-GB" sz="1400" dirty="0">
                  <a:solidFill>
                    <a:schemeClr val="accent6">
                      <a:lumMod val="50000"/>
                    </a:schemeClr>
                  </a:solidFill>
                  <a:latin typeface="+mj-lt"/>
                </a:rPr>
                <a:t>Senegal</a:t>
              </a:r>
            </a:p>
            <a:p>
              <a:r>
                <a:rPr lang="en-GB" sz="1400" dirty="0">
                  <a:solidFill>
                    <a:schemeClr val="accent6">
                      <a:lumMod val="50000"/>
                    </a:schemeClr>
                  </a:solidFill>
                  <a:latin typeface="+mj-lt"/>
                </a:rPr>
                <a:t>South Africa</a:t>
              </a:r>
            </a:p>
            <a:p>
              <a:r>
                <a:rPr lang="en-GB" sz="1400" dirty="0">
                  <a:solidFill>
                    <a:schemeClr val="accent6">
                      <a:lumMod val="50000"/>
                    </a:schemeClr>
                  </a:solidFill>
                  <a:latin typeface="+mj-lt"/>
                </a:rPr>
                <a:t>Sri Lanka</a:t>
              </a:r>
            </a:p>
            <a:p>
              <a:r>
                <a:rPr lang="en-GB" sz="1400" dirty="0">
                  <a:solidFill>
                    <a:schemeClr val="accent6">
                      <a:lumMod val="50000"/>
                    </a:schemeClr>
                  </a:solidFill>
                  <a:latin typeface="+mj-lt"/>
                </a:rPr>
                <a:t>Tanzania</a:t>
              </a:r>
            </a:p>
            <a:p>
              <a:r>
                <a:rPr lang="en-GB" sz="1400" dirty="0">
                  <a:solidFill>
                    <a:schemeClr val="accent6">
                      <a:lumMod val="50000"/>
                    </a:schemeClr>
                  </a:solidFill>
                  <a:latin typeface="+mj-lt"/>
                </a:rPr>
                <a:t>Thailand</a:t>
              </a:r>
            </a:p>
            <a:p>
              <a:r>
                <a:rPr lang="en-GB" sz="1400" dirty="0">
                  <a:solidFill>
                    <a:schemeClr val="accent6">
                      <a:lumMod val="50000"/>
                    </a:schemeClr>
                  </a:solidFill>
                  <a:latin typeface="+mj-lt"/>
                </a:rPr>
                <a:t>Vietnam</a:t>
              </a:r>
            </a:p>
            <a:p>
              <a:r>
                <a:rPr lang="en-GB" sz="1400" dirty="0">
                  <a:solidFill>
                    <a:schemeClr val="accent6">
                      <a:lumMod val="50000"/>
                    </a:schemeClr>
                  </a:solidFill>
                  <a:latin typeface="+mj-lt"/>
                </a:rPr>
                <a:t>Zambia</a:t>
              </a:r>
            </a:p>
            <a:p>
              <a:r>
                <a:rPr lang="en-GB" sz="1400" dirty="0">
                  <a:solidFill>
                    <a:schemeClr val="accent6">
                      <a:lumMod val="50000"/>
                    </a:schemeClr>
                  </a:solidFill>
                  <a:latin typeface="+mj-lt"/>
                </a:rPr>
                <a:t>Zimbabwe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8138F8D1-1199-4BFC-B08F-A6213782497A}"/>
                </a:ext>
              </a:extLst>
            </p:cNvPr>
            <p:cNvSpPr/>
            <p:nvPr/>
          </p:nvSpPr>
          <p:spPr>
            <a:xfrm>
              <a:off x="658812" y="2118641"/>
              <a:ext cx="2880851" cy="288000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numCol="1" rtlCol="0" anchor="ctr"/>
            <a:lstStyle/>
            <a:p>
              <a:r>
                <a:rPr lang="en-GB" sz="1600" b="1" dirty="0">
                  <a:solidFill>
                    <a:schemeClr val="accent6">
                      <a:lumMod val="50000"/>
                    </a:schemeClr>
                  </a:solidFill>
                  <a:latin typeface="+mj-lt"/>
                  <a:cs typeface="Calibri Light" panose="020F0302020204030204" pitchFamily="34" charset="0"/>
                </a:rPr>
                <a:t>2020 LANDSCAPE COUNTRIES</a:t>
              </a:r>
            </a:p>
          </p:txBody>
        </p:sp>
      </p:grpSp>
      <p:sp>
        <p:nvSpPr>
          <p:cNvPr id="10" name="Title 1">
            <a:extLst>
              <a:ext uri="{FF2B5EF4-FFF2-40B4-BE49-F238E27FC236}">
                <a16:creationId xmlns:a16="http://schemas.microsoft.com/office/drawing/2014/main" id="{CE07A7A3-2F83-4B06-9FDC-43DF8EC5EA96}"/>
              </a:ext>
            </a:extLst>
          </p:cNvPr>
          <p:cNvSpPr txBox="1">
            <a:spLocks/>
          </p:cNvSpPr>
          <p:nvPr/>
        </p:nvSpPr>
        <p:spPr>
          <a:xfrm>
            <a:off x="550689" y="216381"/>
            <a:ext cx="8377411" cy="49244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600" b="1" i="0" kern="1200" baseline="0">
                <a:solidFill>
                  <a:srgbClr val="4B7396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 algn="r"/>
            <a:r>
              <a:rPr lang="en-GB" sz="3200" dirty="0">
                <a:solidFill>
                  <a:schemeClr val="bg1"/>
                </a:solidFill>
              </a:rPr>
              <a:t>What does the landscape look like? (2/2)</a:t>
            </a:r>
            <a:endParaRPr lang="en-ZA" sz="3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05508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A0C95D5C-489E-4D51-92FD-34AC217F857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0" y="6278843"/>
            <a:ext cx="8928100" cy="579157"/>
          </a:xfrm>
          <a:prstGeom prst="rect">
            <a:avLst/>
          </a:prstGeom>
          <a:noFill/>
          <a:effectLst/>
        </p:spPr>
        <p:txBody>
          <a:bodyPr vert="horz" wrap="square" lIns="45719" rIns="45719" rtlCol="0" anchor="b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ZA" sz="1000" dirty="0">
                <a:latin typeface="Calibri"/>
                <a:cs typeface="Calibri" pitchFamily="34" charset="0"/>
              </a:rPr>
              <a:t>Note: xxx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ZA" sz="1000" dirty="0">
                <a:latin typeface="Calibri"/>
                <a:cs typeface="Calibri" pitchFamily="34" charset="0"/>
              </a:rPr>
              <a:t>Source: xxx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1E37465-7381-4AA9-A2F4-99055F7859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ZA"/>
          </a:p>
        </p:txBody>
      </p:sp>
      <p:pic>
        <p:nvPicPr>
          <p:cNvPr id="5" name="Picture Placeholder 4" descr="A picture containing person, outdoor, clothing, holding&#10;&#10;Description automatically generated">
            <a:extLst>
              <a:ext uri="{FF2B5EF4-FFF2-40B4-BE49-F238E27FC236}">
                <a16:creationId xmlns:a16="http://schemas.microsoft.com/office/drawing/2014/main" id="{70DF5DF0-B647-4EA4-B305-0734DC08CAC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9143999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B8142B2C-7DF5-41DB-A9A8-B4C070B2F62E}"/>
              </a:ext>
            </a:extLst>
          </p:cNvPr>
          <p:cNvSpPr/>
          <p:nvPr/>
        </p:nvSpPr>
        <p:spPr>
          <a:xfrm>
            <a:off x="0" y="0"/>
            <a:ext cx="4274289" cy="6858000"/>
          </a:xfrm>
          <a:prstGeom prst="rect">
            <a:avLst/>
          </a:prstGeom>
          <a:solidFill>
            <a:schemeClr val="accent2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F4D9644-8EDA-4249-97BD-1A3D63247236}"/>
              </a:ext>
            </a:extLst>
          </p:cNvPr>
          <p:cNvSpPr txBox="1">
            <a:spLocks/>
          </p:cNvSpPr>
          <p:nvPr/>
        </p:nvSpPr>
        <p:spPr>
          <a:xfrm>
            <a:off x="550689" y="216381"/>
            <a:ext cx="8377411" cy="49244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600" b="1" i="0" kern="1200" baseline="0">
                <a:solidFill>
                  <a:srgbClr val="4B7396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 algn="r"/>
            <a:r>
              <a:rPr lang="en-GB" sz="3200" dirty="0">
                <a:solidFill>
                  <a:schemeClr val="accent4">
                    <a:lumMod val="50000"/>
                  </a:schemeClr>
                </a:solidFill>
              </a:rPr>
              <a:t>What have we learnt?</a:t>
            </a:r>
            <a:endParaRPr lang="en-ZA" sz="3200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6D6CC62-68E0-4C16-95E1-E5BC602217D6}"/>
              </a:ext>
            </a:extLst>
          </p:cNvPr>
          <p:cNvSpPr txBox="1">
            <a:spLocks/>
          </p:cNvSpPr>
          <p:nvPr/>
        </p:nvSpPr>
        <p:spPr>
          <a:xfrm>
            <a:off x="215900" y="179789"/>
            <a:ext cx="3817715" cy="66479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600" b="1" i="0" kern="1200" baseline="0">
                <a:solidFill>
                  <a:srgbClr val="4B7396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 marL="342900" indent="-342900">
              <a:buFont typeface="+mj-lt"/>
              <a:buAutoNum type="arabicPeriod"/>
            </a:pPr>
            <a:r>
              <a:rPr lang="es-MX" sz="1800" dirty="0" err="1">
                <a:latin typeface="Calibri"/>
                <a:cs typeface="Calibri"/>
              </a:rPr>
              <a:t>Continued</a:t>
            </a:r>
            <a:r>
              <a:rPr lang="es-MX" sz="1800" dirty="0">
                <a:latin typeface="Calibri"/>
                <a:cs typeface="Calibri"/>
              </a:rPr>
              <a:t> </a:t>
            </a:r>
            <a:r>
              <a:rPr lang="es-MX" sz="1800" dirty="0" err="1">
                <a:latin typeface="Calibri"/>
                <a:cs typeface="Calibri"/>
              </a:rPr>
              <a:t>rise</a:t>
            </a:r>
            <a:r>
              <a:rPr lang="es-MX" sz="1800" dirty="0">
                <a:latin typeface="Calibri"/>
                <a:cs typeface="Calibri"/>
              </a:rPr>
              <a:t> </a:t>
            </a:r>
            <a:r>
              <a:rPr lang="es-MX" sz="1800" dirty="0" err="1">
                <a:latin typeface="Calibri"/>
                <a:cs typeface="Calibri"/>
              </a:rPr>
              <a:t>of</a:t>
            </a:r>
            <a:r>
              <a:rPr lang="es-MX" sz="1800" dirty="0">
                <a:latin typeface="Calibri"/>
                <a:cs typeface="Calibri"/>
              </a:rPr>
              <a:t> low-cost </a:t>
            </a:r>
            <a:r>
              <a:rPr lang="es-MX" sz="1800" dirty="0" err="1">
                <a:latin typeface="Calibri"/>
                <a:cs typeface="Calibri"/>
              </a:rPr>
              <a:t>health</a:t>
            </a:r>
            <a:r>
              <a:rPr lang="es-MX" sz="1800" dirty="0">
                <a:latin typeface="Calibri"/>
                <a:cs typeface="Calibri"/>
              </a:rPr>
              <a:t> </a:t>
            </a:r>
            <a:r>
              <a:rPr lang="es-MX" sz="1800" dirty="0" err="1">
                <a:latin typeface="Calibri"/>
                <a:cs typeface="Calibri"/>
              </a:rPr>
              <a:t>products</a:t>
            </a:r>
            <a:r>
              <a:rPr lang="es-MX" sz="1800" dirty="0">
                <a:latin typeface="Calibri"/>
                <a:cs typeface="Calibri"/>
              </a:rPr>
              <a:t> (</a:t>
            </a:r>
            <a:r>
              <a:rPr lang="es-MX" sz="1800" dirty="0" err="1">
                <a:latin typeface="Calibri"/>
                <a:cs typeface="Calibri"/>
              </a:rPr>
              <a:t>mostly</a:t>
            </a:r>
            <a:r>
              <a:rPr lang="es-MX" sz="1800" dirty="0">
                <a:latin typeface="Calibri"/>
                <a:cs typeface="Calibri"/>
              </a:rPr>
              <a:t> hospital cash; </a:t>
            </a:r>
            <a:r>
              <a:rPr lang="es-MX" sz="1800" dirty="0" err="1">
                <a:latin typeface="Calibri"/>
                <a:cs typeface="Calibri"/>
              </a:rPr>
              <a:t>often</a:t>
            </a:r>
            <a:r>
              <a:rPr lang="es-MX" sz="1800" dirty="0">
                <a:latin typeface="Calibri"/>
                <a:cs typeface="Calibri"/>
              </a:rPr>
              <a:t> </a:t>
            </a:r>
            <a:r>
              <a:rPr lang="es-MX" sz="1800" dirty="0" err="1">
                <a:latin typeface="Calibri"/>
                <a:cs typeface="Calibri"/>
              </a:rPr>
              <a:t>used</a:t>
            </a:r>
            <a:r>
              <a:rPr lang="es-MX" sz="1800" dirty="0">
                <a:latin typeface="Calibri"/>
                <a:cs typeface="Calibri"/>
              </a:rPr>
              <a:t> </a:t>
            </a:r>
            <a:r>
              <a:rPr lang="es-MX" sz="1800" dirty="0" err="1">
                <a:latin typeface="Calibri"/>
                <a:cs typeface="Calibri"/>
              </a:rPr>
              <a:t>for</a:t>
            </a:r>
            <a:r>
              <a:rPr lang="es-MX" sz="1800" dirty="0">
                <a:latin typeface="Calibri"/>
                <a:cs typeface="Calibri"/>
              </a:rPr>
              <a:t> </a:t>
            </a:r>
            <a:r>
              <a:rPr lang="es-MX" sz="1800" dirty="0" err="1">
                <a:latin typeface="Calibri"/>
                <a:cs typeface="Calibri"/>
              </a:rPr>
              <a:t>income</a:t>
            </a:r>
            <a:r>
              <a:rPr lang="es-MX" sz="1800" dirty="0">
                <a:latin typeface="Calibri"/>
                <a:cs typeface="Calibri"/>
              </a:rPr>
              <a:t> </a:t>
            </a:r>
            <a:r>
              <a:rPr lang="es-MX" sz="1800" dirty="0" err="1">
                <a:latin typeface="Calibri"/>
                <a:cs typeface="Calibri"/>
              </a:rPr>
              <a:t>lost</a:t>
            </a:r>
            <a:r>
              <a:rPr lang="es-MX" sz="1800" dirty="0">
                <a:latin typeface="Calibri"/>
                <a:cs typeface="Calibri"/>
              </a:rPr>
              <a:t> </a:t>
            </a:r>
            <a:r>
              <a:rPr lang="es-MX" sz="1800" dirty="0" err="1">
                <a:latin typeface="Calibri"/>
                <a:cs typeface="Calibri"/>
              </a:rPr>
              <a:t>due</a:t>
            </a:r>
            <a:r>
              <a:rPr lang="es-MX" sz="1800" dirty="0">
                <a:latin typeface="Calibri"/>
                <a:cs typeface="Calibri"/>
              </a:rPr>
              <a:t> </a:t>
            </a:r>
            <a:r>
              <a:rPr lang="es-MX" sz="1800" dirty="0" err="1">
                <a:latin typeface="Calibri"/>
                <a:cs typeface="Calibri"/>
              </a:rPr>
              <a:t>to</a:t>
            </a:r>
            <a:r>
              <a:rPr lang="es-MX" sz="1800" dirty="0">
                <a:latin typeface="Calibri"/>
                <a:cs typeface="Calibri"/>
              </a:rPr>
              <a:t> </a:t>
            </a:r>
            <a:r>
              <a:rPr lang="es-MX" sz="1800" dirty="0" err="1">
                <a:latin typeface="Calibri"/>
                <a:cs typeface="Calibri"/>
              </a:rPr>
              <a:t>illness</a:t>
            </a:r>
            <a:r>
              <a:rPr lang="es-MX" sz="1800" dirty="0">
                <a:latin typeface="Calibri"/>
                <a:cs typeface="Calibri"/>
              </a:rPr>
              <a:t>)</a:t>
            </a:r>
            <a:endParaRPr lang="es-MX" sz="1800" dirty="0">
              <a:cs typeface="Calibri"/>
            </a:endParaRPr>
          </a:p>
          <a:p>
            <a:pPr marL="342900" indent="-342900">
              <a:buFont typeface="+mj-lt"/>
              <a:buAutoNum type="arabicPeriod"/>
            </a:pPr>
            <a:endParaRPr lang="es-MX" sz="1800" dirty="0"/>
          </a:p>
          <a:p>
            <a:pPr marL="342900" indent="-342900">
              <a:buFont typeface="+mj-lt"/>
              <a:buAutoNum type="arabicPeriod"/>
            </a:pPr>
            <a:r>
              <a:rPr lang="es-MX" sz="1800" dirty="0" err="1"/>
              <a:t>Shifting</a:t>
            </a:r>
            <a:r>
              <a:rPr lang="es-MX" sz="1800" dirty="0"/>
              <a:t> </a:t>
            </a:r>
            <a:r>
              <a:rPr lang="es-MX" sz="1800" dirty="0" err="1"/>
              <a:t>perspectives</a:t>
            </a:r>
            <a:r>
              <a:rPr lang="es-MX" sz="1800" dirty="0"/>
              <a:t> </a:t>
            </a:r>
            <a:r>
              <a:rPr lang="es-MX" sz="1800" dirty="0" err="1"/>
              <a:t>on</a:t>
            </a:r>
            <a:r>
              <a:rPr lang="es-MX" sz="1800" dirty="0"/>
              <a:t> </a:t>
            </a:r>
            <a:r>
              <a:rPr lang="es-MX" sz="1800" dirty="0" err="1"/>
              <a:t>climate</a:t>
            </a:r>
            <a:r>
              <a:rPr lang="es-MX" sz="1800" dirty="0"/>
              <a:t> </a:t>
            </a:r>
            <a:r>
              <a:rPr lang="es-MX" sz="1800" dirty="0" err="1"/>
              <a:t>risks</a:t>
            </a:r>
            <a:r>
              <a:rPr lang="es-MX" sz="1800" dirty="0"/>
              <a:t>, </a:t>
            </a:r>
            <a:r>
              <a:rPr lang="es-MX" sz="1800" dirty="0" err="1"/>
              <a:t>with</a:t>
            </a:r>
            <a:r>
              <a:rPr lang="es-MX" sz="1800" dirty="0"/>
              <a:t> </a:t>
            </a:r>
            <a:r>
              <a:rPr lang="es-MX" sz="1800" dirty="0" err="1"/>
              <a:t>the</a:t>
            </a:r>
            <a:r>
              <a:rPr lang="es-MX" sz="1800" dirty="0"/>
              <a:t> </a:t>
            </a:r>
            <a:r>
              <a:rPr lang="es-MX" sz="1800" dirty="0" err="1"/>
              <a:t>importance</a:t>
            </a:r>
            <a:r>
              <a:rPr lang="es-MX" sz="1800" dirty="0"/>
              <a:t> </a:t>
            </a:r>
            <a:r>
              <a:rPr lang="es-MX" sz="1800" dirty="0" err="1"/>
              <a:t>of</a:t>
            </a:r>
            <a:r>
              <a:rPr lang="es-MX" sz="1800" dirty="0"/>
              <a:t> </a:t>
            </a:r>
            <a:r>
              <a:rPr lang="es-MX" sz="1800" dirty="0" err="1"/>
              <a:t>government</a:t>
            </a:r>
            <a:r>
              <a:rPr lang="es-MX" sz="1800" dirty="0"/>
              <a:t> </a:t>
            </a:r>
            <a:r>
              <a:rPr lang="es-MX" sz="1800" dirty="0" err="1"/>
              <a:t>support</a:t>
            </a:r>
            <a:r>
              <a:rPr lang="es-MX" sz="1800" dirty="0"/>
              <a:t> and </a:t>
            </a:r>
            <a:r>
              <a:rPr lang="es-MX" sz="1800" dirty="0" err="1"/>
              <a:t>building</a:t>
            </a:r>
            <a:r>
              <a:rPr lang="es-MX" sz="1800" dirty="0"/>
              <a:t> trust </a:t>
            </a:r>
            <a:r>
              <a:rPr lang="es-MX" sz="1800" dirty="0" err="1"/>
              <a:t>through</a:t>
            </a:r>
            <a:r>
              <a:rPr lang="es-MX" sz="1800" dirty="0"/>
              <a:t> </a:t>
            </a:r>
            <a:r>
              <a:rPr lang="es-MX" sz="1800" dirty="0" err="1"/>
              <a:t>paying</a:t>
            </a:r>
            <a:r>
              <a:rPr lang="es-MX" sz="1800" dirty="0"/>
              <a:t> </a:t>
            </a:r>
            <a:r>
              <a:rPr lang="es-MX" sz="1800" dirty="0" err="1"/>
              <a:t>claims</a:t>
            </a:r>
            <a:r>
              <a:rPr lang="es-MX" sz="1800" dirty="0"/>
              <a:t> </a:t>
            </a:r>
            <a:r>
              <a:rPr lang="es-MX" sz="1800" dirty="0" err="1"/>
              <a:t>being</a:t>
            </a:r>
            <a:r>
              <a:rPr lang="es-MX" sz="1800" dirty="0"/>
              <a:t> </a:t>
            </a:r>
            <a:r>
              <a:rPr lang="es-MX" sz="1800" dirty="0" err="1"/>
              <a:t>evident</a:t>
            </a:r>
            <a:endParaRPr lang="en-US" sz="1800" dirty="0"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endParaRPr lang="en-US" sz="1800" dirty="0"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s-MX" sz="1800" dirty="0" err="1"/>
              <a:t>Combining</a:t>
            </a:r>
            <a:r>
              <a:rPr lang="es-MX" sz="1800" dirty="0"/>
              <a:t> </a:t>
            </a:r>
            <a:r>
              <a:rPr lang="es-MX" sz="1800" dirty="0" err="1"/>
              <a:t>digitalisation</a:t>
            </a:r>
            <a:r>
              <a:rPr lang="es-MX" sz="1800" dirty="0"/>
              <a:t> and human </a:t>
            </a:r>
            <a:r>
              <a:rPr lang="es-MX" sz="1800" dirty="0" err="1"/>
              <a:t>touch</a:t>
            </a:r>
            <a:r>
              <a:rPr lang="es-MX" sz="1800" dirty="0"/>
              <a:t>: </a:t>
            </a:r>
            <a:r>
              <a:rPr lang="es-MX" sz="1800" dirty="0" err="1"/>
              <a:t>while</a:t>
            </a:r>
            <a:r>
              <a:rPr lang="es-MX" sz="1800" dirty="0"/>
              <a:t> </a:t>
            </a:r>
            <a:r>
              <a:rPr lang="es-MX" sz="1800" dirty="0" err="1"/>
              <a:t>agents</a:t>
            </a:r>
            <a:r>
              <a:rPr lang="es-MX" sz="1800" dirty="0"/>
              <a:t> and </a:t>
            </a:r>
            <a:r>
              <a:rPr lang="es-MX" sz="1800" dirty="0" err="1"/>
              <a:t>brokers</a:t>
            </a:r>
            <a:r>
              <a:rPr lang="es-MX" sz="1800" dirty="0"/>
              <a:t> </a:t>
            </a:r>
            <a:r>
              <a:rPr lang="es-MX" sz="1800" dirty="0" err="1"/>
              <a:t>remained</a:t>
            </a:r>
            <a:r>
              <a:rPr lang="es-MX" sz="1800" dirty="0"/>
              <a:t> </a:t>
            </a:r>
            <a:r>
              <a:rPr lang="es-MX" sz="1800" dirty="0" err="1"/>
              <a:t>key</a:t>
            </a:r>
            <a:r>
              <a:rPr lang="es-MX" sz="1800" dirty="0"/>
              <a:t>, </a:t>
            </a:r>
            <a:r>
              <a:rPr lang="es-MX" sz="1800" dirty="0" err="1"/>
              <a:t>the</a:t>
            </a:r>
            <a:r>
              <a:rPr lang="es-MX" sz="1800" dirty="0"/>
              <a:t> </a:t>
            </a:r>
            <a:r>
              <a:rPr lang="es-MX" sz="1800" dirty="0" err="1"/>
              <a:t>importance</a:t>
            </a:r>
            <a:r>
              <a:rPr lang="es-MX" sz="1800" dirty="0"/>
              <a:t> </a:t>
            </a:r>
            <a:r>
              <a:rPr lang="es-MX" sz="1800" dirty="0" err="1"/>
              <a:t>of</a:t>
            </a:r>
            <a:r>
              <a:rPr lang="es-MX" sz="1800" dirty="0"/>
              <a:t> digital </a:t>
            </a:r>
            <a:r>
              <a:rPr lang="es-MX" sz="1800" dirty="0" err="1"/>
              <a:t>increased</a:t>
            </a:r>
            <a:r>
              <a:rPr lang="es-MX" sz="1800" dirty="0"/>
              <a:t>, </a:t>
            </a:r>
            <a:r>
              <a:rPr lang="es-MX" sz="1800" dirty="0" err="1"/>
              <a:t>with</a:t>
            </a:r>
            <a:r>
              <a:rPr lang="es-MX" sz="1800" dirty="0"/>
              <a:t> </a:t>
            </a:r>
            <a:r>
              <a:rPr lang="es-MX" sz="1800" dirty="0" err="1"/>
              <a:t>many</a:t>
            </a:r>
            <a:r>
              <a:rPr lang="es-MX" sz="1800" dirty="0"/>
              <a:t> </a:t>
            </a:r>
            <a:r>
              <a:rPr lang="es-MX" sz="1800" dirty="0" err="1"/>
              <a:t>hybrid</a:t>
            </a:r>
            <a:r>
              <a:rPr lang="es-MX" sz="1800" dirty="0"/>
              <a:t> </a:t>
            </a:r>
            <a:r>
              <a:rPr lang="es-MX" sz="1800" dirty="0" err="1"/>
              <a:t>models</a:t>
            </a:r>
            <a:r>
              <a:rPr lang="es-MX" sz="1800" dirty="0"/>
              <a:t> in place. </a:t>
            </a:r>
            <a:r>
              <a:rPr lang="es-MX" sz="1800" dirty="0" err="1"/>
              <a:t>We</a:t>
            </a:r>
            <a:r>
              <a:rPr lang="es-MX" sz="1800" dirty="0"/>
              <a:t> </a:t>
            </a:r>
            <a:r>
              <a:rPr lang="es-MX" sz="1800" dirty="0" err="1"/>
              <a:t>also</a:t>
            </a:r>
            <a:r>
              <a:rPr lang="es-MX" sz="1800" dirty="0"/>
              <a:t> </a:t>
            </a:r>
            <a:r>
              <a:rPr lang="es-MX" sz="1800" dirty="0" err="1"/>
              <a:t>noted</a:t>
            </a:r>
            <a:r>
              <a:rPr lang="es-MX" sz="1800" dirty="0"/>
              <a:t> </a:t>
            </a:r>
            <a:r>
              <a:rPr lang="es-MX" sz="1800" dirty="0" err="1"/>
              <a:t>that</a:t>
            </a:r>
            <a:r>
              <a:rPr lang="es-MX" sz="1800" dirty="0"/>
              <a:t> f</a:t>
            </a:r>
            <a:r>
              <a:rPr lang="en-US" sz="1800" dirty="0" err="1">
                <a:ea typeface="Times New Roman" panose="02020603050405020304" pitchFamily="18" charset="0"/>
                <a:cs typeface="Arial" panose="020B0604020202020204" pitchFamily="34" charset="0"/>
              </a:rPr>
              <a:t>inancial</a:t>
            </a:r>
            <a:r>
              <a:rPr lang="en-US" sz="1800" dirty="0">
                <a:ea typeface="Times New Roman" panose="02020603050405020304" pitchFamily="18" charset="0"/>
                <a:cs typeface="Arial" panose="020B0604020202020204" pitchFamily="34" charset="0"/>
              </a:rPr>
              <a:t> services form an important part of many non-insurance platforms’ long-term business models</a:t>
            </a:r>
          </a:p>
          <a:p>
            <a:pPr marL="342900" indent="-342900">
              <a:buFont typeface="+mj-lt"/>
              <a:buAutoNum type="arabicPeriod"/>
            </a:pPr>
            <a:endParaRPr lang="en-US" sz="1800" dirty="0"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s-MX" sz="1800" dirty="0" err="1"/>
              <a:t>Concerns</a:t>
            </a:r>
            <a:r>
              <a:rPr lang="es-MX" sz="1800" dirty="0"/>
              <a:t> </a:t>
            </a:r>
            <a:r>
              <a:rPr lang="es-MX" sz="1800" dirty="0" err="1"/>
              <a:t>around</a:t>
            </a:r>
            <a:r>
              <a:rPr lang="es-MX" sz="1800" dirty="0"/>
              <a:t> </a:t>
            </a:r>
            <a:r>
              <a:rPr lang="es-MX" sz="1800" dirty="0" err="1"/>
              <a:t>customer</a:t>
            </a:r>
            <a:r>
              <a:rPr lang="es-MX" sz="1800" dirty="0"/>
              <a:t> </a:t>
            </a:r>
            <a:r>
              <a:rPr lang="es-MX" sz="1800" dirty="0" err="1"/>
              <a:t>value</a:t>
            </a:r>
            <a:r>
              <a:rPr lang="es-MX" sz="1800" dirty="0"/>
              <a:t>, </a:t>
            </a:r>
            <a:r>
              <a:rPr lang="es-MX" sz="1800" dirty="0" err="1"/>
              <a:t>particularly</a:t>
            </a:r>
            <a:r>
              <a:rPr lang="es-MX" sz="1800" dirty="0"/>
              <a:t> </a:t>
            </a:r>
            <a:r>
              <a:rPr lang="es-MX" sz="1800" dirty="0" err="1"/>
              <a:t>low</a:t>
            </a:r>
            <a:r>
              <a:rPr lang="es-MX" sz="1800" dirty="0"/>
              <a:t> </a:t>
            </a:r>
            <a:r>
              <a:rPr lang="es-MX" sz="1800" dirty="0" err="1"/>
              <a:t>claims</a:t>
            </a:r>
            <a:r>
              <a:rPr lang="es-MX" sz="1800" dirty="0"/>
              <a:t> ratios and </a:t>
            </a:r>
            <a:r>
              <a:rPr lang="es-MX" sz="1800" dirty="0" err="1"/>
              <a:t>long</a:t>
            </a:r>
            <a:r>
              <a:rPr lang="es-MX" sz="1800" dirty="0"/>
              <a:t> </a:t>
            </a:r>
            <a:r>
              <a:rPr lang="es-MX" sz="1800" dirty="0" err="1"/>
              <a:t>claims</a:t>
            </a:r>
            <a:r>
              <a:rPr lang="es-MX" sz="1800" dirty="0"/>
              <a:t> </a:t>
            </a:r>
            <a:r>
              <a:rPr lang="es-MX" sz="1800" dirty="0" err="1"/>
              <a:t>turnaround</a:t>
            </a:r>
            <a:r>
              <a:rPr lang="es-MX" sz="1800" dirty="0"/>
              <a:t> times (</a:t>
            </a:r>
            <a:r>
              <a:rPr lang="es-MX" sz="1800" dirty="0" err="1"/>
              <a:t>TATs</a:t>
            </a:r>
            <a:r>
              <a:rPr lang="es-MX" sz="1800" dirty="0"/>
              <a:t>)</a:t>
            </a:r>
            <a:endParaRPr lang="es-PE" sz="1800" dirty="0"/>
          </a:p>
        </p:txBody>
      </p:sp>
    </p:spTree>
    <p:extLst>
      <p:ext uri="{BB962C8B-B14F-4D97-AF65-F5344CB8AC3E}">
        <p14:creationId xmlns:p14="http://schemas.microsoft.com/office/powerpoint/2010/main" val="18525662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20D402C-7C32-4E9F-908F-39A6860C6FE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9215" y="1016000"/>
            <a:ext cx="7625570" cy="5221287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CC82AAB4-57EE-4BEF-AC6C-FF8B115ED4E0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0" y="6278843"/>
            <a:ext cx="8928100" cy="579157"/>
          </a:xfrm>
          <a:prstGeom prst="rect">
            <a:avLst/>
          </a:prstGeom>
          <a:noFill/>
          <a:effectLst/>
        </p:spPr>
        <p:txBody>
          <a:bodyPr vert="horz" wrap="square" lIns="45719" rIns="45719" rtlCol="0" anchor="b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ZA" sz="1000" dirty="0">
                <a:latin typeface="Calibri"/>
                <a:cs typeface="Calibri" pitchFamily="34" charset="0"/>
              </a:rPr>
              <a:t>Note: </a:t>
            </a:r>
            <a:r>
              <a:rPr lang="en-GB" sz="1000" dirty="0">
                <a:latin typeface="Calibri"/>
                <a:cs typeface="Calibri" pitchFamily="34" charset="0"/>
              </a:rPr>
              <a:t>Across the study’s 194 insurance providers, 41-102M people were recorded as covered by a microinsurance product (est. 5% of microinsurance market value)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ZA" sz="1000" dirty="0">
                <a:latin typeface="Calibri"/>
                <a:cs typeface="Calibri" pitchFamily="34" charset="0"/>
              </a:rPr>
              <a:t>Source: </a:t>
            </a:r>
            <a:r>
              <a:rPr lang="en-ZA" sz="1000" dirty="0" err="1">
                <a:latin typeface="Calibri"/>
                <a:cs typeface="Calibri" pitchFamily="34" charset="0"/>
              </a:rPr>
              <a:t>MiN</a:t>
            </a:r>
            <a:r>
              <a:rPr lang="en-ZA" sz="1000" dirty="0">
                <a:latin typeface="Calibri"/>
                <a:cs typeface="Calibri" pitchFamily="34" charset="0"/>
              </a:rPr>
              <a:t> Landscape of Microinsurance 2020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BA9928E8-6ABB-4EAE-BCDF-C603BE844F08}"/>
              </a:ext>
            </a:extLst>
          </p:cNvPr>
          <p:cNvSpPr txBox="1">
            <a:spLocks/>
          </p:cNvSpPr>
          <p:nvPr/>
        </p:nvSpPr>
        <p:spPr>
          <a:xfrm>
            <a:off x="550689" y="216381"/>
            <a:ext cx="8377411" cy="49244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600" b="1" i="0" kern="1200" baseline="0">
                <a:solidFill>
                  <a:srgbClr val="4B7396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 algn="r"/>
            <a:r>
              <a:rPr lang="en-GB" sz="3200" dirty="0">
                <a:solidFill>
                  <a:schemeClr val="bg1"/>
                </a:solidFill>
              </a:rPr>
              <a:t>Traditional products still dominate</a:t>
            </a:r>
            <a:endParaRPr lang="en-ZA" sz="3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61280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A0C95D5C-489E-4D51-92FD-34AC217F857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0" y="6278843"/>
            <a:ext cx="8928100" cy="579157"/>
          </a:xfrm>
          <a:prstGeom prst="rect">
            <a:avLst/>
          </a:prstGeom>
          <a:noFill/>
          <a:effectLst/>
        </p:spPr>
        <p:txBody>
          <a:bodyPr vert="horz" wrap="square" lIns="45719" rIns="45719" rtlCol="0" anchor="b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ZA" sz="1000" dirty="0">
                <a:latin typeface="Calibri"/>
                <a:cs typeface="Calibri" pitchFamily="34" charset="0"/>
              </a:rPr>
              <a:t>Source: </a:t>
            </a:r>
            <a:r>
              <a:rPr lang="en-ZA" sz="1000" dirty="0" err="1">
                <a:latin typeface="Calibri"/>
                <a:cs typeface="Calibri" pitchFamily="34" charset="0"/>
              </a:rPr>
              <a:t>MiN</a:t>
            </a:r>
            <a:r>
              <a:rPr lang="en-ZA" sz="1000" dirty="0">
                <a:latin typeface="Calibri"/>
                <a:cs typeface="Calibri" pitchFamily="34" charset="0"/>
              </a:rPr>
              <a:t> Landscape of Microinsurance 2020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8C8A1CF-0ABC-4930-A9E5-391E3478E05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4693" y="2331940"/>
            <a:ext cx="8694615" cy="2194121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B1315FDA-E7C7-4108-BE53-17DBF9FBB6D8}"/>
              </a:ext>
            </a:extLst>
          </p:cNvPr>
          <p:cNvSpPr txBox="1">
            <a:spLocks/>
          </p:cNvSpPr>
          <p:nvPr/>
        </p:nvSpPr>
        <p:spPr>
          <a:xfrm>
            <a:off x="550689" y="216381"/>
            <a:ext cx="8377411" cy="49244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600" b="1" i="0" kern="1200" baseline="0">
                <a:solidFill>
                  <a:srgbClr val="4B7396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 algn="r"/>
            <a:r>
              <a:rPr lang="en-GB" sz="3200" dirty="0">
                <a:solidFill>
                  <a:schemeClr val="bg1"/>
                </a:solidFill>
              </a:rPr>
              <a:t>Claims performance is a concern</a:t>
            </a:r>
            <a:endParaRPr lang="en-ZA" sz="3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97038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etQC0gG0eRiU8C73Aqt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sXPJiORECe8lRPmOVbo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sXPJiORECe8lRPmOVbo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sXPJiORECe8lRPmOVb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S93TFdEWI7Om0a.ttZ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etQC0gG0eRiU8C73Aqt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etQC0gG0eRiU8C73Aqt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sXPJiORECe8lRPmOVbo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sXPJiORECe8lRPmOVbo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sXPJiORECe8lRPmOVbo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sXPJiORECe8lRPmOVbo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sXPJiORECe8lRPmOVbow"/>
</p:tagLst>
</file>

<file path=ppt/theme/theme1.xml><?xml version="1.0" encoding="utf-8"?>
<a:theme xmlns:a="http://schemas.openxmlformats.org/drawingml/2006/main" name="MiN2">
  <a:themeElements>
    <a:clrScheme name="MiN">
      <a:dk1>
        <a:sysClr val="windowText" lastClr="000000"/>
      </a:dk1>
      <a:lt1>
        <a:sysClr val="window" lastClr="FFFFFF"/>
      </a:lt1>
      <a:dk2>
        <a:srgbClr val="428ABD"/>
      </a:dk2>
      <a:lt2>
        <a:srgbClr val="E8D9A8"/>
      </a:lt2>
      <a:accent1>
        <a:srgbClr val="428ABD"/>
      </a:accent1>
      <a:accent2>
        <a:srgbClr val="FFE88C"/>
      </a:accent2>
      <a:accent3>
        <a:srgbClr val="E8D9A8"/>
      </a:accent3>
      <a:accent4>
        <a:srgbClr val="385E82"/>
      </a:accent4>
      <a:accent5>
        <a:srgbClr val="330E00"/>
      </a:accent5>
      <a:accent6>
        <a:srgbClr val="CCAD6B"/>
      </a:accent6>
      <a:hlink>
        <a:srgbClr val="0000FF"/>
      </a:hlink>
      <a:folHlink>
        <a:srgbClr val="800080"/>
      </a:folHlink>
    </a:clrScheme>
    <a:fontScheme name="Office 2">
      <a:majorFont>
        <a:latin typeface="Calibri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Cambria"/>
        <a:ea typeface=""/>
        <a:cs typeface=""/>
        <a:font script="Jpan" typeface="ＭＳ Ｐ明朝"/>
        <a:font script="Hang" typeface="맑은 고딕"/>
        <a:font script="Hans" typeface="黑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solidFill>
            <a:schemeClr val="accent4"/>
          </a:solidFill>
        </a:ln>
        <a:effectLst/>
      </a:spPr>
      <a:bodyPr rtlCol="0" anchor="ctr"/>
      <a:lstStyle>
        <a:defPPr algn="ctr">
          <a:defRPr sz="1400" b="1" dirty="0" smtClean="0">
            <a:solidFill>
              <a:schemeClr val="accent5"/>
            </a:solidFill>
            <a:latin typeface="+mj-lt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0" marR="0" indent="0" algn="l" defTabSz="457200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sz="1400" baseline="0" dirty="0" smtClean="0">
            <a:latin typeface="Arial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N2" id="{148FC2D1-4202-4067-AB4F-81FC2F023FD3}" vid="{020D5404-FC51-410B-BA85-480CADE04A1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2">
      <a:majorFont>
        <a:latin typeface="Calibri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Cambria"/>
        <a:ea typeface=""/>
        <a:cs typeface=""/>
        <a:font script="Jpan" typeface="ＭＳ Ｐ明朝"/>
        <a:font script="Hang" typeface="맑은 고딕"/>
        <a:font script="Hans" typeface="黑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0" marR="0" indent="0" algn="l" defTabSz="457200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sz="1400" baseline="0" dirty="0" smtClean="0">
            <a:latin typeface="Arial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b8be681b-9bfd-4e7d-b925-af9fc066caed">
      <UserInfo>
        <DisplayName>Mark Robertson</DisplayName>
        <AccountId>45</AccountId>
        <AccountType/>
      </UserInfo>
      <UserInfo>
        <DisplayName>Jemma Maclear</DisplayName>
        <AccountId>40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C52B433988C7D4FA565BF042CC9BF16" ma:contentTypeVersion="12" ma:contentTypeDescription="Create a new document." ma:contentTypeScope="" ma:versionID="4b63cc283f6f5640bba522565c749fe8">
  <xsd:schema xmlns:xsd="http://www.w3.org/2001/XMLSchema" xmlns:xs="http://www.w3.org/2001/XMLSchema" xmlns:p="http://schemas.microsoft.com/office/2006/metadata/properties" xmlns:ns2="214600bd-9576-488e-98d2-fb5c21131793" xmlns:ns3="b8be681b-9bfd-4e7d-b925-af9fc066caed" targetNamespace="http://schemas.microsoft.com/office/2006/metadata/properties" ma:root="true" ma:fieldsID="6f824942e799e2ec7148b7742988e4a9" ns2:_="" ns3:_="">
    <xsd:import namespace="214600bd-9576-488e-98d2-fb5c21131793"/>
    <xsd:import namespace="b8be681b-9bfd-4e7d-b925-af9fc066cae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4600bd-9576-488e-98d2-fb5c2113179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8be681b-9bfd-4e7d-b925-af9fc066cae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D7133BC-6563-4828-B006-9CF5A2AA382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689E17E-3ADE-41EE-A1D7-83A7AAFE3F7E}">
  <ds:schemaRefs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b8be681b-9bfd-4e7d-b925-af9fc066caed"/>
    <ds:schemaRef ds:uri="http://schemas.microsoft.com/office/infopath/2007/PartnerControls"/>
    <ds:schemaRef ds:uri="http://purl.org/dc/terms/"/>
    <ds:schemaRef ds:uri="214600bd-9576-488e-98d2-fb5c21131793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E61A69EF-B2B2-42EB-80A6-5149B284692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14600bd-9576-488e-98d2-fb5c21131793"/>
    <ds:schemaRef ds:uri="b8be681b-9bfd-4e7d-b925-af9fc066cae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iN2</Template>
  <TotalTime>483</TotalTime>
  <Words>1097</Words>
  <Application>Microsoft Office PowerPoint</Application>
  <PresentationFormat>On-screen Show (4:3)</PresentationFormat>
  <Paragraphs>161</Paragraphs>
  <Slides>17</Slides>
  <Notes>17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7</vt:i4>
      </vt:variant>
    </vt:vector>
  </HeadingPairs>
  <TitlesOfParts>
    <vt:vector size="25" baseType="lpstr">
      <vt:lpstr>Arial</vt:lpstr>
      <vt:lpstr>Calibri</vt:lpstr>
      <vt:lpstr>Calibri Light</vt:lpstr>
      <vt:lpstr>Cambria</vt:lpstr>
      <vt:lpstr>Helvetica Neue</vt:lpstr>
      <vt:lpstr>Wingdings</vt:lpstr>
      <vt:lpstr>MiN2</vt:lpstr>
      <vt:lpstr>1_Office Theme</vt:lpstr>
      <vt:lpstr>Supporting Low-income customers</vt:lpstr>
      <vt:lpstr>PowerPoint Presentation</vt:lpstr>
      <vt:lpstr>PowerPoint Presentation</vt:lpstr>
      <vt:lpstr>Why microinsurance and microtakaful?</vt:lpstr>
      <vt:lpstr>PowerPoint Presentation</vt:lpstr>
      <vt:lpstr>In 2020 we carried out primary research in 30 countries. The report is available in English, French, Spanish, and Arabic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Where to from here?</vt:lpstr>
      <vt:lpstr>PowerPoint Presentation</vt:lpstr>
      <vt:lpstr>PowerPoint Presentation</vt:lpstr>
      <vt:lpstr>PowerPoint Presentation</vt:lpstr>
      <vt:lpstr>Thank you  mrobertson@microinsurancenetwork.org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tharine Pulvermacher</dc:creator>
  <cp:lastModifiedBy>Mark Robertson</cp:lastModifiedBy>
  <cp:revision>78</cp:revision>
  <dcterms:created xsi:type="dcterms:W3CDTF">2020-10-08T11:41:18Z</dcterms:created>
  <dcterms:modified xsi:type="dcterms:W3CDTF">2021-03-17T13:01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C52B433988C7D4FA565BF042CC9BF16</vt:lpwstr>
  </property>
</Properties>
</file>